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2.xml" ContentType="application/vnd.openxmlformats-officedocument.them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775" r:id="rId5"/>
    <p:sldMasterId id="2147483808" r:id="rId6"/>
    <p:sldMasterId id="2147483843" r:id="rId7"/>
    <p:sldMasterId id="2147483881" r:id="rId8"/>
    <p:sldMasterId id="2147483917" r:id="rId9"/>
  </p:sldMasterIdLst>
  <p:notesMasterIdLst>
    <p:notesMasterId r:id="rId13"/>
  </p:notesMasterIdLst>
  <p:handoutMasterIdLst>
    <p:handoutMasterId r:id="rId14"/>
  </p:handoutMasterIdLst>
  <p:sldIdLst>
    <p:sldId id="2090651038" r:id="rId10"/>
    <p:sldId id="913" r:id="rId11"/>
    <p:sldId id="2090651046" r:id="rId12"/>
  </p:sldIdLst>
  <p:sldSz cx="42767250" cy="30275213"/>
  <p:notesSz cx="6797675" cy="9926638"/>
  <p:custDataLst>
    <p:tags r:id="rId15"/>
  </p:custDataLst>
  <p:defaultTextStyle>
    <a:defPPr>
      <a:defRPr lang="nl-NL"/>
    </a:defPPr>
    <a:lvl1pPr marL="0" algn="l" defTabSz="2347216" rtl="0" eaLnBrk="1" latinLnBrk="0" hangingPunct="1">
      <a:defRPr sz="4622" kern="1200">
        <a:solidFill>
          <a:schemeClr val="tx1"/>
        </a:solidFill>
        <a:latin typeface="+mn-lt"/>
        <a:ea typeface="+mn-ea"/>
        <a:cs typeface="+mn-cs"/>
      </a:defRPr>
    </a:lvl1pPr>
    <a:lvl2pPr marL="1173607" algn="l" defTabSz="2347216" rtl="0" eaLnBrk="1" latinLnBrk="0" hangingPunct="1">
      <a:defRPr sz="4622" kern="1200">
        <a:solidFill>
          <a:schemeClr val="tx1"/>
        </a:solidFill>
        <a:latin typeface="+mn-lt"/>
        <a:ea typeface="+mn-ea"/>
        <a:cs typeface="+mn-cs"/>
      </a:defRPr>
    </a:lvl2pPr>
    <a:lvl3pPr marL="2347216" algn="l" defTabSz="2347216" rtl="0" eaLnBrk="1" latinLnBrk="0" hangingPunct="1">
      <a:defRPr sz="4622" kern="1200">
        <a:solidFill>
          <a:schemeClr val="tx1"/>
        </a:solidFill>
        <a:latin typeface="+mn-lt"/>
        <a:ea typeface="+mn-ea"/>
        <a:cs typeface="+mn-cs"/>
      </a:defRPr>
    </a:lvl3pPr>
    <a:lvl4pPr marL="3520823" algn="l" defTabSz="2347216" rtl="0" eaLnBrk="1" latinLnBrk="0" hangingPunct="1">
      <a:defRPr sz="4622" kern="1200">
        <a:solidFill>
          <a:schemeClr val="tx1"/>
        </a:solidFill>
        <a:latin typeface="+mn-lt"/>
        <a:ea typeface="+mn-ea"/>
        <a:cs typeface="+mn-cs"/>
      </a:defRPr>
    </a:lvl4pPr>
    <a:lvl5pPr marL="4694432" algn="l" defTabSz="2347216" rtl="0" eaLnBrk="1" latinLnBrk="0" hangingPunct="1">
      <a:defRPr sz="4622" kern="1200">
        <a:solidFill>
          <a:schemeClr val="tx1"/>
        </a:solidFill>
        <a:latin typeface="+mn-lt"/>
        <a:ea typeface="+mn-ea"/>
        <a:cs typeface="+mn-cs"/>
      </a:defRPr>
    </a:lvl5pPr>
    <a:lvl6pPr marL="5868039" algn="l" defTabSz="2347216" rtl="0" eaLnBrk="1" latinLnBrk="0" hangingPunct="1">
      <a:defRPr sz="4622" kern="1200">
        <a:solidFill>
          <a:schemeClr val="tx1"/>
        </a:solidFill>
        <a:latin typeface="+mn-lt"/>
        <a:ea typeface="+mn-ea"/>
        <a:cs typeface="+mn-cs"/>
      </a:defRPr>
    </a:lvl6pPr>
    <a:lvl7pPr marL="7041649" algn="l" defTabSz="2347216" rtl="0" eaLnBrk="1" latinLnBrk="0" hangingPunct="1">
      <a:defRPr sz="4622" kern="1200">
        <a:solidFill>
          <a:schemeClr val="tx1"/>
        </a:solidFill>
        <a:latin typeface="+mn-lt"/>
        <a:ea typeface="+mn-ea"/>
        <a:cs typeface="+mn-cs"/>
      </a:defRPr>
    </a:lvl7pPr>
    <a:lvl8pPr marL="8215255" algn="l" defTabSz="2347216" rtl="0" eaLnBrk="1" latinLnBrk="0" hangingPunct="1">
      <a:defRPr sz="4622" kern="1200">
        <a:solidFill>
          <a:schemeClr val="tx1"/>
        </a:solidFill>
        <a:latin typeface="+mn-lt"/>
        <a:ea typeface="+mn-ea"/>
        <a:cs typeface="+mn-cs"/>
      </a:defRPr>
    </a:lvl8pPr>
    <a:lvl9pPr marL="9388865" algn="l" defTabSz="2347216" rtl="0" eaLnBrk="1" latinLnBrk="0" hangingPunct="1">
      <a:defRPr sz="4622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36" userDrawn="1">
          <p15:clr>
            <a:srgbClr val="A4A3A4"/>
          </p15:clr>
        </p15:guide>
        <p15:guide id="2" pos="13470" userDrawn="1">
          <p15:clr>
            <a:srgbClr val="A4A3A4"/>
          </p15:clr>
        </p15:guide>
        <p15:guide id="3" pos="5188" userDrawn="1">
          <p15:clr>
            <a:srgbClr val="A4A3A4"/>
          </p15:clr>
        </p15:guide>
        <p15:guide id="4" pos="544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04">
          <p15:clr>
            <a:srgbClr val="A4A3A4"/>
          </p15:clr>
        </p15:guide>
        <p15:guide id="4" pos="2118">
          <p15:clr>
            <a:srgbClr val="A4A3A4"/>
          </p15:clr>
        </p15:guide>
        <p15:guide id="5" orient="horz" pos="2991">
          <p15:clr>
            <a:srgbClr val="A4A3A4"/>
          </p15:clr>
        </p15:guide>
        <p15:guide id="6" orient="horz" pos="3224">
          <p15:clr>
            <a:srgbClr val="A4A3A4"/>
          </p15:clr>
        </p15:guide>
        <p15:guide id="7" pos="2281">
          <p15:clr>
            <a:srgbClr val="A4A3A4"/>
          </p15:clr>
        </p15:guide>
        <p15:guide id="8" pos="2237">
          <p15:clr>
            <a:srgbClr val="A4A3A4"/>
          </p15:clr>
        </p15:guide>
        <p15:guide id="9" orient="horz" pos="2793">
          <p15:clr>
            <a:srgbClr val="A4A3A4"/>
          </p15:clr>
        </p15:guide>
        <p15:guide id="10" orient="horz" pos="3011">
          <p15:clr>
            <a:srgbClr val="A4A3A4"/>
          </p15:clr>
        </p15:guide>
        <p15:guide id="11" orient="horz" pos="2901">
          <p15:clr>
            <a:srgbClr val="A4A3A4"/>
          </p15:clr>
        </p15:guide>
        <p15:guide id="12" orient="horz" pos="3127">
          <p15:clr>
            <a:srgbClr val="A4A3A4"/>
          </p15:clr>
        </p15:guide>
        <p15:guide id="13" pos="2068">
          <p15:clr>
            <a:srgbClr val="A4A3A4"/>
          </p15:clr>
        </p15:guide>
        <p15:guide id="14" pos="2028">
          <p15:clr>
            <a:srgbClr val="A4A3A4"/>
          </p15:clr>
        </p15:guide>
        <p15:guide id="15" pos="2184">
          <p15:clr>
            <a:srgbClr val="A4A3A4"/>
          </p15:clr>
        </p15:guide>
        <p15:guide id="16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line Schoe" initials="ES" lastIdx="24" clrIdx="0"/>
  <p:cmAuthor id="2" name="Nelson Takes" initials="NT" lastIdx="56" clrIdx="1"/>
  <p:cmAuthor id="3" name="Ferry Pereboom" initials="FP" lastIdx="0" clrIdx="2"/>
  <p:cmAuthor id="4" name="Marjolijn de Kruijff" initials="MdK" lastIdx="94" clrIdx="3"/>
  <p:cmAuthor id="5" name="Wulp, Nathalie van der" initials="NvdW" lastIdx="40" clrIdx="4"/>
  <p:cmAuthor id="6" name="Gort, Elise" initials="GE" lastIdx="7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58360"/>
    <a:srgbClr val="D13ACF"/>
    <a:srgbClr val="B0AC00"/>
    <a:srgbClr val="FFF00F"/>
    <a:srgbClr val="CDC800"/>
    <a:srgbClr val="E20005"/>
    <a:srgbClr val="FF292E"/>
    <a:srgbClr val="FF7C80"/>
    <a:srgbClr val="F77E7E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90E1CFE-25B0-4F5F-BEA2-B33CC722FDE5}" v="2" dt="2023-06-14T08:32:52.42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" d="100"/>
          <a:sy n="14" d="100"/>
        </p:scale>
        <p:origin x="1308" y="68"/>
      </p:cViewPr>
      <p:guideLst>
        <p:guide orient="horz" pos="9536"/>
        <p:guide pos="13470"/>
        <p:guide pos="5188"/>
        <p:guide pos="544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  <p:guide orient="horz" pos="3104"/>
        <p:guide pos="2118"/>
        <p:guide orient="horz" pos="2991"/>
        <p:guide orient="horz" pos="3224"/>
        <p:guide pos="2281"/>
        <p:guide pos="2237"/>
        <p:guide orient="horz" pos="2793"/>
        <p:guide orient="horz" pos="3011"/>
        <p:guide orient="horz" pos="2901"/>
        <p:guide orient="horz" pos="3127"/>
        <p:guide pos="2068"/>
        <p:guide pos="2028"/>
        <p:guide pos="2184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1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45659" cy="496332"/>
          </a:xfrm>
          <a:prstGeom prst="rect">
            <a:avLst/>
          </a:prstGeom>
        </p:spPr>
        <p:txBody>
          <a:bodyPr vert="horz" lIns="95553" tIns="47777" rIns="95553" bIns="47777" rtlCol="0"/>
          <a:lstStyle>
            <a:lvl1pPr algn="l">
              <a:defRPr sz="13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50444" y="2"/>
            <a:ext cx="2945659" cy="496332"/>
          </a:xfrm>
          <a:prstGeom prst="rect">
            <a:avLst/>
          </a:prstGeom>
        </p:spPr>
        <p:txBody>
          <a:bodyPr vert="horz" lIns="95553" tIns="47777" rIns="95553" bIns="47777" rtlCol="0"/>
          <a:lstStyle>
            <a:lvl1pPr algn="r">
              <a:defRPr sz="1300"/>
            </a:lvl1pPr>
          </a:lstStyle>
          <a:p>
            <a:fld id="{C23B9A04-66A0-447F-B0AB-31FD50FC07B7}" type="datetimeFigureOut">
              <a:rPr lang="nl-NL" smtClean="0"/>
              <a:t>26-6-2023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1" y="9428585"/>
            <a:ext cx="2945659" cy="496332"/>
          </a:xfrm>
          <a:prstGeom prst="rect">
            <a:avLst/>
          </a:prstGeom>
        </p:spPr>
        <p:txBody>
          <a:bodyPr vert="horz" lIns="95553" tIns="47777" rIns="95553" bIns="47777" rtlCol="0" anchor="b"/>
          <a:lstStyle>
            <a:lvl1pPr algn="l">
              <a:defRPr sz="1300"/>
            </a:lvl1pPr>
          </a:lstStyle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50444" y="9428585"/>
            <a:ext cx="2945659" cy="496332"/>
          </a:xfrm>
          <a:prstGeom prst="rect">
            <a:avLst/>
          </a:prstGeom>
        </p:spPr>
        <p:txBody>
          <a:bodyPr vert="horz" lIns="95553" tIns="47777" rIns="95553" bIns="47777" rtlCol="0" anchor="b"/>
          <a:lstStyle>
            <a:lvl1pPr algn="r">
              <a:defRPr sz="1300"/>
            </a:lvl1pPr>
          </a:lstStyle>
          <a:p>
            <a:fld id="{1C28A5C3-E291-4308-B18A-47F5DFF8FBEF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979603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5553" tIns="47777" rIns="95553" bIns="47777" rtlCol="0"/>
          <a:lstStyle>
            <a:lvl1pPr algn="l">
              <a:defRPr sz="13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5553" tIns="47777" rIns="95553" bIns="47777" rtlCol="0"/>
          <a:lstStyle>
            <a:lvl1pPr algn="r">
              <a:defRPr sz="1300"/>
            </a:lvl1pPr>
          </a:lstStyle>
          <a:p>
            <a:fld id="{581F623B-83C3-4C6C-A8FC-BCE16D5D9BC9}" type="datetimeFigureOut">
              <a:rPr lang="nl-NL" smtClean="0"/>
              <a:t>26-6-2023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1033463" y="1241425"/>
            <a:ext cx="47307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53" tIns="47777" rIns="95553" bIns="47777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5553" tIns="47777" rIns="95553" bIns="47777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1" y="9428586"/>
            <a:ext cx="2945659" cy="498055"/>
          </a:xfrm>
          <a:prstGeom prst="rect">
            <a:avLst/>
          </a:prstGeom>
        </p:spPr>
        <p:txBody>
          <a:bodyPr vert="horz" lIns="95553" tIns="47777" rIns="95553" bIns="47777" rtlCol="0" anchor="b"/>
          <a:lstStyle>
            <a:lvl1pPr algn="l">
              <a:defRPr sz="13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50444" y="9428586"/>
            <a:ext cx="2945659" cy="498055"/>
          </a:xfrm>
          <a:prstGeom prst="rect">
            <a:avLst/>
          </a:prstGeom>
        </p:spPr>
        <p:txBody>
          <a:bodyPr vert="horz" lIns="95553" tIns="47777" rIns="95553" bIns="47777" rtlCol="0" anchor="b"/>
          <a:lstStyle>
            <a:lvl1pPr algn="r">
              <a:defRPr sz="1300"/>
            </a:lvl1pPr>
          </a:lstStyle>
          <a:p>
            <a:fld id="{42FE49C8-BC63-4BE5-9142-452AB53F2205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068999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2347216" rtl="0" eaLnBrk="1" latinLnBrk="0" hangingPunct="1">
      <a:defRPr sz="3081" kern="1200">
        <a:solidFill>
          <a:schemeClr val="tx1"/>
        </a:solidFill>
        <a:latin typeface="+mn-lt"/>
        <a:ea typeface="+mn-ea"/>
        <a:cs typeface="+mn-cs"/>
      </a:defRPr>
    </a:lvl1pPr>
    <a:lvl2pPr marL="1173607" algn="l" defTabSz="2347216" rtl="0" eaLnBrk="1" latinLnBrk="0" hangingPunct="1">
      <a:defRPr sz="3081" kern="1200">
        <a:solidFill>
          <a:schemeClr val="tx1"/>
        </a:solidFill>
        <a:latin typeface="+mn-lt"/>
        <a:ea typeface="+mn-ea"/>
        <a:cs typeface="+mn-cs"/>
      </a:defRPr>
    </a:lvl2pPr>
    <a:lvl3pPr marL="2347216" algn="l" defTabSz="2347216" rtl="0" eaLnBrk="1" latinLnBrk="0" hangingPunct="1">
      <a:defRPr sz="3081" kern="1200">
        <a:solidFill>
          <a:schemeClr val="tx1"/>
        </a:solidFill>
        <a:latin typeface="+mn-lt"/>
        <a:ea typeface="+mn-ea"/>
        <a:cs typeface="+mn-cs"/>
      </a:defRPr>
    </a:lvl3pPr>
    <a:lvl4pPr marL="3520823" algn="l" defTabSz="2347216" rtl="0" eaLnBrk="1" latinLnBrk="0" hangingPunct="1">
      <a:defRPr sz="3081" kern="1200">
        <a:solidFill>
          <a:schemeClr val="tx1"/>
        </a:solidFill>
        <a:latin typeface="+mn-lt"/>
        <a:ea typeface="+mn-ea"/>
        <a:cs typeface="+mn-cs"/>
      </a:defRPr>
    </a:lvl4pPr>
    <a:lvl5pPr marL="4694432" algn="l" defTabSz="2347216" rtl="0" eaLnBrk="1" latinLnBrk="0" hangingPunct="1">
      <a:defRPr sz="3081" kern="1200">
        <a:solidFill>
          <a:schemeClr val="tx1"/>
        </a:solidFill>
        <a:latin typeface="+mn-lt"/>
        <a:ea typeface="+mn-ea"/>
        <a:cs typeface="+mn-cs"/>
      </a:defRPr>
    </a:lvl5pPr>
    <a:lvl6pPr marL="5868039" algn="l" defTabSz="2347216" rtl="0" eaLnBrk="1" latinLnBrk="0" hangingPunct="1">
      <a:defRPr sz="3081" kern="1200">
        <a:solidFill>
          <a:schemeClr val="tx1"/>
        </a:solidFill>
        <a:latin typeface="+mn-lt"/>
        <a:ea typeface="+mn-ea"/>
        <a:cs typeface="+mn-cs"/>
      </a:defRPr>
    </a:lvl6pPr>
    <a:lvl7pPr marL="7041649" algn="l" defTabSz="2347216" rtl="0" eaLnBrk="1" latinLnBrk="0" hangingPunct="1">
      <a:defRPr sz="3081" kern="1200">
        <a:solidFill>
          <a:schemeClr val="tx1"/>
        </a:solidFill>
        <a:latin typeface="+mn-lt"/>
        <a:ea typeface="+mn-ea"/>
        <a:cs typeface="+mn-cs"/>
      </a:defRPr>
    </a:lvl7pPr>
    <a:lvl8pPr marL="8215255" algn="l" defTabSz="2347216" rtl="0" eaLnBrk="1" latinLnBrk="0" hangingPunct="1">
      <a:defRPr sz="3081" kern="1200">
        <a:solidFill>
          <a:schemeClr val="tx1"/>
        </a:solidFill>
        <a:latin typeface="+mn-lt"/>
        <a:ea typeface="+mn-ea"/>
        <a:cs typeface="+mn-cs"/>
      </a:defRPr>
    </a:lvl8pPr>
    <a:lvl9pPr marL="9388865" algn="l" defTabSz="2347216" rtl="0" eaLnBrk="1" latinLnBrk="0" hangingPunct="1">
      <a:defRPr sz="3081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FE49C8-BC63-4BE5-9142-452AB53F2205}" type="slidenum">
              <a:rPr kumimoji="0" lang="nl-NL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nl-NL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559128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FE49C8-BC63-4BE5-9142-452AB53F2205}" type="slidenum">
              <a:rPr lang="nl-NL" smtClean="0"/>
              <a:t>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783513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png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png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.png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2.png"/><Relationship Id="rId5" Type="http://schemas.microsoft.com/office/2007/relationships/hdphoto" Target="../media/hdphoto2.wdp"/><Relationship Id="rId4" Type="http://schemas.openxmlformats.org/officeDocument/2006/relationships/image" Target="../media/image4.png"/></Relationships>
</file>

<file path=ppt/slideLayouts/_rels/slideLayout16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2.png"/><Relationship Id="rId5" Type="http://schemas.microsoft.com/office/2007/relationships/hdphoto" Target="../media/hdphoto2.wdp"/><Relationship Id="rId4" Type="http://schemas.openxmlformats.org/officeDocument/2006/relationships/image" Target="../media/image4.png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.png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6.png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.png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.png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.png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.png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.png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.png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.png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.png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.png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.png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.png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.png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9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.png"/><Relationship Id="rId5" Type="http://schemas.microsoft.com/office/2007/relationships/hdphoto" Target="../media/hdphoto2.wdp"/><Relationship Id="rId4" Type="http://schemas.openxmlformats.org/officeDocument/2006/relationships/image" Target="../media/image4.png"/></Relationships>
</file>

<file path=ppt/slideLayouts/_rels/slideLayout19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.png"/><Relationship Id="rId5" Type="http://schemas.microsoft.com/office/2007/relationships/hdphoto" Target="../media/hdphoto2.wdp"/><Relationship Id="rId4" Type="http://schemas.openxmlformats.org/officeDocument/2006/relationships/image" Target="../media/image4.png"/></Relationships>
</file>

<file path=ppt/slideLayouts/_rels/slideLayout19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.png"/><Relationship Id="rId5" Type="http://schemas.microsoft.com/office/2007/relationships/hdphoto" Target="../media/hdphoto2.wdp"/><Relationship Id="rId4" Type="http://schemas.openxmlformats.org/officeDocument/2006/relationships/image" Target="../media/image4.png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9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.png"/><Relationship Id="rId5" Type="http://schemas.microsoft.com/office/2007/relationships/hdphoto" Target="../media/hdphoto2.wdp"/><Relationship Id="rId4" Type="http://schemas.openxmlformats.org/officeDocument/2006/relationships/image" Target="../media/image4.png"/></Relationships>
</file>

<file path=ppt/slideLayouts/_rels/slideLayout19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.png"/><Relationship Id="rId5" Type="http://schemas.microsoft.com/office/2007/relationships/hdphoto" Target="../media/hdphoto2.wdp"/><Relationship Id="rId4" Type="http://schemas.openxmlformats.org/officeDocument/2006/relationships/image" Target="../media/image4.png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.png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7.xml"/><Relationship Id="rId4" Type="http://schemas.openxmlformats.org/officeDocument/2006/relationships/image" Target="../media/image23.emf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png"/><Relationship Id="rId5" Type="http://schemas.microsoft.com/office/2007/relationships/hdphoto" Target="../media/hdphoto2.wdp"/><Relationship Id="rId4" Type="http://schemas.openxmlformats.org/officeDocument/2006/relationships/image" Target="../media/image4.png"/></Relationships>
</file>

<file path=ppt/slideLayouts/_rels/slideLayout2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png"/><Relationship Id="rId5" Type="http://schemas.microsoft.com/office/2007/relationships/hdphoto" Target="../media/hdphoto2.wdp"/><Relationship Id="rId4" Type="http://schemas.openxmlformats.org/officeDocument/2006/relationships/image" Target="../media/image4.png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.png"/><Relationship Id="rId5" Type="http://schemas.microsoft.com/office/2007/relationships/hdphoto" Target="../media/hdphoto2.wdp"/><Relationship Id="rId4" Type="http://schemas.openxmlformats.org/officeDocument/2006/relationships/image" Target="../media/image4.png"/></Relationships>
</file>

<file path=ppt/slideLayouts/_rels/slideLayout5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.png"/><Relationship Id="rId5" Type="http://schemas.microsoft.com/office/2007/relationships/hdphoto" Target="../media/hdphoto2.wdp"/><Relationship Id="rId4" Type="http://schemas.openxmlformats.org/officeDocument/2006/relationships/image" Target="../media/image4.png"/></Relationships>
</file>

<file path=ppt/slideLayouts/_rels/slideLayout5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.png"/><Relationship Id="rId5" Type="http://schemas.microsoft.com/office/2007/relationships/hdphoto" Target="../media/hdphoto2.wdp"/><Relationship Id="rId4" Type="http://schemas.openxmlformats.org/officeDocument/2006/relationships/image" Target="../media/image4.png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.png"/><Relationship Id="rId5" Type="http://schemas.microsoft.com/office/2007/relationships/hdphoto" Target="../media/hdphoto2.wdp"/><Relationship Id="rId4" Type="http://schemas.openxmlformats.org/officeDocument/2006/relationships/image" Target="../media/image4.png"/></Relationships>
</file>

<file path=ppt/slideLayouts/_rels/slideLayout6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.png"/><Relationship Id="rId5" Type="http://schemas.microsoft.com/office/2007/relationships/hdphoto" Target="../media/hdphoto2.wdp"/><Relationship Id="rId4" Type="http://schemas.openxmlformats.org/officeDocument/2006/relationships/image" Target="../media/image4.png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png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pn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pn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pn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pn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pn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png"/><Relationship Id="rId5" Type="http://schemas.microsoft.com/office/2007/relationships/hdphoto" Target="../media/hdphoto2.wdp"/><Relationship Id="rId4" Type="http://schemas.openxmlformats.org/officeDocument/2006/relationships/image" Target="../media/image4.png"/></Relationships>
</file>

<file path=ppt/slideLayouts/_rels/slideLayout8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png"/><Relationship Id="rId5" Type="http://schemas.microsoft.com/office/2007/relationships/hdphoto" Target="../media/hdphoto2.wdp"/><Relationship Id="rId4" Type="http://schemas.openxmlformats.org/officeDocument/2006/relationships/image" Target="../media/image4.png"/></Relationships>
</file>

<file path=ppt/slideLayouts/_rels/slideLayout8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png"/><Relationship Id="rId5" Type="http://schemas.microsoft.com/office/2007/relationships/hdphoto" Target="../media/hdphoto2.wdp"/><Relationship Id="rId4" Type="http://schemas.openxmlformats.org/officeDocument/2006/relationships/image" Target="../media/image4.png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png"/><Relationship Id="rId5" Type="http://schemas.microsoft.com/office/2007/relationships/hdphoto" Target="../media/hdphoto2.wdp"/><Relationship Id="rId4" Type="http://schemas.openxmlformats.org/officeDocument/2006/relationships/image" Target="../media/image4.png"/></Relationships>
</file>

<file path=ppt/slideLayouts/_rels/slideLayout9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png"/><Relationship Id="rId5" Type="http://schemas.microsoft.com/office/2007/relationships/hdphoto" Target="../media/hdphoto2.wdp"/><Relationship Id="rId4" Type="http://schemas.openxmlformats.org/officeDocument/2006/relationships/image" Target="../media/image4.png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png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Relationship Id="rId4" Type="http://schemas.openxmlformats.org/officeDocument/2006/relationships/image" Target="../media/image2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22C8233F-3E7B-49DC-AC22-FB28BF26342E}"/>
              </a:ext>
            </a:extLst>
          </p:cNvPr>
          <p:cNvSpPr>
            <a:spLocks noGrp="1"/>
          </p:cNvSpPr>
          <p:nvPr userDrawn="1">
            <p:ph type="pic" sz="quarter" idx="35" hasCustomPrompt="1"/>
          </p:nvPr>
        </p:nvSpPr>
        <p:spPr>
          <a:xfrm>
            <a:off x="-5566" y="2543962"/>
            <a:ext cx="38729978" cy="22727433"/>
          </a:xfrm>
          <a:solidFill>
            <a:schemeClr val="bg1">
              <a:lumMod val="95000"/>
            </a:schemeClr>
          </a:solidFill>
        </p:spPr>
        <p:txBody>
          <a:bodyPr vert="horz" lIns="0" tIns="2880000" rIns="0" bIns="0" rtlCol="0">
            <a:normAutofit/>
          </a:bodyPr>
          <a:lstStyle>
            <a:lvl1pPr marL="319306" indent="-319306" algn="ctr">
              <a:spcBef>
                <a:spcPts val="0"/>
              </a:spcBef>
              <a:spcAft>
                <a:spcPts val="0"/>
              </a:spcAft>
              <a:buFont typeface="+mj-lt"/>
              <a:buNone/>
              <a:defRPr lang="nl-NL" sz="1677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319306" lvl="0" indent="-319306" algn="ctr"/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815D2346-2389-418D-A441-59E88FFEBE24}"/>
              </a:ext>
            </a:extLst>
          </p:cNvPr>
          <p:cNvSpPr>
            <a:spLocks noGrp="1"/>
          </p:cNvSpPr>
          <p:nvPr userDrawn="1">
            <p:ph type="body" sz="quarter" idx="31"/>
          </p:nvPr>
        </p:nvSpPr>
        <p:spPr>
          <a:xfrm>
            <a:off x="-3404" y="0"/>
            <a:ext cx="42770654" cy="25428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48">
                <a:solidFill>
                  <a:schemeClr val="bg1"/>
                </a:solidFill>
              </a:defRPr>
            </a:lvl1pPr>
          </a:lstStyle>
          <a:p>
            <a:pPr lvl="0"/>
            <a:endParaRPr lang="nl-NL" noProof="0"/>
          </a:p>
        </p:txBody>
      </p:sp>
      <p:sp>
        <p:nvSpPr>
          <p:cNvPr id="28" name="Tijdelijke aanduiding voor tekst 2">
            <a:extLst>
              <a:ext uri="{FF2B5EF4-FFF2-40B4-BE49-F238E27FC236}">
                <a16:creationId xmlns:a16="http://schemas.microsoft.com/office/drawing/2014/main" id="{7BDE5674-83BE-4E1D-873D-42FE9FEB8D5C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38726250" y="0"/>
            <a:ext cx="4041000" cy="30306998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48">
                <a:solidFill>
                  <a:schemeClr val="bg1"/>
                </a:solidFill>
              </a:defRPr>
            </a:lvl1pPr>
          </a:lstStyle>
          <a:p>
            <a:pPr lvl="0"/>
            <a:endParaRPr lang="nl-NL" noProof="0"/>
          </a:p>
        </p:txBody>
      </p:sp>
      <p:sp>
        <p:nvSpPr>
          <p:cNvPr id="30" name="Tijdelijke aanduiding voor tekst 2">
            <a:extLst>
              <a:ext uri="{FF2B5EF4-FFF2-40B4-BE49-F238E27FC236}">
                <a16:creationId xmlns:a16="http://schemas.microsoft.com/office/drawing/2014/main" id="{ED88654C-2F09-42A2-8633-BAD63AF9F763}"/>
              </a:ext>
            </a:extLst>
          </p:cNvPr>
          <p:cNvSpPr>
            <a:spLocks noGrp="1"/>
          </p:cNvSpPr>
          <p:nvPr userDrawn="1">
            <p:ph type="body" sz="quarter" idx="33"/>
          </p:nvPr>
        </p:nvSpPr>
        <p:spPr>
          <a:xfrm rot="16200000">
            <a:off x="18842932" y="6346689"/>
            <a:ext cx="5085600" cy="42771459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48">
                <a:solidFill>
                  <a:schemeClr val="bg1"/>
                </a:solidFill>
              </a:defRPr>
            </a:lvl1pPr>
          </a:lstStyle>
          <a:p>
            <a:pPr lvl="0"/>
            <a:endParaRPr lang="nl-NL" noProof="0"/>
          </a:p>
        </p:txBody>
      </p:sp>
      <p:sp>
        <p:nvSpPr>
          <p:cNvPr id="17" name="Tijdelijke aanduiding voor tekst 15">
            <a:extLst>
              <a:ext uri="{FF2B5EF4-FFF2-40B4-BE49-F238E27FC236}">
                <a16:creationId xmlns:a16="http://schemas.microsoft.com/office/drawing/2014/main" id="{7D35ADBF-F5AF-4BEF-A048-07416BC1D671}"/>
              </a:ext>
            </a:extLst>
          </p:cNvPr>
          <p:cNvSpPr>
            <a:spLocks noGrp="1"/>
          </p:cNvSpPr>
          <p:nvPr userDrawn="1">
            <p:ph type="body" sz="quarter" idx="43" hasCustomPrompt="1"/>
          </p:nvPr>
        </p:nvSpPr>
        <p:spPr>
          <a:xfrm>
            <a:off x="2596221" y="4421478"/>
            <a:ext cx="15869581" cy="8579805"/>
          </a:xfrm>
          <a:custGeom>
            <a:avLst/>
            <a:gdLst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4067 w 4524067"/>
              <a:gd name="connsiteY3" fmla="*/ 1604261 h 1943514"/>
              <a:gd name="connsiteX4" fmla="*/ 374342 w 4524067"/>
              <a:gd name="connsiteY4" fmla="*/ 1604261 h 1943514"/>
              <a:gd name="connsiteX5" fmla="*/ 374342 w 4524067"/>
              <a:gd name="connsiteY5" fmla="*/ 1604495 h 1943514"/>
              <a:gd name="connsiteX6" fmla="*/ 372031 w 4524067"/>
              <a:gd name="connsiteY6" fmla="*/ 1604262 h 1943514"/>
              <a:gd name="connsiteX7" fmla="*/ 7555 w 4524067"/>
              <a:gd name="connsiteY7" fmla="*/ 1901319 h 1943514"/>
              <a:gd name="connsiteX8" fmla="*/ 3301 w 4524067"/>
              <a:gd name="connsiteY8" fmla="*/ 1943514 h 1943514"/>
              <a:gd name="connsiteX9" fmla="*/ 0 w 4524067"/>
              <a:gd name="connsiteY9" fmla="*/ 1935545 h 1943514"/>
              <a:gd name="connsiteX10" fmla="*/ 0 w 4524067"/>
              <a:gd name="connsiteY10" fmla="*/ 71054 h 1943514"/>
              <a:gd name="connsiteX11" fmla="*/ 71054 w 4524067"/>
              <a:gd name="connsiteY11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524067 w 4524067"/>
              <a:gd name="connsiteY4" fmla="*/ 160426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524067 w 4524067"/>
              <a:gd name="connsiteY4" fmla="*/ 1604261 h 1943514"/>
              <a:gd name="connsiteX5" fmla="*/ 4481998 w 4524067"/>
              <a:gd name="connsiteY5" fmla="*/ 1606550 h 1943514"/>
              <a:gd name="connsiteX6" fmla="*/ 374342 w 4524067"/>
              <a:gd name="connsiteY6" fmla="*/ 1604261 h 1943514"/>
              <a:gd name="connsiteX7" fmla="*/ 374342 w 4524067"/>
              <a:gd name="connsiteY7" fmla="*/ 1604495 h 1943514"/>
              <a:gd name="connsiteX8" fmla="*/ 372031 w 4524067"/>
              <a:gd name="connsiteY8" fmla="*/ 1604262 h 1943514"/>
              <a:gd name="connsiteX9" fmla="*/ 7555 w 4524067"/>
              <a:gd name="connsiteY9" fmla="*/ 1901319 h 1943514"/>
              <a:gd name="connsiteX10" fmla="*/ 3301 w 4524067"/>
              <a:gd name="connsiteY10" fmla="*/ 1943514 h 1943514"/>
              <a:gd name="connsiteX11" fmla="*/ 0 w 4524067"/>
              <a:gd name="connsiteY11" fmla="*/ 1935545 h 1943514"/>
              <a:gd name="connsiteX12" fmla="*/ 0 w 4524067"/>
              <a:gd name="connsiteY12" fmla="*/ 71054 h 1943514"/>
              <a:gd name="connsiteX13" fmla="*/ 71054 w 4524067"/>
              <a:gd name="connsiteY13" fmla="*/ 0 h 1943514"/>
              <a:gd name="connsiteX0" fmla="*/ 71054 w 4799095"/>
              <a:gd name="connsiteY0" fmla="*/ 0 h 1943514"/>
              <a:gd name="connsiteX1" fmla="*/ 4453013 w 4799095"/>
              <a:gd name="connsiteY1" fmla="*/ 0 h 1943514"/>
              <a:gd name="connsiteX2" fmla="*/ 4524067 w 4799095"/>
              <a:gd name="connsiteY2" fmla="*/ 71054 h 1943514"/>
              <a:gd name="connsiteX3" fmla="*/ 4522480 w 4799095"/>
              <a:gd name="connsiteY3" fmla="*/ 1547019 h 1943514"/>
              <a:gd name="connsiteX4" fmla="*/ 4524067 w 4799095"/>
              <a:gd name="connsiteY4" fmla="*/ 1604261 h 1943514"/>
              <a:gd name="connsiteX5" fmla="*/ 4481998 w 4799095"/>
              <a:gd name="connsiteY5" fmla="*/ 1606550 h 1943514"/>
              <a:gd name="connsiteX6" fmla="*/ 374342 w 4799095"/>
              <a:gd name="connsiteY6" fmla="*/ 1604261 h 1943514"/>
              <a:gd name="connsiteX7" fmla="*/ 374342 w 4799095"/>
              <a:gd name="connsiteY7" fmla="*/ 1604495 h 1943514"/>
              <a:gd name="connsiteX8" fmla="*/ 372031 w 4799095"/>
              <a:gd name="connsiteY8" fmla="*/ 1604262 h 1943514"/>
              <a:gd name="connsiteX9" fmla="*/ 7555 w 4799095"/>
              <a:gd name="connsiteY9" fmla="*/ 1901319 h 1943514"/>
              <a:gd name="connsiteX10" fmla="*/ 3301 w 4799095"/>
              <a:gd name="connsiteY10" fmla="*/ 1943514 h 1943514"/>
              <a:gd name="connsiteX11" fmla="*/ 0 w 4799095"/>
              <a:gd name="connsiteY11" fmla="*/ 1935545 h 1943514"/>
              <a:gd name="connsiteX12" fmla="*/ 0 w 4799095"/>
              <a:gd name="connsiteY12" fmla="*/ 71054 h 1943514"/>
              <a:gd name="connsiteX13" fmla="*/ 71054 w 4799095"/>
              <a:gd name="connsiteY13" fmla="*/ 0 h 1943514"/>
              <a:gd name="connsiteX0" fmla="*/ 71054 w 4798479"/>
              <a:gd name="connsiteY0" fmla="*/ 0 h 1943514"/>
              <a:gd name="connsiteX1" fmla="*/ 4453013 w 4798479"/>
              <a:gd name="connsiteY1" fmla="*/ 0 h 1943514"/>
              <a:gd name="connsiteX2" fmla="*/ 4524067 w 4798479"/>
              <a:gd name="connsiteY2" fmla="*/ 71054 h 1943514"/>
              <a:gd name="connsiteX3" fmla="*/ 4522480 w 4798479"/>
              <a:gd name="connsiteY3" fmla="*/ 1547019 h 1943514"/>
              <a:gd name="connsiteX4" fmla="*/ 4481998 w 4798479"/>
              <a:gd name="connsiteY4" fmla="*/ 1606550 h 1943514"/>
              <a:gd name="connsiteX5" fmla="*/ 374342 w 4798479"/>
              <a:gd name="connsiteY5" fmla="*/ 1604261 h 1943514"/>
              <a:gd name="connsiteX6" fmla="*/ 374342 w 4798479"/>
              <a:gd name="connsiteY6" fmla="*/ 1604495 h 1943514"/>
              <a:gd name="connsiteX7" fmla="*/ 372031 w 4798479"/>
              <a:gd name="connsiteY7" fmla="*/ 1604262 h 1943514"/>
              <a:gd name="connsiteX8" fmla="*/ 7555 w 4798479"/>
              <a:gd name="connsiteY8" fmla="*/ 1901319 h 1943514"/>
              <a:gd name="connsiteX9" fmla="*/ 3301 w 4798479"/>
              <a:gd name="connsiteY9" fmla="*/ 1943514 h 1943514"/>
              <a:gd name="connsiteX10" fmla="*/ 0 w 4798479"/>
              <a:gd name="connsiteY10" fmla="*/ 1935545 h 1943514"/>
              <a:gd name="connsiteX11" fmla="*/ 0 w 4798479"/>
              <a:gd name="connsiteY11" fmla="*/ 71054 h 1943514"/>
              <a:gd name="connsiteX12" fmla="*/ 71054 w 4798479"/>
              <a:gd name="connsiteY12" fmla="*/ 0 h 1943514"/>
              <a:gd name="connsiteX0" fmla="*/ 71054 w 4801282"/>
              <a:gd name="connsiteY0" fmla="*/ 0 h 1943514"/>
              <a:gd name="connsiteX1" fmla="*/ 4453013 w 4801282"/>
              <a:gd name="connsiteY1" fmla="*/ 0 h 1943514"/>
              <a:gd name="connsiteX2" fmla="*/ 4524067 w 4801282"/>
              <a:gd name="connsiteY2" fmla="*/ 71054 h 1943514"/>
              <a:gd name="connsiteX3" fmla="*/ 4522480 w 4801282"/>
              <a:gd name="connsiteY3" fmla="*/ 1547019 h 1943514"/>
              <a:gd name="connsiteX4" fmla="*/ 4481998 w 4801282"/>
              <a:gd name="connsiteY4" fmla="*/ 1606550 h 1943514"/>
              <a:gd name="connsiteX5" fmla="*/ 374342 w 4801282"/>
              <a:gd name="connsiteY5" fmla="*/ 1604261 h 1943514"/>
              <a:gd name="connsiteX6" fmla="*/ 374342 w 4801282"/>
              <a:gd name="connsiteY6" fmla="*/ 1604495 h 1943514"/>
              <a:gd name="connsiteX7" fmla="*/ 372031 w 4801282"/>
              <a:gd name="connsiteY7" fmla="*/ 1604262 h 1943514"/>
              <a:gd name="connsiteX8" fmla="*/ 7555 w 4801282"/>
              <a:gd name="connsiteY8" fmla="*/ 1901319 h 1943514"/>
              <a:gd name="connsiteX9" fmla="*/ 3301 w 4801282"/>
              <a:gd name="connsiteY9" fmla="*/ 1943514 h 1943514"/>
              <a:gd name="connsiteX10" fmla="*/ 0 w 4801282"/>
              <a:gd name="connsiteY10" fmla="*/ 1935545 h 1943514"/>
              <a:gd name="connsiteX11" fmla="*/ 0 w 4801282"/>
              <a:gd name="connsiteY11" fmla="*/ 71054 h 1943514"/>
              <a:gd name="connsiteX12" fmla="*/ 71054 w 4801282"/>
              <a:gd name="connsiteY12" fmla="*/ 0 h 1943514"/>
              <a:gd name="connsiteX0" fmla="*/ 71054 w 4527104"/>
              <a:gd name="connsiteY0" fmla="*/ 0 h 1943514"/>
              <a:gd name="connsiteX1" fmla="*/ 4453013 w 4527104"/>
              <a:gd name="connsiteY1" fmla="*/ 0 h 1943514"/>
              <a:gd name="connsiteX2" fmla="*/ 4524067 w 4527104"/>
              <a:gd name="connsiteY2" fmla="*/ 71054 h 1943514"/>
              <a:gd name="connsiteX3" fmla="*/ 4522480 w 4527104"/>
              <a:gd name="connsiteY3" fmla="*/ 1547019 h 1943514"/>
              <a:gd name="connsiteX4" fmla="*/ 4481998 w 4527104"/>
              <a:gd name="connsiteY4" fmla="*/ 1606550 h 1943514"/>
              <a:gd name="connsiteX5" fmla="*/ 374342 w 4527104"/>
              <a:gd name="connsiteY5" fmla="*/ 1604261 h 1943514"/>
              <a:gd name="connsiteX6" fmla="*/ 374342 w 4527104"/>
              <a:gd name="connsiteY6" fmla="*/ 1604495 h 1943514"/>
              <a:gd name="connsiteX7" fmla="*/ 372031 w 4527104"/>
              <a:gd name="connsiteY7" fmla="*/ 1604262 h 1943514"/>
              <a:gd name="connsiteX8" fmla="*/ 7555 w 4527104"/>
              <a:gd name="connsiteY8" fmla="*/ 1901319 h 1943514"/>
              <a:gd name="connsiteX9" fmla="*/ 3301 w 4527104"/>
              <a:gd name="connsiteY9" fmla="*/ 1943514 h 1943514"/>
              <a:gd name="connsiteX10" fmla="*/ 0 w 4527104"/>
              <a:gd name="connsiteY10" fmla="*/ 1935545 h 1943514"/>
              <a:gd name="connsiteX11" fmla="*/ 0 w 4527104"/>
              <a:gd name="connsiteY11" fmla="*/ 71054 h 1943514"/>
              <a:gd name="connsiteX12" fmla="*/ 71054 w 4527104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81998 w 4524067"/>
              <a:gd name="connsiteY4" fmla="*/ 1606550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81998 w 4524067"/>
              <a:gd name="connsiteY4" fmla="*/ 1606550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81998 w 4524067"/>
              <a:gd name="connsiteY4" fmla="*/ 1606550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16062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16062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16062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524067" h="1943514">
                <a:moveTo>
                  <a:pt x="71054" y="0"/>
                </a:moveTo>
                <a:lnTo>
                  <a:pt x="4453013" y="0"/>
                </a:lnTo>
                <a:cubicBezTo>
                  <a:pt x="4492255" y="0"/>
                  <a:pt x="4524067" y="31812"/>
                  <a:pt x="4524067" y="71054"/>
                </a:cubicBezTo>
                <a:cubicBezTo>
                  <a:pt x="4523538" y="552723"/>
                  <a:pt x="4522346" y="1479221"/>
                  <a:pt x="4522480" y="1516062"/>
                </a:cubicBezTo>
                <a:cubicBezTo>
                  <a:pt x="4522614" y="1552903"/>
                  <a:pt x="4525654" y="1606535"/>
                  <a:pt x="4458185" y="1608931"/>
                </a:cubicBezTo>
                <a:cubicBezTo>
                  <a:pt x="4390716" y="1611327"/>
                  <a:pt x="1735623" y="1605818"/>
                  <a:pt x="374342" y="1604261"/>
                </a:cubicBezTo>
                <a:lnTo>
                  <a:pt x="374342" y="1604495"/>
                </a:lnTo>
                <a:lnTo>
                  <a:pt x="372031" y="1604262"/>
                </a:lnTo>
                <a:cubicBezTo>
                  <a:pt x="192246" y="1604262"/>
                  <a:pt x="42246" y="1731789"/>
                  <a:pt x="7555" y="1901319"/>
                </a:cubicBezTo>
                <a:lnTo>
                  <a:pt x="3301" y="1943514"/>
                </a:lnTo>
                <a:lnTo>
                  <a:pt x="0" y="1935545"/>
                </a:lnTo>
                <a:lnTo>
                  <a:pt x="0" y="71054"/>
                </a:lnTo>
                <a:cubicBezTo>
                  <a:pt x="0" y="31812"/>
                  <a:pt x="31812" y="0"/>
                  <a:pt x="71054" y="0"/>
                </a:cubicBezTo>
                <a:close/>
              </a:path>
            </a:pathLst>
          </a:custGeom>
          <a:solidFill>
            <a:schemeClr val="bg2">
              <a:alpha val="85000"/>
            </a:schemeClr>
          </a:solidFill>
        </p:spPr>
        <p:txBody>
          <a:bodyPr wrap="square" lIns="360000" tIns="144000" rIns="360000" bIns="180000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5587" b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3352" b="0">
                <a:solidFill>
                  <a:schemeClr val="bg1"/>
                </a:solidFill>
              </a:defRPr>
            </a:lvl5pPr>
            <a:lvl9pPr>
              <a:defRPr sz="5028">
                <a:solidFill>
                  <a:schemeClr val="bg1"/>
                </a:solidFill>
              </a:defRPr>
            </a:lvl9pPr>
          </a:lstStyle>
          <a:p>
            <a:pPr lvl="0"/>
            <a:r>
              <a:rPr lang="nl-NL" noProof="0"/>
              <a:t>Klik om tekst in te voegen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B5843EA3-8D9E-4442-9E97-1352961F62DC}"/>
              </a:ext>
            </a:extLst>
          </p:cNvPr>
          <p:cNvSpPr>
            <a:spLocks noGrp="1"/>
          </p:cNvSpPr>
          <p:nvPr userDrawn="1">
            <p:ph type="body" sz="quarter" idx="44" hasCustomPrompt="1"/>
          </p:nvPr>
        </p:nvSpPr>
        <p:spPr>
          <a:xfrm>
            <a:off x="3903639" y="26698986"/>
            <a:ext cx="14562167" cy="905997"/>
          </a:xfrm>
        </p:spPr>
        <p:txBody>
          <a:bodyPr/>
          <a:lstStyle>
            <a:lvl1pPr marL="0" indent="0">
              <a:buFontTx/>
              <a:buNone/>
              <a:defRPr sz="1677" b="0">
                <a:solidFill>
                  <a:schemeClr val="tx2"/>
                </a:solidFill>
              </a:defRPr>
            </a:lvl1pPr>
          </a:lstStyle>
          <a:p>
            <a:r>
              <a:rPr lang="nl-NL"/>
              <a:t>Naam   l   Afdeling   l   Datum</a:t>
            </a:r>
          </a:p>
          <a:p>
            <a:endParaRPr lang="nl-NL"/>
          </a:p>
        </p:txBody>
      </p:sp>
      <p:sp>
        <p:nvSpPr>
          <p:cNvPr id="93" name="Tijdelijke aanduiding voor tekst 3">
            <a:extLst>
              <a:ext uri="{FF2B5EF4-FFF2-40B4-BE49-F238E27FC236}">
                <a16:creationId xmlns:a16="http://schemas.microsoft.com/office/drawing/2014/main" id="{ABD8BE62-C6E3-4AF1-BB04-29678FB69637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34060482" y="24070405"/>
            <a:ext cx="6635240" cy="3534584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248"/>
            </a:lvl1pPr>
          </a:lstStyle>
          <a:p>
            <a:pPr lvl="0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98728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4250" fill="hold"/>
                                        <p:tgtEl>
                                          <p:spTgt spid="7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7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hoekje 8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-5562" y="6476689"/>
            <a:ext cx="42767255" cy="23798532"/>
          </a:xfrm>
          <a:solidFill>
            <a:schemeClr val="bg1">
              <a:lumMod val="95000"/>
            </a:schemeClr>
          </a:solidFill>
        </p:spPr>
        <p:txBody>
          <a:bodyPr tIns="1044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677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42378" y="1766065"/>
            <a:ext cx="32281087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0" name="Tijdelijke aanduiding voor voettekst 4">
            <a:extLst>
              <a:ext uri="{FF2B5EF4-FFF2-40B4-BE49-F238E27FC236}">
                <a16:creationId xmlns:a16="http://schemas.microsoft.com/office/drawing/2014/main" id="{1DA20FBD-9D0F-4EAB-B12C-126591D8B7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7" y="27345278"/>
            <a:ext cx="1802756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6644E39-2AF2-4EA0-9C3F-28C89D5A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5" y="27329717"/>
            <a:ext cx="828947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7" name="Tijdelijke aanduiding voor tekst 14">
            <a:extLst>
              <a:ext uri="{FF2B5EF4-FFF2-40B4-BE49-F238E27FC236}">
                <a16:creationId xmlns:a16="http://schemas.microsoft.com/office/drawing/2014/main" id="{A6BF4B27-7FC5-4896-80CE-3BA6119B83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78" y="3469430"/>
            <a:ext cx="32281087" cy="1195424"/>
          </a:xfrm>
        </p:spPr>
        <p:txBody>
          <a:bodyPr>
            <a:noAutofit/>
          </a:bodyPr>
          <a:lstStyle>
            <a:lvl1pPr marL="0" indent="0">
              <a:buNone/>
              <a:defRPr sz="2794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15" name="Tijdelijke aanduiding voor datum 3">
            <a:extLst>
              <a:ext uri="{FF2B5EF4-FFF2-40B4-BE49-F238E27FC236}">
                <a16:creationId xmlns:a16="http://schemas.microsoft.com/office/drawing/2014/main" id="{B4AED1A4-683A-4021-8F91-6EB13C2447C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50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503FAE-A68E-49CA-B3F3-F3703A2361C4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26" name="Tijdelijke aanduiding voor tekst 3">
            <a:extLst>
              <a:ext uri="{FF2B5EF4-FFF2-40B4-BE49-F238E27FC236}">
                <a16:creationId xmlns:a16="http://schemas.microsoft.com/office/drawing/2014/main" id="{3A586398-8104-4AD7-A024-8ECF8764CDF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926346" y="8948025"/>
            <a:ext cx="1525801" cy="1913241"/>
          </a:xfrm>
          <a:custGeom>
            <a:avLst/>
            <a:gdLst>
              <a:gd name="connsiteX0" fmla="*/ 0 w 1174750"/>
              <a:gd name="connsiteY0" fmla="*/ 0 h 923925"/>
              <a:gd name="connsiteX1" fmla="*/ 1174750 w 1174750"/>
              <a:gd name="connsiteY1" fmla="*/ 0 h 923925"/>
              <a:gd name="connsiteX2" fmla="*/ 1174750 w 1174750"/>
              <a:gd name="connsiteY2" fmla="*/ 923925 h 923925"/>
              <a:gd name="connsiteX3" fmla="*/ 0 w 1174750"/>
              <a:gd name="connsiteY3" fmla="*/ 923925 h 923925"/>
              <a:gd name="connsiteX4" fmla="*/ 0 w 1174750"/>
              <a:gd name="connsiteY4" fmla="*/ 0 h 923925"/>
              <a:gd name="connsiteX0" fmla="*/ 1174750 w 1266190"/>
              <a:gd name="connsiteY0" fmla="*/ 923925 h 1015365"/>
              <a:gd name="connsiteX1" fmla="*/ 0 w 1266190"/>
              <a:gd name="connsiteY1" fmla="*/ 923925 h 1015365"/>
              <a:gd name="connsiteX2" fmla="*/ 0 w 1266190"/>
              <a:gd name="connsiteY2" fmla="*/ 0 h 1015365"/>
              <a:gd name="connsiteX3" fmla="*/ 1174750 w 1266190"/>
              <a:gd name="connsiteY3" fmla="*/ 0 h 1015365"/>
              <a:gd name="connsiteX4" fmla="*/ 1266190 w 1266190"/>
              <a:gd name="connsiteY4" fmla="*/ 1015365 h 1015365"/>
              <a:gd name="connsiteX0" fmla="*/ 1174750 w 1174750"/>
              <a:gd name="connsiteY0" fmla="*/ 923925 h 923925"/>
              <a:gd name="connsiteX1" fmla="*/ 0 w 1174750"/>
              <a:gd name="connsiteY1" fmla="*/ 923925 h 923925"/>
              <a:gd name="connsiteX2" fmla="*/ 0 w 1174750"/>
              <a:gd name="connsiteY2" fmla="*/ 0 h 923925"/>
              <a:gd name="connsiteX3" fmla="*/ 1174750 w 1174750"/>
              <a:gd name="connsiteY3" fmla="*/ 0 h 923925"/>
              <a:gd name="connsiteX0" fmla="*/ 0 w 1174750"/>
              <a:gd name="connsiteY0" fmla="*/ 923925 h 923925"/>
              <a:gd name="connsiteX1" fmla="*/ 0 w 1174750"/>
              <a:gd name="connsiteY1" fmla="*/ 0 h 923925"/>
              <a:gd name="connsiteX2" fmla="*/ 1174750 w 1174750"/>
              <a:gd name="connsiteY2" fmla="*/ 0 h 923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74750" h="923925">
                <a:moveTo>
                  <a:pt x="0" y="923925"/>
                </a:moveTo>
                <a:lnTo>
                  <a:pt x="0" y="0"/>
                </a:lnTo>
                <a:lnTo>
                  <a:pt x="1174750" y="0"/>
                </a:lnTo>
              </a:path>
            </a:pathLst>
          </a:custGeom>
          <a:ln w="190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  <a:alpha val="0"/>
                  </a:schemeClr>
                </a:solidFill>
              </a:defRPr>
            </a:lvl1pPr>
          </a:lstStyle>
          <a:p>
            <a:pPr lvl="0"/>
            <a:endParaRPr lang="nl-NL" noProof="0"/>
          </a:p>
        </p:txBody>
      </p:sp>
      <p:sp>
        <p:nvSpPr>
          <p:cNvPr id="27" name="Tijdelijke aanduiding voor tekst 4">
            <a:extLst>
              <a:ext uri="{FF2B5EF4-FFF2-40B4-BE49-F238E27FC236}">
                <a16:creationId xmlns:a16="http://schemas.microsoft.com/office/drawing/2014/main" id="{F6F978E4-0108-406E-AB96-5F885709DC6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890134" y="8914380"/>
            <a:ext cx="16488777" cy="7793064"/>
          </a:xfrm>
          <a:noFill/>
        </p:spPr>
        <p:txBody>
          <a:bodyPr lIns="360000" tIns="288000" rIns="360000" bIns="36000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3352" b="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/>
              <a:t>Klik om tekst in te voegen</a:t>
            </a:r>
          </a:p>
        </p:txBody>
      </p:sp>
      <p:sp>
        <p:nvSpPr>
          <p:cNvPr id="32" name="Tijdelijke aanduiding voor tekst 5">
            <a:extLst>
              <a:ext uri="{FF2B5EF4-FFF2-40B4-BE49-F238E27FC236}">
                <a16:creationId xmlns:a16="http://schemas.microsoft.com/office/drawing/2014/main" id="{E42E3748-C94C-4A0F-BA64-33E6792422C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7833623" y="14745156"/>
            <a:ext cx="1511889" cy="1948272"/>
          </a:xfrm>
          <a:custGeom>
            <a:avLst/>
            <a:gdLst>
              <a:gd name="connsiteX0" fmla="*/ 0 w 1014412"/>
              <a:gd name="connsiteY0" fmla="*/ 196584 h 908050"/>
              <a:gd name="connsiteX1" fmla="*/ 196584 w 1014412"/>
              <a:gd name="connsiteY1" fmla="*/ 0 h 908050"/>
              <a:gd name="connsiteX2" fmla="*/ 817828 w 1014412"/>
              <a:gd name="connsiteY2" fmla="*/ 0 h 908050"/>
              <a:gd name="connsiteX3" fmla="*/ 1014412 w 1014412"/>
              <a:gd name="connsiteY3" fmla="*/ 196584 h 908050"/>
              <a:gd name="connsiteX4" fmla="*/ 1014412 w 1014412"/>
              <a:gd name="connsiteY4" fmla="*/ 711466 h 908050"/>
              <a:gd name="connsiteX5" fmla="*/ 817828 w 1014412"/>
              <a:gd name="connsiteY5" fmla="*/ 908050 h 908050"/>
              <a:gd name="connsiteX6" fmla="*/ 196584 w 1014412"/>
              <a:gd name="connsiteY6" fmla="*/ 908050 h 908050"/>
              <a:gd name="connsiteX7" fmla="*/ 0 w 1014412"/>
              <a:gd name="connsiteY7" fmla="*/ 711466 h 908050"/>
              <a:gd name="connsiteX8" fmla="*/ 0 w 1014412"/>
              <a:gd name="connsiteY8" fmla="*/ 196584 h 908050"/>
              <a:gd name="connsiteX0" fmla="*/ 1014412 w 1105852"/>
              <a:gd name="connsiteY0" fmla="*/ 196584 h 908050"/>
              <a:gd name="connsiteX1" fmla="*/ 1014412 w 1105852"/>
              <a:gd name="connsiteY1" fmla="*/ 711466 h 908050"/>
              <a:gd name="connsiteX2" fmla="*/ 817828 w 1105852"/>
              <a:gd name="connsiteY2" fmla="*/ 908050 h 908050"/>
              <a:gd name="connsiteX3" fmla="*/ 196584 w 1105852"/>
              <a:gd name="connsiteY3" fmla="*/ 908050 h 908050"/>
              <a:gd name="connsiteX4" fmla="*/ 0 w 1105852"/>
              <a:gd name="connsiteY4" fmla="*/ 711466 h 908050"/>
              <a:gd name="connsiteX5" fmla="*/ 0 w 1105852"/>
              <a:gd name="connsiteY5" fmla="*/ 196584 h 908050"/>
              <a:gd name="connsiteX6" fmla="*/ 196584 w 1105852"/>
              <a:gd name="connsiteY6" fmla="*/ 0 h 908050"/>
              <a:gd name="connsiteX7" fmla="*/ 817828 w 1105852"/>
              <a:gd name="connsiteY7" fmla="*/ 0 h 908050"/>
              <a:gd name="connsiteX8" fmla="*/ 1105852 w 1105852"/>
              <a:gd name="connsiteY8" fmla="*/ 288024 h 908050"/>
              <a:gd name="connsiteX0" fmla="*/ 1014412 w 1014412"/>
              <a:gd name="connsiteY0" fmla="*/ 196584 h 908050"/>
              <a:gd name="connsiteX1" fmla="*/ 1014412 w 1014412"/>
              <a:gd name="connsiteY1" fmla="*/ 711466 h 908050"/>
              <a:gd name="connsiteX2" fmla="*/ 817828 w 1014412"/>
              <a:gd name="connsiteY2" fmla="*/ 908050 h 908050"/>
              <a:gd name="connsiteX3" fmla="*/ 196584 w 1014412"/>
              <a:gd name="connsiteY3" fmla="*/ 908050 h 908050"/>
              <a:gd name="connsiteX4" fmla="*/ 0 w 1014412"/>
              <a:gd name="connsiteY4" fmla="*/ 711466 h 908050"/>
              <a:gd name="connsiteX5" fmla="*/ 0 w 1014412"/>
              <a:gd name="connsiteY5" fmla="*/ 196584 h 908050"/>
              <a:gd name="connsiteX6" fmla="*/ 196584 w 1014412"/>
              <a:gd name="connsiteY6" fmla="*/ 0 h 908050"/>
              <a:gd name="connsiteX7" fmla="*/ 817828 w 1014412"/>
              <a:gd name="connsiteY7" fmla="*/ 0 h 908050"/>
              <a:gd name="connsiteX0" fmla="*/ 1014412 w 1014412"/>
              <a:gd name="connsiteY0" fmla="*/ 196584 h 908050"/>
              <a:gd name="connsiteX1" fmla="*/ 1014412 w 1014412"/>
              <a:gd name="connsiteY1" fmla="*/ 711466 h 908050"/>
              <a:gd name="connsiteX2" fmla="*/ 817828 w 1014412"/>
              <a:gd name="connsiteY2" fmla="*/ 908050 h 908050"/>
              <a:gd name="connsiteX3" fmla="*/ 196584 w 1014412"/>
              <a:gd name="connsiteY3" fmla="*/ 908050 h 908050"/>
              <a:gd name="connsiteX4" fmla="*/ 0 w 1014412"/>
              <a:gd name="connsiteY4" fmla="*/ 711466 h 908050"/>
              <a:gd name="connsiteX5" fmla="*/ 0 w 1014412"/>
              <a:gd name="connsiteY5" fmla="*/ 196584 h 908050"/>
              <a:gd name="connsiteX6" fmla="*/ 196584 w 1014412"/>
              <a:gd name="connsiteY6" fmla="*/ 0 h 908050"/>
              <a:gd name="connsiteX0" fmla="*/ 1014412 w 1014412"/>
              <a:gd name="connsiteY0" fmla="*/ 0 h 711466"/>
              <a:gd name="connsiteX1" fmla="*/ 1014412 w 1014412"/>
              <a:gd name="connsiteY1" fmla="*/ 514882 h 711466"/>
              <a:gd name="connsiteX2" fmla="*/ 817828 w 1014412"/>
              <a:gd name="connsiteY2" fmla="*/ 711466 h 711466"/>
              <a:gd name="connsiteX3" fmla="*/ 196584 w 1014412"/>
              <a:gd name="connsiteY3" fmla="*/ 711466 h 711466"/>
              <a:gd name="connsiteX4" fmla="*/ 0 w 1014412"/>
              <a:gd name="connsiteY4" fmla="*/ 514882 h 711466"/>
              <a:gd name="connsiteX5" fmla="*/ 0 w 1014412"/>
              <a:gd name="connsiteY5" fmla="*/ 0 h 711466"/>
              <a:gd name="connsiteX0" fmla="*/ 1014412 w 1014412"/>
              <a:gd name="connsiteY0" fmla="*/ 0 h 711466"/>
              <a:gd name="connsiteX1" fmla="*/ 1014412 w 1014412"/>
              <a:gd name="connsiteY1" fmla="*/ 514882 h 711466"/>
              <a:gd name="connsiteX2" fmla="*/ 817828 w 1014412"/>
              <a:gd name="connsiteY2" fmla="*/ 711466 h 711466"/>
              <a:gd name="connsiteX3" fmla="*/ 196584 w 1014412"/>
              <a:gd name="connsiteY3" fmla="*/ 711466 h 711466"/>
              <a:gd name="connsiteX4" fmla="*/ 0 w 1014412"/>
              <a:gd name="connsiteY4" fmla="*/ 514882 h 711466"/>
              <a:gd name="connsiteX0" fmla="*/ 817828 w 817828"/>
              <a:gd name="connsiteY0" fmla="*/ 0 h 711466"/>
              <a:gd name="connsiteX1" fmla="*/ 817828 w 817828"/>
              <a:gd name="connsiteY1" fmla="*/ 514882 h 711466"/>
              <a:gd name="connsiteX2" fmla="*/ 621244 w 817828"/>
              <a:gd name="connsiteY2" fmla="*/ 711466 h 711466"/>
              <a:gd name="connsiteX3" fmla="*/ 0 w 817828"/>
              <a:gd name="connsiteY3" fmla="*/ 711466 h 711466"/>
              <a:gd name="connsiteX0" fmla="*/ 817828 w 817828"/>
              <a:gd name="connsiteY0" fmla="*/ 0 h 711466"/>
              <a:gd name="connsiteX1" fmla="*/ 815446 w 817828"/>
              <a:gd name="connsiteY1" fmla="*/ 270140 h 711466"/>
              <a:gd name="connsiteX2" fmla="*/ 817828 w 817828"/>
              <a:gd name="connsiteY2" fmla="*/ 514882 h 711466"/>
              <a:gd name="connsiteX3" fmla="*/ 621244 w 817828"/>
              <a:gd name="connsiteY3" fmla="*/ 711466 h 711466"/>
              <a:gd name="connsiteX4" fmla="*/ 0 w 817828"/>
              <a:gd name="connsiteY4" fmla="*/ 711466 h 711466"/>
              <a:gd name="connsiteX0" fmla="*/ 817828 w 817828"/>
              <a:gd name="connsiteY0" fmla="*/ 0 h 711466"/>
              <a:gd name="connsiteX1" fmla="*/ 815446 w 817828"/>
              <a:gd name="connsiteY1" fmla="*/ 270140 h 711466"/>
              <a:gd name="connsiteX2" fmla="*/ 817828 w 817828"/>
              <a:gd name="connsiteY2" fmla="*/ 514882 h 711466"/>
              <a:gd name="connsiteX3" fmla="*/ 621244 w 817828"/>
              <a:gd name="connsiteY3" fmla="*/ 711466 h 711466"/>
              <a:gd name="connsiteX4" fmla="*/ 386821 w 817828"/>
              <a:gd name="connsiteY4" fmla="*/ 708290 h 711466"/>
              <a:gd name="connsiteX5" fmla="*/ 0 w 817828"/>
              <a:gd name="connsiteY5" fmla="*/ 711466 h 711466"/>
              <a:gd name="connsiteX0" fmla="*/ 431007 w 431007"/>
              <a:gd name="connsiteY0" fmla="*/ 0 h 711466"/>
              <a:gd name="connsiteX1" fmla="*/ 428625 w 431007"/>
              <a:gd name="connsiteY1" fmla="*/ 270140 h 711466"/>
              <a:gd name="connsiteX2" fmla="*/ 431007 w 431007"/>
              <a:gd name="connsiteY2" fmla="*/ 514882 h 711466"/>
              <a:gd name="connsiteX3" fmla="*/ 234423 w 431007"/>
              <a:gd name="connsiteY3" fmla="*/ 711466 h 711466"/>
              <a:gd name="connsiteX4" fmla="*/ 0 w 431007"/>
              <a:gd name="connsiteY4" fmla="*/ 708290 h 711466"/>
              <a:gd name="connsiteX0" fmla="*/ 428625 w 431007"/>
              <a:gd name="connsiteY0" fmla="*/ 0 h 441326"/>
              <a:gd name="connsiteX1" fmla="*/ 431007 w 431007"/>
              <a:gd name="connsiteY1" fmla="*/ 244742 h 441326"/>
              <a:gd name="connsiteX2" fmla="*/ 234423 w 431007"/>
              <a:gd name="connsiteY2" fmla="*/ 441326 h 441326"/>
              <a:gd name="connsiteX3" fmla="*/ 0 w 431007"/>
              <a:gd name="connsiteY3" fmla="*/ 438150 h 441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007" h="441326">
                <a:moveTo>
                  <a:pt x="428625" y="0"/>
                </a:moveTo>
                <a:lnTo>
                  <a:pt x="431007" y="244742"/>
                </a:lnTo>
                <a:cubicBezTo>
                  <a:pt x="431007" y="353312"/>
                  <a:pt x="342993" y="441326"/>
                  <a:pt x="234423" y="441326"/>
                </a:cubicBezTo>
                <a:lnTo>
                  <a:pt x="0" y="438150"/>
                </a:lnTo>
              </a:path>
            </a:pathLst>
          </a:custGeom>
          <a:noFill/>
          <a:ln w="15875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  <a:alpha val="0"/>
                  </a:schemeClr>
                </a:solidFill>
              </a:defRPr>
            </a:lvl1pPr>
          </a:lstStyle>
          <a:p>
            <a:pPr lvl="0"/>
            <a:endParaRPr lang="nl-NL" noProof="0"/>
          </a:p>
        </p:txBody>
      </p:sp>
      <p:pic>
        <p:nvPicPr>
          <p:cNvPr id="228" name="Afbeelding 227">
            <a:extLst>
              <a:ext uri="{FF2B5EF4-FFF2-40B4-BE49-F238E27FC236}">
                <a16:creationId xmlns:a16="http://schemas.microsoft.com/office/drawing/2014/main" id="{424325DF-F4FE-41DA-8233-E1C830FB8F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5" y="831727"/>
            <a:ext cx="9249575" cy="4281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4825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22C8233F-3E7B-49DC-AC22-FB28BF26342E}"/>
              </a:ext>
            </a:extLst>
          </p:cNvPr>
          <p:cNvSpPr>
            <a:spLocks noGrp="1"/>
          </p:cNvSpPr>
          <p:nvPr userDrawn="1">
            <p:ph type="pic" sz="quarter" idx="35" hasCustomPrompt="1"/>
          </p:nvPr>
        </p:nvSpPr>
        <p:spPr>
          <a:xfrm>
            <a:off x="-5566" y="2543961"/>
            <a:ext cx="38729979" cy="22727432"/>
          </a:xfrm>
          <a:solidFill>
            <a:schemeClr val="bg1">
              <a:lumMod val="95000"/>
            </a:schemeClr>
          </a:solidFill>
        </p:spPr>
        <p:txBody>
          <a:bodyPr vert="horz" lIns="0" tIns="2880000" rIns="0" bIns="0" rtlCol="0">
            <a:normAutofit/>
          </a:bodyPr>
          <a:lstStyle>
            <a:lvl1pPr marL="801872" indent="-801872" algn="ctr">
              <a:spcBef>
                <a:spcPts val="0"/>
              </a:spcBef>
              <a:spcAft>
                <a:spcPts val="0"/>
              </a:spcAft>
              <a:buFont typeface="+mj-lt"/>
              <a:buNone/>
              <a:defRPr lang="nl-NL"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801872" lvl="0" indent="-801872" algn="ctr"/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815D2346-2389-418D-A441-59E88FFEBE24}"/>
              </a:ext>
            </a:extLst>
          </p:cNvPr>
          <p:cNvSpPr>
            <a:spLocks noGrp="1"/>
          </p:cNvSpPr>
          <p:nvPr userDrawn="1">
            <p:ph type="body" sz="quarter" idx="31"/>
          </p:nvPr>
        </p:nvSpPr>
        <p:spPr>
          <a:xfrm>
            <a:off x="-3408" y="0"/>
            <a:ext cx="42770656" cy="25428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351">
                <a:solidFill>
                  <a:schemeClr val="bg1"/>
                </a:solidFill>
              </a:defRPr>
            </a:lvl1pPr>
          </a:lstStyle>
          <a:p>
            <a:pPr lvl="0"/>
            <a:endParaRPr lang="nl-NL" noProof="0"/>
          </a:p>
        </p:txBody>
      </p:sp>
      <p:sp>
        <p:nvSpPr>
          <p:cNvPr id="28" name="Tijdelijke aanduiding voor tekst 2">
            <a:extLst>
              <a:ext uri="{FF2B5EF4-FFF2-40B4-BE49-F238E27FC236}">
                <a16:creationId xmlns:a16="http://schemas.microsoft.com/office/drawing/2014/main" id="{7BDE5674-83BE-4E1D-873D-42FE9FEB8D5C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38726250" y="0"/>
            <a:ext cx="4041000" cy="30306998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351">
                <a:solidFill>
                  <a:schemeClr val="bg1"/>
                </a:solidFill>
              </a:defRPr>
            </a:lvl1pPr>
          </a:lstStyle>
          <a:p>
            <a:pPr lvl="0"/>
            <a:endParaRPr lang="nl-NL" noProof="0"/>
          </a:p>
        </p:txBody>
      </p:sp>
      <p:sp>
        <p:nvSpPr>
          <p:cNvPr id="30" name="Tijdelijke aanduiding voor tekst 2">
            <a:extLst>
              <a:ext uri="{FF2B5EF4-FFF2-40B4-BE49-F238E27FC236}">
                <a16:creationId xmlns:a16="http://schemas.microsoft.com/office/drawing/2014/main" id="{ED88654C-2F09-42A2-8633-BAD63AF9F763}"/>
              </a:ext>
            </a:extLst>
          </p:cNvPr>
          <p:cNvSpPr>
            <a:spLocks noGrp="1"/>
          </p:cNvSpPr>
          <p:nvPr userDrawn="1">
            <p:ph type="body" sz="quarter" idx="33"/>
          </p:nvPr>
        </p:nvSpPr>
        <p:spPr>
          <a:xfrm rot="16200000">
            <a:off x="18842930" y="6346683"/>
            <a:ext cx="5085600" cy="42771459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351">
                <a:solidFill>
                  <a:schemeClr val="bg1"/>
                </a:solidFill>
              </a:defRPr>
            </a:lvl1pPr>
          </a:lstStyle>
          <a:p>
            <a:pPr lvl="0"/>
            <a:endParaRPr lang="nl-NL" noProof="0"/>
          </a:p>
        </p:txBody>
      </p:sp>
      <p:sp>
        <p:nvSpPr>
          <p:cNvPr id="17" name="Tijdelijke aanduiding voor tekst 15">
            <a:extLst>
              <a:ext uri="{FF2B5EF4-FFF2-40B4-BE49-F238E27FC236}">
                <a16:creationId xmlns:a16="http://schemas.microsoft.com/office/drawing/2014/main" id="{7D35ADBF-F5AF-4BEF-A048-07416BC1D671}"/>
              </a:ext>
            </a:extLst>
          </p:cNvPr>
          <p:cNvSpPr>
            <a:spLocks noGrp="1"/>
          </p:cNvSpPr>
          <p:nvPr userDrawn="1">
            <p:ph type="body" sz="quarter" idx="43" hasCustomPrompt="1"/>
          </p:nvPr>
        </p:nvSpPr>
        <p:spPr>
          <a:xfrm>
            <a:off x="2596218" y="4421477"/>
            <a:ext cx="15869579" cy="8579805"/>
          </a:xfrm>
          <a:custGeom>
            <a:avLst/>
            <a:gdLst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4067 w 4524067"/>
              <a:gd name="connsiteY3" fmla="*/ 1604261 h 1943514"/>
              <a:gd name="connsiteX4" fmla="*/ 374342 w 4524067"/>
              <a:gd name="connsiteY4" fmla="*/ 1604261 h 1943514"/>
              <a:gd name="connsiteX5" fmla="*/ 374342 w 4524067"/>
              <a:gd name="connsiteY5" fmla="*/ 1604495 h 1943514"/>
              <a:gd name="connsiteX6" fmla="*/ 372031 w 4524067"/>
              <a:gd name="connsiteY6" fmla="*/ 1604262 h 1943514"/>
              <a:gd name="connsiteX7" fmla="*/ 7555 w 4524067"/>
              <a:gd name="connsiteY7" fmla="*/ 1901319 h 1943514"/>
              <a:gd name="connsiteX8" fmla="*/ 3301 w 4524067"/>
              <a:gd name="connsiteY8" fmla="*/ 1943514 h 1943514"/>
              <a:gd name="connsiteX9" fmla="*/ 0 w 4524067"/>
              <a:gd name="connsiteY9" fmla="*/ 1935545 h 1943514"/>
              <a:gd name="connsiteX10" fmla="*/ 0 w 4524067"/>
              <a:gd name="connsiteY10" fmla="*/ 71054 h 1943514"/>
              <a:gd name="connsiteX11" fmla="*/ 71054 w 4524067"/>
              <a:gd name="connsiteY11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524067 w 4524067"/>
              <a:gd name="connsiteY4" fmla="*/ 160426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524067 w 4524067"/>
              <a:gd name="connsiteY4" fmla="*/ 1604261 h 1943514"/>
              <a:gd name="connsiteX5" fmla="*/ 4481998 w 4524067"/>
              <a:gd name="connsiteY5" fmla="*/ 1606550 h 1943514"/>
              <a:gd name="connsiteX6" fmla="*/ 374342 w 4524067"/>
              <a:gd name="connsiteY6" fmla="*/ 1604261 h 1943514"/>
              <a:gd name="connsiteX7" fmla="*/ 374342 w 4524067"/>
              <a:gd name="connsiteY7" fmla="*/ 1604495 h 1943514"/>
              <a:gd name="connsiteX8" fmla="*/ 372031 w 4524067"/>
              <a:gd name="connsiteY8" fmla="*/ 1604262 h 1943514"/>
              <a:gd name="connsiteX9" fmla="*/ 7555 w 4524067"/>
              <a:gd name="connsiteY9" fmla="*/ 1901319 h 1943514"/>
              <a:gd name="connsiteX10" fmla="*/ 3301 w 4524067"/>
              <a:gd name="connsiteY10" fmla="*/ 1943514 h 1943514"/>
              <a:gd name="connsiteX11" fmla="*/ 0 w 4524067"/>
              <a:gd name="connsiteY11" fmla="*/ 1935545 h 1943514"/>
              <a:gd name="connsiteX12" fmla="*/ 0 w 4524067"/>
              <a:gd name="connsiteY12" fmla="*/ 71054 h 1943514"/>
              <a:gd name="connsiteX13" fmla="*/ 71054 w 4524067"/>
              <a:gd name="connsiteY13" fmla="*/ 0 h 1943514"/>
              <a:gd name="connsiteX0" fmla="*/ 71054 w 4799095"/>
              <a:gd name="connsiteY0" fmla="*/ 0 h 1943514"/>
              <a:gd name="connsiteX1" fmla="*/ 4453013 w 4799095"/>
              <a:gd name="connsiteY1" fmla="*/ 0 h 1943514"/>
              <a:gd name="connsiteX2" fmla="*/ 4524067 w 4799095"/>
              <a:gd name="connsiteY2" fmla="*/ 71054 h 1943514"/>
              <a:gd name="connsiteX3" fmla="*/ 4522480 w 4799095"/>
              <a:gd name="connsiteY3" fmla="*/ 1547019 h 1943514"/>
              <a:gd name="connsiteX4" fmla="*/ 4524067 w 4799095"/>
              <a:gd name="connsiteY4" fmla="*/ 1604261 h 1943514"/>
              <a:gd name="connsiteX5" fmla="*/ 4481998 w 4799095"/>
              <a:gd name="connsiteY5" fmla="*/ 1606550 h 1943514"/>
              <a:gd name="connsiteX6" fmla="*/ 374342 w 4799095"/>
              <a:gd name="connsiteY6" fmla="*/ 1604261 h 1943514"/>
              <a:gd name="connsiteX7" fmla="*/ 374342 w 4799095"/>
              <a:gd name="connsiteY7" fmla="*/ 1604495 h 1943514"/>
              <a:gd name="connsiteX8" fmla="*/ 372031 w 4799095"/>
              <a:gd name="connsiteY8" fmla="*/ 1604262 h 1943514"/>
              <a:gd name="connsiteX9" fmla="*/ 7555 w 4799095"/>
              <a:gd name="connsiteY9" fmla="*/ 1901319 h 1943514"/>
              <a:gd name="connsiteX10" fmla="*/ 3301 w 4799095"/>
              <a:gd name="connsiteY10" fmla="*/ 1943514 h 1943514"/>
              <a:gd name="connsiteX11" fmla="*/ 0 w 4799095"/>
              <a:gd name="connsiteY11" fmla="*/ 1935545 h 1943514"/>
              <a:gd name="connsiteX12" fmla="*/ 0 w 4799095"/>
              <a:gd name="connsiteY12" fmla="*/ 71054 h 1943514"/>
              <a:gd name="connsiteX13" fmla="*/ 71054 w 4799095"/>
              <a:gd name="connsiteY13" fmla="*/ 0 h 1943514"/>
              <a:gd name="connsiteX0" fmla="*/ 71054 w 4798479"/>
              <a:gd name="connsiteY0" fmla="*/ 0 h 1943514"/>
              <a:gd name="connsiteX1" fmla="*/ 4453013 w 4798479"/>
              <a:gd name="connsiteY1" fmla="*/ 0 h 1943514"/>
              <a:gd name="connsiteX2" fmla="*/ 4524067 w 4798479"/>
              <a:gd name="connsiteY2" fmla="*/ 71054 h 1943514"/>
              <a:gd name="connsiteX3" fmla="*/ 4522480 w 4798479"/>
              <a:gd name="connsiteY3" fmla="*/ 1547019 h 1943514"/>
              <a:gd name="connsiteX4" fmla="*/ 4481998 w 4798479"/>
              <a:gd name="connsiteY4" fmla="*/ 1606550 h 1943514"/>
              <a:gd name="connsiteX5" fmla="*/ 374342 w 4798479"/>
              <a:gd name="connsiteY5" fmla="*/ 1604261 h 1943514"/>
              <a:gd name="connsiteX6" fmla="*/ 374342 w 4798479"/>
              <a:gd name="connsiteY6" fmla="*/ 1604495 h 1943514"/>
              <a:gd name="connsiteX7" fmla="*/ 372031 w 4798479"/>
              <a:gd name="connsiteY7" fmla="*/ 1604262 h 1943514"/>
              <a:gd name="connsiteX8" fmla="*/ 7555 w 4798479"/>
              <a:gd name="connsiteY8" fmla="*/ 1901319 h 1943514"/>
              <a:gd name="connsiteX9" fmla="*/ 3301 w 4798479"/>
              <a:gd name="connsiteY9" fmla="*/ 1943514 h 1943514"/>
              <a:gd name="connsiteX10" fmla="*/ 0 w 4798479"/>
              <a:gd name="connsiteY10" fmla="*/ 1935545 h 1943514"/>
              <a:gd name="connsiteX11" fmla="*/ 0 w 4798479"/>
              <a:gd name="connsiteY11" fmla="*/ 71054 h 1943514"/>
              <a:gd name="connsiteX12" fmla="*/ 71054 w 4798479"/>
              <a:gd name="connsiteY12" fmla="*/ 0 h 1943514"/>
              <a:gd name="connsiteX0" fmla="*/ 71054 w 4801282"/>
              <a:gd name="connsiteY0" fmla="*/ 0 h 1943514"/>
              <a:gd name="connsiteX1" fmla="*/ 4453013 w 4801282"/>
              <a:gd name="connsiteY1" fmla="*/ 0 h 1943514"/>
              <a:gd name="connsiteX2" fmla="*/ 4524067 w 4801282"/>
              <a:gd name="connsiteY2" fmla="*/ 71054 h 1943514"/>
              <a:gd name="connsiteX3" fmla="*/ 4522480 w 4801282"/>
              <a:gd name="connsiteY3" fmla="*/ 1547019 h 1943514"/>
              <a:gd name="connsiteX4" fmla="*/ 4481998 w 4801282"/>
              <a:gd name="connsiteY4" fmla="*/ 1606550 h 1943514"/>
              <a:gd name="connsiteX5" fmla="*/ 374342 w 4801282"/>
              <a:gd name="connsiteY5" fmla="*/ 1604261 h 1943514"/>
              <a:gd name="connsiteX6" fmla="*/ 374342 w 4801282"/>
              <a:gd name="connsiteY6" fmla="*/ 1604495 h 1943514"/>
              <a:gd name="connsiteX7" fmla="*/ 372031 w 4801282"/>
              <a:gd name="connsiteY7" fmla="*/ 1604262 h 1943514"/>
              <a:gd name="connsiteX8" fmla="*/ 7555 w 4801282"/>
              <a:gd name="connsiteY8" fmla="*/ 1901319 h 1943514"/>
              <a:gd name="connsiteX9" fmla="*/ 3301 w 4801282"/>
              <a:gd name="connsiteY9" fmla="*/ 1943514 h 1943514"/>
              <a:gd name="connsiteX10" fmla="*/ 0 w 4801282"/>
              <a:gd name="connsiteY10" fmla="*/ 1935545 h 1943514"/>
              <a:gd name="connsiteX11" fmla="*/ 0 w 4801282"/>
              <a:gd name="connsiteY11" fmla="*/ 71054 h 1943514"/>
              <a:gd name="connsiteX12" fmla="*/ 71054 w 4801282"/>
              <a:gd name="connsiteY12" fmla="*/ 0 h 1943514"/>
              <a:gd name="connsiteX0" fmla="*/ 71054 w 4527104"/>
              <a:gd name="connsiteY0" fmla="*/ 0 h 1943514"/>
              <a:gd name="connsiteX1" fmla="*/ 4453013 w 4527104"/>
              <a:gd name="connsiteY1" fmla="*/ 0 h 1943514"/>
              <a:gd name="connsiteX2" fmla="*/ 4524067 w 4527104"/>
              <a:gd name="connsiteY2" fmla="*/ 71054 h 1943514"/>
              <a:gd name="connsiteX3" fmla="*/ 4522480 w 4527104"/>
              <a:gd name="connsiteY3" fmla="*/ 1547019 h 1943514"/>
              <a:gd name="connsiteX4" fmla="*/ 4481998 w 4527104"/>
              <a:gd name="connsiteY4" fmla="*/ 1606550 h 1943514"/>
              <a:gd name="connsiteX5" fmla="*/ 374342 w 4527104"/>
              <a:gd name="connsiteY5" fmla="*/ 1604261 h 1943514"/>
              <a:gd name="connsiteX6" fmla="*/ 374342 w 4527104"/>
              <a:gd name="connsiteY6" fmla="*/ 1604495 h 1943514"/>
              <a:gd name="connsiteX7" fmla="*/ 372031 w 4527104"/>
              <a:gd name="connsiteY7" fmla="*/ 1604262 h 1943514"/>
              <a:gd name="connsiteX8" fmla="*/ 7555 w 4527104"/>
              <a:gd name="connsiteY8" fmla="*/ 1901319 h 1943514"/>
              <a:gd name="connsiteX9" fmla="*/ 3301 w 4527104"/>
              <a:gd name="connsiteY9" fmla="*/ 1943514 h 1943514"/>
              <a:gd name="connsiteX10" fmla="*/ 0 w 4527104"/>
              <a:gd name="connsiteY10" fmla="*/ 1935545 h 1943514"/>
              <a:gd name="connsiteX11" fmla="*/ 0 w 4527104"/>
              <a:gd name="connsiteY11" fmla="*/ 71054 h 1943514"/>
              <a:gd name="connsiteX12" fmla="*/ 71054 w 4527104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81998 w 4524067"/>
              <a:gd name="connsiteY4" fmla="*/ 1606550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81998 w 4524067"/>
              <a:gd name="connsiteY4" fmla="*/ 1606550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81998 w 4524067"/>
              <a:gd name="connsiteY4" fmla="*/ 1606550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16062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16062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16062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524067" h="1943514">
                <a:moveTo>
                  <a:pt x="71054" y="0"/>
                </a:moveTo>
                <a:lnTo>
                  <a:pt x="4453013" y="0"/>
                </a:lnTo>
                <a:cubicBezTo>
                  <a:pt x="4492255" y="0"/>
                  <a:pt x="4524067" y="31812"/>
                  <a:pt x="4524067" y="71054"/>
                </a:cubicBezTo>
                <a:cubicBezTo>
                  <a:pt x="4523538" y="552723"/>
                  <a:pt x="4522346" y="1479221"/>
                  <a:pt x="4522480" y="1516062"/>
                </a:cubicBezTo>
                <a:cubicBezTo>
                  <a:pt x="4522614" y="1552903"/>
                  <a:pt x="4525654" y="1606535"/>
                  <a:pt x="4458185" y="1608931"/>
                </a:cubicBezTo>
                <a:cubicBezTo>
                  <a:pt x="4390716" y="1611327"/>
                  <a:pt x="1735623" y="1605818"/>
                  <a:pt x="374342" y="1604261"/>
                </a:cubicBezTo>
                <a:lnTo>
                  <a:pt x="374342" y="1604495"/>
                </a:lnTo>
                <a:lnTo>
                  <a:pt x="372031" y="1604262"/>
                </a:lnTo>
                <a:cubicBezTo>
                  <a:pt x="192246" y="1604262"/>
                  <a:pt x="42246" y="1731789"/>
                  <a:pt x="7555" y="1901319"/>
                </a:cubicBezTo>
                <a:lnTo>
                  <a:pt x="3301" y="1943514"/>
                </a:lnTo>
                <a:lnTo>
                  <a:pt x="0" y="1935545"/>
                </a:lnTo>
                <a:lnTo>
                  <a:pt x="0" y="71054"/>
                </a:lnTo>
                <a:cubicBezTo>
                  <a:pt x="0" y="31812"/>
                  <a:pt x="31812" y="0"/>
                  <a:pt x="71054" y="0"/>
                </a:cubicBezTo>
                <a:close/>
              </a:path>
            </a:pathLst>
          </a:custGeom>
          <a:solidFill>
            <a:schemeClr val="bg2">
              <a:alpha val="85000"/>
            </a:schemeClr>
          </a:solidFill>
        </p:spPr>
        <p:txBody>
          <a:bodyPr wrap="square" lIns="360000" tIns="144000" rIns="360000" bIns="180000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31" b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8419" b="0">
                <a:solidFill>
                  <a:schemeClr val="bg1"/>
                </a:solidFill>
              </a:defRPr>
            </a:lvl5pPr>
            <a:lvl9pPr>
              <a:defRPr sz="12628">
                <a:solidFill>
                  <a:schemeClr val="bg1"/>
                </a:solidFill>
              </a:defRPr>
            </a:lvl9pPr>
          </a:lstStyle>
          <a:p>
            <a:pPr lvl="0"/>
            <a:r>
              <a:rPr lang="nl-NL" noProof="0"/>
              <a:t>Klik om tekst in te voegen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B5843EA3-8D9E-4442-9E97-1352961F62DC}"/>
              </a:ext>
            </a:extLst>
          </p:cNvPr>
          <p:cNvSpPr>
            <a:spLocks noGrp="1"/>
          </p:cNvSpPr>
          <p:nvPr userDrawn="1">
            <p:ph type="body" sz="quarter" idx="44" hasCustomPrompt="1"/>
          </p:nvPr>
        </p:nvSpPr>
        <p:spPr>
          <a:xfrm>
            <a:off x="3903630" y="26698989"/>
            <a:ext cx="14562168" cy="905995"/>
          </a:xfrm>
        </p:spPr>
        <p:txBody>
          <a:bodyPr/>
          <a:lstStyle>
            <a:lvl1pPr marL="0" indent="0">
              <a:buFontTx/>
              <a:buNone/>
              <a:defRPr sz="4209" b="0">
                <a:solidFill>
                  <a:schemeClr val="tx2"/>
                </a:solidFill>
              </a:defRPr>
            </a:lvl1pPr>
          </a:lstStyle>
          <a:p>
            <a:r>
              <a:rPr lang="nl-NL"/>
              <a:t>Naam   l   Afdeling   l   Datum</a:t>
            </a:r>
          </a:p>
          <a:p>
            <a:endParaRPr lang="nl-NL"/>
          </a:p>
        </p:txBody>
      </p:sp>
      <p:sp>
        <p:nvSpPr>
          <p:cNvPr id="93" name="Tijdelijke aanduiding voor tekst 3">
            <a:extLst>
              <a:ext uri="{FF2B5EF4-FFF2-40B4-BE49-F238E27FC236}">
                <a16:creationId xmlns:a16="http://schemas.microsoft.com/office/drawing/2014/main" id="{ABD8BE62-C6E3-4AF1-BB04-29678FB69637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34060473" y="24070399"/>
            <a:ext cx="6635238" cy="3534585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51"/>
            </a:lvl1pPr>
          </a:lstStyle>
          <a:p>
            <a:pPr lvl="0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35108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4250" fill="hold"/>
                                        <p:tgtEl>
                                          <p:spTgt spid="7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7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/Inhou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7FC8C1DB-5A16-4DC5-BE9E-D1DB67A9F5BF}"/>
              </a:ext>
            </a:extLst>
          </p:cNvPr>
          <p:cNvSpPr/>
          <p:nvPr userDrawn="1"/>
        </p:nvSpPr>
        <p:spPr>
          <a:xfrm>
            <a:off x="-5567" y="22482154"/>
            <a:ext cx="42767250" cy="78246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78844" tIns="378844" rIns="378844" bIns="378844" rtlCol="0" anchor="ctr"/>
          <a:lstStyle/>
          <a:p>
            <a:pPr algn="ctr"/>
            <a:endParaRPr lang="nl-NL" sz="4911" noProof="0"/>
          </a:p>
        </p:txBody>
      </p:sp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-5567" y="-31537"/>
            <a:ext cx="42767257" cy="30306755"/>
          </a:xfrm>
          <a:solidFill>
            <a:schemeClr val="bg1">
              <a:lumMod val="95000"/>
            </a:schemeClr>
          </a:solidFill>
        </p:spPr>
        <p:txBody>
          <a:bodyPr tIns="100800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209" b="0" i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B0FACCAB-FC4B-4AA0-B92F-53F1DD2A892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685526" y="1766054"/>
            <a:ext cx="11962419" cy="22233608"/>
          </a:xfrm>
          <a:custGeom>
            <a:avLst/>
            <a:gdLst>
              <a:gd name="connsiteX0" fmla="*/ 0 w 3384000"/>
              <a:gd name="connsiteY0" fmla="*/ 122061 h 5036400"/>
              <a:gd name="connsiteX1" fmla="*/ 122061 w 3384000"/>
              <a:gd name="connsiteY1" fmla="*/ 0 h 5036400"/>
              <a:gd name="connsiteX2" fmla="*/ 3261939 w 3384000"/>
              <a:gd name="connsiteY2" fmla="*/ 0 h 5036400"/>
              <a:gd name="connsiteX3" fmla="*/ 3384000 w 3384000"/>
              <a:gd name="connsiteY3" fmla="*/ 122061 h 5036400"/>
              <a:gd name="connsiteX4" fmla="*/ 3384000 w 3384000"/>
              <a:gd name="connsiteY4" fmla="*/ 4914339 h 5036400"/>
              <a:gd name="connsiteX5" fmla="*/ 3261939 w 3384000"/>
              <a:gd name="connsiteY5" fmla="*/ 5036400 h 5036400"/>
              <a:gd name="connsiteX6" fmla="*/ 122061 w 3384000"/>
              <a:gd name="connsiteY6" fmla="*/ 5036400 h 5036400"/>
              <a:gd name="connsiteX7" fmla="*/ 0 w 3384000"/>
              <a:gd name="connsiteY7" fmla="*/ 4914339 h 5036400"/>
              <a:gd name="connsiteX8" fmla="*/ 0 w 3384000"/>
              <a:gd name="connsiteY8" fmla="*/ 122061 h 5036400"/>
              <a:gd name="connsiteX0" fmla="*/ 139014 w 3523014"/>
              <a:gd name="connsiteY0" fmla="*/ 381655 h 5295994"/>
              <a:gd name="connsiteX1" fmla="*/ 167589 w 3523014"/>
              <a:gd name="connsiteY1" fmla="*/ 291344 h 5295994"/>
              <a:gd name="connsiteX2" fmla="*/ 261075 w 3523014"/>
              <a:gd name="connsiteY2" fmla="*/ 259594 h 5295994"/>
              <a:gd name="connsiteX3" fmla="*/ 3400953 w 3523014"/>
              <a:gd name="connsiteY3" fmla="*/ 259594 h 5295994"/>
              <a:gd name="connsiteX4" fmla="*/ 3523014 w 3523014"/>
              <a:gd name="connsiteY4" fmla="*/ 381655 h 5295994"/>
              <a:gd name="connsiteX5" fmla="*/ 3523014 w 3523014"/>
              <a:gd name="connsiteY5" fmla="*/ 5173933 h 5295994"/>
              <a:gd name="connsiteX6" fmla="*/ 3400953 w 3523014"/>
              <a:gd name="connsiteY6" fmla="*/ 5295994 h 5295994"/>
              <a:gd name="connsiteX7" fmla="*/ 261075 w 3523014"/>
              <a:gd name="connsiteY7" fmla="*/ 5295994 h 5295994"/>
              <a:gd name="connsiteX8" fmla="*/ 139014 w 3523014"/>
              <a:gd name="connsiteY8" fmla="*/ 5173933 h 5295994"/>
              <a:gd name="connsiteX9" fmla="*/ 139014 w 3523014"/>
              <a:gd name="connsiteY9" fmla="*/ 381655 h 5295994"/>
              <a:gd name="connsiteX0" fmla="*/ 139014 w 3523014"/>
              <a:gd name="connsiteY0" fmla="*/ 381655 h 5295994"/>
              <a:gd name="connsiteX1" fmla="*/ 167589 w 3523014"/>
              <a:gd name="connsiteY1" fmla="*/ 291344 h 5295994"/>
              <a:gd name="connsiteX2" fmla="*/ 261075 w 3523014"/>
              <a:gd name="connsiteY2" fmla="*/ 259594 h 5295994"/>
              <a:gd name="connsiteX3" fmla="*/ 3400953 w 3523014"/>
              <a:gd name="connsiteY3" fmla="*/ 259594 h 5295994"/>
              <a:gd name="connsiteX4" fmla="*/ 3523014 w 3523014"/>
              <a:gd name="connsiteY4" fmla="*/ 381655 h 5295994"/>
              <a:gd name="connsiteX5" fmla="*/ 3523014 w 3523014"/>
              <a:gd name="connsiteY5" fmla="*/ 5173933 h 5295994"/>
              <a:gd name="connsiteX6" fmla="*/ 3400953 w 3523014"/>
              <a:gd name="connsiteY6" fmla="*/ 5295994 h 5295994"/>
              <a:gd name="connsiteX7" fmla="*/ 261075 w 3523014"/>
              <a:gd name="connsiteY7" fmla="*/ 5295994 h 5295994"/>
              <a:gd name="connsiteX8" fmla="*/ 139014 w 3523014"/>
              <a:gd name="connsiteY8" fmla="*/ 5173933 h 5295994"/>
              <a:gd name="connsiteX9" fmla="*/ 139014 w 3523014"/>
              <a:gd name="connsiteY9" fmla="*/ 381655 h 5295994"/>
              <a:gd name="connsiteX0" fmla="*/ 148137 w 3532137"/>
              <a:gd name="connsiteY0" fmla="*/ 390093 h 5304432"/>
              <a:gd name="connsiteX1" fmla="*/ 148137 w 3532137"/>
              <a:gd name="connsiteY1" fmla="*/ 271207 h 5304432"/>
              <a:gd name="connsiteX2" fmla="*/ 270198 w 3532137"/>
              <a:gd name="connsiteY2" fmla="*/ 268032 h 5304432"/>
              <a:gd name="connsiteX3" fmla="*/ 3410076 w 3532137"/>
              <a:gd name="connsiteY3" fmla="*/ 268032 h 5304432"/>
              <a:gd name="connsiteX4" fmla="*/ 3532137 w 3532137"/>
              <a:gd name="connsiteY4" fmla="*/ 390093 h 5304432"/>
              <a:gd name="connsiteX5" fmla="*/ 3532137 w 3532137"/>
              <a:gd name="connsiteY5" fmla="*/ 5182371 h 5304432"/>
              <a:gd name="connsiteX6" fmla="*/ 3410076 w 3532137"/>
              <a:gd name="connsiteY6" fmla="*/ 5304432 h 5304432"/>
              <a:gd name="connsiteX7" fmla="*/ 270198 w 3532137"/>
              <a:gd name="connsiteY7" fmla="*/ 5304432 h 5304432"/>
              <a:gd name="connsiteX8" fmla="*/ 148137 w 3532137"/>
              <a:gd name="connsiteY8" fmla="*/ 5182371 h 5304432"/>
              <a:gd name="connsiteX9" fmla="*/ 148137 w 3532137"/>
              <a:gd name="connsiteY9" fmla="*/ 390093 h 5304432"/>
              <a:gd name="connsiteX0" fmla="*/ 8072 w 3392072"/>
              <a:gd name="connsiteY0" fmla="*/ 390093 h 5304432"/>
              <a:gd name="connsiteX1" fmla="*/ 8072 w 3392072"/>
              <a:gd name="connsiteY1" fmla="*/ 271207 h 5304432"/>
              <a:gd name="connsiteX2" fmla="*/ 130133 w 3392072"/>
              <a:gd name="connsiteY2" fmla="*/ 268032 h 5304432"/>
              <a:gd name="connsiteX3" fmla="*/ 3270011 w 3392072"/>
              <a:gd name="connsiteY3" fmla="*/ 268032 h 5304432"/>
              <a:gd name="connsiteX4" fmla="*/ 3392072 w 3392072"/>
              <a:gd name="connsiteY4" fmla="*/ 390093 h 5304432"/>
              <a:gd name="connsiteX5" fmla="*/ 3392072 w 3392072"/>
              <a:gd name="connsiteY5" fmla="*/ 5182371 h 5304432"/>
              <a:gd name="connsiteX6" fmla="*/ 3270011 w 3392072"/>
              <a:gd name="connsiteY6" fmla="*/ 5304432 h 5304432"/>
              <a:gd name="connsiteX7" fmla="*/ 130133 w 3392072"/>
              <a:gd name="connsiteY7" fmla="*/ 5304432 h 5304432"/>
              <a:gd name="connsiteX8" fmla="*/ 8072 w 3392072"/>
              <a:gd name="connsiteY8" fmla="*/ 5182371 h 5304432"/>
              <a:gd name="connsiteX9" fmla="*/ 8072 w 3392072"/>
              <a:gd name="connsiteY9" fmla="*/ 390093 h 5304432"/>
              <a:gd name="connsiteX0" fmla="*/ 8072 w 3392072"/>
              <a:gd name="connsiteY0" fmla="*/ 129113 h 5043452"/>
              <a:gd name="connsiteX1" fmla="*/ 8072 w 3392072"/>
              <a:gd name="connsiteY1" fmla="*/ 10227 h 5043452"/>
              <a:gd name="connsiteX2" fmla="*/ 130133 w 3392072"/>
              <a:gd name="connsiteY2" fmla="*/ 7052 h 5043452"/>
              <a:gd name="connsiteX3" fmla="*/ 3270011 w 3392072"/>
              <a:gd name="connsiteY3" fmla="*/ 7052 h 5043452"/>
              <a:gd name="connsiteX4" fmla="*/ 3392072 w 3392072"/>
              <a:gd name="connsiteY4" fmla="*/ 129113 h 5043452"/>
              <a:gd name="connsiteX5" fmla="*/ 3392072 w 3392072"/>
              <a:gd name="connsiteY5" fmla="*/ 4921391 h 5043452"/>
              <a:gd name="connsiteX6" fmla="*/ 3270011 w 3392072"/>
              <a:gd name="connsiteY6" fmla="*/ 5043452 h 5043452"/>
              <a:gd name="connsiteX7" fmla="*/ 130133 w 3392072"/>
              <a:gd name="connsiteY7" fmla="*/ 5043452 h 5043452"/>
              <a:gd name="connsiteX8" fmla="*/ 8072 w 3392072"/>
              <a:gd name="connsiteY8" fmla="*/ 4921391 h 5043452"/>
              <a:gd name="connsiteX9" fmla="*/ 8072 w 3392072"/>
              <a:gd name="connsiteY9" fmla="*/ 129113 h 5043452"/>
              <a:gd name="connsiteX0" fmla="*/ 7649 w 3391649"/>
              <a:gd name="connsiteY0" fmla="*/ 129113 h 5043452"/>
              <a:gd name="connsiteX1" fmla="*/ 7649 w 3391649"/>
              <a:gd name="connsiteY1" fmla="*/ 10227 h 5043452"/>
              <a:gd name="connsiteX2" fmla="*/ 129710 w 3391649"/>
              <a:gd name="connsiteY2" fmla="*/ 7052 h 5043452"/>
              <a:gd name="connsiteX3" fmla="*/ 3269588 w 3391649"/>
              <a:gd name="connsiteY3" fmla="*/ 7052 h 5043452"/>
              <a:gd name="connsiteX4" fmla="*/ 3391649 w 3391649"/>
              <a:gd name="connsiteY4" fmla="*/ 129113 h 5043452"/>
              <a:gd name="connsiteX5" fmla="*/ 3391649 w 3391649"/>
              <a:gd name="connsiteY5" fmla="*/ 4921391 h 5043452"/>
              <a:gd name="connsiteX6" fmla="*/ 3269588 w 3391649"/>
              <a:gd name="connsiteY6" fmla="*/ 5043452 h 5043452"/>
              <a:gd name="connsiteX7" fmla="*/ 129710 w 3391649"/>
              <a:gd name="connsiteY7" fmla="*/ 5043452 h 5043452"/>
              <a:gd name="connsiteX8" fmla="*/ 7649 w 3391649"/>
              <a:gd name="connsiteY8" fmla="*/ 4921391 h 5043452"/>
              <a:gd name="connsiteX9" fmla="*/ 7649 w 3391649"/>
              <a:gd name="connsiteY9" fmla="*/ 129113 h 5043452"/>
              <a:gd name="connsiteX0" fmla="*/ 7649 w 3391649"/>
              <a:gd name="connsiteY0" fmla="*/ 122287 h 5036626"/>
              <a:gd name="connsiteX1" fmla="*/ 7649 w 3391649"/>
              <a:gd name="connsiteY1" fmla="*/ 3401 h 5036626"/>
              <a:gd name="connsiteX2" fmla="*/ 129710 w 3391649"/>
              <a:gd name="connsiteY2" fmla="*/ 226 h 5036626"/>
              <a:gd name="connsiteX3" fmla="*/ 3269588 w 3391649"/>
              <a:gd name="connsiteY3" fmla="*/ 226 h 5036626"/>
              <a:gd name="connsiteX4" fmla="*/ 3391649 w 3391649"/>
              <a:gd name="connsiteY4" fmla="*/ 122287 h 5036626"/>
              <a:gd name="connsiteX5" fmla="*/ 3391649 w 3391649"/>
              <a:gd name="connsiteY5" fmla="*/ 4914565 h 5036626"/>
              <a:gd name="connsiteX6" fmla="*/ 3269588 w 3391649"/>
              <a:gd name="connsiteY6" fmla="*/ 5036626 h 5036626"/>
              <a:gd name="connsiteX7" fmla="*/ 129710 w 3391649"/>
              <a:gd name="connsiteY7" fmla="*/ 5036626 h 5036626"/>
              <a:gd name="connsiteX8" fmla="*/ 7649 w 3391649"/>
              <a:gd name="connsiteY8" fmla="*/ 4914565 h 5036626"/>
              <a:gd name="connsiteX9" fmla="*/ 7649 w 3391649"/>
              <a:gd name="connsiteY9" fmla="*/ 122287 h 5036626"/>
              <a:gd name="connsiteX0" fmla="*/ 7649 w 3391649"/>
              <a:gd name="connsiteY0" fmla="*/ 127836 h 5042175"/>
              <a:gd name="connsiteX1" fmla="*/ 7649 w 3391649"/>
              <a:gd name="connsiteY1" fmla="*/ 8950 h 5042175"/>
              <a:gd name="connsiteX2" fmla="*/ 129710 w 3391649"/>
              <a:gd name="connsiteY2" fmla="*/ 5775 h 5042175"/>
              <a:gd name="connsiteX3" fmla="*/ 3269588 w 3391649"/>
              <a:gd name="connsiteY3" fmla="*/ 5775 h 5042175"/>
              <a:gd name="connsiteX4" fmla="*/ 3391649 w 3391649"/>
              <a:gd name="connsiteY4" fmla="*/ 127836 h 5042175"/>
              <a:gd name="connsiteX5" fmla="*/ 3391649 w 3391649"/>
              <a:gd name="connsiteY5" fmla="*/ 4920114 h 5042175"/>
              <a:gd name="connsiteX6" fmla="*/ 3269588 w 3391649"/>
              <a:gd name="connsiteY6" fmla="*/ 5042175 h 5042175"/>
              <a:gd name="connsiteX7" fmla="*/ 129710 w 3391649"/>
              <a:gd name="connsiteY7" fmla="*/ 5042175 h 5042175"/>
              <a:gd name="connsiteX8" fmla="*/ 7649 w 3391649"/>
              <a:gd name="connsiteY8" fmla="*/ 4920114 h 5042175"/>
              <a:gd name="connsiteX9" fmla="*/ 7649 w 3391649"/>
              <a:gd name="connsiteY9" fmla="*/ 127836 h 5042175"/>
              <a:gd name="connsiteX0" fmla="*/ 7649 w 3391649"/>
              <a:gd name="connsiteY0" fmla="*/ 127836 h 5042175"/>
              <a:gd name="connsiteX1" fmla="*/ 7649 w 3391649"/>
              <a:gd name="connsiteY1" fmla="*/ 8950 h 5042175"/>
              <a:gd name="connsiteX2" fmla="*/ 129710 w 3391649"/>
              <a:gd name="connsiteY2" fmla="*/ 5775 h 5042175"/>
              <a:gd name="connsiteX3" fmla="*/ 3269588 w 3391649"/>
              <a:gd name="connsiteY3" fmla="*/ 5775 h 5042175"/>
              <a:gd name="connsiteX4" fmla="*/ 3391649 w 3391649"/>
              <a:gd name="connsiteY4" fmla="*/ 127836 h 5042175"/>
              <a:gd name="connsiteX5" fmla="*/ 3391649 w 3391649"/>
              <a:gd name="connsiteY5" fmla="*/ 4920114 h 5042175"/>
              <a:gd name="connsiteX6" fmla="*/ 3269588 w 3391649"/>
              <a:gd name="connsiteY6" fmla="*/ 5042175 h 5042175"/>
              <a:gd name="connsiteX7" fmla="*/ 129710 w 3391649"/>
              <a:gd name="connsiteY7" fmla="*/ 5042175 h 5042175"/>
              <a:gd name="connsiteX8" fmla="*/ 7649 w 3391649"/>
              <a:gd name="connsiteY8" fmla="*/ 4920114 h 5042175"/>
              <a:gd name="connsiteX9" fmla="*/ 7649 w 3391649"/>
              <a:gd name="connsiteY9" fmla="*/ 127836 h 5042175"/>
              <a:gd name="connsiteX0" fmla="*/ 15257 w 3399257"/>
              <a:gd name="connsiteY0" fmla="*/ 5276782 h 5398843"/>
              <a:gd name="connsiteX1" fmla="*/ 15257 w 3399257"/>
              <a:gd name="connsiteY1" fmla="*/ 365618 h 5398843"/>
              <a:gd name="connsiteX2" fmla="*/ 137318 w 3399257"/>
              <a:gd name="connsiteY2" fmla="*/ 362443 h 5398843"/>
              <a:gd name="connsiteX3" fmla="*/ 3277196 w 3399257"/>
              <a:gd name="connsiteY3" fmla="*/ 362443 h 5398843"/>
              <a:gd name="connsiteX4" fmla="*/ 3399257 w 3399257"/>
              <a:gd name="connsiteY4" fmla="*/ 484504 h 5398843"/>
              <a:gd name="connsiteX5" fmla="*/ 3399257 w 3399257"/>
              <a:gd name="connsiteY5" fmla="*/ 5276782 h 5398843"/>
              <a:gd name="connsiteX6" fmla="*/ 3277196 w 3399257"/>
              <a:gd name="connsiteY6" fmla="*/ 5398843 h 5398843"/>
              <a:gd name="connsiteX7" fmla="*/ 137318 w 3399257"/>
              <a:gd name="connsiteY7" fmla="*/ 5398843 h 5398843"/>
              <a:gd name="connsiteX8" fmla="*/ 15257 w 3399257"/>
              <a:gd name="connsiteY8" fmla="*/ 5276782 h 5398843"/>
              <a:gd name="connsiteX0" fmla="*/ 10990 w 3394990"/>
              <a:gd name="connsiteY0" fmla="*/ 5276782 h 5398843"/>
              <a:gd name="connsiteX1" fmla="*/ 10990 w 3394990"/>
              <a:gd name="connsiteY1" fmla="*/ 365618 h 5398843"/>
              <a:gd name="connsiteX2" fmla="*/ 133051 w 3394990"/>
              <a:gd name="connsiteY2" fmla="*/ 362443 h 5398843"/>
              <a:gd name="connsiteX3" fmla="*/ 3272929 w 3394990"/>
              <a:gd name="connsiteY3" fmla="*/ 362443 h 5398843"/>
              <a:gd name="connsiteX4" fmla="*/ 3394990 w 3394990"/>
              <a:gd name="connsiteY4" fmla="*/ 484504 h 5398843"/>
              <a:gd name="connsiteX5" fmla="*/ 3394990 w 3394990"/>
              <a:gd name="connsiteY5" fmla="*/ 5276782 h 5398843"/>
              <a:gd name="connsiteX6" fmla="*/ 3272929 w 3394990"/>
              <a:gd name="connsiteY6" fmla="*/ 5398843 h 5398843"/>
              <a:gd name="connsiteX7" fmla="*/ 133051 w 3394990"/>
              <a:gd name="connsiteY7" fmla="*/ 5398843 h 5398843"/>
              <a:gd name="connsiteX8" fmla="*/ 10990 w 3394990"/>
              <a:gd name="connsiteY8" fmla="*/ 5276782 h 5398843"/>
              <a:gd name="connsiteX0" fmla="*/ 10990 w 3394990"/>
              <a:gd name="connsiteY0" fmla="*/ 4918814 h 5040875"/>
              <a:gd name="connsiteX1" fmla="*/ 10990 w 3394990"/>
              <a:gd name="connsiteY1" fmla="*/ 7650 h 5040875"/>
              <a:gd name="connsiteX2" fmla="*/ 133051 w 3394990"/>
              <a:gd name="connsiteY2" fmla="*/ 4475 h 5040875"/>
              <a:gd name="connsiteX3" fmla="*/ 3272929 w 3394990"/>
              <a:gd name="connsiteY3" fmla="*/ 4475 h 5040875"/>
              <a:gd name="connsiteX4" fmla="*/ 3394990 w 3394990"/>
              <a:gd name="connsiteY4" fmla="*/ 126536 h 5040875"/>
              <a:gd name="connsiteX5" fmla="*/ 3394990 w 3394990"/>
              <a:gd name="connsiteY5" fmla="*/ 4918814 h 5040875"/>
              <a:gd name="connsiteX6" fmla="*/ 3272929 w 3394990"/>
              <a:gd name="connsiteY6" fmla="*/ 5040875 h 5040875"/>
              <a:gd name="connsiteX7" fmla="*/ 133051 w 3394990"/>
              <a:gd name="connsiteY7" fmla="*/ 5040875 h 5040875"/>
              <a:gd name="connsiteX8" fmla="*/ 10990 w 3394990"/>
              <a:gd name="connsiteY8" fmla="*/ 4918814 h 5040875"/>
              <a:gd name="connsiteX0" fmla="*/ 158635 w 3542635"/>
              <a:gd name="connsiteY0" fmla="*/ 4917578 h 5039639"/>
              <a:gd name="connsiteX1" fmla="*/ 146729 w 3542635"/>
              <a:gd name="connsiteY1" fmla="*/ 6414 h 5039639"/>
              <a:gd name="connsiteX2" fmla="*/ 280696 w 3542635"/>
              <a:gd name="connsiteY2" fmla="*/ 3239 h 5039639"/>
              <a:gd name="connsiteX3" fmla="*/ 3420574 w 3542635"/>
              <a:gd name="connsiteY3" fmla="*/ 3239 h 5039639"/>
              <a:gd name="connsiteX4" fmla="*/ 3542635 w 3542635"/>
              <a:gd name="connsiteY4" fmla="*/ 125300 h 5039639"/>
              <a:gd name="connsiteX5" fmla="*/ 3542635 w 3542635"/>
              <a:gd name="connsiteY5" fmla="*/ 4917578 h 5039639"/>
              <a:gd name="connsiteX6" fmla="*/ 3420574 w 3542635"/>
              <a:gd name="connsiteY6" fmla="*/ 5039639 h 5039639"/>
              <a:gd name="connsiteX7" fmla="*/ 280696 w 3542635"/>
              <a:gd name="connsiteY7" fmla="*/ 5039639 h 5039639"/>
              <a:gd name="connsiteX8" fmla="*/ 158635 w 3542635"/>
              <a:gd name="connsiteY8" fmla="*/ 4917578 h 5039639"/>
              <a:gd name="connsiteX0" fmla="*/ 160634 w 3544634"/>
              <a:gd name="connsiteY0" fmla="*/ 4917578 h 5039639"/>
              <a:gd name="connsiteX1" fmla="*/ 143965 w 3544634"/>
              <a:gd name="connsiteY1" fmla="*/ 6414 h 5039639"/>
              <a:gd name="connsiteX2" fmla="*/ 282695 w 3544634"/>
              <a:gd name="connsiteY2" fmla="*/ 3239 h 5039639"/>
              <a:gd name="connsiteX3" fmla="*/ 3422573 w 3544634"/>
              <a:gd name="connsiteY3" fmla="*/ 3239 h 5039639"/>
              <a:gd name="connsiteX4" fmla="*/ 3544634 w 3544634"/>
              <a:gd name="connsiteY4" fmla="*/ 125300 h 5039639"/>
              <a:gd name="connsiteX5" fmla="*/ 3544634 w 3544634"/>
              <a:gd name="connsiteY5" fmla="*/ 4917578 h 5039639"/>
              <a:gd name="connsiteX6" fmla="*/ 3422573 w 3544634"/>
              <a:gd name="connsiteY6" fmla="*/ 5039639 h 5039639"/>
              <a:gd name="connsiteX7" fmla="*/ 282695 w 3544634"/>
              <a:gd name="connsiteY7" fmla="*/ 5039639 h 5039639"/>
              <a:gd name="connsiteX8" fmla="*/ 160634 w 3544634"/>
              <a:gd name="connsiteY8" fmla="*/ 4917578 h 5039639"/>
              <a:gd name="connsiteX0" fmla="*/ 164685 w 3548685"/>
              <a:gd name="connsiteY0" fmla="*/ 4917578 h 5039639"/>
              <a:gd name="connsiteX1" fmla="*/ 138491 w 3548685"/>
              <a:gd name="connsiteY1" fmla="*/ 6414 h 5039639"/>
              <a:gd name="connsiteX2" fmla="*/ 286746 w 3548685"/>
              <a:gd name="connsiteY2" fmla="*/ 3239 h 5039639"/>
              <a:gd name="connsiteX3" fmla="*/ 3426624 w 3548685"/>
              <a:gd name="connsiteY3" fmla="*/ 3239 h 5039639"/>
              <a:gd name="connsiteX4" fmla="*/ 3548685 w 3548685"/>
              <a:gd name="connsiteY4" fmla="*/ 125300 h 5039639"/>
              <a:gd name="connsiteX5" fmla="*/ 3548685 w 3548685"/>
              <a:gd name="connsiteY5" fmla="*/ 4917578 h 5039639"/>
              <a:gd name="connsiteX6" fmla="*/ 3426624 w 3548685"/>
              <a:gd name="connsiteY6" fmla="*/ 5039639 h 5039639"/>
              <a:gd name="connsiteX7" fmla="*/ 286746 w 3548685"/>
              <a:gd name="connsiteY7" fmla="*/ 5039639 h 5039639"/>
              <a:gd name="connsiteX8" fmla="*/ 164685 w 3548685"/>
              <a:gd name="connsiteY8" fmla="*/ 4917578 h 5039639"/>
              <a:gd name="connsiteX0" fmla="*/ 163666 w 3547666"/>
              <a:gd name="connsiteY0" fmla="*/ 4917578 h 5039639"/>
              <a:gd name="connsiteX1" fmla="*/ 139854 w 3547666"/>
              <a:gd name="connsiteY1" fmla="*/ 6414 h 5039639"/>
              <a:gd name="connsiteX2" fmla="*/ 285727 w 3547666"/>
              <a:gd name="connsiteY2" fmla="*/ 3239 h 5039639"/>
              <a:gd name="connsiteX3" fmla="*/ 3425605 w 3547666"/>
              <a:gd name="connsiteY3" fmla="*/ 3239 h 5039639"/>
              <a:gd name="connsiteX4" fmla="*/ 3547666 w 3547666"/>
              <a:gd name="connsiteY4" fmla="*/ 125300 h 5039639"/>
              <a:gd name="connsiteX5" fmla="*/ 3547666 w 3547666"/>
              <a:gd name="connsiteY5" fmla="*/ 4917578 h 5039639"/>
              <a:gd name="connsiteX6" fmla="*/ 3425605 w 3547666"/>
              <a:gd name="connsiteY6" fmla="*/ 5039639 h 5039639"/>
              <a:gd name="connsiteX7" fmla="*/ 285727 w 3547666"/>
              <a:gd name="connsiteY7" fmla="*/ 5039639 h 5039639"/>
              <a:gd name="connsiteX8" fmla="*/ 163666 w 3547666"/>
              <a:gd name="connsiteY8" fmla="*/ 4917578 h 5039639"/>
              <a:gd name="connsiteX0" fmla="*/ 161641 w 3545641"/>
              <a:gd name="connsiteY0" fmla="*/ 4917578 h 5039639"/>
              <a:gd name="connsiteX1" fmla="*/ 142591 w 3545641"/>
              <a:gd name="connsiteY1" fmla="*/ 6414 h 5039639"/>
              <a:gd name="connsiteX2" fmla="*/ 283702 w 3545641"/>
              <a:gd name="connsiteY2" fmla="*/ 3239 h 5039639"/>
              <a:gd name="connsiteX3" fmla="*/ 3423580 w 3545641"/>
              <a:gd name="connsiteY3" fmla="*/ 3239 h 5039639"/>
              <a:gd name="connsiteX4" fmla="*/ 3545641 w 3545641"/>
              <a:gd name="connsiteY4" fmla="*/ 125300 h 5039639"/>
              <a:gd name="connsiteX5" fmla="*/ 3545641 w 3545641"/>
              <a:gd name="connsiteY5" fmla="*/ 4917578 h 5039639"/>
              <a:gd name="connsiteX6" fmla="*/ 3423580 w 3545641"/>
              <a:gd name="connsiteY6" fmla="*/ 5039639 h 5039639"/>
              <a:gd name="connsiteX7" fmla="*/ 283702 w 3545641"/>
              <a:gd name="connsiteY7" fmla="*/ 5039639 h 5039639"/>
              <a:gd name="connsiteX8" fmla="*/ 161641 w 3545641"/>
              <a:gd name="connsiteY8" fmla="*/ 4917578 h 5039639"/>
              <a:gd name="connsiteX0" fmla="*/ 158636 w 3542636"/>
              <a:gd name="connsiteY0" fmla="*/ 4917578 h 5039639"/>
              <a:gd name="connsiteX1" fmla="*/ 146730 w 3542636"/>
              <a:gd name="connsiteY1" fmla="*/ 6414 h 5039639"/>
              <a:gd name="connsiteX2" fmla="*/ 280697 w 3542636"/>
              <a:gd name="connsiteY2" fmla="*/ 3239 h 5039639"/>
              <a:gd name="connsiteX3" fmla="*/ 3420575 w 3542636"/>
              <a:gd name="connsiteY3" fmla="*/ 3239 h 5039639"/>
              <a:gd name="connsiteX4" fmla="*/ 3542636 w 3542636"/>
              <a:gd name="connsiteY4" fmla="*/ 125300 h 5039639"/>
              <a:gd name="connsiteX5" fmla="*/ 3542636 w 3542636"/>
              <a:gd name="connsiteY5" fmla="*/ 4917578 h 5039639"/>
              <a:gd name="connsiteX6" fmla="*/ 3420575 w 3542636"/>
              <a:gd name="connsiteY6" fmla="*/ 5039639 h 5039639"/>
              <a:gd name="connsiteX7" fmla="*/ 280697 w 3542636"/>
              <a:gd name="connsiteY7" fmla="*/ 5039639 h 5039639"/>
              <a:gd name="connsiteX8" fmla="*/ 158636 w 3542636"/>
              <a:gd name="connsiteY8" fmla="*/ 4917578 h 5039639"/>
              <a:gd name="connsiteX0" fmla="*/ 160634 w 3544634"/>
              <a:gd name="connsiteY0" fmla="*/ 4917578 h 5039639"/>
              <a:gd name="connsiteX1" fmla="*/ 143965 w 3544634"/>
              <a:gd name="connsiteY1" fmla="*/ 6414 h 5039639"/>
              <a:gd name="connsiteX2" fmla="*/ 282695 w 3544634"/>
              <a:gd name="connsiteY2" fmla="*/ 3239 h 5039639"/>
              <a:gd name="connsiteX3" fmla="*/ 3422573 w 3544634"/>
              <a:gd name="connsiteY3" fmla="*/ 3239 h 5039639"/>
              <a:gd name="connsiteX4" fmla="*/ 3544634 w 3544634"/>
              <a:gd name="connsiteY4" fmla="*/ 125300 h 5039639"/>
              <a:gd name="connsiteX5" fmla="*/ 3544634 w 3544634"/>
              <a:gd name="connsiteY5" fmla="*/ 4917578 h 5039639"/>
              <a:gd name="connsiteX6" fmla="*/ 3422573 w 3544634"/>
              <a:gd name="connsiteY6" fmla="*/ 5039639 h 5039639"/>
              <a:gd name="connsiteX7" fmla="*/ 282695 w 3544634"/>
              <a:gd name="connsiteY7" fmla="*/ 5039639 h 5039639"/>
              <a:gd name="connsiteX8" fmla="*/ 160634 w 3544634"/>
              <a:gd name="connsiteY8" fmla="*/ 4917578 h 5039639"/>
              <a:gd name="connsiteX0" fmla="*/ 162650 w 3546650"/>
              <a:gd name="connsiteY0" fmla="*/ 4917578 h 5039639"/>
              <a:gd name="connsiteX1" fmla="*/ 141219 w 3546650"/>
              <a:gd name="connsiteY1" fmla="*/ 6414 h 5039639"/>
              <a:gd name="connsiteX2" fmla="*/ 284711 w 3546650"/>
              <a:gd name="connsiteY2" fmla="*/ 3239 h 5039639"/>
              <a:gd name="connsiteX3" fmla="*/ 3424589 w 3546650"/>
              <a:gd name="connsiteY3" fmla="*/ 3239 h 5039639"/>
              <a:gd name="connsiteX4" fmla="*/ 3546650 w 3546650"/>
              <a:gd name="connsiteY4" fmla="*/ 125300 h 5039639"/>
              <a:gd name="connsiteX5" fmla="*/ 3546650 w 3546650"/>
              <a:gd name="connsiteY5" fmla="*/ 4917578 h 5039639"/>
              <a:gd name="connsiteX6" fmla="*/ 3424589 w 3546650"/>
              <a:gd name="connsiteY6" fmla="*/ 5039639 h 5039639"/>
              <a:gd name="connsiteX7" fmla="*/ 284711 w 3546650"/>
              <a:gd name="connsiteY7" fmla="*/ 5039639 h 5039639"/>
              <a:gd name="connsiteX8" fmla="*/ 162650 w 3546650"/>
              <a:gd name="connsiteY8" fmla="*/ 4917578 h 5039639"/>
              <a:gd name="connsiteX0" fmla="*/ 164685 w 3548685"/>
              <a:gd name="connsiteY0" fmla="*/ 4917578 h 5039639"/>
              <a:gd name="connsiteX1" fmla="*/ 138491 w 3548685"/>
              <a:gd name="connsiteY1" fmla="*/ 6414 h 5039639"/>
              <a:gd name="connsiteX2" fmla="*/ 286746 w 3548685"/>
              <a:gd name="connsiteY2" fmla="*/ 3239 h 5039639"/>
              <a:gd name="connsiteX3" fmla="*/ 3426624 w 3548685"/>
              <a:gd name="connsiteY3" fmla="*/ 3239 h 5039639"/>
              <a:gd name="connsiteX4" fmla="*/ 3548685 w 3548685"/>
              <a:gd name="connsiteY4" fmla="*/ 125300 h 5039639"/>
              <a:gd name="connsiteX5" fmla="*/ 3548685 w 3548685"/>
              <a:gd name="connsiteY5" fmla="*/ 4917578 h 5039639"/>
              <a:gd name="connsiteX6" fmla="*/ 3426624 w 3548685"/>
              <a:gd name="connsiteY6" fmla="*/ 5039639 h 5039639"/>
              <a:gd name="connsiteX7" fmla="*/ 286746 w 3548685"/>
              <a:gd name="connsiteY7" fmla="*/ 5039639 h 5039639"/>
              <a:gd name="connsiteX8" fmla="*/ 164685 w 3548685"/>
              <a:gd name="connsiteY8" fmla="*/ 4917578 h 5039639"/>
              <a:gd name="connsiteX0" fmla="*/ 162651 w 3546651"/>
              <a:gd name="connsiteY0" fmla="*/ 4917578 h 5039639"/>
              <a:gd name="connsiteX1" fmla="*/ 141220 w 3546651"/>
              <a:gd name="connsiteY1" fmla="*/ 6414 h 5039639"/>
              <a:gd name="connsiteX2" fmla="*/ 284712 w 3546651"/>
              <a:gd name="connsiteY2" fmla="*/ 3239 h 5039639"/>
              <a:gd name="connsiteX3" fmla="*/ 3424590 w 3546651"/>
              <a:gd name="connsiteY3" fmla="*/ 3239 h 5039639"/>
              <a:gd name="connsiteX4" fmla="*/ 3546651 w 3546651"/>
              <a:gd name="connsiteY4" fmla="*/ 125300 h 5039639"/>
              <a:gd name="connsiteX5" fmla="*/ 3546651 w 3546651"/>
              <a:gd name="connsiteY5" fmla="*/ 4917578 h 5039639"/>
              <a:gd name="connsiteX6" fmla="*/ 3424590 w 3546651"/>
              <a:gd name="connsiteY6" fmla="*/ 5039639 h 5039639"/>
              <a:gd name="connsiteX7" fmla="*/ 284712 w 3546651"/>
              <a:gd name="connsiteY7" fmla="*/ 5039639 h 5039639"/>
              <a:gd name="connsiteX8" fmla="*/ 162651 w 3546651"/>
              <a:gd name="connsiteY8" fmla="*/ 4917578 h 5039639"/>
              <a:gd name="connsiteX0" fmla="*/ 164685 w 3548685"/>
              <a:gd name="connsiteY0" fmla="*/ 4917578 h 5039639"/>
              <a:gd name="connsiteX1" fmla="*/ 138491 w 3548685"/>
              <a:gd name="connsiteY1" fmla="*/ 6414 h 5039639"/>
              <a:gd name="connsiteX2" fmla="*/ 286746 w 3548685"/>
              <a:gd name="connsiteY2" fmla="*/ 3239 h 5039639"/>
              <a:gd name="connsiteX3" fmla="*/ 3426624 w 3548685"/>
              <a:gd name="connsiteY3" fmla="*/ 3239 h 5039639"/>
              <a:gd name="connsiteX4" fmla="*/ 3548685 w 3548685"/>
              <a:gd name="connsiteY4" fmla="*/ 125300 h 5039639"/>
              <a:gd name="connsiteX5" fmla="*/ 3548685 w 3548685"/>
              <a:gd name="connsiteY5" fmla="*/ 4917578 h 5039639"/>
              <a:gd name="connsiteX6" fmla="*/ 3426624 w 3548685"/>
              <a:gd name="connsiteY6" fmla="*/ 5039639 h 5039639"/>
              <a:gd name="connsiteX7" fmla="*/ 286746 w 3548685"/>
              <a:gd name="connsiteY7" fmla="*/ 5039639 h 5039639"/>
              <a:gd name="connsiteX8" fmla="*/ 164685 w 3548685"/>
              <a:gd name="connsiteY8" fmla="*/ 4917578 h 5039639"/>
              <a:gd name="connsiteX0" fmla="*/ 28361 w 3412361"/>
              <a:gd name="connsiteY0" fmla="*/ 4917578 h 5039639"/>
              <a:gd name="connsiteX1" fmla="*/ 2167 w 3412361"/>
              <a:gd name="connsiteY1" fmla="*/ 6414 h 5039639"/>
              <a:gd name="connsiteX2" fmla="*/ 150422 w 3412361"/>
              <a:gd name="connsiteY2" fmla="*/ 3239 h 5039639"/>
              <a:gd name="connsiteX3" fmla="*/ 3290300 w 3412361"/>
              <a:gd name="connsiteY3" fmla="*/ 3239 h 5039639"/>
              <a:gd name="connsiteX4" fmla="*/ 3412361 w 3412361"/>
              <a:gd name="connsiteY4" fmla="*/ 125300 h 5039639"/>
              <a:gd name="connsiteX5" fmla="*/ 3412361 w 3412361"/>
              <a:gd name="connsiteY5" fmla="*/ 4917578 h 5039639"/>
              <a:gd name="connsiteX6" fmla="*/ 3290300 w 3412361"/>
              <a:gd name="connsiteY6" fmla="*/ 5039639 h 5039639"/>
              <a:gd name="connsiteX7" fmla="*/ 150422 w 3412361"/>
              <a:gd name="connsiteY7" fmla="*/ 5039639 h 5039639"/>
              <a:gd name="connsiteX8" fmla="*/ 28361 w 3412361"/>
              <a:gd name="connsiteY8" fmla="*/ 4917578 h 5039639"/>
              <a:gd name="connsiteX0" fmla="*/ 28361 w 3412361"/>
              <a:gd name="connsiteY0" fmla="*/ 4917578 h 5039639"/>
              <a:gd name="connsiteX1" fmla="*/ 2167 w 3412361"/>
              <a:gd name="connsiteY1" fmla="*/ 6414 h 5039639"/>
              <a:gd name="connsiteX2" fmla="*/ 150422 w 3412361"/>
              <a:gd name="connsiteY2" fmla="*/ 3239 h 5039639"/>
              <a:gd name="connsiteX3" fmla="*/ 3290300 w 3412361"/>
              <a:gd name="connsiteY3" fmla="*/ 3239 h 5039639"/>
              <a:gd name="connsiteX4" fmla="*/ 3412361 w 3412361"/>
              <a:gd name="connsiteY4" fmla="*/ 125300 h 5039639"/>
              <a:gd name="connsiteX5" fmla="*/ 3412361 w 3412361"/>
              <a:gd name="connsiteY5" fmla="*/ 4917578 h 5039639"/>
              <a:gd name="connsiteX6" fmla="*/ 3290300 w 3412361"/>
              <a:gd name="connsiteY6" fmla="*/ 5039639 h 5039639"/>
              <a:gd name="connsiteX7" fmla="*/ 150422 w 3412361"/>
              <a:gd name="connsiteY7" fmla="*/ 5039639 h 5039639"/>
              <a:gd name="connsiteX8" fmla="*/ 28361 w 3412361"/>
              <a:gd name="connsiteY8" fmla="*/ 4917578 h 5039639"/>
              <a:gd name="connsiteX0" fmla="*/ 33210 w 3417210"/>
              <a:gd name="connsiteY0" fmla="*/ 4916549 h 5038610"/>
              <a:gd name="connsiteX1" fmla="*/ 7016 w 3417210"/>
              <a:gd name="connsiteY1" fmla="*/ 5385 h 5038610"/>
              <a:gd name="connsiteX2" fmla="*/ 155271 w 3417210"/>
              <a:gd name="connsiteY2" fmla="*/ 2210 h 5038610"/>
              <a:gd name="connsiteX3" fmla="*/ 3295149 w 3417210"/>
              <a:gd name="connsiteY3" fmla="*/ 2210 h 5038610"/>
              <a:gd name="connsiteX4" fmla="*/ 3417210 w 3417210"/>
              <a:gd name="connsiteY4" fmla="*/ 124271 h 5038610"/>
              <a:gd name="connsiteX5" fmla="*/ 3417210 w 3417210"/>
              <a:gd name="connsiteY5" fmla="*/ 4916549 h 5038610"/>
              <a:gd name="connsiteX6" fmla="*/ 3295149 w 3417210"/>
              <a:gd name="connsiteY6" fmla="*/ 5038610 h 5038610"/>
              <a:gd name="connsiteX7" fmla="*/ 155271 w 3417210"/>
              <a:gd name="connsiteY7" fmla="*/ 5038610 h 5038610"/>
              <a:gd name="connsiteX8" fmla="*/ 33210 w 3417210"/>
              <a:gd name="connsiteY8" fmla="*/ 4916549 h 5038610"/>
              <a:gd name="connsiteX0" fmla="*/ 26222 w 3410222"/>
              <a:gd name="connsiteY0" fmla="*/ 4914339 h 5036400"/>
              <a:gd name="connsiteX1" fmla="*/ 28 w 3410222"/>
              <a:gd name="connsiteY1" fmla="*/ 3175 h 5036400"/>
              <a:gd name="connsiteX2" fmla="*/ 148283 w 3410222"/>
              <a:gd name="connsiteY2" fmla="*/ 0 h 5036400"/>
              <a:gd name="connsiteX3" fmla="*/ 3288161 w 3410222"/>
              <a:gd name="connsiteY3" fmla="*/ 0 h 5036400"/>
              <a:gd name="connsiteX4" fmla="*/ 3410222 w 3410222"/>
              <a:gd name="connsiteY4" fmla="*/ 122061 h 5036400"/>
              <a:gd name="connsiteX5" fmla="*/ 3410222 w 3410222"/>
              <a:gd name="connsiteY5" fmla="*/ 4914339 h 5036400"/>
              <a:gd name="connsiteX6" fmla="*/ 3288161 w 3410222"/>
              <a:gd name="connsiteY6" fmla="*/ 5036400 h 5036400"/>
              <a:gd name="connsiteX7" fmla="*/ 148283 w 3410222"/>
              <a:gd name="connsiteY7" fmla="*/ 5036400 h 5036400"/>
              <a:gd name="connsiteX8" fmla="*/ 26222 w 3410222"/>
              <a:gd name="connsiteY8" fmla="*/ 4914339 h 503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10222" h="5036400">
                <a:moveTo>
                  <a:pt x="26222" y="4914339"/>
                </a:moveTo>
                <a:cubicBezTo>
                  <a:pt x="5879" y="4075468"/>
                  <a:pt x="1910" y="6256"/>
                  <a:pt x="28" y="3175"/>
                </a:cubicBezTo>
                <a:cubicBezTo>
                  <a:pt x="-1854" y="94"/>
                  <a:pt x="93180" y="529"/>
                  <a:pt x="148283" y="0"/>
                </a:cubicBezTo>
                <a:lnTo>
                  <a:pt x="3288161" y="0"/>
                </a:lnTo>
                <a:cubicBezTo>
                  <a:pt x="3355573" y="0"/>
                  <a:pt x="3410222" y="54649"/>
                  <a:pt x="3410222" y="122061"/>
                </a:cubicBezTo>
                <a:lnTo>
                  <a:pt x="3410222" y="4914339"/>
                </a:lnTo>
                <a:cubicBezTo>
                  <a:pt x="3410222" y="4981751"/>
                  <a:pt x="3355573" y="5036400"/>
                  <a:pt x="3288161" y="5036400"/>
                </a:cubicBezTo>
                <a:lnTo>
                  <a:pt x="148283" y="5036400"/>
                </a:lnTo>
                <a:cubicBezTo>
                  <a:pt x="80871" y="5036400"/>
                  <a:pt x="26222" y="4981751"/>
                  <a:pt x="26222" y="4914339"/>
                </a:cubicBezTo>
                <a:close/>
              </a:path>
            </a:pathLst>
          </a:custGeom>
          <a:solidFill>
            <a:schemeClr val="bg1"/>
          </a:solidFill>
        </p:spPr>
        <p:txBody>
          <a:bodyPr lIns="576000" tIns="1224000" rIns="576000" bIns="576000"/>
          <a:lstStyle>
            <a:lvl1pPr marL="0" indent="0">
              <a:spcAft>
                <a:spcPts val="0"/>
              </a:spcAft>
              <a:buNone/>
              <a:defRPr sz="6314" b="0">
                <a:solidFill>
                  <a:schemeClr val="bg2"/>
                </a:solidFill>
              </a:defRPr>
            </a:lvl1pPr>
            <a:lvl2pPr marL="1275202" indent="-1275202">
              <a:spcAft>
                <a:spcPts val="0"/>
              </a:spcAft>
              <a:buClr>
                <a:schemeClr val="bg2"/>
              </a:buClr>
              <a:buFont typeface="+mj-lt"/>
              <a:buAutoNum type="arabicPeriod"/>
              <a:defRPr sz="6314">
                <a:solidFill>
                  <a:schemeClr val="bg2"/>
                </a:solidFill>
              </a:defRPr>
            </a:lvl2pPr>
            <a:lvl3pPr marL="1002340" indent="-1002340">
              <a:spcAft>
                <a:spcPts val="0"/>
              </a:spcAft>
              <a:buFont typeface="Arial" panose="020B0604020202020204" pitchFamily="34" charset="0"/>
              <a:buChar char="•"/>
              <a:defRPr sz="6314">
                <a:solidFill>
                  <a:schemeClr val="bg2"/>
                </a:solidFill>
              </a:defRPr>
            </a:lvl3pPr>
            <a:lvl4pPr marL="634816" indent="0">
              <a:spcAft>
                <a:spcPts val="0"/>
              </a:spcAft>
              <a:buNone/>
              <a:defRPr sz="6314">
                <a:solidFill>
                  <a:schemeClr val="tx2"/>
                </a:solidFill>
              </a:defRPr>
            </a:lvl4pPr>
            <a:lvl5pPr marL="0" indent="0">
              <a:spcBef>
                <a:spcPts val="2806"/>
              </a:spcBef>
              <a:spcAft>
                <a:spcPts val="0"/>
              </a:spcAft>
              <a:buNone/>
              <a:defRPr sz="12628" b="0">
                <a:solidFill>
                  <a:schemeClr val="tx2"/>
                </a:solidFill>
              </a:defRPr>
            </a:lvl5pPr>
          </a:lstStyle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145" name="Tijdelijke aanduiding voor verticale tekst 2">
            <a:extLst>
              <a:ext uri="{FF2B5EF4-FFF2-40B4-BE49-F238E27FC236}">
                <a16:creationId xmlns:a16="http://schemas.microsoft.com/office/drawing/2014/main" id="{9001FD48-79F0-4F0E-AB81-634459ED5BE7}"/>
              </a:ext>
            </a:extLst>
          </p:cNvPr>
          <p:cNvSpPr>
            <a:spLocks noGrp="1"/>
          </p:cNvSpPr>
          <p:nvPr>
            <p:ph type="body" orient="vert" idx="30" hasCustomPrompt="1"/>
          </p:nvPr>
        </p:nvSpPr>
        <p:spPr>
          <a:xfrm>
            <a:off x="3673386" y="4706259"/>
            <a:ext cx="6882851" cy="2325638"/>
          </a:xfrm>
        </p:spPr>
        <p:txBody>
          <a:bodyPr vert="horz" anchor="b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Tx/>
              <a:buNone/>
              <a:defRPr sz="12628" b="0" baseline="0">
                <a:solidFill>
                  <a:schemeClr val="tx2"/>
                </a:solidFill>
                <a:latin typeface="+mj-lt"/>
              </a:defRPr>
            </a:lvl1pPr>
            <a:lvl2pPr algn="r">
              <a:lnSpc>
                <a:spcPct val="100000"/>
              </a:lnSpc>
              <a:defRPr>
                <a:latin typeface="+mj-lt"/>
              </a:defRPr>
            </a:lvl2pPr>
            <a:lvl3pPr algn="r">
              <a:lnSpc>
                <a:spcPct val="100000"/>
              </a:lnSpc>
              <a:defRPr>
                <a:latin typeface="+mj-lt"/>
              </a:defRPr>
            </a:lvl3pPr>
            <a:lvl4pPr algn="r">
              <a:lnSpc>
                <a:spcPct val="100000"/>
              </a:lnSpc>
              <a:defRPr sz="16838">
                <a:solidFill>
                  <a:schemeClr val="tx2"/>
                </a:solidFill>
                <a:latin typeface="+mj-lt"/>
              </a:defRPr>
            </a:lvl4pPr>
            <a:lvl5pPr algn="r">
              <a:lnSpc>
                <a:spcPct val="100000"/>
              </a:lnSpc>
              <a:defRPr>
                <a:latin typeface="+mj-lt"/>
              </a:defRPr>
            </a:lvl5pPr>
          </a:lstStyle>
          <a:p>
            <a:pPr lvl="0"/>
            <a:r>
              <a:rPr lang="nl-NL" noProof="0"/>
              <a:t>Typ Titel</a:t>
            </a:r>
          </a:p>
        </p:txBody>
      </p:sp>
      <p:sp>
        <p:nvSpPr>
          <p:cNvPr id="256" name="Tijdelijke aanduiding voor tekst 3">
            <a:extLst>
              <a:ext uri="{FF2B5EF4-FFF2-40B4-BE49-F238E27FC236}">
                <a16:creationId xmlns:a16="http://schemas.microsoft.com/office/drawing/2014/main" id="{3CE98F57-4E31-4AA0-A992-55245B424F3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504415" y="1449454"/>
            <a:ext cx="6635238" cy="3534585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51"/>
            </a:lvl1pPr>
          </a:lstStyle>
          <a:p>
            <a:pPr lvl="0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25433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6" presetClass="emp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4250" fill="hold"/>
                                        <p:tgtEl>
                                          <p:spTgt spid="10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4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5" grpId="0" uiExpand="1" build="p">
        <p:tmplLst>
          <p:tmpl lvl="1">
            <p:tnLst>
              <p:par>
                <p:cTn presetID="2" presetClass="entr" presetSubtype="8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2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3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4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5">
            <p:tnLst>
              <p:par>
                <p:cTn presetID="2" presetClass="entr" presetSubtype="2" decel="100000" fill="hold" nodeType="withEffect" nodePh="1">
                  <p:stCondLst>
                    <p:cond delay="5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ofdstu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jdelijke aanduiding voor afbeelding 17">
            <a:extLst>
              <a:ext uri="{FF2B5EF4-FFF2-40B4-BE49-F238E27FC236}">
                <a16:creationId xmlns:a16="http://schemas.microsoft.com/office/drawing/2014/main" id="{FCE83ED8-1632-45C0-9776-66D7AE22C04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" y="-31537"/>
            <a:ext cx="29224288" cy="3030675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1116000" anchor="ctr">
            <a:noAutofit/>
          </a:bodyPr>
          <a:lstStyle>
            <a:lvl1pPr marL="801872" indent="-801872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801872" lvl="0" indent="-801872" algn="ctr"/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6" name="Tijdelijke aanduiding voor verticale tekst 2">
            <a:extLst>
              <a:ext uri="{FF2B5EF4-FFF2-40B4-BE49-F238E27FC236}">
                <a16:creationId xmlns:a16="http://schemas.microsoft.com/office/drawing/2014/main" id="{5A35BD7A-B3CF-4DC4-9F54-201CE6D20B37}"/>
              </a:ext>
            </a:extLst>
          </p:cNvPr>
          <p:cNvSpPr>
            <a:spLocks noGrp="1"/>
          </p:cNvSpPr>
          <p:nvPr>
            <p:ph type="body" orient="vert" idx="27" hasCustomPrompt="1"/>
          </p:nvPr>
        </p:nvSpPr>
        <p:spPr>
          <a:xfrm>
            <a:off x="31332216" y="18091585"/>
            <a:ext cx="8494785" cy="5513364"/>
          </a:xfrm>
        </p:spPr>
        <p:txBody>
          <a:bodyPr vert="horz" anchor="t"/>
          <a:lstStyle>
            <a:lvl1pPr marL="0" indent="0" algn="r">
              <a:buFontTx/>
              <a:buNone/>
              <a:defRPr sz="5612" b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  <a:lvl6pPr marL="0" indent="0" algn="r">
              <a:buFontTx/>
              <a:buNone/>
              <a:defRPr>
                <a:latin typeface="+mj-lt"/>
              </a:defRPr>
            </a:lvl6pPr>
          </a:lstStyle>
          <a:p>
            <a:pPr lvl="0"/>
            <a:r>
              <a:rPr lang="nl-NL" noProof="0"/>
              <a:t>Platte tekst</a:t>
            </a:r>
          </a:p>
        </p:txBody>
      </p:sp>
      <p:sp>
        <p:nvSpPr>
          <p:cNvPr id="30" name="Tijdelijke aanduiding voor voettekst 4">
            <a:extLst>
              <a:ext uri="{FF2B5EF4-FFF2-40B4-BE49-F238E27FC236}">
                <a16:creationId xmlns:a16="http://schemas.microsoft.com/office/drawing/2014/main" id="{88E1252C-995D-4324-9AF2-1F90A93410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22298DC-FFF2-4203-A156-2D5C52D8F1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8"/>
            <a:ext cx="707315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6" name="Tijdelijke aanduiding voor verticale tekst 2">
            <a:extLst>
              <a:ext uri="{FF2B5EF4-FFF2-40B4-BE49-F238E27FC236}">
                <a16:creationId xmlns:a16="http://schemas.microsoft.com/office/drawing/2014/main" id="{0C2BFF95-BE2F-4339-9C65-620ECC5A9CA8}"/>
              </a:ext>
            </a:extLst>
          </p:cNvPr>
          <p:cNvSpPr>
            <a:spLocks noGrp="1"/>
          </p:cNvSpPr>
          <p:nvPr>
            <p:ph type="body" orient="vert" idx="29" hasCustomPrompt="1"/>
          </p:nvPr>
        </p:nvSpPr>
        <p:spPr>
          <a:xfrm>
            <a:off x="31332216" y="12578224"/>
            <a:ext cx="8494785" cy="5513364"/>
          </a:xfrm>
        </p:spPr>
        <p:txBody>
          <a:bodyPr vert="horz" anchor="b"/>
          <a:lstStyle>
            <a:lvl1pPr marL="0" indent="0" algn="r">
              <a:lnSpc>
                <a:spcPct val="100000"/>
              </a:lnSpc>
              <a:buFontTx/>
              <a:buNone/>
              <a:defRPr sz="16838" b="0" baseline="0">
                <a:solidFill>
                  <a:schemeClr val="tx2"/>
                </a:solidFill>
                <a:latin typeface="+mj-lt"/>
              </a:defRPr>
            </a:lvl1pPr>
            <a:lvl2pPr algn="r">
              <a:lnSpc>
                <a:spcPct val="100000"/>
              </a:lnSpc>
              <a:defRPr>
                <a:latin typeface="+mj-lt"/>
              </a:defRPr>
            </a:lvl2pPr>
            <a:lvl3pPr algn="r">
              <a:lnSpc>
                <a:spcPct val="100000"/>
              </a:lnSpc>
              <a:defRPr>
                <a:latin typeface="+mj-lt"/>
              </a:defRPr>
            </a:lvl3pPr>
            <a:lvl4pPr algn="r">
              <a:lnSpc>
                <a:spcPct val="100000"/>
              </a:lnSpc>
              <a:defRPr sz="16838">
                <a:solidFill>
                  <a:schemeClr val="tx2"/>
                </a:solidFill>
                <a:latin typeface="+mj-lt"/>
              </a:defRPr>
            </a:lvl4pPr>
            <a:lvl5pPr algn="r">
              <a:lnSpc>
                <a:spcPct val="100000"/>
              </a:lnSpc>
              <a:defRPr>
                <a:latin typeface="+mj-lt"/>
              </a:defRPr>
            </a:lvl5pPr>
          </a:lstStyle>
          <a:p>
            <a:pPr lvl="0"/>
            <a:r>
              <a:rPr lang="nl-NL" noProof="0"/>
              <a:t>Typ titel</a:t>
            </a:r>
          </a:p>
        </p:txBody>
      </p:sp>
      <p:sp>
        <p:nvSpPr>
          <p:cNvPr id="28" name="Tijdelijke aanduiding voor tekst 2">
            <a:extLst>
              <a:ext uri="{FF2B5EF4-FFF2-40B4-BE49-F238E27FC236}">
                <a16:creationId xmlns:a16="http://schemas.microsoft.com/office/drawing/2014/main" id="{96BEB92E-F202-471F-B7E9-FE333D4C057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399513" y="17837431"/>
            <a:ext cx="15877931" cy="8554531"/>
          </a:xfrm>
          <a:custGeom>
            <a:avLst/>
            <a:gdLst>
              <a:gd name="connsiteX0" fmla="*/ 0 w 4524067"/>
              <a:gd name="connsiteY0" fmla="*/ 42969 h 1602140"/>
              <a:gd name="connsiteX1" fmla="*/ 42969 w 4524067"/>
              <a:gd name="connsiteY1" fmla="*/ 0 h 1602140"/>
              <a:gd name="connsiteX2" fmla="*/ 4481098 w 4524067"/>
              <a:gd name="connsiteY2" fmla="*/ 0 h 1602140"/>
              <a:gd name="connsiteX3" fmla="*/ 4524067 w 4524067"/>
              <a:gd name="connsiteY3" fmla="*/ 42969 h 1602140"/>
              <a:gd name="connsiteX4" fmla="*/ 4524067 w 4524067"/>
              <a:gd name="connsiteY4" fmla="*/ 1559171 h 1602140"/>
              <a:gd name="connsiteX5" fmla="*/ 4481098 w 4524067"/>
              <a:gd name="connsiteY5" fmla="*/ 1602140 h 1602140"/>
              <a:gd name="connsiteX6" fmla="*/ 42969 w 4524067"/>
              <a:gd name="connsiteY6" fmla="*/ 1602140 h 1602140"/>
              <a:gd name="connsiteX7" fmla="*/ 0 w 4524067"/>
              <a:gd name="connsiteY7" fmla="*/ 1559171 h 1602140"/>
              <a:gd name="connsiteX8" fmla="*/ 0 w 4524067"/>
              <a:gd name="connsiteY8" fmla="*/ 42969 h 1602140"/>
              <a:gd name="connsiteX0" fmla="*/ 0 w 4524067"/>
              <a:gd name="connsiteY0" fmla="*/ 43141 h 1602312"/>
              <a:gd name="connsiteX1" fmla="*/ 42969 w 4524067"/>
              <a:gd name="connsiteY1" fmla="*/ 172 h 1602312"/>
              <a:gd name="connsiteX2" fmla="*/ 4136478 w 4524067"/>
              <a:gd name="connsiteY2" fmla="*/ 0 h 1602312"/>
              <a:gd name="connsiteX3" fmla="*/ 4481098 w 4524067"/>
              <a:gd name="connsiteY3" fmla="*/ 172 h 1602312"/>
              <a:gd name="connsiteX4" fmla="*/ 4524067 w 4524067"/>
              <a:gd name="connsiteY4" fmla="*/ 43141 h 1602312"/>
              <a:gd name="connsiteX5" fmla="*/ 4524067 w 4524067"/>
              <a:gd name="connsiteY5" fmla="*/ 1559343 h 1602312"/>
              <a:gd name="connsiteX6" fmla="*/ 4481098 w 4524067"/>
              <a:gd name="connsiteY6" fmla="*/ 1602312 h 1602312"/>
              <a:gd name="connsiteX7" fmla="*/ 42969 w 4524067"/>
              <a:gd name="connsiteY7" fmla="*/ 1602312 h 1602312"/>
              <a:gd name="connsiteX8" fmla="*/ 0 w 4524067"/>
              <a:gd name="connsiteY8" fmla="*/ 1559343 h 1602312"/>
              <a:gd name="connsiteX9" fmla="*/ 0 w 4524067"/>
              <a:gd name="connsiteY9" fmla="*/ 43141 h 1602312"/>
              <a:gd name="connsiteX0" fmla="*/ 0 w 4524067"/>
              <a:gd name="connsiteY0" fmla="*/ 43141 h 1602312"/>
              <a:gd name="connsiteX1" fmla="*/ 42969 w 4524067"/>
              <a:gd name="connsiteY1" fmla="*/ 172 h 1602312"/>
              <a:gd name="connsiteX2" fmla="*/ 4136478 w 4524067"/>
              <a:gd name="connsiteY2" fmla="*/ 0 h 1602312"/>
              <a:gd name="connsiteX3" fmla="*/ 4524067 w 4524067"/>
              <a:gd name="connsiteY3" fmla="*/ 43141 h 1602312"/>
              <a:gd name="connsiteX4" fmla="*/ 4524067 w 4524067"/>
              <a:gd name="connsiteY4" fmla="*/ 1559343 h 1602312"/>
              <a:gd name="connsiteX5" fmla="*/ 4481098 w 4524067"/>
              <a:gd name="connsiteY5" fmla="*/ 1602312 h 1602312"/>
              <a:gd name="connsiteX6" fmla="*/ 42969 w 4524067"/>
              <a:gd name="connsiteY6" fmla="*/ 1602312 h 1602312"/>
              <a:gd name="connsiteX7" fmla="*/ 0 w 4524067"/>
              <a:gd name="connsiteY7" fmla="*/ 1559343 h 1602312"/>
              <a:gd name="connsiteX8" fmla="*/ 0 w 4524067"/>
              <a:gd name="connsiteY8" fmla="*/ 43141 h 1602312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680"/>
              <a:gd name="connsiteY0" fmla="*/ 376237 h 1935408"/>
              <a:gd name="connsiteX1" fmla="*/ 42969 w 4526680"/>
              <a:gd name="connsiteY1" fmla="*/ 333268 h 1935408"/>
              <a:gd name="connsiteX2" fmla="*/ 4136478 w 4526680"/>
              <a:gd name="connsiteY2" fmla="*/ 333096 h 1935408"/>
              <a:gd name="connsiteX3" fmla="*/ 4526448 w 4526680"/>
              <a:gd name="connsiteY3" fmla="*/ 0 h 1935408"/>
              <a:gd name="connsiteX4" fmla="*/ 4524067 w 4526680"/>
              <a:gd name="connsiteY4" fmla="*/ 1892439 h 1935408"/>
              <a:gd name="connsiteX5" fmla="*/ 4481098 w 4526680"/>
              <a:gd name="connsiteY5" fmla="*/ 1935408 h 1935408"/>
              <a:gd name="connsiteX6" fmla="*/ 42969 w 4526680"/>
              <a:gd name="connsiteY6" fmla="*/ 1935408 h 1935408"/>
              <a:gd name="connsiteX7" fmla="*/ 0 w 4526680"/>
              <a:gd name="connsiteY7" fmla="*/ 1892439 h 1935408"/>
              <a:gd name="connsiteX8" fmla="*/ 0 w 4526680"/>
              <a:gd name="connsiteY8" fmla="*/ 376237 h 1935408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448"/>
              <a:gd name="connsiteY0" fmla="*/ 378618 h 1937789"/>
              <a:gd name="connsiteX1" fmla="*/ 42969 w 4526448"/>
              <a:gd name="connsiteY1" fmla="*/ 335649 h 1937789"/>
              <a:gd name="connsiteX2" fmla="*/ 4136478 w 4526448"/>
              <a:gd name="connsiteY2" fmla="*/ 335477 h 1937789"/>
              <a:gd name="connsiteX3" fmla="*/ 4526448 w 4526448"/>
              <a:gd name="connsiteY3" fmla="*/ 0 h 1937789"/>
              <a:gd name="connsiteX4" fmla="*/ 4524067 w 4526448"/>
              <a:gd name="connsiteY4" fmla="*/ 1894820 h 1937789"/>
              <a:gd name="connsiteX5" fmla="*/ 4481098 w 4526448"/>
              <a:gd name="connsiteY5" fmla="*/ 1937789 h 1937789"/>
              <a:gd name="connsiteX6" fmla="*/ 42969 w 4526448"/>
              <a:gd name="connsiteY6" fmla="*/ 1937789 h 1937789"/>
              <a:gd name="connsiteX7" fmla="*/ 0 w 4526448"/>
              <a:gd name="connsiteY7" fmla="*/ 1894820 h 1937789"/>
              <a:gd name="connsiteX8" fmla="*/ 0 w 4526448"/>
              <a:gd name="connsiteY8" fmla="*/ 378618 h 1937789"/>
              <a:gd name="connsiteX0" fmla="*/ 0 w 4526448"/>
              <a:gd name="connsiteY0" fmla="*/ 378618 h 1937789"/>
              <a:gd name="connsiteX1" fmla="*/ 42969 w 4526448"/>
              <a:gd name="connsiteY1" fmla="*/ 335649 h 1937789"/>
              <a:gd name="connsiteX2" fmla="*/ 4136478 w 4526448"/>
              <a:gd name="connsiteY2" fmla="*/ 335477 h 1937789"/>
              <a:gd name="connsiteX3" fmla="*/ 4526448 w 4526448"/>
              <a:gd name="connsiteY3" fmla="*/ 0 h 1937789"/>
              <a:gd name="connsiteX4" fmla="*/ 4524067 w 4526448"/>
              <a:gd name="connsiteY4" fmla="*/ 1894820 h 1937789"/>
              <a:gd name="connsiteX5" fmla="*/ 4481098 w 4526448"/>
              <a:gd name="connsiteY5" fmla="*/ 1937789 h 1937789"/>
              <a:gd name="connsiteX6" fmla="*/ 42969 w 4526448"/>
              <a:gd name="connsiteY6" fmla="*/ 1937789 h 1937789"/>
              <a:gd name="connsiteX7" fmla="*/ 0 w 4526448"/>
              <a:gd name="connsiteY7" fmla="*/ 1894820 h 1937789"/>
              <a:gd name="connsiteX8" fmla="*/ 0 w 4526448"/>
              <a:gd name="connsiteY8" fmla="*/ 378618 h 1937789"/>
              <a:gd name="connsiteX0" fmla="*/ 0 w 4526448"/>
              <a:gd name="connsiteY0" fmla="*/ 378618 h 1937789"/>
              <a:gd name="connsiteX1" fmla="*/ 42969 w 4526448"/>
              <a:gd name="connsiteY1" fmla="*/ 335649 h 1937789"/>
              <a:gd name="connsiteX2" fmla="*/ 4136478 w 4526448"/>
              <a:gd name="connsiteY2" fmla="*/ 335477 h 1937789"/>
              <a:gd name="connsiteX3" fmla="*/ 4526448 w 4526448"/>
              <a:gd name="connsiteY3" fmla="*/ 0 h 1937789"/>
              <a:gd name="connsiteX4" fmla="*/ 4524067 w 4526448"/>
              <a:gd name="connsiteY4" fmla="*/ 1894820 h 1937789"/>
              <a:gd name="connsiteX5" fmla="*/ 4481098 w 4526448"/>
              <a:gd name="connsiteY5" fmla="*/ 1937789 h 1937789"/>
              <a:gd name="connsiteX6" fmla="*/ 42969 w 4526448"/>
              <a:gd name="connsiteY6" fmla="*/ 1937789 h 1937789"/>
              <a:gd name="connsiteX7" fmla="*/ 0 w 4526448"/>
              <a:gd name="connsiteY7" fmla="*/ 1894820 h 1937789"/>
              <a:gd name="connsiteX8" fmla="*/ 0 w 4526448"/>
              <a:gd name="connsiteY8" fmla="*/ 378618 h 1937789"/>
              <a:gd name="connsiteX0" fmla="*/ 0 w 4526448"/>
              <a:gd name="connsiteY0" fmla="*/ 378618 h 1937789"/>
              <a:gd name="connsiteX1" fmla="*/ 42969 w 4526448"/>
              <a:gd name="connsiteY1" fmla="*/ 335649 h 1937789"/>
              <a:gd name="connsiteX2" fmla="*/ 4136478 w 4526448"/>
              <a:gd name="connsiteY2" fmla="*/ 335477 h 1937789"/>
              <a:gd name="connsiteX3" fmla="*/ 4526448 w 4526448"/>
              <a:gd name="connsiteY3" fmla="*/ 0 h 1937789"/>
              <a:gd name="connsiteX4" fmla="*/ 4524067 w 4526448"/>
              <a:gd name="connsiteY4" fmla="*/ 1894820 h 1937789"/>
              <a:gd name="connsiteX5" fmla="*/ 4481098 w 4526448"/>
              <a:gd name="connsiteY5" fmla="*/ 1937789 h 1937789"/>
              <a:gd name="connsiteX6" fmla="*/ 42969 w 4526448"/>
              <a:gd name="connsiteY6" fmla="*/ 1937789 h 1937789"/>
              <a:gd name="connsiteX7" fmla="*/ 0 w 4526448"/>
              <a:gd name="connsiteY7" fmla="*/ 1894820 h 1937789"/>
              <a:gd name="connsiteX8" fmla="*/ 0 w 4526448"/>
              <a:gd name="connsiteY8" fmla="*/ 378618 h 1937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26448" h="1937789">
                <a:moveTo>
                  <a:pt x="0" y="378618"/>
                </a:moveTo>
                <a:cubicBezTo>
                  <a:pt x="0" y="354887"/>
                  <a:pt x="19238" y="335649"/>
                  <a:pt x="42969" y="335649"/>
                </a:cubicBezTo>
                <a:lnTo>
                  <a:pt x="4136478" y="335477"/>
                </a:lnTo>
                <a:cubicBezTo>
                  <a:pt x="4337111" y="333983"/>
                  <a:pt x="4486946" y="218189"/>
                  <a:pt x="4526448" y="0"/>
                </a:cubicBezTo>
                <a:cubicBezTo>
                  <a:pt x="4525654" y="630813"/>
                  <a:pt x="4524861" y="1264007"/>
                  <a:pt x="4524067" y="1894820"/>
                </a:cubicBezTo>
                <a:cubicBezTo>
                  <a:pt x="4524067" y="1918551"/>
                  <a:pt x="4504829" y="1937789"/>
                  <a:pt x="4481098" y="1937789"/>
                </a:cubicBezTo>
                <a:lnTo>
                  <a:pt x="42969" y="1937789"/>
                </a:lnTo>
                <a:cubicBezTo>
                  <a:pt x="19238" y="1937789"/>
                  <a:pt x="0" y="1918551"/>
                  <a:pt x="0" y="1894820"/>
                </a:cubicBezTo>
                <a:lnTo>
                  <a:pt x="0" y="378618"/>
                </a:lnTo>
                <a:close/>
              </a:path>
            </a:pathLst>
          </a:custGeom>
          <a:solidFill>
            <a:schemeClr val="bg2">
              <a:alpha val="85000"/>
            </a:schemeClr>
          </a:solidFill>
        </p:spPr>
        <p:txBody>
          <a:bodyPr vert="horz" wrap="square" lIns="360000" tIns="576000" rIns="576000" bIns="180000" rtlCol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lang="nl-NL" sz="8419" b="0" dirty="0">
                <a:solidFill>
                  <a:schemeClr val="bg1"/>
                </a:solidFill>
                <a:latin typeface="+mj-lt"/>
              </a:defRPr>
            </a:lvl1pPr>
            <a:lvl2pPr>
              <a:defRPr lang="nl-NL" dirty="0">
                <a:solidFill>
                  <a:schemeClr val="bg1"/>
                </a:solidFill>
                <a:latin typeface="+mj-lt"/>
              </a:defRPr>
            </a:lvl2pPr>
            <a:lvl3pPr>
              <a:defRPr lang="nl-NL" dirty="0">
                <a:solidFill>
                  <a:schemeClr val="bg1"/>
                </a:solidFill>
                <a:latin typeface="+mj-lt"/>
              </a:defRPr>
            </a:lvl3pPr>
            <a:lvl4pPr>
              <a:defRPr lang="nl-NL" dirty="0">
                <a:solidFill>
                  <a:schemeClr val="bg1"/>
                </a:solidFill>
                <a:latin typeface="+mj-lt"/>
              </a:defRPr>
            </a:lvl4pPr>
            <a:lvl5pPr>
              <a:lnSpc>
                <a:spcPct val="100000"/>
              </a:lnSpc>
              <a:defRPr lang="nl-NL" sz="8419" b="0" dirty="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nl-NL" noProof="0"/>
              <a:t>Klik om tekst in te voegen</a:t>
            </a:r>
          </a:p>
        </p:txBody>
      </p:sp>
      <p:sp>
        <p:nvSpPr>
          <p:cNvPr id="29" name="Tijdelijke aanduiding voor datum 3">
            <a:extLst>
              <a:ext uri="{FF2B5EF4-FFF2-40B4-BE49-F238E27FC236}">
                <a16:creationId xmlns:a16="http://schemas.microsoft.com/office/drawing/2014/main" id="{0C185B4F-039F-4078-960F-6ACF6F50FA8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845E9234-8709-4007-9880-8F50EB01A15C}" type="datetime1">
              <a:rPr lang="nl-NL" noProof="0" smtClean="0"/>
              <a:t>26-6-2023</a:t>
            </a:fld>
            <a:endParaRPr lang="nl-NL" noProof="0"/>
          </a:p>
        </p:txBody>
      </p:sp>
      <p:pic>
        <p:nvPicPr>
          <p:cNvPr id="69" name="Afbeelding 68">
            <a:extLst>
              <a:ext uri="{FF2B5EF4-FFF2-40B4-BE49-F238E27FC236}">
                <a16:creationId xmlns:a16="http://schemas.microsoft.com/office/drawing/2014/main" id="{01F347DF-1A12-48D1-89CE-4FB17CBFE6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662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uiExpand="1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2"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3"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4"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5">
            <p:tnLst>
              <p:par>
                <p:cTn presetID="2" presetClass="entr" presetSubtype="2" decel="100000" fill="hold" nodeType="withEffect" nodePh="1">
                  <p:stCondLst>
                    <p:cond delay="10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6" grpId="0" uiExpand="1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2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3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4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5">
            <p:tnLst>
              <p:par>
                <p:cTn presetID="2" presetClass="entr" presetSubtype="2" decel="100000" fill="hold" nodeType="withEffect" nodePh="1">
                  <p:stCondLst>
                    <p:cond delay="5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8" grpId="0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2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2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100%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1742374" y="6476677"/>
            <a:ext cx="39282480" cy="19046186"/>
          </a:xfrm>
        </p:spPr>
        <p:txBody>
          <a:bodyPr vert="horz"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 marL="1269631" indent="-634816">
              <a:spcAft>
                <a:spcPts val="0"/>
              </a:spcAft>
              <a:buFont typeface="Arial" panose="020B0604020202020204" pitchFamily="34" charset="0"/>
              <a:buChar char="•"/>
              <a:defRPr sz="4911" baseline="0">
                <a:latin typeface="+mj-lt"/>
              </a:defRPr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6314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D493E421-713B-4AD0-8E5B-41C84D6EBA53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2" y="27329718"/>
            <a:ext cx="857527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pic>
        <p:nvPicPr>
          <p:cNvPr id="103" name="Afbeelding 102">
            <a:extLst>
              <a:ext uri="{FF2B5EF4-FFF2-40B4-BE49-F238E27FC236}">
                <a16:creationId xmlns:a16="http://schemas.microsoft.com/office/drawing/2014/main" id="{8E048147-F86F-41C9-80AF-EAB545EEC3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0277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100% Kolomm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">
            <a:extLst>
              <a:ext uri="{FF2B5EF4-FFF2-40B4-BE49-F238E27FC236}">
                <a16:creationId xmlns:a16="http://schemas.microsoft.com/office/drawing/2014/main" id="{1C9A417D-54A5-4A71-8B81-7526013FD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B97E484-7855-4B8D-9492-641CD9CF34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6314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32" name="Tijdelijke aanduiding voor datum 3">
            <a:extLst>
              <a:ext uri="{FF2B5EF4-FFF2-40B4-BE49-F238E27FC236}">
                <a16:creationId xmlns:a16="http://schemas.microsoft.com/office/drawing/2014/main" id="{6354BF0C-BC33-44FF-BF92-624A7D6DA1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1EB8EFDF-A3EC-46A8-9B15-FE22A84EA0AA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33" name="Tijdelijke aanduiding voor voettekst 4">
            <a:extLst>
              <a:ext uri="{FF2B5EF4-FFF2-40B4-BE49-F238E27FC236}">
                <a16:creationId xmlns:a16="http://schemas.microsoft.com/office/drawing/2014/main" id="{20812B2F-B80B-4623-8A5A-F50D2B9A2D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4" name="Tijdelijke aanduiding voor dianummer 5">
            <a:extLst>
              <a:ext uri="{FF2B5EF4-FFF2-40B4-BE49-F238E27FC236}">
                <a16:creationId xmlns:a16="http://schemas.microsoft.com/office/drawing/2014/main" id="{DF970716-837B-4314-A35A-D69EAD1B74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9" y="27329718"/>
            <a:ext cx="899256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90" name="Tijdelijke aanduiding voor verticale tekst 2">
            <a:extLst>
              <a:ext uri="{FF2B5EF4-FFF2-40B4-BE49-F238E27FC236}">
                <a16:creationId xmlns:a16="http://schemas.microsoft.com/office/drawing/2014/main" id="{BDC964F3-713E-4B53-BB28-52B5ACE9F960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742374" y="6476677"/>
            <a:ext cx="39282480" cy="19046186"/>
          </a:xfrm>
        </p:spPr>
        <p:txBody>
          <a:bodyPr vert="horz" numCol="2" spcCol="576000"/>
          <a:lstStyle>
            <a:lvl1pPr>
              <a:spcAft>
                <a:spcPts val="0"/>
              </a:spcAft>
              <a:defRPr sz="5612"/>
            </a:lvl1pPr>
            <a:lvl2pPr>
              <a:spcAft>
                <a:spcPts val="0"/>
              </a:spcAft>
              <a:defRPr sz="4911"/>
            </a:lvl2pPr>
            <a:lvl3pPr>
              <a:spcAft>
                <a:spcPts val="0"/>
              </a:spcAft>
              <a:defRPr sz="4911"/>
            </a:lvl3pPr>
            <a:lvl4pPr>
              <a:spcAft>
                <a:spcPts val="0"/>
              </a:spcAft>
              <a:defRPr sz="4911"/>
            </a:lvl4pPr>
            <a:lvl5pPr>
              <a:spcAft>
                <a:spcPts val="0"/>
              </a:spcAft>
              <a:defRPr sz="4911"/>
            </a:lvl5pPr>
            <a:lvl6pPr marL="1269631" indent="-634816">
              <a:spcAft>
                <a:spcPts val="0"/>
              </a:spcAft>
              <a:buFont typeface="Arial" panose="020B0604020202020204" pitchFamily="34" charset="0"/>
              <a:buChar char="•"/>
              <a:defRPr sz="4209" baseline="0">
                <a:latin typeface="+mj-lt"/>
              </a:defRPr>
            </a:lvl6pPr>
            <a:lvl7pPr>
              <a:spcAft>
                <a:spcPts val="0"/>
              </a:spcAft>
              <a:defRPr sz="4911"/>
            </a:lvl7pPr>
            <a:lvl8pPr>
              <a:spcAft>
                <a:spcPts val="0"/>
              </a:spcAft>
              <a:defRPr sz="4209"/>
            </a:lvl8pPr>
            <a:lvl9pPr>
              <a:spcAft>
                <a:spcPts val="0"/>
              </a:spcAft>
              <a:defRPr sz="8419"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pic>
        <p:nvPicPr>
          <p:cNvPr id="91" name="Afbeelding 90">
            <a:extLst>
              <a:ext uri="{FF2B5EF4-FFF2-40B4-BE49-F238E27FC236}">
                <a16:creationId xmlns:a16="http://schemas.microsoft.com/office/drawing/2014/main" id="{2BBB23CB-7F4B-419B-AEE2-1E578FE5BA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4769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0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9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100% Kolommen + F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">
            <a:extLst>
              <a:ext uri="{FF2B5EF4-FFF2-40B4-BE49-F238E27FC236}">
                <a16:creationId xmlns:a16="http://schemas.microsoft.com/office/drawing/2014/main" id="{1C9A417D-54A5-4A71-8B81-7526013FD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B97E484-7855-4B8D-9492-641CD9CF34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6314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32" name="Tijdelijke aanduiding voor datum 3">
            <a:extLst>
              <a:ext uri="{FF2B5EF4-FFF2-40B4-BE49-F238E27FC236}">
                <a16:creationId xmlns:a16="http://schemas.microsoft.com/office/drawing/2014/main" id="{6354BF0C-BC33-44FF-BF92-624A7D6DA1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F7D9B3A1-AD20-4AC8-A938-A3B5CD41AC74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33" name="Tijdelijke aanduiding voor voettekst 4">
            <a:extLst>
              <a:ext uri="{FF2B5EF4-FFF2-40B4-BE49-F238E27FC236}">
                <a16:creationId xmlns:a16="http://schemas.microsoft.com/office/drawing/2014/main" id="{20812B2F-B80B-4623-8A5A-F50D2B9A2D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4" name="Tijdelijke aanduiding voor dianummer 5">
            <a:extLst>
              <a:ext uri="{FF2B5EF4-FFF2-40B4-BE49-F238E27FC236}">
                <a16:creationId xmlns:a16="http://schemas.microsoft.com/office/drawing/2014/main" id="{DF970716-837B-4314-A35A-D69EAD1B74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9" y="27329718"/>
            <a:ext cx="966080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5" name="Tijdelijke aanduiding voor afbeelding 4">
            <a:extLst>
              <a:ext uri="{FF2B5EF4-FFF2-40B4-BE49-F238E27FC236}">
                <a16:creationId xmlns:a16="http://schemas.microsoft.com/office/drawing/2014/main" id="{4F177409-F5CC-48CA-85EE-1118845B542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2420194" y="16336005"/>
            <a:ext cx="18604073" cy="9215717"/>
          </a:xfrm>
          <a:solidFill>
            <a:schemeClr val="bg1">
              <a:lumMod val="95000"/>
            </a:schemeClr>
          </a:solidFill>
        </p:spPr>
        <p:txBody>
          <a:bodyPr vert="horz" lIns="0" tIns="1260000" rIns="0" bIns="0" rtlCol="0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lang="nl-NL" sz="4209" b="0" i="1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23677" lvl="0" indent="-623677" algn="ctr"/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178" name="Tijdelijke aanduiding voor verticale tekst 2">
            <a:extLst>
              <a:ext uri="{FF2B5EF4-FFF2-40B4-BE49-F238E27FC236}">
                <a16:creationId xmlns:a16="http://schemas.microsoft.com/office/drawing/2014/main" id="{D950F2B1-1C5A-4CAD-9B69-36EF3FB38C5C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742374" y="6476677"/>
            <a:ext cx="39282480" cy="19046186"/>
          </a:xfrm>
        </p:spPr>
        <p:txBody>
          <a:bodyPr vert="horz" numCol="2" spcCol="576000"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 marL="1269631" indent="-634816">
              <a:spcAft>
                <a:spcPts val="0"/>
              </a:spcAft>
              <a:buFont typeface="Arial" panose="020B0604020202020204" pitchFamily="34" charset="0"/>
              <a:buChar char="•"/>
              <a:defRPr sz="4911" baseline="0">
                <a:latin typeface="+mj-lt"/>
              </a:defRPr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pic>
        <p:nvPicPr>
          <p:cNvPr id="354" name="Afbeelding 353">
            <a:extLst>
              <a:ext uri="{FF2B5EF4-FFF2-40B4-BE49-F238E27FC236}">
                <a16:creationId xmlns:a16="http://schemas.microsoft.com/office/drawing/2014/main" id="{C3DC9CDB-7D02-40BA-8347-E5436758DB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1659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1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78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17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Foto 75%/25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30018937" y="7"/>
            <a:ext cx="12746956" cy="30306751"/>
          </a:xfrm>
          <a:solidFill>
            <a:schemeClr val="bg1">
              <a:lumMod val="95000"/>
            </a:schemeClr>
          </a:solidFill>
        </p:spPr>
        <p:txBody>
          <a:bodyPr tIns="1260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3158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C8A40B12-7E26-4E64-9A7F-C7BE7CAB1C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3" name="Tijdelijke aanduiding voor tekst 14">
            <a:extLst>
              <a:ext uri="{FF2B5EF4-FFF2-40B4-BE49-F238E27FC236}">
                <a16:creationId xmlns:a16="http://schemas.microsoft.com/office/drawing/2014/main" id="{6083995C-1A50-4491-9307-7E1B659A0B1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45" name="Tijdelijke aanduiding voor voettekst 4">
            <a:extLst>
              <a:ext uri="{FF2B5EF4-FFF2-40B4-BE49-F238E27FC236}">
                <a16:creationId xmlns:a16="http://schemas.microsoft.com/office/drawing/2014/main" id="{080EFE03-7FB1-4D06-B653-B56500F8A1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46" name="Tijdelijke aanduiding voor dianummer 5">
            <a:extLst>
              <a:ext uri="{FF2B5EF4-FFF2-40B4-BE49-F238E27FC236}">
                <a16:creationId xmlns:a16="http://schemas.microsoft.com/office/drawing/2014/main" id="{56817633-365A-489C-84DC-22C53FE3A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2" y="27329718"/>
            <a:ext cx="857527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18" name="Tijdelijke aanduiding voor datum 3">
            <a:extLst>
              <a:ext uri="{FF2B5EF4-FFF2-40B4-BE49-F238E27FC236}">
                <a16:creationId xmlns:a16="http://schemas.microsoft.com/office/drawing/2014/main" id="{1660DECE-1BF4-424A-8565-9FDCA21100F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49184B4-41E6-4217-B4F7-E23A450628D2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142" name="Tijdelijke aanduiding voor tekst 4">
            <a:extLst>
              <a:ext uri="{FF2B5EF4-FFF2-40B4-BE49-F238E27FC236}">
                <a16:creationId xmlns:a16="http://schemas.microsoft.com/office/drawing/2014/main" id="{29CC1D89-6112-4688-A910-6E85CEC383E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742374" y="6476685"/>
            <a:ext cx="25012162" cy="1907433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sp>
        <p:nvSpPr>
          <p:cNvPr id="227" name="Tijdelijke aanduiding voor tekst 3">
            <a:extLst>
              <a:ext uri="{FF2B5EF4-FFF2-40B4-BE49-F238E27FC236}">
                <a16:creationId xmlns:a16="http://schemas.microsoft.com/office/drawing/2014/main" id="{56BE9A8B-2E1D-4B70-9784-41189D5E3CE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504415" y="1449454"/>
            <a:ext cx="6635238" cy="3534585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51"/>
            </a:lvl1pPr>
          </a:lstStyle>
          <a:p>
            <a:pPr lvl="0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81590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Foto 50%/5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jdelijke aanduiding voor afbeelding 9">
            <a:extLst>
              <a:ext uri="{FF2B5EF4-FFF2-40B4-BE49-F238E27FC236}">
                <a16:creationId xmlns:a16="http://schemas.microsoft.com/office/drawing/2014/main" id="{0ED34533-68FE-488A-8073-AE327759215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2852404" y="2"/>
            <a:ext cx="19913490" cy="30275209"/>
          </a:xfrm>
          <a:solidFill>
            <a:schemeClr val="bg1">
              <a:lumMod val="95000"/>
            </a:schemeClr>
          </a:solidFill>
        </p:spPr>
        <p:txBody>
          <a:bodyPr tIns="1260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9" name="Titel 1">
            <a:extLst>
              <a:ext uri="{FF2B5EF4-FFF2-40B4-BE49-F238E27FC236}">
                <a16:creationId xmlns:a16="http://schemas.microsoft.com/office/drawing/2014/main" id="{38F2616F-48F4-4AA7-A397-7CF72985B8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40" name="Tijdelijke aanduiding voor tekst 14">
            <a:extLst>
              <a:ext uri="{FF2B5EF4-FFF2-40B4-BE49-F238E27FC236}">
                <a16:creationId xmlns:a16="http://schemas.microsoft.com/office/drawing/2014/main" id="{628F315F-0014-4BC5-9D55-3D396FBDC96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6314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56" name="Tijdelijke aanduiding voor voettekst 4">
            <a:extLst>
              <a:ext uri="{FF2B5EF4-FFF2-40B4-BE49-F238E27FC236}">
                <a16:creationId xmlns:a16="http://schemas.microsoft.com/office/drawing/2014/main" id="{338749D9-C675-4DFC-AD08-66934C14A8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57" name="Tijdelijke aanduiding voor dianummer 5">
            <a:extLst>
              <a:ext uri="{FF2B5EF4-FFF2-40B4-BE49-F238E27FC236}">
                <a16:creationId xmlns:a16="http://schemas.microsoft.com/office/drawing/2014/main" id="{0D5A18F8-364B-49D8-899A-40A6F3280B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2" y="27329718"/>
            <a:ext cx="857527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20" name="Tijdelijke aanduiding voor datum 3">
            <a:extLst>
              <a:ext uri="{FF2B5EF4-FFF2-40B4-BE49-F238E27FC236}">
                <a16:creationId xmlns:a16="http://schemas.microsoft.com/office/drawing/2014/main" id="{6AE598E2-80CE-413F-9F85-905285A7345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B0EAA18-3AFB-40A5-B0C9-9E669743B750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142" name="Tijdelijke aanduiding voor tekst 4">
            <a:extLst>
              <a:ext uri="{FF2B5EF4-FFF2-40B4-BE49-F238E27FC236}">
                <a16:creationId xmlns:a16="http://schemas.microsoft.com/office/drawing/2014/main" id="{979ACD1D-A6F7-422F-B2AC-978EE21FAD1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742373" y="6476685"/>
            <a:ext cx="18171872" cy="1907433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sp>
        <p:nvSpPr>
          <p:cNvPr id="228" name="Tijdelijke aanduiding voor tekst 3">
            <a:extLst>
              <a:ext uri="{FF2B5EF4-FFF2-40B4-BE49-F238E27FC236}">
                <a16:creationId xmlns:a16="http://schemas.microsoft.com/office/drawing/2014/main" id="{FFC2BDB8-507D-4930-A994-4A50B17D66B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504415" y="1449454"/>
            <a:ext cx="6635238" cy="3534585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51"/>
            </a:lvl1pPr>
          </a:lstStyle>
          <a:p>
            <a:pPr lvl="0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88931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Foto 25%/75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jdelijke aanduiding voor afbeelding 9">
            <a:extLst>
              <a:ext uri="{FF2B5EF4-FFF2-40B4-BE49-F238E27FC236}">
                <a16:creationId xmlns:a16="http://schemas.microsoft.com/office/drawing/2014/main" id="{9A5BC6B5-1D0E-4188-AFCB-6E3ED1DEF1F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7808958" y="7"/>
            <a:ext cx="24956939" cy="30306751"/>
          </a:xfrm>
          <a:solidFill>
            <a:schemeClr val="bg1">
              <a:lumMod val="95000"/>
            </a:schemeClr>
          </a:solidFill>
        </p:spPr>
        <p:txBody>
          <a:bodyPr tIns="1260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66B7AAC1-E359-4778-A0B1-A6417129C9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41" name="Tijdelijke aanduiding voor tekst 14">
            <a:extLst>
              <a:ext uri="{FF2B5EF4-FFF2-40B4-BE49-F238E27FC236}">
                <a16:creationId xmlns:a16="http://schemas.microsoft.com/office/drawing/2014/main" id="{E72B3531-34B4-4628-B8C4-9BDACE48A2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6314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50" name="Tijdelijke aanduiding voor voettekst 4">
            <a:extLst>
              <a:ext uri="{FF2B5EF4-FFF2-40B4-BE49-F238E27FC236}">
                <a16:creationId xmlns:a16="http://schemas.microsoft.com/office/drawing/2014/main" id="{A09270D3-9B17-4316-B7B6-C7B06757C4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51" name="Tijdelijke aanduiding voor dianummer 5">
            <a:extLst>
              <a:ext uri="{FF2B5EF4-FFF2-40B4-BE49-F238E27FC236}">
                <a16:creationId xmlns:a16="http://schemas.microsoft.com/office/drawing/2014/main" id="{29AED214-F757-4754-B7D3-9AC75D03D5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2" y="27329718"/>
            <a:ext cx="857527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19" name="Tijdelijke aanduiding voor datum 3">
            <a:extLst>
              <a:ext uri="{FF2B5EF4-FFF2-40B4-BE49-F238E27FC236}">
                <a16:creationId xmlns:a16="http://schemas.microsoft.com/office/drawing/2014/main" id="{0AEE7348-CAF6-4BB8-9EF6-AA8E5C2958D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4B87A2C-4DDA-4D72-8940-56FC5F8DE267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142" name="Tijdelijke aanduiding voor tekst 4">
            <a:extLst>
              <a:ext uri="{FF2B5EF4-FFF2-40B4-BE49-F238E27FC236}">
                <a16:creationId xmlns:a16="http://schemas.microsoft.com/office/drawing/2014/main" id="{E67291DA-A1B8-4533-97BA-4D19DA14FDC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742374" y="6476685"/>
            <a:ext cx="13885872" cy="1907433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bullet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bullet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sp>
        <p:nvSpPr>
          <p:cNvPr id="228" name="Tijdelijke aanduiding voor tekst 3">
            <a:extLst>
              <a:ext uri="{FF2B5EF4-FFF2-40B4-BE49-F238E27FC236}">
                <a16:creationId xmlns:a16="http://schemas.microsoft.com/office/drawing/2014/main" id="{B4F78CBF-9872-475F-8C41-7E5DA6A65BC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504415" y="1449454"/>
            <a:ext cx="6635238" cy="3534585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51"/>
            </a:lvl1pPr>
          </a:lstStyle>
          <a:p>
            <a:pPr lvl="0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80573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hoekje 8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-5567" y="6476684"/>
            <a:ext cx="42767257" cy="23798534"/>
          </a:xfrm>
          <a:solidFill>
            <a:schemeClr val="bg1">
              <a:lumMod val="95000"/>
            </a:schemeClr>
          </a:solidFill>
        </p:spPr>
        <p:txBody>
          <a:bodyPr tIns="1044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0" name="Tijdelijke aanduiding voor voettekst 4">
            <a:extLst>
              <a:ext uri="{FF2B5EF4-FFF2-40B4-BE49-F238E27FC236}">
                <a16:creationId xmlns:a16="http://schemas.microsoft.com/office/drawing/2014/main" id="{1DA20FBD-9D0F-4EAB-B12C-126591D8B7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6644E39-2AF2-4EA0-9C3F-28C89D5A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2" y="27329718"/>
            <a:ext cx="828945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7" name="Tijdelijke aanduiding voor tekst 14">
            <a:extLst>
              <a:ext uri="{FF2B5EF4-FFF2-40B4-BE49-F238E27FC236}">
                <a16:creationId xmlns:a16="http://schemas.microsoft.com/office/drawing/2014/main" id="{A6BF4B27-7FC5-4896-80CE-3BA6119B83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15" name="Tijdelijke aanduiding voor datum 3">
            <a:extLst>
              <a:ext uri="{FF2B5EF4-FFF2-40B4-BE49-F238E27FC236}">
                <a16:creationId xmlns:a16="http://schemas.microsoft.com/office/drawing/2014/main" id="{B4AED1A4-683A-4021-8F91-6EB13C2447C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503FAE-A68E-49CA-B3F3-F3703A2361C4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26" name="Tijdelijke aanduiding voor tekst 3">
            <a:extLst>
              <a:ext uri="{FF2B5EF4-FFF2-40B4-BE49-F238E27FC236}">
                <a16:creationId xmlns:a16="http://schemas.microsoft.com/office/drawing/2014/main" id="{3A586398-8104-4AD7-A024-8ECF8764CDF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926337" y="8948021"/>
            <a:ext cx="1525800" cy="1913241"/>
          </a:xfrm>
          <a:custGeom>
            <a:avLst/>
            <a:gdLst>
              <a:gd name="connsiteX0" fmla="*/ 0 w 1174750"/>
              <a:gd name="connsiteY0" fmla="*/ 0 h 923925"/>
              <a:gd name="connsiteX1" fmla="*/ 1174750 w 1174750"/>
              <a:gd name="connsiteY1" fmla="*/ 0 h 923925"/>
              <a:gd name="connsiteX2" fmla="*/ 1174750 w 1174750"/>
              <a:gd name="connsiteY2" fmla="*/ 923925 h 923925"/>
              <a:gd name="connsiteX3" fmla="*/ 0 w 1174750"/>
              <a:gd name="connsiteY3" fmla="*/ 923925 h 923925"/>
              <a:gd name="connsiteX4" fmla="*/ 0 w 1174750"/>
              <a:gd name="connsiteY4" fmla="*/ 0 h 923925"/>
              <a:gd name="connsiteX0" fmla="*/ 1174750 w 1266190"/>
              <a:gd name="connsiteY0" fmla="*/ 923925 h 1015365"/>
              <a:gd name="connsiteX1" fmla="*/ 0 w 1266190"/>
              <a:gd name="connsiteY1" fmla="*/ 923925 h 1015365"/>
              <a:gd name="connsiteX2" fmla="*/ 0 w 1266190"/>
              <a:gd name="connsiteY2" fmla="*/ 0 h 1015365"/>
              <a:gd name="connsiteX3" fmla="*/ 1174750 w 1266190"/>
              <a:gd name="connsiteY3" fmla="*/ 0 h 1015365"/>
              <a:gd name="connsiteX4" fmla="*/ 1266190 w 1266190"/>
              <a:gd name="connsiteY4" fmla="*/ 1015365 h 1015365"/>
              <a:gd name="connsiteX0" fmla="*/ 1174750 w 1174750"/>
              <a:gd name="connsiteY0" fmla="*/ 923925 h 923925"/>
              <a:gd name="connsiteX1" fmla="*/ 0 w 1174750"/>
              <a:gd name="connsiteY1" fmla="*/ 923925 h 923925"/>
              <a:gd name="connsiteX2" fmla="*/ 0 w 1174750"/>
              <a:gd name="connsiteY2" fmla="*/ 0 h 923925"/>
              <a:gd name="connsiteX3" fmla="*/ 1174750 w 1174750"/>
              <a:gd name="connsiteY3" fmla="*/ 0 h 923925"/>
              <a:gd name="connsiteX0" fmla="*/ 0 w 1174750"/>
              <a:gd name="connsiteY0" fmla="*/ 923925 h 923925"/>
              <a:gd name="connsiteX1" fmla="*/ 0 w 1174750"/>
              <a:gd name="connsiteY1" fmla="*/ 0 h 923925"/>
              <a:gd name="connsiteX2" fmla="*/ 1174750 w 1174750"/>
              <a:gd name="connsiteY2" fmla="*/ 0 h 923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74750" h="923925">
                <a:moveTo>
                  <a:pt x="0" y="923925"/>
                </a:moveTo>
                <a:lnTo>
                  <a:pt x="0" y="0"/>
                </a:lnTo>
                <a:lnTo>
                  <a:pt x="1174750" y="0"/>
                </a:lnTo>
              </a:path>
            </a:pathLst>
          </a:custGeom>
          <a:ln w="190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  <a:alpha val="0"/>
                  </a:schemeClr>
                </a:solidFill>
              </a:defRPr>
            </a:lvl1pPr>
          </a:lstStyle>
          <a:p>
            <a:pPr lvl="0"/>
            <a:endParaRPr lang="nl-NL" noProof="0"/>
          </a:p>
        </p:txBody>
      </p:sp>
      <p:sp>
        <p:nvSpPr>
          <p:cNvPr id="27" name="Tijdelijke aanduiding voor tekst 4">
            <a:extLst>
              <a:ext uri="{FF2B5EF4-FFF2-40B4-BE49-F238E27FC236}">
                <a16:creationId xmlns:a16="http://schemas.microsoft.com/office/drawing/2014/main" id="{F6F978E4-0108-406E-AB96-5F885709DC6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890136" y="8914373"/>
            <a:ext cx="16488774" cy="7793064"/>
          </a:xfrm>
          <a:noFill/>
        </p:spPr>
        <p:txBody>
          <a:bodyPr lIns="360000" tIns="288000" rIns="360000" bIns="36000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419" b="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/>
              <a:t>Klik om tekst in te voegen</a:t>
            </a:r>
          </a:p>
        </p:txBody>
      </p:sp>
      <p:sp>
        <p:nvSpPr>
          <p:cNvPr id="32" name="Tijdelijke aanduiding voor tekst 5">
            <a:extLst>
              <a:ext uri="{FF2B5EF4-FFF2-40B4-BE49-F238E27FC236}">
                <a16:creationId xmlns:a16="http://schemas.microsoft.com/office/drawing/2014/main" id="{E42E3748-C94C-4A0F-BA64-33E6792422C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7833612" y="14745158"/>
            <a:ext cx="1511892" cy="1948270"/>
          </a:xfrm>
          <a:custGeom>
            <a:avLst/>
            <a:gdLst>
              <a:gd name="connsiteX0" fmla="*/ 0 w 1014412"/>
              <a:gd name="connsiteY0" fmla="*/ 196584 h 908050"/>
              <a:gd name="connsiteX1" fmla="*/ 196584 w 1014412"/>
              <a:gd name="connsiteY1" fmla="*/ 0 h 908050"/>
              <a:gd name="connsiteX2" fmla="*/ 817828 w 1014412"/>
              <a:gd name="connsiteY2" fmla="*/ 0 h 908050"/>
              <a:gd name="connsiteX3" fmla="*/ 1014412 w 1014412"/>
              <a:gd name="connsiteY3" fmla="*/ 196584 h 908050"/>
              <a:gd name="connsiteX4" fmla="*/ 1014412 w 1014412"/>
              <a:gd name="connsiteY4" fmla="*/ 711466 h 908050"/>
              <a:gd name="connsiteX5" fmla="*/ 817828 w 1014412"/>
              <a:gd name="connsiteY5" fmla="*/ 908050 h 908050"/>
              <a:gd name="connsiteX6" fmla="*/ 196584 w 1014412"/>
              <a:gd name="connsiteY6" fmla="*/ 908050 h 908050"/>
              <a:gd name="connsiteX7" fmla="*/ 0 w 1014412"/>
              <a:gd name="connsiteY7" fmla="*/ 711466 h 908050"/>
              <a:gd name="connsiteX8" fmla="*/ 0 w 1014412"/>
              <a:gd name="connsiteY8" fmla="*/ 196584 h 908050"/>
              <a:gd name="connsiteX0" fmla="*/ 1014412 w 1105852"/>
              <a:gd name="connsiteY0" fmla="*/ 196584 h 908050"/>
              <a:gd name="connsiteX1" fmla="*/ 1014412 w 1105852"/>
              <a:gd name="connsiteY1" fmla="*/ 711466 h 908050"/>
              <a:gd name="connsiteX2" fmla="*/ 817828 w 1105852"/>
              <a:gd name="connsiteY2" fmla="*/ 908050 h 908050"/>
              <a:gd name="connsiteX3" fmla="*/ 196584 w 1105852"/>
              <a:gd name="connsiteY3" fmla="*/ 908050 h 908050"/>
              <a:gd name="connsiteX4" fmla="*/ 0 w 1105852"/>
              <a:gd name="connsiteY4" fmla="*/ 711466 h 908050"/>
              <a:gd name="connsiteX5" fmla="*/ 0 w 1105852"/>
              <a:gd name="connsiteY5" fmla="*/ 196584 h 908050"/>
              <a:gd name="connsiteX6" fmla="*/ 196584 w 1105852"/>
              <a:gd name="connsiteY6" fmla="*/ 0 h 908050"/>
              <a:gd name="connsiteX7" fmla="*/ 817828 w 1105852"/>
              <a:gd name="connsiteY7" fmla="*/ 0 h 908050"/>
              <a:gd name="connsiteX8" fmla="*/ 1105852 w 1105852"/>
              <a:gd name="connsiteY8" fmla="*/ 288024 h 908050"/>
              <a:gd name="connsiteX0" fmla="*/ 1014412 w 1014412"/>
              <a:gd name="connsiteY0" fmla="*/ 196584 h 908050"/>
              <a:gd name="connsiteX1" fmla="*/ 1014412 w 1014412"/>
              <a:gd name="connsiteY1" fmla="*/ 711466 h 908050"/>
              <a:gd name="connsiteX2" fmla="*/ 817828 w 1014412"/>
              <a:gd name="connsiteY2" fmla="*/ 908050 h 908050"/>
              <a:gd name="connsiteX3" fmla="*/ 196584 w 1014412"/>
              <a:gd name="connsiteY3" fmla="*/ 908050 h 908050"/>
              <a:gd name="connsiteX4" fmla="*/ 0 w 1014412"/>
              <a:gd name="connsiteY4" fmla="*/ 711466 h 908050"/>
              <a:gd name="connsiteX5" fmla="*/ 0 w 1014412"/>
              <a:gd name="connsiteY5" fmla="*/ 196584 h 908050"/>
              <a:gd name="connsiteX6" fmla="*/ 196584 w 1014412"/>
              <a:gd name="connsiteY6" fmla="*/ 0 h 908050"/>
              <a:gd name="connsiteX7" fmla="*/ 817828 w 1014412"/>
              <a:gd name="connsiteY7" fmla="*/ 0 h 908050"/>
              <a:gd name="connsiteX0" fmla="*/ 1014412 w 1014412"/>
              <a:gd name="connsiteY0" fmla="*/ 196584 h 908050"/>
              <a:gd name="connsiteX1" fmla="*/ 1014412 w 1014412"/>
              <a:gd name="connsiteY1" fmla="*/ 711466 h 908050"/>
              <a:gd name="connsiteX2" fmla="*/ 817828 w 1014412"/>
              <a:gd name="connsiteY2" fmla="*/ 908050 h 908050"/>
              <a:gd name="connsiteX3" fmla="*/ 196584 w 1014412"/>
              <a:gd name="connsiteY3" fmla="*/ 908050 h 908050"/>
              <a:gd name="connsiteX4" fmla="*/ 0 w 1014412"/>
              <a:gd name="connsiteY4" fmla="*/ 711466 h 908050"/>
              <a:gd name="connsiteX5" fmla="*/ 0 w 1014412"/>
              <a:gd name="connsiteY5" fmla="*/ 196584 h 908050"/>
              <a:gd name="connsiteX6" fmla="*/ 196584 w 1014412"/>
              <a:gd name="connsiteY6" fmla="*/ 0 h 908050"/>
              <a:gd name="connsiteX0" fmla="*/ 1014412 w 1014412"/>
              <a:gd name="connsiteY0" fmla="*/ 0 h 711466"/>
              <a:gd name="connsiteX1" fmla="*/ 1014412 w 1014412"/>
              <a:gd name="connsiteY1" fmla="*/ 514882 h 711466"/>
              <a:gd name="connsiteX2" fmla="*/ 817828 w 1014412"/>
              <a:gd name="connsiteY2" fmla="*/ 711466 h 711466"/>
              <a:gd name="connsiteX3" fmla="*/ 196584 w 1014412"/>
              <a:gd name="connsiteY3" fmla="*/ 711466 h 711466"/>
              <a:gd name="connsiteX4" fmla="*/ 0 w 1014412"/>
              <a:gd name="connsiteY4" fmla="*/ 514882 h 711466"/>
              <a:gd name="connsiteX5" fmla="*/ 0 w 1014412"/>
              <a:gd name="connsiteY5" fmla="*/ 0 h 711466"/>
              <a:gd name="connsiteX0" fmla="*/ 1014412 w 1014412"/>
              <a:gd name="connsiteY0" fmla="*/ 0 h 711466"/>
              <a:gd name="connsiteX1" fmla="*/ 1014412 w 1014412"/>
              <a:gd name="connsiteY1" fmla="*/ 514882 h 711466"/>
              <a:gd name="connsiteX2" fmla="*/ 817828 w 1014412"/>
              <a:gd name="connsiteY2" fmla="*/ 711466 h 711466"/>
              <a:gd name="connsiteX3" fmla="*/ 196584 w 1014412"/>
              <a:gd name="connsiteY3" fmla="*/ 711466 h 711466"/>
              <a:gd name="connsiteX4" fmla="*/ 0 w 1014412"/>
              <a:gd name="connsiteY4" fmla="*/ 514882 h 711466"/>
              <a:gd name="connsiteX0" fmla="*/ 817828 w 817828"/>
              <a:gd name="connsiteY0" fmla="*/ 0 h 711466"/>
              <a:gd name="connsiteX1" fmla="*/ 817828 w 817828"/>
              <a:gd name="connsiteY1" fmla="*/ 514882 h 711466"/>
              <a:gd name="connsiteX2" fmla="*/ 621244 w 817828"/>
              <a:gd name="connsiteY2" fmla="*/ 711466 h 711466"/>
              <a:gd name="connsiteX3" fmla="*/ 0 w 817828"/>
              <a:gd name="connsiteY3" fmla="*/ 711466 h 711466"/>
              <a:gd name="connsiteX0" fmla="*/ 817828 w 817828"/>
              <a:gd name="connsiteY0" fmla="*/ 0 h 711466"/>
              <a:gd name="connsiteX1" fmla="*/ 815446 w 817828"/>
              <a:gd name="connsiteY1" fmla="*/ 270140 h 711466"/>
              <a:gd name="connsiteX2" fmla="*/ 817828 w 817828"/>
              <a:gd name="connsiteY2" fmla="*/ 514882 h 711466"/>
              <a:gd name="connsiteX3" fmla="*/ 621244 w 817828"/>
              <a:gd name="connsiteY3" fmla="*/ 711466 h 711466"/>
              <a:gd name="connsiteX4" fmla="*/ 0 w 817828"/>
              <a:gd name="connsiteY4" fmla="*/ 711466 h 711466"/>
              <a:gd name="connsiteX0" fmla="*/ 817828 w 817828"/>
              <a:gd name="connsiteY0" fmla="*/ 0 h 711466"/>
              <a:gd name="connsiteX1" fmla="*/ 815446 w 817828"/>
              <a:gd name="connsiteY1" fmla="*/ 270140 h 711466"/>
              <a:gd name="connsiteX2" fmla="*/ 817828 w 817828"/>
              <a:gd name="connsiteY2" fmla="*/ 514882 h 711466"/>
              <a:gd name="connsiteX3" fmla="*/ 621244 w 817828"/>
              <a:gd name="connsiteY3" fmla="*/ 711466 h 711466"/>
              <a:gd name="connsiteX4" fmla="*/ 386821 w 817828"/>
              <a:gd name="connsiteY4" fmla="*/ 708290 h 711466"/>
              <a:gd name="connsiteX5" fmla="*/ 0 w 817828"/>
              <a:gd name="connsiteY5" fmla="*/ 711466 h 711466"/>
              <a:gd name="connsiteX0" fmla="*/ 431007 w 431007"/>
              <a:gd name="connsiteY0" fmla="*/ 0 h 711466"/>
              <a:gd name="connsiteX1" fmla="*/ 428625 w 431007"/>
              <a:gd name="connsiteY1" fmla="*/ 270140 h 711466"/>
              <a:gd name="connsiteX2" fmla="*/ 431007 w 431007"/>
              <a:gd name="connsiteY2" fmla="*/ 514882 h 711466"/>
              <a:gd name="connsiteX3" fmla="*/ 234423 w 431007"/>
              <a:gd name="connsiteY3" fmla="*/ 711466 h 711466"/>
              <a:gd name="connsiteX4" fmla="*/ 0 w 431007"/>
              <a:gd name="connsiteY4" fmla="*/ 708290 h 711466"/>
              <a:gd name="connsiteX0" fmla="*/ 428625 w 431007"/>
              <a:gd name="connsiteY0" fmla="*/ 0 h 441326"/>
              <a:gd name="connsiteX1" fmla="*/ 431007 w 431007"/>
              <a:gd name="connsiteY1" fmla="*/ 244742 h 441326"/>
              <a:gd name="connsiteX2" fmla="*/ 234423 w 431007"/>
              <a:gd name="connsiteY2" fmla="*/ 441326 h 441326"/>
              <a:gd name="connsiteX3" fmla="*/ 0 w 431007"/>
              <a:gd name="connsiteY3" fmla="*/ 438150 h 441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007" h="441326">
                <a:moveTo>
                  <a:pt x="428625" y="0"/>
                </a:moveTo>
                <a:lnTo>
                  <a:pt x="431007" y="244742"/>
                </a:lnTo>
                <a:cubicBezTo>
                  <a:pt x="431007" y="353312"/>
                  <a:pt x="342993" y="441326"/>
                  <a:pt x="234423" y="441326"/>
                </a:cubicBezTo>
                <a:lnTo>
                  <a:pt x="0" y="438150"/>
                </a:lnTo>
              </a:path>
            </a:pathLst>
          </a:custGeom>
          <a:noFill/>
          <a:ln w="15875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  <a:alpha val="0"/>
                  </a:schemeClr>
                </a:solidFill>
              </a:defRPr>
            </a:lvl1pPr>
          </a:lstStyle>
          <a:p>
            <a:pPr lvl="0"/>
            <a:endParaRPr lang="nl-NL" noProof="0"/>
          </a:p>
        </p:txBody>
      </p:sp>
      <p:pic>
        <p:nvPicPr>
          <p:cNvPr id="228" name="Afbeelding 227">
            <a:extLst>
              <a:ext uri="{FF2B5EF4-FFF2-40B4-BE49-F238E27FC236}">
                <a16:creationId xmlns:a16="http://schemas.microsoft.com/office/drawing/2014/main" id="{424325DF-F4FE-41DA-8233-E1C830FB8F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7498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Tekst horizontaal 50%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136291"/>
            <a:ext cx="42767250" cy="15138928"/>
          </a:xfrm>
          <a:solidFill>
            <a:schemeClr val="bg1">
              <a:lumMod val="95000"/>
            </a:schemeClr>
          </a:solidFill>
        </p:spPr>
        <p:txBody>
          <a:bodyPr tIns="1008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677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0" name="Tijdelijke aanduiding voor verticale tekst 2">
            <a:extLst>
              <a:ext uri="{FF2B5EF4-FFF2-40B4-BE49-F238E27FC236}">
                <a16:creationId xmlns:a16="http://schemas.microsoft.com/office/drawing/2014/main" id="{F8646127-FAA8-40B9-BA27-B65B55E1D214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731106" y="6455418"/>
            <a:ext cx="19652525" cy="6270811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 marL="248348" indent="-248348">
              <a:buFont typeface="Arial" panose="020B0604020202020204" pitchFamily="34" charset="0"/>
              <a:buChar char="•"/>
              <a:defRPr sz="2235">
                <a:latin typeface="+mj-lt"/>
              </a:defRPr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bullet #2</a:t>
            </a:r>
          </a:p>
          <a:p>
            <a:pPr lvl="3"/>
            <a:r>
              <a:rPr lang="nl-NL" noProof="0"/>
              <a:t>Platte tekst1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D9B5C8AD-E451-4910-BCD7-D1E346AA05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78" y="1766065"/>
            <a:ext cx="32281087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0" name="Tijdelijke aanduiding voor tekst 14">
            <a:extLst>
              <a:ext uri="{FF2B5EF4-FFF2-40B4-BE49-F238E27FC236}">
                <a16:creationId xmlns:a16="http://schemas.microsoft.com/office/drawing/2014/main" id="{9A64BF12-7DFA-4BAF-9073-5EB142A323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78" y="3469430"/>
            <a:ext cx="32281087" cy="1195424"/>
          </a:xfrm>
        </p:spPr>
        <p:txBody>
          <a:bodyPr>
            <a:noAutofit/>
          </a:bodyPr>
          <a:lstStyle>
            <a:lvl1pPr marL="0" indent="0">
              <a:buNone/>
              <a:defRPr sz="2794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47" name="Tijdelijke aanduiding voor voettekst 4">
            <a:extLst>
              <a:ext uri="{FF2B5EF4-FFF2-40B4-BE49-F238E27FC236}">
                <a16:creationId xmlns:a16="http://schemas.microsoft.com/office/drawing/2014/main" id="{58C156A9-63A9-476C-A14C-D38512258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7" y="27345278"/>
            <a:ext cx="1802756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48" name="Tijdelijke aanduiding voor dianummer 5">
            <a:extLst>
              <a:ext uri="{FF2B5EF4-FFF2-40B4-BE49-F238E27FC236}">
                <a16:creationId xmlns:a16="http://schemas.microsoft.com/office/drawing/2014/main" id="{4873E8A5-4959-4902-84E2-A62C718138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7"/>
            <a:ext cx="857529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7" name="Tijdelijke aanduiding voor datum 3">
            <a:extLst>
              <a:ext uri="{FF2B5EF4-FFF2-40B4-BE49-F238E27FC236}">
                <a16:creationId xmlns:a16="http://schemas.microsoft.com/office/drawing/2014/main" id="{35B3F705-7563-46B4-AC7E-1ADE5F14C8B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50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9541AB-70E6-4E41-922C-2B951D28D1F5}" type="datetime1">
              <a:rPr lang="nl-NL" noProof="0" smtClean="0"/>
              <a:t>26-6-2023</a:t>
            </a:fld>
            <a:endParaRPr lang="nl-NL" noProof="0"/>
          </a:p>
        </p:txBody>
      </p:sp>
      <p:pic>
        <p:nvPicPr>
          <p:cNvPr id="222" name="Afbeelding 221">
            <a:extLst>
              <a:ext uri="{FF2B5EF4-FFF2-40B4-BE49-F238E27FC236}">
                <a16:creationId xmlns:a16="http://schemas.microsoft.com/office/drawing/2014/main" id="{602AF7D1-3DFC-492C-95E2-409993E4AC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5" y="831727"/>
            <a:ext cx="9249575" cy="4281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2800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Tekst horizontaal 50%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136292"/>
            <a:ext cx="42767250" cy="15138926"/>
          </a:xfrm>
          <a:solidFill>
            <a:schemeClr val="bg1">
              <a:lumMod val="95000"/>
            </a:schemeClr>
          </a:solidFill>
        </p:spPr>
        <p:txBody>
          <a:bodyPr tIns="1008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0" name="Tijdelijke aanduiding voor verticale tekst 2">
            <a:extLst>
              <a:ext uri="{FF2B5EF4-FFF2-40B4-BE49-F238E27FC236}">
                <a16:creationId xmlns:a16="http://schemas.microsoft.com/office/drawing/2014/main" id="{F8646127-FAA8-40B9-BA27-B65B55E1D214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731100" y="6455413"/>
            <a:ext cx="19652523" cy="6270810"/>
          </a:xfrm>
        </p:spPr>
        <p:txBody>
          <a:bodyPr vert="horz"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defRPr/>
            </a:lvl5pPr>
            <a:lvl6pPr marL="623677" indent="-623677">
              <a:buFont typeface="Arial" panose="020B0604020202020204" pitchFamily="34" charset="0"/>
              <a:buChar char="•"/>
              <a:defRPr sz="5612">
                <a:latin typeface="+mj-lt"/>
              </a:defRPr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2</a:t>
            </a:r>
          </a:p>
          <a:p>
            <a:pPr lvl="3"/>
            <a:r>
              <a:rPr lang="nl-NL" noProof="0"/>
              <a:t>Platte tekst1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D9B5C8AD-E451-4910-BCD7-D1E346AA05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0" name="Tijdelijke aanduiding voor tekst 14">
            <a:extLst>
              <a:ext uri="{FF2B5EF4-FFF2-40B4-BE49-F238E27FC236}">
                <a16:creationId xmlns:a16="http://schemas.microsoft.com/office/drawing/2014/main" id="{9A64BF12-7DFA-4BAF-9073-5EB142A323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6314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47" name="Tijdelijke aanduiding voor voettekst 4">
            <a:extLst>
              <a:ext uri="{FF2B5EF4-FFF2-40B4-BE49-F238E27FC236}">
                <a16:creationId xmlns:a16="http://schemas.microsoft.com/office/drawing/2014/main" id="{58C156A9-63A9-476C-A14C-D38512258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48" name="Tijdelijke aanduiding voor dianummer 5">
            <a:extLst>
              <a:ext uri="{FF2B5EF4-FFF2-40B4-BE49-F238E27FC236}">
                <a16:creationId xmlns:a16="http://schemas.microsoft.com/office/drawing/2014/main" id="{4873E8A5-4959-4902-84E2-A62C718138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7" y="27329718"/>
            <a:ext cx="857530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7" name="Tijdelijke aanduiding voor datum 3">
            <a:extLst>
              <a:ext uri="{FF2B5EF4-FFF2-40B4-BE49-F238E27FC236}">
                <a16:creationId xmlns:a16="http://schemas.microsoft.com/office/drawing/2014/main" id="{35B3F705-7563-46B4-AC7E-1ADE5F14C8B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9541AB-70E6-4E41-922C-2B951D28D1F5}" type="datetime1">
              <a:rPr lang="nl-NL" noProof="0" smtClean="0"/>
              <a:t>26-6-2023</a:t>
            </a:fld>
            <a:endParaRPr lang="nl-NL" noProof="0"/>
          </a:p>
        </p:txBody>
      </p:sp>
      <p:pic>
        <p:nvPicPr>
          <p:cNvPr id="222" name="Afbeelding 221">
            <a:extLst>
              <a:ext uri="{FF2B5EF4-FFF2-40B4-BE49-F238E27FC236}">
                <a16:creationId xmlns:a16="http://schemas.microsoft.com/office/drawing/2014/main" id="{602AF7D1-3DFC-492C-95E2-409993E4AC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3095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Wolk 100%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-5567" y="-31537"/>
            <a:ext cx="42767257" cy="30306755"/>
          </a:xfrm>
          <a:solidFill>
            <a:schemeClr val="bg1">
              <a:lumMod val="95000"/>
            </a:schemeClr>
          </a:solidFill>
        </p:spPr>
        <p:txBody>
          <a:bodyPr tIns="1044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3" name="Tijdelijke aanduiding voor voettekst 4">
            <a:extLst>
              <a:ext uri="{FF2B5EF4-FFF2-40B4-BE49-F238E27FC236}">
                <a16:creationId xmlns:a16="http://schemas.microsoft.com/office/drawing/2014/main" id="{3FD2C40F-5ED0-4573-8F6F-31F0DA9D46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4" name="Tijdelijke aanduiding voor dianummer 5">
            <a:extLst>
              <a:ext uri="{FF2B5EF4-FFF2-40B4-BE49-F238E27FC236}">
                <a16:creationId xmlns:a16="http://schemas.microsoft.com/office/drawing/2014/main" id="{FDCACBC6-40CE-484B-AC87-549D0BAA4F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7" y="27329718"/>
            <a:ext cx="828942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D78D1FB9-F46F-4739-84B5-17E9644E515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1062563" y="6639726"/>
            <a:ext cx="15869579" cy="8579805"/>
          </a:xfrm>
          <a:custGeom>
            <a:avLst/>
            <a:gdLst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4067 w 4524067"/>
              <a:gd name="connsiteY3" fmla="*/ 1604261 h 1943514"/>
              <a:gd name="connsiteX4" fmla="*/ 374342 w 4524067"/>
              <a:gd name="connsiteY4" fmla="*/ 1604261 h 1943514"/>
              <a:gd name="connsiteX5" fmla="*/ 374342 w 4524067"/>
              <a:gd name="connsiteY5" fmla="*/ 1604495 h 1943514"/>
              <a:gd name="connsiteX6" fmla="*/ 372031 w 4524067"/>
              <a:gd name="connsiteY6" fmla="*/ 1604262 h 1943514"/>
              <a:gd name="connsiteX7" fmla="*/ 7555 w 4524067"/>
              <a:gd name="connsiteY7" fmla="*/ 1901319 h 1943514"/>
              <a:gd name="connsiteX8" fmla="*/ 3301 w 4524067"/>
              <a:gd name="connsiteY8" fmla="*/ 1943514 h 1943514"/>
              <a:gd name="connsiteX9" fmla="*/ 0 w 4524067"/>
              <a:gd name="connsiteY9" fmla="*/ 1935545 h 1943514"/>
              <a:gd name="connsiteX10" fmla="*/ 0 w 4524067"/>
              <a:gd name="connsiteY10" fmla="*/ 71054 h 1943514"/>
              <a:gd name="connsiteX11" fmla="*/ 71054 w 4524067"/>
              <a:gd name="connsiteY11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524067 w 4524067"/>
              <a:gd name="connsiteY4" fmla="*/ 160426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524067 w 4524067"/>
              <a:gd name="connsiteY4" fmla="*/ 1604261 h 1943514"/>
              <a:gd name="connsiteX5" fmla="*/ 4481998 w 4524067"/>
              <a:gd name="connsiteY5" fmla="*/ 1606550 h 1943514"/>
              <a:gd name="connsiteX6" fmla="*/ 374342 w 4524067"/>
              <a:gd name="connsiteY6" fmla="*/ 1604261 h 1943514"/>
              <a:gd name="connsiteX7" fmla="*/ 374342 w 4524067"/>
              <a:gd name="connsiteY7" fmla="*/ 1604495 h 1943514"/>
              <a:gd name="connsiteX8" fmla="*/ 372031 w 4524067"/>
              <a:gd name="connsiteY8" fmla="*/ 1604262 h 1943514"/>
              <a:gd name="connsiteX9" fmla="*/ 7555 w 4524067"/>
              <a:gd name="connsiteY9" fmla="*/ 1901319 h 1943514"/>
              <a:gd name="connsiteX10" fmla="*/ 3301 w 4524067"/>
              <a:gd name="connsiteY10" fmla="*/ 1943514 h 1943514"/>
              <a:gd name="connsiteX11" fmla="*/ 0 w 4524067"/>
              <a:gd name="connsiteY11" fmla="*/ 1935545 h 1943514"/>
              <a:gd name="connsiteX12" fmla="*/ 0 w 4524067"/>
              <a:gd name="connsiteY12" fmla="*/ 71054 h 1943514"/>
              <a:gd name="connsiteX13" fmla="*/ 71054 w 4524067"/>
              <a:gd name="connsiteY13" fmla="*/ 0 h 1943514"/>
              <a:gd name="connsiteX0" fmla="*/ 71054 w 4799095"/>
              <a:gd name="connsiteY0" fmla="*/ 0 h 1943514"/>
              <a:gd name="connsiteX1" fmla="*/ 4453013 w 4799095"/>
              <a:gd name="connsiteY1" fmla="*/ 0 h 1943514"/>
              <a:gd name="connsiteX2" fmla="*/ 4524067 w 4799095"/>
              <a:gd name="connsiteY2" fmla="*/ 71054 h 1943514"/>
              <a:gd name="connsiteX3" fmla="*/ 4522480 w 4799095"/>
              <a:gd name="connsiteY3" fmla="*/ 1547019 h 1943514"/>
              <a:gd name="connsiteX4" fmla="*/ 4524067 w 4799095"/>
              <a:gd name="connsiteY4" fmla="*/ 1604261 h 1943514"/>
              <a:gd name="connsiteX5" fmla="*/ 4481998 w 4799095"/>
              <a:gd name="connsiteY5" fmla="*/ 1606550 h 1943514"/>
              <a:gd name="connsiteX6" fmla="*/ 374342 w 4799095"/>
              <a:gd name="connsiteY6" fmla="*/ 1604261 h 1943514"/>
              <a:gd name="connsiteX7" fmla="*/ 374342 w 4799095"/>
              <a:gd name="connsiteY7" fmla="*/ 1604495 h 1943514"/>
              <a:gd name="connsiteX8" fmla="*/ 372031 w 4799095"/>
              <a:gd name="connsiteY8" fmla="*/ 1604262 h 1943514"/>
              <a:gd name="connsiteX9" fmla="*/ 7555 w 4799095"/>
              <a:gd name="connsiteY9" fmla="*/ 1901319 h 1943514"/>
              <a:gd name="connsiteX10" fmla="*/ 3301 w 4799095"/>
              <a:gd name="connsiteY10" fmla="*/ 1943514 h 1943514"/>
              <a:gd name="connsiteX11" fmla="*/ 0 w 4799095"/>
              <a:gd name="connsiteY11" fmla="*/ 1935545 h 1943514"/>
              <a:gd name="connsiteX12" fmla="*/ 0 w 4799095"/>
              <a:gd name="connsiteY12" fmla="*/ 71054 h 1943514"/>
              <a:gd name="connsiteX13" fmla="*/ 71054 w 4799095"/>
              <a:gd name="connsiteY13" fmla="*/ 0 h 1943514"/>
              <a:gd name="connsiteX0" fmla="*/ 71054 w 4798479"/>
              <a:gd name="connsiteY0" fmla="*/ 0 h 1943514"/>
              <a:gd name="connsiteX1" fmla="*/ 4453013 w 4798479"/>
              <a:gd name="connsiteY1" fmla="*/ 0 h 1943514"/>
              <a:gd name="connsiteX2" fmla="*/ 4524067 w 4798479"/>
              <a:gd name="connsiteY2" fmla="*/ 71054 h 1943514"/>
              <a:gd name="connsiteX3" fmla="*/ 4522480 w 4798479"/>
              <a:gd name="connsiteY3" fmla="*/ 1547019 h 1943514"/>
              <a:gd name="connsiteX4" fmla="*/ 4481998 w 4798479"/>
              <a:gd name="connsiteY4" fmla="*/ 1606550 h 1943514"/>
              <a:gd name="connsiteX5" fmla="*/ 374342 w 4798479"/>
              <a:gd name="connsiteY5" fmla="*/ 1604261 h 1943514"/>
              <a:gd name="connsiteX6" fmla="*/ 374342 w 4798479"/>
              <a:gd name="connsiteY6" fmla="*/ 1604495 h 1943514"/>
              <a:gd name="connsiteX7" fmla="*/ 372031 w 4798479"/>
              <a:gd name="connsiteY7" fmla="*/ 1604262 h 1943514"/>
              <a:gd name="connsiteX8" fmla="*/ 7555 w 4798479"/>
              <a:gd name="connsiteY8" fmla="*/ 1901319 h 1943514"/>
              <a:gd name="connsiteX9" fmla="*/ 3301 w 4798479"/>
              <a:gd name="connsiteY9" fmla="*/ 1943514 h 1943514"/>
              <a:gd name="connsiteX10" fmla="*/ 0 w 4798479"/>
              <a:gd name="connsiteY10" fmla="*/ 1935545 h 1943514"/>
              <a:gd name="connsiteX11" fmla="*/ 0 w 4798479"/>
              <a:gd name="connsiteY11" fmla="*/ 71054 h 1943514"/>
              <a:gd name="connsiteX12" fmla="*/ 71054 w 4798479"/>
              <a:gd name="connsiteY12" fmla="*/ 0 h 1943514"/>
              <a:gd name="connsiteX0" fmla="*/ 71054 w 4801282"/>
              <a:gd name="connsiteY0" fmla="*/ 0 h 1943514"/>
              <a:gd name="connsiteX1" fmla="*/ 4453013 w 4801282"/>
              <a:gd name="connsiteY1" fmla="*/ 0 h 1943514"/>
              <a:gd name="connsiteX2" fmla="*/ 4524067 w 4801282"/>
              <a:gd name="connsiteY2" fmla="*/ 71054 h 1943514"/>
              <a:gd name="connsiteX3" fmla="*/ 4522480 w 4801282"/>
              <a:gd name="connsiteY3" fmla="*/ 1547019 h 1943514"/>
              <a:gd name="connsiteX4" fmla="*/ 4481998 w 4801282"/>
              <a:gd name="connsiteY4" fmla="*/ 1606550 h 1943514"/>
              <a:gd name="connsiteX5" fmla="*/ 374342 w 4801282"/>
              <a:gd name="connsiteY5" fmla="*/ 1604261 h 1943514"/>
              <a:gd name="connsiteX6" fmla="*/ 374342 w 4801282"/>
              <a:gd name="connsiteY6" fmla="*/ 1604495 h 1943514"/>
              <a:gd name="connsiteX7" fmla="*/ 372031 w 4801282"/>
              <a:gd name="connsiteY7" fmla="*/ 1604262 h 1943514"/>
              <a:gd name="connsiteX8" fmla="*/ 7555 w 4801282"/>
              <a:gd name="connsiteY8" fmla="*/ 1901319 h 1943514"/>
              <a:gd name="connsiteX9" fmla="*/ 3301 w 4801282"/>
              <a:gd name="connsiteY9" fmla="*/ 1943514 h 1943514"/>
              <a:gd name="connsiteX10" fmla="*/ 0 w 4801282"/>
              <a:gd name="connsiteY10" fmla="*/ 1935545 h 1943514"/>
              <a:gd name="connsiteX11" fmla="*/ 0 w 4801282"/>
              <a:gd name="connsiteY11" fmla="*/ 71054 h 1943514"/>
              <a:gd name="connsiteX12" fmla="*/ 71054 w 4801282"/>
              <a:gd name="connsiteY12" fmla="*/ 0 h 1943514"/>
              <a:gd name="connsiteX0" fmla="*/ 71054 w 4527104"/>
              <a:gd name="connsiteY0" fmla="*/ 0 h 1943514"/>
              <a:gd name="connsiteX1" fmla="*/ 4453013 w 4527104"/>
              <a:gd name="connsiteY1" fmla="*/ 0 h 1943514"/>
              <a:gd name="connsiteX2" fmla="*/ 4524067 w 4527104"/>
              <a:gd name="connsiteY2" fmla="*/ 71054 h 1943514"/>
              <a:gd name="connsiteX3" fmla="*/ 4522480 w 4527104"/>
              <a:gd name="connsiteY3" fmla="*/ 1547019 h 1943514"/>
              <a:gd name="connsiteX4" fmla="*/ 4481998 w 4527104"/>
              <a:gd name="connsiteY4" fmla="*/ 1606550 h 1943514"/>
              <a:gd name="connsiteX5" fmla="*/ 374342 w 4527104"/>
              <a:gd name="connsiteY5" fmla="*/ 1604261 h 1943514"/>
              <a:gd name="connsiteX6" fmla="*/ 374342 w 4527104"/>
              <a:gd name="connsiteY6" fmla="*/ 1604495 h 1943514"/>
              <a:gd name="connsiteX7" fmla="*/ 372031 w 4527104"/>
              <a:gd name="connsiteY7" fmla="*/ 1604262 h 1943514"/>
              <a:gd name="connsiteX8" fmla="*/ 7555 w 4527104"/>
              <a:gd name="connsiteY8" fmla="*/ 1901319 h 1943514"/>
              <a:gd name="connsiteX9" fmla="*/ 3301 w 4527104"/>
              <a:gd name="connsiteY9" fmla="*/ 1943514 h 1943514"/>
              <a:gd name="connsiteX10" fmla="*/ 0 w 4527104"/>
              <a:gd name="connsiteY10" fmla="*/ 1935545 h 1943514"/>
              <a:gd name="connsiteX11" fmla="*/ 0 w 4527104"/>
              <a:gd name="connsiteY11" fmla="*/ 71054 h 1943514"/>
              <a:gd name="connsiteX12" fmla="*/ 71054 w 4527104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81998 w 4524067"/>
              <a:gd name="connsiteY4" fmla="*/ 1606550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81998 w 4524067"/>
              <a:gd name="connsiteY4" fmla="*/ 1606550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81998 w 4524067"/>
              <a:gd name="connsiteY4" fmla="*/ 1606550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16062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16062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16062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524067" h="1943514">
                <a:moveTo>
                  <a:pt x="71054" y="0"/>
                </a:moveTo>
                <a:lnTo>
                  <a:pt x="4453013" y="0"/>
                </a:lnTo>
                <a:cubicBezTo>
                  <a:pt x="4492255" y="0"/>
                  <a:pt x="4524067" y="31812"/>
                  <a:pt x="4524067" y="71054"/>
                </a:cubicBezTo>
                <a:cubicBezTo>
                  <a:pt x="4523538" y="552723"/>
                  <a:pt x="4522346" y="1479221"/>
                  <a:pt x="4522480" y="1516062"/>
                </a:cubicBezTo>
                <a:cubicBezTo>
                  <a:pt x="4522614" y="1552903"/>
                  <a:pt x="4525654" y="1606535"/>
                  <a:pt x="4458185" y="1608931"/>
                </a:cubicBezTo>
                <a:cubicBezTo>
                  <a:pt x="4390716" y="1611327"/>
                  <a:pt x="1735623" y="1605818"/>
                  <a:pt x="374342" y="1604261"/>
                </a:cubicBezTo>
                <a:lnTo>
                  <a:pt x="374342" y="1604495"/>
                </a:lnTo>
                <a:lnTo>
                  <a:pt x="372031" y="1604262"/>
                </a:lnTo>
                <a:cubicBezTo>
                  <a:pt x="192246" y="1604262"/>
                  <a:pt x="42246" y="1731789"/>
                  <a:pt x="7555" y="1901319"/>
                </a:cubicBezTo>
                <a:lnTo>
                  <a:pt x="3301" y="1943514"/>
                </a:lnTo>
                <a:lnTo>
                  <a:pt x="0" y="1935545"/>
                </a:lnTo>
                <a:lnTo>
                  <a:pt x="0" y="71054"/>
                </a:lnTo>
                <a:cubicBezTo>
                  <a:pt x="0" y="31812"/>
                  <a:pt x="31812" y="0"/>
                  <a:pt x="71054" y="0"/>
                </a:cubicBezTo>
                <a:close/>
              </a:path>
            </a:pathLst>
          </a:custGeom>
          <a:solidFill>
            <a:schemeClr val="tx2">
              <a:alpha val="85000"/>
            </a:schemeClr>
          </a:solidFill>
        </p:spPr>
        <p:txBody>
          <a:bodyPr wrap="square" lIns="360000" tIns="180000" rIns="576000" bIns="180000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419" b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8419" b="0"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/>
              <a:t>Klik om tekst in te voegen</a:t>
            </a:r>
          </a:p>
        </p:txBody>
      </p:sp>
      <p:sp>
        <p:nvSpPr>
          <p:cNvPr id="14" name="Tijdelijke aanduiding voor datum 3">
            <a:extLst>
              <a:ext uri="{FF2B5EF4-FFF2-40B4-BE49-F238E27FC236}">
                <a16:creationId xmlns:a16="http://schemas.microsoft.com/office/drawing/2014/main" id="{6C5C6C08-DDA7-4CC4-B473-244AE8EBA70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B70BE4-B49B-4495-86FF-21BC09262938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66" name="Tijdelijke aanduiding voor tekst 3">
            <a:extLst>
              <a:ext uri="{FF2B5EF4-FFF2-40B4-BE49-F238E27FC236}">
                <a16:creationId xmlns:a16="http://schemas.microsoft.com/office/drawing/2014/main" id="{04EB488E-1D5D-4652-9678-D82AC0E2590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504415" y="1449454"/>
            <a:ext cx="6635238" cy="3534585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51"/>
            </a:lvl1pPr>
          </a:lstStyle>
          <a:p>
            <a:pPr lvl="0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23623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4250" fill="hold"/>
                                        <p:tgtEl>
                                          <p:spTgt spid="10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6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Balk 10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-5567" y="-31537"/>
            <a:ext cx="42767257" cy="30306755"/>
          </a:xfrm>
          <a:solidFill>
            <a:schemeClr val="bg1">
              <a:lumMod val="95000"/>
            </a:schemeClr>
          </a:solidFill>
        </p:spPr>
        <p:txBody>
          <a:bodyPr tIns="1440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3" name="Tijdelijke aanduiding voor voettekst 4">
            <a:extLst>
              <a:ext uri="{FF2B5EF4-FFF2-40B4-BE49-F238E27FC236}">
                <a16:creationId xmlns:a16="http://schemas.microsoft.com/office/drawing/2014/main" id="{3FD2C40F-5ED0-4573-8F6F-31F0DA9D46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4" name="Tijdelijke aanduiding voor dianummer 5">
            <a:extLst>
              <a:ext uri="{FF2B5EF4-FFF2-40B4-BE49-F238E27FC236}">
                <a16:creationId xmlns:a16="http://schemas.microsoft.com/office/drawing/2014/main" id="{FDCACBC6-40CE-484B-AC87-549D0BAA4F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7" y="27329718"/>
            <a:ext cx="851960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4" name="Tijdelijke aanduiding voor verticale tekst 2">
            <a:extLst>
              <a:ext uri="{FF2B5EF4-FFF2-40B4-BE49-F238E27FC236}">
                <a16:creationId xmlns:a16="http://schemas.microsoft.com/office/drawing/2014/main" id="{1D71B8A2-5FF8-4862-BD63-087FD3B538C2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-11124" y="5946784"/>
            <a:ext cx="42778377" cy="6438767"/>
          </a:xfrm>
          <a:solidFill>
            <a:schemeClr val="tx2">
              <a:alpha val="82000"/>
            </a:schemeClr>
          </a:solidFill>
        </p:spPr>
        <p:txBody>
          <a:bodyPr vert="horz" lIns="216000" tIns="180000" rIns="216000" bIns="180000" rtlCol="0" anchor="ctr">
            <a:normAutofit/>
          </a:bodyPr>
          <a:lstStyle>
            <a:lvl1pPr marL="0" indent="0" algn="ctr">
              <a:buFontTx/>
              <a:buNone/>
              <a:defRPr lang="en-US" sz="12628" b="0" baseline="0" noProof="0" dirty="0">
                <a:solidFill>
                  <a:schemeClr val="bg1"/>
                </a:solidFill>
              </a:defRPr>
            </a:lvl1pPr>
            <a:lvl2pPr>
              <a:defRPr lang="en-US" noProof="0" dirty="0">
                <a:solidFill>
                  <a:schemeClr val="bg1"/>
                </a:solidFill>
              </a:defRPr>
            </a:lvl2pPr>
            <a:lvl3pPr>
              <a:defRPr lang="en-US" noProof="0" dirty="0">
                <a:solidFill>
                  <a:schemeClr val="bg1"/>
                </a:solidFill>
              </a:defRPr>
            </a:lvl3pPr>
            <a:lvl4pPr>
              <a:defRPr lang="en-US" noProof="0" dirty="0">
                <a:solidFill>
                  <a:schemeClr val="bg1"/>
                </a:solidFill>
              </a:defRPr>
            </a:lvl4pPr>
            <a:lvl5pPr algn="ctr">
              <a:defRPr lang="en-US" sz="12628" b="0" noProof="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/>
              <a:t>Klik om tekst in te voegen</a:t>
            </a:r>
          </a:p>
        </p:txBody>
      </p:sp>
      <p:sp>
        <p:nvSpPr>
          <p:cNvPr id="15" name="Tijdelijke aanduiding voor datum 3">
            <a:extLst>
              <a:ext uri="{FF2B5EF4-FFF2-40B4-BE49-F238E27FC236}">
                <a16:creationId xmlns:a16="http://schemas.microsoft.com/office/drawing/2014/main" id="{C4AEE98B-5CA5-411B-9688-928C7F70CAA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49D2A1-BCAF-464A-ADBC-F90E2254D093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66" name="Tijdelijke aanduiding voor tekst 3">
            <a:extLst>
              <a:ext uri="{FF2B5EF4-FFF2-40B4-BE49-F238E27FC236}">
                <a16:creationId xmlns:a16="http://schemas.microsoft.com/office/drawing/2014/main" id="{A4956C2C-95FD-447A-BD1F-81754DAF602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504415" y="1449454"/>
            <a:ext cx="6635238" cy="3534585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51"/>
            </a:lvl1pPr>
          </a:lstStyle>
          <a:p>
            <a:pPr lvl="0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04949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4250" fill="hold"/>
                                        <p:tgtEl>
                                          <p:spTgt spid="10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4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80%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-2" y="6476679"/>
            <a:ext cx="42710778" cy="23798534"/>
          </a:xfrm>
          <a:solidFill>
            <a:schemeClr val="bg1">
              <a:lumMod val="95000"/>
            </a:schemeClr>
          </a:solidFill>
        </p:spPr>
        <p:txBody>
          <a:bodyPr tIns="1080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0" name="Tijdelijke aanduiding voor voettekst 4">
            <a:extLst>
              <a:ext uri="{FF2B5EF4-FFF2-40B4-BE49-F238E27FC236}">
                <a16:creationId xmlns:a16="http://schemas.microsoft.com/office/drawing/2014/main" id="{1DA20FBD-9D0F-4EAB-B12C-126591D8B7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6644E39-2AF2-4EA0-9C3F-28C89D5A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7" y="27329718"/>
            <a:ext cx="938238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7" name="Tijdelijke aanduiding voor tekst 14">
            <a:extLst>
              <a:ext uri="{FF2B5EF4-FFF2-40B4-BE49-F238E27FC236}">
                <a16:creationId xmlns:a16="http://schemas.microsoft.com/office/drawing/2014/main" id="{A6BF4B27-7FC5-4896-80CE-3BA6119B83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6314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15" name="Tijdelijke aanduiding voor datum 3">
            <a:extLst>
              <a:ext uri="{FF2B5EF4-FFF2-40B4-BE49-F238E27FC236}">
                <a16:creationId xmlns:a16="http://schemas.microsoft.com/office/drawing/2014/main" id="{B4AED1A4-683A-4021-8F91-6EB13C2447C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A659124-FA22-4DE2-958C-6848B49C8891}" type="datetime1">
              <a:rPr lang="nl-NL" noProof="0" smtClean="0"/>
              <a:t>26-6-2023</a:t>
            </a:fld>
            <a:endParaRPr lang="nl-NL" noProof="0"/>
          </a:p>
        </p:txBody>
      </p:sp>
      <p:pic>
        <p:nvPicPr>
          <p:cNvPr id="59" name="Afbeelding 58">
            <a:extLst>
              <a:ext uri="{FF2B5EF4-FFF2-40B4-BE49-F238E27FC236}">
                <a16:creationId xmlns:a16="http://schemas.microsoft.com/office/drawing/2014/main" id="{CD829B4D-4013-4C29-80CF-C4F2F14098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4738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tekstvlak 8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-5567" y="6476684"/>
            <a:ext cx="42767257" cy="23798534"/>
          </a:xfrm>
          <a:solidFill>
            <a:schemeClr val="bg1">
              <a:lumMod val="95000"/>
            </a:schemeClr>
          </a:solidFill>
        </p:spPr>
        <p:txBody>
          <a:bodyPr tIns="3024000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tabLst>
                <a:tab pos="32381162" algn="l"/>
              </a:tabLst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0" name="Tijdelijke aanduiding voor voettekst 4">
            <a:extLst>
              <a:ext uri="{FF2B5EF4-FFF2-40B4-BE49-F238E27FC236}">
                <a16:creationId xmlns:a16="http://schemas.microsoft.com/office/drawing/2014/main" id="{1DA20FBD-9D0F-4EAB-B12C-126591D8B7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6644E39-2AF2-4EA0-9C3F-28C89D5A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7" y="27329718"/>
            <a:ext cx="828942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7" name="Tijdelijke aanduiding voor tekst 14">
            <a:extLst>
              <a:ext uri="{FF2B5EF4-FFF2-40B4-BE49-F238E27FC236}">
                <a16:creationId xmlns:a16="http://schemas.microsoft.com/office/drawing/2014/main" id="{A6BF4B27-7FC5-4896-80CE-3BA6119B83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6314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28641602-EFC5-4A31-A66E-7D18FE4BC0D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7317714" y="18836413"/>
            <a:ext cx="13821939" cy="7118065"/>
          </a:xfrm>
          <a:custGeom>
            <a:avLst/>
            <a:gdLst>
              <a:gd name="connsiteX0" fmla="*/ 0 w 3938778"/>
              <a:gd name="connsiteY0" fmla="*/ 84049 h 1609202"/>
              <a:gd name="connsiteX1" fmla="*/ 84049 w 3938778"/>
              <a:gd name="connsiteY1" fmla="*/ 0 h 1609202"/>
              <a:gd name="connsiteX2" fmla="*/ 3854729 w 3938778"/>
              <a:gd name="connsiteY2" fmla="*/ 0 h 1609202"/>
              <a:gd name="connsiteX3" fmla="*/ 3938778 w 3938778"/>
              <a:gd name="connsiteY3" fmla="*/ 84049 h 1609202"/>
              <a:gd name="connsiteX4" fmla="*/ 3938778 w 3938778"/>
              <a:gd name="connsiteY4" fmla="*/ 1525153 h 1609202"/>
              <a:gd name="connsiteX5" fmla="*/ 3854729 w 3938778"/>
              <a:gd name="connsiteY5" fmla="*/ 1609202 h 1609202"/>
              <a:gd name="connsiteX6" fmla="*/ 84049 w 3938778"/>
              <a:gd name="connsiteY6" fmla="*/ 1609202 h 1609202"/>
              <a:gd name="connsiteX7" fmla="*/ 0 w 3938778"/>
              <a:gd name="connsiteY7" fmla="*/ 1525153 h 1609202"/>
              <a:gd name="connsiteX8" fmla="*/ 0 w 3938778"/>
              <a:gd name="connsiteY8" fmla="*/ 84049 h 1609202"/>
              <a:gd name="connsiteX0" fmla="*/ 212359 w 4151137"/>
              <a:gd name="connsiteY0" fmla="*/ 126307 h 1651460"/>
              <a:gd name="connsiteX1" fmla="*/ 237486 w 4151137"/>
              <a:gd name="connsiteY1" fmla="*/ 63809 h 1651460"/>
              <a:gd name="connsiteX2" fmla="*/ 296408 w 4151137"/>
              <a:gd name="connsiteY2" fmla="*/ 42258 h 1651460"/>
              <a:gd name="connsiteX3" fmla="*/ 4067088 w 4151137"/>
              <a:gd name="connsiteY3" fmla="*/ 42258 h 1651460"/>
              <a:gd name="connsiteX4" fmla="*/ 4151137 w 4151137"/>
              <a:gd name="connsiteY4" fmla="*/ 126307 h 1651460"/>
              <a:gd name="connsiteX5" fmla="*/ 4151137 w 4151137"/>
              <a:gd name="connsiteY5" fmla="*/ 1567411 h 1651460"/>
              <a:gd name="connsiteX6" fmla="*/ 4067088 w 4151137"/>
              <a:gd name="connsiteY6" fmla="*/ 1651460 h 1651460"/>
              <a:gd name="connsiteX7" fmla="*/ 296408 w 4151137"/>
              <a:gd name="connsiteY7" fmla="*/ 1651460 h 1651460"/>
              <a:gd name="connsiteX8" fmla="*/ 212359 w 4151137"/>
              <a:gd name="connsiteY8" fmla="*/ 1567411 h 1651460"/>
              <a:gd name="connsiteX9" fmla="*/ 212359 w 4151137"/>
              <a:gd name="connsiteY9" fmla="*/ 126307 h 1651460"/>
              <a:gd name="connsiteX0" fmla="*/ 212359 w 4151137"/>
              <a:gd name="connsiteY0" fmla="*/ 84049 h 1609202"/>
              <a:gd name="connsiteX1" fmla="*/ 237486 w 4151137"/>
              <a:gd name="connsiteY1" fmla="*/ 21551 h 1609202"/>
              <a:gd name="connsiteX2" fmla="*/ 296408 w 4151137"/>
              <a:gd name="connsiteY2" fmla="*/ 0 h 1609202"/>
              <a:gd name="connsiteX3" fmla="*/ 4067088 w 4151137"/>
              <a:gd name="connsiteY3" fmla="*/ 0 h 1609202"/>
              <a:gd name="connsiteX4" fmla="*/ 4151137 w 4151137"/>
              <a:gd name="connsiteY4" fmla="*/ 84049 h 1609202"/>
              <a:gd name="connsiteX5" fmla="*/ 4151137 w 4151137"/>
              <a:gd name="connsiteY5" fmla="*/ 1525153 h 1609202"/>
              <a:gd name="connsiteX6" fmla="*/ 4067088 w 4151137"/>
              <a:gd name="connsiteY6" fmla="*/ 1609202 h 1609202"/>
              <a:gd name="connsiteX7" fmla="*/ 296408 w 4151137"/>
              <a:gd name="connsiteY7" fmla="*/ 1609202 h 1609202"/>
              <a:gd name="connsiteX8" fmla="*/ 212359 w 4151137"/>
              <a:gd name="connsiteY8" fmla="*/ 1525153 h 1609202"/>
              <a:gd name="connsiteX9" fmla="*/ 212359 w 4151137"/>
              <a:gd name="connsiteY9" fmla="*/ 84049 h 1609202"/>
              <a:gd name="connsiteX0" fmla="*/ 21 w 3938799"/>
              <a:gd name="connsiteY0" fmla="*/ 85645 h 1610798"/>
              <a:gd name="connsiteX1" fmla="*/ 25148 w 3938799"/>
              <a:gd name="connsiteY1" fmla="*/ 23147 h 1610798"/>
              <a:gd name="connsiteX2" fmla="*/ 84070 w 3938799"/>
              <a:gd name="connsiteY2" fmla="*/ 1596 h 1610798"/>
              <a:gd name="connsiteX3" fmla="*/ 3854750 w 3938799"/>
              <a:gd name="connsiteY3" fmla="*/ 1596 h 1610798"/>
              <a:gd name="connsiteX4" fmla="*/ 3938799 w 3938799"/>
              <a:gd name="connsiteY4" fmla="*/ 85645 h 1610798"/>
              <a:gd name="connsiteX5" fmla="*/ 3938799 w 3938799"/>
              <a:gd name="connsiteY5" fmla="*/ 1526749 h 1610798"/>
              <a:gd name="connsiteX6" fmla="*/ 3854750 w 3938799"/>
              <a:gd name="connsiteY6" fmla="*/ 1610798 h 1610798"/>
              <a:gd name="connsiteX7" fmla="*/ 84070 w 3938799"/>
              <a:gd name="connsiteY7" fmla="*/ 1610798 h 1610798"/>
              <a:gd name="connsiteX8" fmla="*/ 21 w 3938799"/>
              <a:gd name="connsiteY8" fmla="*/ 1526749 h 1610798"/>
              <a:gd name="connsiteX9" fmla="*/ 21 w 3938799"/>
              <a:gd name="connsiteY9" fmla="*/ 85645 h 1610798"/>
              <a:gd name="connsiteX0" fmla="*/ 221900 w 4160678"/>
              <a:gd name="connsiteY0" fmla="*/ 126307 h 1651460"/>
              <a:gd name="connsiteX1" fmla="*/ 220833 w 4160678"/>
              <a:gd name="connsiteY1" fmla="*/ 63809 h 1651460"/>
              <a:gd name="connsiteX2" fmla="*/ 305949 w 4160678"/>
              <a:gd name="connsiteY2" fmla="*/ 42258 h 1651460"/>
              <a:gd name="connsiteX3" fmla="*/ 4076629 w 4160678"/>
              <a:gd name="connsiteY3" fmla="*/ 42258 h 1651460"/>
              <a:gd name="connsiteX4" fmla="*/ 4160678 w 4160678"/>
              <a:gd name="connsiteY4" fmla="*/ 126307 h 1651460"/>
              <a:gd name="connsiteX5" fmla="*/ 4160678 w 4160678"/>
              <a:gd name="connsiteY5" fmla="*/ 1567411 h 1651460"/>
              <a:gd name="connsiteX6" fmla="*/ 4076629 w 4160678"/>
              <a:gd name="connsiteY6" fmla="*/ 1651460 h 1651460"/>
              <a:gd name="connsiteX7" fmla="*/ 305949 w 4160678"/>
              <a:gd name="connsiteY7" fmla="*/ 1651460 h 1651460"/>
              <a:gd name="connsiteX8" fmla="*/ 221900 w 4160678"/>
              <a:gd name="connsiteY8" fmla="*/ 1567411 h 1651460"/>
              <a:gd name="connsiteX9" fmla="*/ 221900 w 4160678"/>
              <a:gd name="connsiteY9" fmla="*/ 126307 h 1651460"/>
              <a:gd name="connsiteX0" fmla="*/ 222785 w 4161563"/>
              <a:gd name="connsiteY0" fmla="*/ 132298 h 1657451"/>
              <a:gd name="connsiteX1" fmla="*/ 219337 w 4161563"/>
              <a:gd name="connsiteY1" fmla="*/ 55513 h 1657451"/>
              <a:gd name="connsiteX2" fmla="*/ 306834 w 4161563"/>
              <a:gd name="connsiteY2" fmla="*/ 48249 h 1657451"/>
              <a:gd name="connsiteX3" fmla="*/ 4077514 w 4161563"/>
              <a:gd name="connsiteY3" fmla="*/ 48249 h 1657451"/>
              <a:gd name="connsiteX4" fmla="*/ 4161563 w 4161563"/>
              <a:gd name="connsiteY4" fmla="*/ 132298 h 1657451"/>
              <a:gd name="connsiteX5" fmla="*/ 4161563 w 4161563"/>
              <a:gd name="connsiteY5" fmla="*/ 1573402 h 1657451"/>
              <a:gd name="connsiteX6" fmla="*/ 4077514 w 4161563"/>
              <a:gd name="connsiteY6" fmla="*/ 1657451 h 1657451"/>
              <a:gd name="connsiteX7" fmla="*/ 306834 w 4161563"/>
              <a:gd name="connsiteY7" fmla="*/ 1657451 h 1657451"/>
              <a:gd name="connsiteX8" fmla="*/ 222785 w 4161563"/>
              <a:gd name="connsiteY8" fmla="*/ 1573402 h 1657451"/>
              <a:gd name="connsiteX9" fmla="*/ 222785 w 4161563"/>
              <a:gd name="connsiteY9" fmla="*/ 132298 h 1657451"/>
              <a:gd name="connsiteX0" fmla="*/ 8993 w 3947771"/>
              <a:gd name="connsiteY0" fmla="*/ 132298 h 1657451"/>
              <a:gd name="connsiteX1" fmla="*/ 5545 w 3947771"/>
              <a:gd name="connsiteY1" fmla="*/ 55513 h 1657451"/>
              <a:gd name="connsiteX2" fmla="*/ 93042 w 3947771"/>
              <a:gd name="connsiteY2" fmla="*/ 48249 h 1657451"/>
              <a:gd name="connsiteX3" fmla="*/ 3863722 w 3947771"/>
              <a:gd name="connsiteY3" fmla="*/ 48249 h 1657451"/>
              <a:gd name="connsiteX4" fmla="*/ 3947771 w 3947771"/>
              <a:gd name="connsiteY4" fmla="*/ 132298 h 1657451"/>
              <a:gd name="connsiteX5" fmla="*/ 3947771 w 3947771"/>
              <a:gd name="connsiteY5" fmla="*/ 1573402 h 1657451"/>
              <a:gd name="connsiteX6" fmla="*/ 3863722 w 3947771"/>
              <a:gd name="connsiteY6" fmla="*/ 1657451 h 1657451"/>
              <a:gd name="connsiteX7" fmla="*/ 93042 w 3947771"/>
              <a:gd name="connsiteY7" fmla="*/ 1657451 h 1657451"/>
              <a:gd name="connsiteX8" fmla="*/ 8993 w 3947771"/>
              <a:gd name="connsiteY8" fmla="*/ 1573402 h 1657451"/>
              <a:gd name="connsiteX9" fmla="*/ 8993 w 3947771"/>
              <a:gd name="connsiteY9" fmla="*/ 132298 h 1657451"/>
              <a:gd name="connsiteX0" fmla="*/ 9451 w 3948229"/>
              <a:gd name="connsiteY0" fmla="*/ 85220 h 1610373"/>
              <a:gd name="connsiteX1" fmla="*/ 6003 w 3948229"/>
              <a:gd name="connsiteY1" fmla="*/ 8435 h 1610373"/>
              <a:gd name="connsiteX2" fmla="*/ 93500 w 3948229"/>
              <a:gd name="connsiteY2" fmla="*/ 1171 h 1610373"/>
              <a:gd name="connsiteX3" fmla="*/ 3864180 w 3948229"/>
              <a:gd name="connsiteY3" fmla="*/ 1171 h 1610373"/>
              <a:gd name="connsiteX4" fmla="*/ 3948229 w 3948229"/>
              <a:gd name="connsiteY4" fmla="*/ 85220 h 1610373"/>
              <a:gd name="connsiteX5" fmla="*/ 3948229 w 3948229"/>
              <a:gd name="connsiteY5" fmla="*/ 1526324 h 1610373"/>
              <a:gd name="connsiteX6" fmla="*/ 3864180 w 3948229"/>
              <a:gd name="connsiteY6" fmla="*/ 1610373 h 1610373"/>
              <a:gd name="connsiteX7" fmla="*/ 93500 w 3948229"/>
              <a:gd name="connsiteY7" fmla="*/ 1610373 h 1610373"/>
              <a:gd name="connsiteX8" fmla="*/ 9451 w 3948229"/>
              <a:gd name="connsiteY8" fmla="*/ 1526324 h 1610373"/>
              <a:gd name="connsiteX9" fmla="*/ 9451 w 3948229"/>
              <a:gd name="connsiteY9" fmla="*/ 85220 h 1610373"/>
              <a:gd name="connsiteX0" fmla="*/ 9451 w 3948229"/>
              <a:gd name="connsiteY0" fmla="*/ 85220 h 1610373"/>
              <a:gd name="connsiteX1" fmla="*/ 6003 w 3948229"/>
              <a:gd name="connsiteY1" fmla="*/ 8435 h 1610373"/>
              <a:gd name="connsiteX2" fmla="*/ 93500 w 3948229"/>
              <a:gd name="connsiteY2" fmla="*/ 1171 h 1610373"/>
              <a:gd name="connsiteX3" fmla="*/ 3864180 w 3948229"/>
              <a:gd name="connsiteY3" fmla="*/ 1171 h 1610373"/>
              <a:gd name="connsiteX4" fmla="*/ 3948229 w 3948229"/>
              <a:gd name="connsiteY4" fmla="*/ 85220 h 1610373"/>
              <a:gd name="connsiteX5" fmla="*/ 3948229 w 3948229"/>
              <a:gd name="connsiteY5" fmla="*/ 1526324 h 1610373"/>
              <a:gd name="connsiteX6" fmla="*/ 3864180 w 3948229"/>
              <a:gd name="connsiteY6" fmla="*/ 1610373 h 1610373"/>
              <a:gd name="connsiteX7" fmla="*/ 93500 w 3948229"/>
              <a:gd name="connsiteY7" fmla="*/ 1610373 h 1610373"/>
              <a:gd name="connsiteX8" fmla="*/ 9451 w 3948229"/>
              <a:gd name="connsiteY8" fmla="*/ 1526324 h 1610373"/>
              <a:gd name="connsiteX9" fmla="*/ 9451 w 3948229"/>
              <a:gd name="connsiteY9" fmla="*/ 85220 h 1610373"/>
              <a:gd name="connsiteX0" fmla="*/ 12575 w 3951353"/>
              <a:gd name="connsiteY0" fmla="*/ 1632501 h 1716550"/>
              <a:gd name="connsiteX1" fmla="*/ 9127 w 3951353"/>
              <a:gd name="connsiteY1" fmla="*/ 114612 h 1716550"/>
              <a:gd name="connsiteX2" fmla="*/ 96624 w 3951353"/>
              <a:gd name="connsiteY2" fmla="*/ 107348 h 1716550"/>
              <a:gd name="connsiteX3" fmla="*/ 3867304 w 3951353"/>
              <a:gd name="connsiteY3" fmla="*/ 107348 h 1716550"/>
              <a:gd name="connsiteX4" fmla="*/ 3951353 w 3951353"/>
              <a:gd name="connsiteY4" fmla="*/ 191397 h 1716550"/>
              <a:gd name="connsiteX5" fmla="*/ 3951353 w 3951353"/>
              <a:gd name="connsiteY5" fmla="*/ 1632501 h 1716550"/>
              <a:gd name="connsiteX6" fmla="*/ 3867304 w 3951353"/>
              <a:gd name="connsiteY6" fmla="*/ 1716550 h 1716550"/>
              <a:gd name="connsiteX7" fmla="*/ 96624 w 3951353"/>
              <a:gd name="connsiteY7" fmla="*/ 1716550 h 1716550"/>
              <a:gd name="connsiteX8" fmla="*/ 12575 w 3951353"/>
              <a:gd name="connsiteY8" fmla="*/ 1632501 h 1716550"/>
              <a:gd name="connsiteX0" fmla="*/ 9770 w 3948548"/>
              <a:gd name="connsiteY0" fmla="*/ 1632631 h 1716680"/>
              <a:gd name="connsiteX1" fmla="*/ 6322 w 3948548"/>
              <a:gd name="connsiteY1" fmla="*/ 114742 h 1716680"/>
              <a:gd name="connsiteX2" fmla="*/ 93819 w 3948548"/>
              <a:gd name="connsiteY2" fmla="*/ 107478 h 1716680"/>
              <a:gd name="connsiteX3" fmla="*/ 3864499 w 3948548"/>
              <a:gd name="connsiteY3" fmla="*/ 107478 h 1716680"/>
              <a:gd name="connsiteX4" fmla="*/ 3948548 w 3948548"/>
              <a:gd name="connsiteY4" fmla="*/ 191527 h 1716680"/>
              <a:gd name="connsiteX5" fmla="*/ 3948548 w 3948548"/>
              <a:gd name="connsiteY5" fmla="*/ 1632631 h 1716680"/>
              <a:gd name="connsiteX6" fmla="*/ 3864499 w 3948548"/>
              <a:gd name="connsiteY6" fmla="*/ 1716680 h 1716680"/>
              <a:gd name="connsiteX7" fmla="*/ 93819 w 3948548"/>
              <a:gd name="connsiteY7" fmla="*/ 1716680 h 1716680"/>
              <a:gd name="connsiteX8" fmla="*/ 9770 w 3948548"/>
              <a:gd name="connsiteY8" fmla="*/ 1632631 h 1716680"/>
              <a:gd name="connsiteX0" fmla="*/ 6731 w 3945509"/>
              <a:gd name="connsiteY0" fmla="*/ 1632631 h 1780851"/>
              <a:gd name="connsiteX1" fmla="*/ 3283 w 3945509"/>
              <a:gd name="connsiteY1" fmla="*/ 114742 h 1780851"/>
              <a:gd name="connsiteX2" fmla="*/ 90780 w 3945509"/>
              <a:gd name="connsiteY2" fmla="*/ 107478 h 1780851"/>
              <a:gd name="connsiteX3" fmla="*/ 3861460 w 3945509"/>
              <a:gd name="connsiteY3" fmla="*/ 107478 h 1780851"/>
              <a:gd name="connsiteX4" fmla="*/ 3945509 w 3945509"/>
              <a:gd name="connsiteY4" fmla="*/ 191527 h 1780851"/>
              <a:gd name="connsiteX5" fmla="*/ 3945509 w 3945509"/>
              <a:gd name="connsiteY5" fmla="*/ 1632631 h 1780851"/>
              <a:gd name="connsiteX6" fmla="*/ 3861460 w 3945509"/>
              <a:gd name="connsiteY6" fmla="*/ 1716680 h 1780851"/>
              <a:gd name="connsiteX7" fmla="*/ 90780 w 3945509"/>
              <a:gd name="connsiteY7" fmla="*/ 1716680 h 1780851"/>
              <a:gd name="connsiteX8" fmla="*/ 6731 w 3945509"/>
              <a:gd name="connsiteY8" fmla="*/ 1632631 h 1780851"/>
              <a:gd name="connsiteX0" fmla="*/ 5635 w 3944413"/>
              <a:gd name="connsiteY0" fmla="*/ 1632631 h 1730124"/>
              <a:gd name="connsiteX1" fmla="*/ 2187 w 3944413"/>
              <a:gd name="connsiteY1" fmla="*/ 114742 h 1730124"/>
              <a:gd name="connsiteX2" fmla="*/ 89684 w 3944413"/>
              <a:gd name="connsiteY2" fmla="*/ 107478 h 1730124"/>
              <a:gd name="connsiteX3" fmla="*/ 3860364 w 3944413"/>
              <a:gd name="connsiteY3" fmla="*/ 107478 h 1730124"/>
              <a:gd name="connsiteX4" fmla="*/ 3944413 w 3944413"/>
              <a:gd name="connsiteY4" fmla="*/ 191527 h 1730124"/>
              <a:gd name="connsiteX5" fmla="*/ 3944413 w 3944413"/>
              <a:gd name="connsiteY5" fmla="*/ 1632631 h 1730124"/>
              <a:gd name="connsiteX6" fmla="*/ 3860364 w 3944413"/>
              <a:gd name="connsiteY6" fmla="*/ 1716680 h 1730124"/>
              <a:gd name="connsiteX7" fmla="*/ 89684 w 3944413"/>
              <a:gd name="connsiteY7" fmla="*/ 1716680 h 1730124"/>
              <a:gd name="connsiteX8" fmla="*/ 5635 w 3944413"/>
              <a:gd name="connsiteY8" fmla="*/ 1632631 h 1730124"/>
              <a:gd name="connsiteX0" fmla="*/ 6730 w 3945508"/>
              <a:gd name="connsiteY0" fmla="*/ 1632631 h 1718001"/>
              <a:gd name="connsiteX1" fmla="*/ 3282 w 3945508"/>
              <a:gd name="connsiteY1" fmla="*/ 114742 h 1718001"/>
              <a:gd name="connsiteX2" fmla="*/ 90779 w 3945508"/>
              <a:gd name="connsiteY2" fmla="*/ 107478 h 1718001"/>
              <a:gd name="connsiteX3" fmla="*/ 3861459 w 3945508"/>
              <a:gd name="connsiteY3" fmla="*/ 107478 h 1718001"/>
              <a:gd name="connsiteX4" fmla="*/ 3945508 w 3945508"/>
              <a:gd name="connsiteY4" fmla="*/ 191527 h 1718001"/>
              <a:gd name="connsiteX5" fmla="*/ 3945508 w 3945508"/>
              <a:gd name="connsiteY5" fmla="*/ 1632631 h 1718001"/>
              <a:gd name="connsiteX6" fmla="*/ 3861459 w 3945508"/>
              <a:gd name="connsiteY6" fmla="*/ 1716680 h 1718001"/>
              <a:gd name="connsiteX7" fmla="*/ 90779 w 3945508"/>
              <a:gd name="connsiteY7" fmla="*/ 1716680 h 1718001"/>
              <a:gd name="connsiteX8" fmla="*/ 6730 w 3945508"/>
              <a:gd name="connsiteY8" fmla="*/ 1632631 h 1718001"/>
              <a:gd name="connsiteX0" fmla="*/ 5541 w 3944319"/>
              <a:gd name="connsiteY0" fmla="*/ 1632631 h 1716680"/>
              <a:gd name="connsiteX1" fmla="*/ 2093 w 3944319"/>
              <a:gd name="connsiteY1" fmla="*/ 114742 h 1716680"/>
              <a:gd name="connsiteX2" fmla="*/ 89590 w 3944319"/>
              <a:gd name="connsiteY2" fmla="*/ 107478 h 1716680"/>
              <a:gd name="connsiteX3" fmla="*/ 3860270 w 3944319"/>
              <a:gd name="connsiteY3" fmla="*/ 107478 h 1716680"/>
              <a:gd name="connsiteX4" fmla="*/ 3944319 w 3944319"/>
              <a:gd name="connsiteY4" fmla="*/ 191527 h 1716680"/>
              <a:gd name="connsiteX5" fmla="*/ 3944319 w 3944319"/>
              <a:gd name="connsiteY5" fmla="*/ 1632631 h 1716680"/>
              <a:gd name="connsiteX6" fmla="*/ 3860270 w 3944319"/>
              <a:gd name="connsiteY6" fmla="*/ 1716680 h 1716680"/>
              <a:gd name="connsiteX7" fmla="*/ 89590 w 3944319"/>
              <a:gd name="connsiteY7" fmla="*/ 1716680 h 1716680"/>
              <a:gd name="connsiteX8" fmla="*/ 5541 w 3944319"/>
              <a:gd name="connsiteY8" fmla="*/ 1632631 h 1716680"/>
              <a:gd name="connsiteX0" fmla="*/ 4066 w 3942844"/>
              <a:gd name="connsiteY0" fmla="*/ 1541301 h 1625350"/>
              <a:gd name="connsiteX1" fmla="*/ 618 w 3942844"/>
              <a:gd name="connsiteY1" fmla="*/ 23412 h 1625350"/>
              <a:gd name="connsiteX2" fmla="*/ 88115 w 3942844"/>
              <a:gd name="connsiteY2" fmla="*/ 16148 h 1625350"/>
              <a:gd name="connsiteX3" fmla="*/ 3858795 w 3942844"/>
              <a:gd name="connsiteY3" fmla="*/ 16148 h 1625350"/>
              <a:gd name="connsiteX4" fmla="*/ 3942844 w 3942844"/>
              <a:gd name="connsiteY4" fmla="*/ 100197 h 1625350"/>
              <a:gd name="connsiteX5" fmla="*/ 3942844 w 3942844"/>
              <a:gd name="connsiteY5" fmla="*/ 1541301 h 1625350"/>
              <a:gd name="connsiteX6" fmla="*/ 3858795 w 3942844"/>
              <a:gd name="connsiteY6" fmla="*/ 1625350 h 1625350"/>
              <a:gd name="connsiteX7" fmla="*/ 88115 w 3942844"/>
              <a:gd name="connsiteY7" fmla="*/ 1625350 h 1625350"/>
              <a:gd name="connsiteX8" fmla="*/ 4066 w 3942844"/>
              <a:gd name="connsiteY8" fmla="*/ 1541301 h 1625350"/>
              <a:gd name="connsiteX0" fmla="*/ 4276 w 3943054"/>
              <a:gd name="connsiteY0" fmla="*/ 1541301 h 1625350"/>
              <a:gd name="connsiteX1" fmla="*/ 828 w 3943054"/>
              <a:gd name="connsiteY1" fmla="*/ 23412 h 1625350"/>
              <a:gd name="connsiteX2" fmla="*/ 88325 w 3943054"/>
              <a:gd name="connsiteY2" fmla="*/ 16148 h 1625350"/>
              <a:gd name="connsiteX3" fmla="*/ 3859005 w 3943054"/>
              <a:gd name="connsiteY3" fmla="*/ 16148 h 1625350"/>
              <a:gd name="connsiteX4" fmla="*/ 3943054 w 3943054"/>
              <a:gd name="connsiteY4" fmla="*/ 100197 h 1625350"/>
              <a:gd name="connsiteX5" fmla="*/ 3943054 w 3943054"/>
              <a:gd name="connsiteY5" fmla="*/ 1541301 h 1625350"/>
              <a:gd name="connsiteX6" fmla="*/ 3859005 w 3943054"/>
              <a:gd name="connsiteY6" fmla="*/ 1625350 h 1625350"/>
              <a:gd name="connsiteX7" fmla="*/ 88325 w 3943054"/>
              <a:gd name="connsiteY7" fmla="*/ 1625350 h 1625350"/>
              <a:gd name="connsiteX8" fmla="*/ 4276 w 3943054"/>
              <a:gd name="connsiteY8" fmla="*/ 1541301 h 1625350"/>
              <a:gd name="connsiteX0" fmla="*/ 3584 w 3942362"/>
              <a:gd name="connsiteY0" fmla="*/ 1541301 h 1625350"/>
              <a:gd name="connsiteX1" fmla="*/ 136 w 3942362"/>
              <a:gd name="connsiteY1" fmla="*/ 23412 h 1625350"/>
              <a:gd name="connsiteX2" fmla="*/ 87633 w 3942362"/>
              <a:gd name="connsiteY2" fmla="*/ 16148 h 1625350"/>
              <a:gd name="connsiteX3" fmla="*/ 3858313 w 3942362"/>
              <a:gd name="connsiteY3" fmla="*/ 16148 h 1625350"/>
              <a:gd name="connsiteX4" fmla="*/ 3942362 w 3942362"/>
              <a:gd name="connsiteY4" fmla="*/ 100197 h 1625350"/>
              <a:gd name="connsiteX5" fmla="*/ 3942362 w 3942362"/>
              <a:gd name="connsiteY5" fmla="*/ 1541301 h 1625350"/>
              <a:gd name="connsiteX6" fmla="*/ 3858313 w 3942362"/>
              <a:gd name="connsiteY6" fmla="*/ 1625350 h 1625350"/>
              <a:gd name="connsiteX7" fmla="*/ 87633 w 3942362"/>
              <a:gd name="connsiteY7" fmla="*/ 1625350 h 1625350"/>
              <a:gd name="connsiteX8" fmla="*/ 3584 w 3942362"/>
              <a:gd name="connsiteY8" fmla="*/ 1541301 h 1625350"/>
              <a:gd name="connsiteX0" fmla="*/ 4276 w 3943054"/>
              <a:gd name="connsiteY0" fmla="*/ 1525692 h 1609741"/>
              <a:gd name="connsiteX1" fmla="*/ 828 w 3943054"/>
              <a:gd name="connsiteY1" fmla="*/ 7803 h 1609741"/>
              <a:gd name="connsiteX2" fmla="*/ 88325 w 3943054"/>
              <a:gd name="connsiteY2" fmla="*/ 539 h 1609741"/>
              <a:gd name="connsiteX3" fmla="*/ 3859005 w 3943054"/>
              <a:gd name="connsiteY3" fmla="*/ 539 h 1609741"/>
              <a:gd name="connsiteX4" fmla="*/ 3943054 w 3943054"/>
              <a:gd name="connsiteY4" fmla="*/ 84588 h 1609741"/>
              <a:gd name="connsiteX5" fmla="*/ 3943054 w 3943054"/>
              <a:gd name="connsiteY5" fmla="*/ 1525692 h 1609741"/>
              <a:gd name="connsiteX6" fmla="*/ 3859005 w 3943054"/>
              <a:gd name="connsiteY6" fmla="*/ 1609741 h 1609741"/>
              <a:gd name="connsiteX7" fmla="*/ 88325 w 3943054"/>
              <a:gd name="connsiteY7" fmla="*/ 1609741 h 1609741"/>
              <a:gd name="connsiteX8" fmla="*/ 4276 w 3943054"/>
              <a:gd name="connsiteY8" fmla="*/ 1525692 h 1609741"/>
              <a:gd name="connsiteX0" fmla="*/ 3584 w 3942362"/>
              <a:gd name="connsiteY0" fmla="*/ 1525692 h 1609741"/>
              <a:gd name="connsiteX1" fmla="*/ 136 w 3942362"/>
              <a:gd name="connsiteY1" fmla="*/ 7803 h 1609741"/>
              <a:gd name="connsiteX2" fmla="*/ 87633 w 3942362"/>
              <a:gd name="connsiteY2" fmla="*/ 539 h 1609741"/>
              <a:gd name="connsiteX3" fmla="*/ 3858313 w 3942362"/>
              <a:gd name="connsiteY3" fmla="*/ 539 h 1609741"/>
              <a:gd name="connsiteX4" fmla="*/ 3942362 w 3942362"/>
              <a:gd name="connsiteY4" fmla="*/ 84588 h 1609741"/>
              <a:gd name="connsiteX5" fmla="*/ 3942362 w 3942362"/>
              <a:gd name="connsiteY5" fmla="*/ 1525692 h 1609741"/>
              <a:gd name="connsiteX6" fmla="*/ 3858313 w 3942362"/>
              <a:gd name="connsiteY6" fmla="*/ 1609741 h 1609741"/>
              <a:gd name="connsiteX7" fmla="*/ 87633 w 3942362"/>
              <a:gd name="connsiteY7" fmla="*/ 1609741 h 1609741"/>
              <a:gd name="connsiteX8" fmla="*/ 3584 w 3942362"/>
              <a:gd name="connsiteY8" fmla="*/ 1525692 h 1609741"/>
              <a:gd name="connsiteX0" fmla="*/ 3644 w 3942422"/>
              <a:gd name="connsiteY0" fmla="*/ 1525692 h 1609741"/>
              <a:gd name="connsiteX1" fmla="*/ 196 w 3942422"/>
              <a:gd name="connsiteY1" fmla="*/ 7803 h 1609741"/>
              <a:gd name="connsiteX2" fmla="*/ 87693 w 3942422"/>
              <a:gd name="connsiteY2" fmla="*/ 539 h 1609741"/>
              <a:gd name="connsiteX3" fmla="*/ 3858373 w 3942422"/>
              <a:gd name="connsiteY3" fmla="*/ 539 h 1609741"/>
              <a:gd name="connsiteX4" fmla="*/ 3942422 w 3942422"/>
              <a:gd name="connsiteY4" fmla="*/ 84588 h 1609741"/>
              <a:gd name="connsiteX5" fmla="*/ 3942422 w 3942422"/>
              <a:gd name="connsiteY5" fmla="*/ 1525692 h 1609741"/>
              <a:gd name="connsiteX6" fmla="*/ 3858373 w 3942422"/>
              <a:gd name="connsiteY6" fmla="*/ 1609741 h 1609741"/>
              <a:gd name="connsiteX7" fmla="*/ 87693 w 3942422"/>
              <a:gd name="connsiteY7" fmla="*/ 1609741 h 1609741"/>
              <a:gd name="connsiteX8" fmla="*/ 3644 w 3942422"/>
              <a:gd name="connsiteY8" fmla="*/ 1525692 h 1609741"/>
              <a:gd name="connsiteX0" fmla="*/ 225140 w 4163918"/>
              <a:gd name="connsiteY0" fmla="*/ 1528731 h 1674428"/>
              <a:gd name="connsiteX1" fmla="*/ 224074 w 4163918"/>
              <a:gd name="connsiteY1" fmla="*/ 3699 h 1674428"/>
              <a:gd name="connsiteX2" fmla="*/ 309189 w 4163918"/>
              <a:gd name="connsiteY2" fmla="*/ 3578 h 1674428"/>
              <a:gd name="connsiteX3" fmla="*/ 4079869 w 4163918"/>
              <a:gd name="connsiteY3" fmla="*/ 3578 h 1674428"/>
              <a:gd name="connsiteX4" fmla="*/ 4163918 w 4163918"/>
              <a:gd name="connsiteY4" fmla="*/ 87627 h 1674428"/>
              <a:gd name="connsiteX5" fmla="*/ 4163918 w 4163918"/>
              <a:gd name="connsiteY5" fmla="*/ 1528731 h 1674428"/>
              <a:gd name="connsiteX6" fmla="*/ 4079869 w 4163918"/>
              <a:gd name="connsiteY6" fmla="*/ 1612780 h 1674428"/>
              <a:gd name="connsiteX7" fmla="*/ 309189 w 4163918"/>
              <a:gd name="connsiteY7" fmla="*/ 1612780 h 1674428"/>
              <a:gd name="connsiteX8" fmla="*/ 225140 w 4163918"/>
              <a:gd name="connsiteY8" fmla="*/ 1528731 h 1674428"/>
              <a:gd name="connsiteX0" fmla="*/ 6880 w 3945658"/>
              <a:gd name="connsiteY0" fmla="*/ 1528731 h 1674428"/>
              <a:gd name="connsiteX1" fmla="*/ 5814 w 3945658"/>
              <a:gd name="connsiteY1" fmla="*/ 3699 h 1674428"/>
              <a:gd name="connsiteX2" fmla="*/ 90929 w 3945658"/>
              <a:gd name="connsiteY2" fmla="*/ 3578 h 1674428"/>
              <a:gd name="connsiteX3" fmla="*/ 3861609 w 3945658"/>
              <a:gd name="connsiteY3" fmla="*/ 3578 h 1674428"/>
              <a:gd name="connsiteX4" fmla="*/ 3945658 w 3945658"/>
              <a:gd name="connsiteY4" fmla="*/ 87627 h 1674428"/>
              <a:gd name="connsiteX5" fmla="*/ 3945658 w 3945658"/>
              <a:gd name="connsiteY5" fmla="*/ 1528731 h 1674428"/>
              <a:gd name="connsiteX6" fmla="*/ 3861609 w 3945658"/>
              <a:gd name="connsiteY6" fmla="*/ 1612780 h 1674428"/>
              <a:gd name="connsiteX7" fmla="*/ 90929 w 3945658"/>
              <a:gd name="connsiteY7" fmla="*/ 1612780 h 1674428"/>
              <a:gd name="connsiteX8" fmla="*/ 6880 w 3945658"/>
              <a:gd name="connsiteY8" fmla="*/ 1528731 h 1674428"/>
              <a:gd name="connsiteX0" fmla="*/ 225140 w 4163918"/>
              <a:gd name="connsiteY0" fmla="*/ 1526452 h 1671925"/>
              <a:gd name="connsiteX1" fmla="*/ 224074 w 4163918"/>
              <a:gd name="connsiteY1" fmla="*/ 4595 h 1671925"/>
              <a:gd name="connsiteX2" fmla="*/ 309189 w 4163918"/>
              <a:gd name="connsiteY2" fmla="*/ 1299 h 1671925"/>
              <a:gd name="connsiteX3" fmla="*/ 4079869 w 4163918"/>
              <a:gd name="connsiteY3" fmla="*/ 1299 h 1671925"/>
              <a:gd name="connsiteX4" fmla="*/ 4163918 w 4163918"/>
              <a:gd name="connsiteY4" fmla="*/ 85348 h 1671925"/>
              <a:gd name="connsiteX5" fmla="*/ 4163918 w 4163918"/>
              <a:gd name="connsiteY5" fmla="*/ 1526452 h 1671925"/>
              <a:gd name="connsiteX6" fmla="*/ 4079869 w 4163918"/>
              <a:gd name="connsiteY6" fmla="*/ 1610501 h 1671925"/>
              <a:gd name="connsiteX7" fmla="*/ 309189 w 4163918"/>
              <a:gd name="connsiteY7" fmla="*/ 1610501 h 1671925"/>
              <a:gd name="connsiteX8" fmla="*/ 225140 w 4163918"/>
              <a:gd name="connsiteY8" fmla="*/ 1526452 h 1671925"/>
              <a:gd name="connsiteX0" fmla="*/ 6880 w 3945658"/>
              <a:gd name="connsiteY0" fmla="*/ 1527596 h 1673069"/>
              <a:gd name="connsiteX1" fmla="*/ 5814 w 3945658"/>
              <a:gd name="connsiteY1" fmla="*/ 5739 h 1673069"/>
              <a:gd name="connsiteX2" fmla="*/ 90929 w 3945658"/>
              <a:gd name="connsiteY2" fmla="*/ 2443 h 1673069"/>
              <a:gd name="connsiteX3" fmla="*/ 3861609 w 3945658"/>
              <a:gd name="connsiteY3" fmla="*/ 2443 h 1673069"/>
              <a:gd name="connsiteX4" fmla="*/ 3945658 w 3945658"/>
              <a:gd name="connsiteY4" fmla="*/ 86492 h 1673069"/>
              <a:gd name="connsiteX5" fmla="*/ 3945658 w 3945658"/>
              <a:gd name="connsiteY5" fmla="*/ 1527596 h 1673069"/>
              <a:gd name="connsiteX6" fmla="*/ 3861609 w 3945658"/>
              <a:gd name="connsiteY6" fmla="*/ 1611645 h 1673069"/>
              <a:gd name="connsiteX7" fmla="*/ 90929 w 3945658"/>
              <a:gd name="connsiteY7" fmla="*/ 1611645 h 1673069"/>
              <a:gd name="connsiteX8" fmla="*/ 6880 w 3945658"/>
              <a:gd name="connsiteY8" fmla="*/ 1527596 h 1673069"/>
              <a:gd name="connsiteX0" fmla="*/ 4095 w 3942873"/>
              <a:gd name="connsiteY0" fmla="*/ 1527596 h 1611653"/>
              <a:gd name="connsiteX1" fmla="*/ 3029 w 3942873"/>
              <a:gd name="connsiteY1" fmla="*/ 5739 h 1611653"/>
              <a:gd name="connsiteX2" fmla="*/ 88144 w 3942873"/>
              <a:gd name="connsiteY2" fmla="*/ 2443 h 1611653"/>
              <a:gd name="connsiteX3" fmla="*/ 3858824 w 3942873"/>
              <a:gd name="connsiteY3" fmla="*/ 2443 h 1611653"/>
              <a:gd name="connsiteX4" fmla="*/ 3942873 w 3942873"/>
              <a:gd name="connsiteY4" fmla="*/ 86492 h 1611653"/>
              <a:gd name="connsiteX5" fmla="*/ 3942873 w 3942873"/>
              <a:gd name="connsiteY5" fmla="*/ 1527596 h 1611653"/>
              <a:gd name="connsiteX6" fmla="*/ 3858824 w 3942873"/>
              <a:gd name="connsiteY6" fmla="*/ 1611645 h 1611653"/>
              <a:gd name="connsiteX7" fmla="*/ 88144 w 3942873"/>
              <a:gd name="connsiteY7" fmla="*/ 1611645 h 1611653"/>
              <a:gd name="connsiteX8" fmla="*/ 4095 w 3942873"/>
              <a:gd name="connsiteY8" fmla="*/ 1527596 h 1611653"/>
              <a:gd name="connsiteX0" fmla="*/ 9512 w 3948290"/>
              <a:gd name="connsiteY0" fmla="*/ 1527596 h 1673069"/>
              <a:gd name="connsiteX1" fmla="*/ 8446 w 3948290"/>
              <a:gd name="connsiteY1" fmla="*/ 5739 h 1673069"/>
              <a:gd name="connsiteX2" fmla="*/ 93561 w 3948290"/>
              <a:gd name="connsiteY2" fmla="*/ 2443 h 1673069"/>
              <a:gd name="connsiteX3" fmla="*/ 3864241 w 3948290"/>
              <a:gd name="connsiteY3" fmla="*/ 2443 h 1673069"/>
              <a:gd name="connsiteX4" fmla="*/ 3948290 w 3948290"/>
              <a:gd name="connsiteY4" fmla="*/ 86492 h 1673069"/>
              <a:gd name="connsiteX5" fmla="*/ 3948290 w 3948290"/>
              <a:gd name="connsiteY5" fmla="*/ 1527596 h 1673069"/>
              <a:gd name="connsiteX6" fmla="*/ 3864241 w 3948290"/>
              <a:gd name="connsiteY6" fmla="*/ 1611645 h 1673069"/>
              <a:gd name="connsiteX7" fmla="*/ 129280 w 3948290"/>
              <a:gd name="connsiteY7" fmla="*/ 1611645 h 1673069"/>
              <a:gd name="connsiteX8" fmla="*/ 9512 w 3948290"/>
              <a:gd name="connsiteY8" fmla="*/ 1527596 h 1673069"/>
              <a:gd name="connsiteX0" fmla="*/ 3242 w 3942020"/>
              <a:gd name="connsiteY0" fmla="*/ 1527596 h 1614938"/>
              <a:gd name="connsiteX1" fmla="*/ 2176 w 3942020"/>
              <a:gd name="connsiteY1" fmla="*/ 5739 h 1614938"/>
              <a:gd name="connsiteX2" fmla="*/ 87291 w 3942020"/>
              <a:gd name="connsiteY2" fmla="*/ 2443 h 1614938"/>
              <a:gd name="connsiteX3" fmla="*/ 3857971 w 3942020"/>
              <a:gd name="connsiteY3" fmla="*/ 2443 h 1614938"/>
              <a:gd name="connsiteX4" fmla="*/ 3942020 w 3942020"/>
              <a:gd name="connsiteY4" fmla="*/ 86492 h 1614938"/>
              <a:gd name="connsiteX5" fmla="*/ 3942020 w 3942020"/>
              <a:gd name="connsiteY5" fmla="*/ 1527596 h 1614938"/>
              <a:gd name="connsiteX6" fmla="*/ 3857971 w 3942020"/>
              <a:gd name="connsiteY6" fmla="*/ 1611645 h 1614938"/>
              <a:gd name="connsiteX7" fmla="*/ 123010 w 3942020"/>
              <a:gd name="connsiteY7" fmla="*/ 1611645 h 1614938"/>
              <a:gd name="connsiteX8" fmla="*/ 3242 w 3942020"/>
              <a:gd name="connsiteY8" fmla="*/ 1527596 h 1614938"/>
              <a:gd name="connsiteX0" fmla="*/ 1552 w 3940330"/>
              <a:gd name="connsiteY0" fmla="*/ 1527596 h 1612398"/>
              <a:gd name="connsiteX1" fmla="*/ 486 w 3940330"/>
              <a:gd name="connsiteY1" fmla="*/ 5739 h 1612398"/>
              <a:gd name="connsiteX2" fmla="*/ 85601 w 3940330"/>
              <a:gd name="connsiteY2" fmla="*/ 2443 h 1612398"/>
              <a:gd name="connsiteX3" fmla="*/ 3856281 w 3940330"/>
              <a:gd name="connsiteY3" fmla="*/ 2443 h 1612398"/>
              <a:gd name="connsiteX4" fmla="*/ 3940330 w 3940330"/>
              <a:gd name="connsiteY4" fmla="*/ 86492 h 1612398"/>
              <a:gd name="connsiteX5" fmla="*/ 3940330 w 3940330"/>
              <a:gd name="connsiteY5" fmla="*/ 1527596 h 1612398"/>
              <a:gd name="connsiteX6" fmla="*/ 3856281 w 3940330"/>
              <a:gd name="connsiteY6" fmla="*/ 1611645 h 1612398"/>
              <a:gd name="connsiteX7" fmla="*/ 121320 w 3940330"/>
              <a:gd name="connsiteY7" fmla="*/ 1611645 h 1612398"/>
              <a:gd name="connsiteX8" fmla="*/ 1552 w 3940330"/>
              <a:gd name="connsiteY8" fmla="*/ 1527596 h 1612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40330" h="1612398">
                <a:moveTo>
                  <a:pt x="1552" y="1527596"/>
                </a:moveTo>
                <a:cubicBezTo>
                  <a:pt x="463" y="1429014"/>
                  <a:pt x="-671" y="14002"/>
                  <a:pt x="486" y="5739"/>
                </a:cubicBezTo>
                <a:cubicBezTo>
                  <a:pt x="1643" y="-2524"/>
                  <a:pt x="8119" y="-183"/>
                  <a:pt x="85601" y="2443"/>
                </a:cubicBezTo>
                <a:cubicBezTo>
                  <a:pt x="163083" y="5069"/>
                  <a:pt x="2599388" y="2443"/>
                  <a:pt x="3856281" y="2443"/>
                </a:cubicBezTo>
                <a:cubicBezTo>
                  <a:pt x="3902700" y="2443"/>
                  <a:pt x="3940330" y="40073"/>
                  <a:pt x="3940330" y="86492"/>
                </a:cubicBezTo>
                <a:lnTo>
                  <a:pt x="3940330" y="1527596"/>
                </a:lnTo>
                <a:cubicBezTo>
                  <a:pt x="3940330" y="1574015"/>
                  <a:pt x="3902700" y="1611645"/>
                  <a:pt x="3856281" y="1611645"/>
                </a:cubicBezTo>
                <a:lnTo>
                  <a:pt x="121320" y="1611645"/>
                </a:lnTo>
                <a:cubicBezTo>
                  <a:pt x="74901" y="1611645"/>
                  <a:pt x="2641" y="1626178"/>
                  <a:pt x="1552" y="1527596"/>
                </a:cubicBezTo>
                <a:close/>
              </a:path>
            </a:pathLst>
          </a:custGeom>
          <a:solidFill>
            <a:schemeClr val="bg2">
              <a:alpha val="85000"/>
            </a:schemeClr>
          </a:solidFill>
        </p:spPr>
        <p:txBody>
          <a:bodyPr vert="horz" lIns="360000" tIns="252000" rIns="360000" bIns="360000" rtlCol="0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nl-NL" sz="8419" b="0" dirty="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70000"/>
              </a:lnSpc>
              <a:defRPr lang="nl-NL" dirty="0">
                <a:solidFill>
                  <a:schemeClr val="bg1"/>
                </a:solidFill>
                <a:latin typeface="+mj-lt"/>
              </a:defRPr>
            </a:lvl2pPr>
            <a:lvl3pPr>
              <a:lnSpc>
                <a:spcPct val="70000"/>
              </a:lnSpc>
              <a:defRPr lang="nl-NL" dirty="0">
                <a:solidFill>
                  <a:schemeClr val="bg1"/>
                </a:solidFill>
                <a:latin typeface="+mj-lt"/>
              </a:defRPr>
            </a:lvl3pPr>
            <a:lvl4pPr>
              <a:lnSpc>
                <a:spcPct val="70000"/>
              </a:lnSpc>
              <a:defRPr lang="nl-NL" sz="8419" dirty="0">
                <a:solidFill>
                  <a:schemeClr val="bg1"/>
                </a:solidFill>
                <a:latin typeface="+mj-lt"/>
              </a:defRPr>
            </a:lvl4pPr>
            <a:lvl5pPr>
              <a:lnSpc>
                <a:spcPct val="70000"/>
              </a:lnSpc>
              <a:defRPr lang="nl-NL" b="0" dirty="0">
                <a:solidFill>
                  <a:schemeClr val="bg1"/>
                </a:solidFill>
              </a:defRPr>
            </a:lvl5pPr>
            <a:lvl6pPr>
              <a:lnSpc>
                <a:spcPct val="70000"/>
              </a:lnSpc>
              <a:defRPr lang="nl-NL" dirty="0"/>
            </a:lvl6pPr>
          </a:lstStyle>
          <a:p>
            <a:pPr lvl="0"/>
            <a:r>
              <a:rPr lang="nl-NL" noProof="0"/>
              <a:t>Klik om tekst in te voegen</a:t>
            </a:r>
          </a:p>
        </p:txBody>
      </p:sp>
      <p:sp>
        <p:nvSpPr>
          <p:cNvPr id="18" name="Tijdelijke aanduiding voor datum 3">
            <a:extLst>
              <a:ext uri="{FF2B5EF4-FFF2-40B4-BE49-F238E27FC236}">
                <a16:creationId xmlns:a16="http://schemas.microsoft.com/office/drawing/2014/main" id="{272E1BA3-CCCF-465D-9A0D-4F665A96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00A5A8C-9EFD-4AD5-BD15-C5E0C8E9E405}" type="datetime1">
              <a:rPr lang="nl-NL" noProof="0" smtClean="0"/>
              <a:t>26-6-2023</a:t>
            </a:fld>
            <a:endParaRPr lang="nl-NL" noProof="0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C7F23BAD-09D9-4D71-9A55-ADE82665CE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9616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Grafiek 50%/5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el 1">
            <a:extLst>
              <a:ext uri="{FF2B5EF4-FFF2-40B4-BE49-F238E27FC236}">
                <a16:creationId xmlns:a16="http://schemas.microsoft.com/office/drawing/2014/main" id="{6FC02832-6172-4872-830B-0E200141D9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41" name="Tijdelijke aanduiding voor tekst 14">
            <a:extLst>
              <a:ext uri="{FF2B5EF4-FFF2-40B4-BE49-F238E27FC236}">
                <a16:creationId xmlns:a16="http://schemas.microsoft.com/office/drawing/2014/main" id="{92B3C0DD-4B30-41A4-ACF0-43DCC142EE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6314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58" name="Tijdelijke aanduiding voor voettekst 4">
            <a:extLst>
              <a:ext uri="{FF2B5EF4-FFF2-40B4-BE49-F238E27FC236}">
                <a16:creationId xmlns:a16="http://schemas.microsoft.com/office/drawing/2014/main" id="{A767B2FF-AFB7-4C77-9D83-2891D4995E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59" name="Tijdelijke aanduiding voor dianummer 5">
            <a:extLst>
              <a:ext uri="{FF2B5EF4-FFF2-40B4-BE49-F238E27FC236}">
                <a16:creationId xmlns:a16="http://schemas.microsoft.com/office/drawing/2014/main" id="{9A2D0BED-D586-4A0C-92B4-0B9B621444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9" y="27329718"/>
            <a:ext cx="834509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cxnSp>
        <p:nvCxnSpPr>
          <p:cNvPr id="4" name="Rechte verbindingslijn 3">
            <a:extLst>
              <a:ext uri="{FF2B5EF4-FFF2-40B4-BE49-F238E27FC236}">
                <a16:creationId xmlns:a16="http://schemas.microsoft.com/office/drawing/2014/main" id="{B7132B7D-5165-4EF7-9B98-0281F140107D}"/>
              </a:ext>
            </a:extLst>
          </p:cNvPr>
          <p:cNvCxnSpPr/>
          <p:nvPr userDrawn="1"/>
        </p:nvCxnSpPr>
        <p:spPr>
          <a:xfrm>
            <a:off x="21383618" y="6476683"/>
            <a:ext cx="0" cy="19074342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jdelijke aanduiding voor datum 3">
            <a:extLst>
              <a:ext uri="{FF2B5EF4-FFF2-40B4-BE49-F238E27FC236}">
                <a16:creationId xmlns:a16="http://schemas.microsoft.com/office/drawing/2014/main" id="{954DA91E-C842-4007-B98B-6B2243FE611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19707B42-73DA-42CB-A5E3-8DE983276932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208" name="Tijdelijke aanduiding voor grafiek 7">
            <a:extLst>
              <a:ext uri="{FF2B5EF4-FFF2-40B4-BE49-F238E27FC236}">
                <a16:creationId xmlns:a16="http://schemas.microsoft.com/office/drawing/2014/main" id="{850783B6-C90B-4AAA-90BA-1DAFC9F22AA9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22853747" y="6476685"/>
            <a:ext cx="18130515" cy="19074338"/>
          </a:xfrm>
          <a:solidFill>
            <a:schemeClr val="bg1">
              <a:lumMod val="95000"/>
            </a:schemeClr>
          </a:solidFill>
        </p:spPr>
        <p:txBody>
          <a:bodyPr tIns="288000" bIns="1440000" anchor="b">
            <a:normAutofit/>
          </a:bodyPr>
          <a:lstStyle>
            <a:lvl1pPr marL="0" indent="0" algn="ctr">
              <a:spcAft>
                <a:spcPts val="0"/>
              </a:spcAft>
              <a:buNone/>
              <a:defRPr sz="4209" b="0" i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grafiek in te voegen</a:t>
            </a: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A6AE8251-BA1F-4B6F-B210-0675BB1002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42373" y="6476685"/>
            <a:ext cx="18171872" cy="1907433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bullet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bullet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pic>
        <p:nvPicPr>
          <p:cNvPr id="250" name="Afbeelding 249">
            <a:extLst>
              <a:ext uri="{FF2B5EF4-FFF2-40B4-BE49-F238E27FC236}">
                <a16:creationId xmlns:a16="http://schemas.microsoft.com/office/drawing/2014/main" id="{B7333475-27ED-427D-91B5-0755C377F9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7942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ek 10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el 1">
            <a:extLst>
              <a:ext uri="{FF2B5EF4-FFF2-40B4-BE49-F238E27FC236}">
                <a16:creationId xmlns:a16="http://schemas.microsoft.com/office/drawing/2014/main" id="{87553EBB-B807-40D8-8ED2-0562C9B374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9" name="Tijdelijke aanduiding voor tekst 14">
            <a:extLst>
              <a:ext uri="{FF2B5EF4-FFF2-40B4-BE49-F238E27FC236}">
                <a16:creationId xmlns:a16="http://schemas.microsoft.com/office/drawing/2014/main" id="{C209BF21-5280-447B-A53B-6C6365D8189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6314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56" name="Tijdelijke aanduiding voor voettekst 4">
            <a:extLst>
              <a:ext uri="{FF2B5EF4-FFF2-40B4-BE49-F238E27FC236}">
                <a16:creationId xmlns:a16="http://schemas.microsoft.com/office/drawing/2014/main" id="{791AE8B8-F5E6-4264-A78D-66A2883015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57" name="Tijdelijke aanduiding voor dianummer 5">
            <a:extLst>
              <a:ext uri="{FF2B5EF4-FFF2-40B4-BE49-F238E27FC236}">
                <a16:creationId xmlns:a16="http://schemas.microsoft.com/office/drawing/2014/main" id="{2D1565BC-73A2-4D18-B68D-8C2F7ADBE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9" y="27329718"/>
            <a:ext cx="836259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15" name="Tijdelijke aanduiding voor datum 3">
            <a:extLst>
              <a:ext uri="{FF2B5EF4-FFF2-40B4-BE49-F238E27FC236}">
                <a16:creationId xmlns:a16="http://schemas.microsoft.com/office/drawing/2014/main" id="{33EDF0CC-2116-441B-BB74-14D41A6FF9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BA924F38-C553-4513-9DED-E0AB471B3E16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87" name="Tijdelijke aanduiding voor grafiek 7">
            <a:extLst>
              <a:ext uri="{FF2B5EF4-FFF2-40B4-BE49-F238E27FC236}">
                <a16:creationId xmlns:a16="http://schemas.microsoft.com/office/drawing/2014/main" id="{A9C16D6A-032C-433A-A11B-424C800889B5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1731100" y="6476684"/>
            <a:ext cx="39293754" cy="19046182"/>
          </a:xfrm>
          <a:solidFill>
            <a:schemeClr val="bg1">
              <a:lumMod val="95000"/>
            </a:schemeClr>
          </a:solidFill>
        </p:spPr>
        <p:txBody>
          <a:bodyPr tIns="1260000"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grafiek in te voegen</a:t>
            </a:r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620E16FE-96C3-4B35-80A7-63041DAC8C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667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7" grpId="0" animBg="1"/>
    </p:bld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Tabel 50%/5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tabel 8"/>
          <p:cNvSpPr>
            <a:spLocks noGrp="1"/>
          </p:cNvSpPr>
          <p:nvPr>
            <p:ph type="tbl" sz="quarter" idx="15" hasCustomPrompt="1"/>
          </p:nvPr>
        </p:nvSpPr>
        <p:spPr>
          <a:xfrm>
            <a:off x="22853749" y="6476679"/>
            <a:ext cx="18171107" cy="19074347"/>
          </a:xfrm>
          <a:solidFill>
            <a:schemeClr val="bg1">
              <a:lumMod val="95000"/>
            </a:schemeClr>
          </a:solidFill>
        </p:spPr>
        <p:txBody>
          <a:bodyPr tIns="936000" anchor="ctr">
            <a:normAutofit/>
          </a:bodyPr>
          <a:lstStyle>
            <a:lvl1pPr marL="0" indent="0" algn="ctr"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tabel in te voegen</a:t>
            </a:r>
          </a:p>
        </p:txBody>
      </p:sp>
      <p:sp>
        <p:nvSpPr>
          <p:cNvPr id="34" name="Titel 1">
            <a:extLst>
              <a:ext uri="{FF2B5EF4-FFF2-40B4-BE49-F238E27FC236}">
                <a16:creationId xmlns:a16="http://schemas.microsoft.com/office/drawing/2014/main" id="{53A6CE20-1E7A-4F87-96EC-7E964AA913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41" name="Tijdelijke aanduiding voor tekst 14">
            <a:extLst>
              <a:ext uri="{FF2B5EF4-FFF2-40B4-BE49-F238E27FC236}">
                <a16:creationId xmlns:a16="http://schemas.microsoft.com/office/drawing/2014/main" id="{4B035891-3F3E-4E86-9D5A-96D1E3B9D0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6314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58" name="Tijdelijke aanduiding voor voettekst 4">
            <a:extLst>
              <a:ext uri="{FF2B5EF4-FFF2-40B4-BE49-F238E27FC236}">
                <a16:creationId xmlns:a16="http://schemas.microsoft.com/office/drawing/2014/main" id="{0E659B60-CF7C-460A-A879-0DDBF9C652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59" name="Tijdelijke aanduiding voor dianummer 5">
            <a:extLst>
              <a:ext uri="{FF2B5EF4-FFF2-40B4-BE49-F238E27FC236}">
                <a16:creationId xmlns:a16="http://schemas.microsoft.com/office/drawing/2014/main" id="{F1A38C1E-7B15-4C30-B676-08D9095C1F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9" y="27329718"/>
            <a:ext cx="834509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cxnSp>
        <p:nvCxnSpPr>
          <p:cNvPr id="16" name="Rechte verbindingslijn 15">
            <a:extLst>
              <a:ext uri="{FF2B5EF4-FFF2-40B4-BE49-F238E27FC236}">
                <a16:creationId xmlns:a16="http://schemas.microsoft.com/office/drawing/2014/main" id="{FFF3BAD7-1631-43B4-803E-B259FAD5CBD9}"/>
              </a:ext>
            </a:extLst>
          </p:cNvPr>
          <p:cNvCxnSpPr/>
          <p:nvPr userDrawn="1"/>
        </p:nvCxnSpPr>
        <p:spPr>
          <a:xfrm>
            <a:off x="21383618" y="6476683"/>
            <a:ext cx="0" cy="19074342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jdelijke aanduiding voor datum 3">
            <a:extLst>
              <a:ext uri="{FF2B5EF4-FFF2-40B4-BE49-F238E27FC236}">
                <a16:creationId xmlns:a16="http://schemas.microsoft.com/office/drawing/2014/main" id="{1CAF262E-2810-4D1F-9499-C43352B839B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40D1CF22-7FF8-47A0-9650-2B0221F03856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131" name="Tijdelijke aanduiding voor tekst 4">
            <a:extLst>
              <a:ext uri="{FF2B5EF4-FFF2-40B4-BE49-F238E27FC236}">
                <a16:creationId xmlns:a16="http://schemas.microsoft.com/office/drawing/2014/main" id="{00E166CD-7E11-4ACD-A2FC-A33D649ED95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42373" y="6476685"/>
            <a:ext cx="18171872" cy="1907433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bullet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bullet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pic>
        <p:nvPicPr>
          <p:cNvPr id="307" name="Afbeelding 306">
            <a:extLst>
              <a:ext uri="{FF2B5EF4-FFF2-40B4-BE49-F238E27FC236}">
                <a16:creationId xmlns:a16="http://schemas.microsoft.com/office/drawing/2014/main" id="{F7CBAA26-C3F6-4707-A0EF-91BEAF96AB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3114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 10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tabel 8"/>
          <p:cNvSpPr>
            <a:spLocks noGrp="1"/>
          </p:cNvSpPr>
          <p:nvPr>
            <p:ph type="tbl" sz="quarter" idx="15" hasCustomPrompt="1"/>
          </p:nvPr>
        </p:nvSpPr>
        <p:spPr>
          <a:xfrm>
            <a:off x="1731104" y="6504861"/>
            <a:ext cx="39293754" cy="19046172"/>
          </a:xfrm>
          <a:solidFill>
            <a:schemeClr val="bg1">
              <a:lumMod val="95000"/>
            </a:schemeClr>
          </a:solidFill>
        </p:spPr>
        <p:txBody>
          <a:bodyPr tIns="1008000" anchor="ctr">
            <a:normAutofit/>
          </a:bodyPr>
          <a:lstStyle>
            <a:lvl1pPr marL="0" indent="0" algn="ctr"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tabel in te voegen</a:t>
            </a:r>
          </a:p>
        </p:txBody>
      </p:sp>
      <p:sp>
        <p:nvSpPr>
          <p:cNvPr id="31" name="Titel 1">
            <a:extLst>
              <a:ext uri="{FF2B5EF4-FFF2-40B4-BE49-F238E27FC236}">
                <a16:creationId xmlns:a16="http://schemas.microsoft.com/office/drawing/2014/main" id="{BFC323C8-4E0C-4511-852A-2596E66977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8" name="Tijdelijke aanduiding voor tekst 14">
            <a:extLst>
              <a:ext uri="{FF2B5EF4-FFF2-40B4-BE49-F238E27FC236}">
                <a16:creationId xmlns:a16="http://schemas.microsoft.com/office/drawing/2014/main" id="{8DA7C7FA-DB31-4BAA-B073-75C781A5B1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6314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55" name="Tijdelijke aanduiding voor voettekst 4">
            <a:extLst>
              <a:ext uri="{FF2B5EF4-FFF2-40B4-BE49-F238E27FC236}">
                <a16:creationId xmlns:a16="http://schemas.microsoft.com/office/drawing/2014/main" id="{A0E628BA-C2CD-4496-9DDE-D19D860FA9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56" name="Tijdelijke aanduiding voor dianummer 5">
            <a:extLst>
              <a:ext uri="{FF2B5EF4-FFF2-40B4-BE49-F238E27FC236}">
                <a16:creationId xmlns:a16="http://schemas.microsoft.com/office/drawing/2014/main" id="{16FCF319-FDBA-49D0-94CD-E4F09D9A89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7" y="27329718"/>
            <a:ext cx="888118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15" name="Tijdelijke aanduiding voor datum 3">
            <a:extLst>
              <a:ext uri="{FF2B5EF4-FFF2-40B4-BE49-F238E27FC236}">
                <a16:creationId xmlns:a16="http://schemas.microsoft.com/office/drawing/2014/main" id="{9ACCADF5-C9AA-4EE4-AA1D-F3AA86363F4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FEAEE37F-F197-4C21-9E5F-56F480958CE7}" type="datetime1">
              <a:rPr lang="nl-NL" noProof="0" smtClean="0"/>
              <a:t>26-6-2023</a:t>
            </a:fld>
            <a:endParaRPr lang="nl-NL" noProof="0"/>
          </a:p>
        </p:txBody>
      </p:sp>
      <p:pic>
        <p:nvPicPr>
          <p:cNvPr id="45" name="Afbeelding 44">
            <a:extLst>
              <a:ext uri="{FF2B5EF4-FFF2-40B4-BE49-F238E27FC236}">
                <a16:creationId xmlns:a16="http://schemas.microsoft.com/office/drawing/2014/main" id="{7F985B6B-526C-49E8-AACA-872BB87435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5984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id="{C99B9AD0-B92A-4C48-A52A-FAE4B74811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18" name="Tijdelijke aanduiding voor tekst 14">
            <a:extLst>
              <a:ext uri="{FF2B5EF4-FFF2-40B4-BE49-F238E27FC236}">
                <a16:creationId xmlns:a16="http://schemas.microsoft.com/office/drawing/2014/main" id="{3EAC74E4-7359-43B9-BD46-0CBB8C9D38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6314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21" name="Tijdelijke aanduiding voor voettekst 4">
            <a:extLst>
              <a:ext uri="{FF2B5EF4-FFF2-40B4-BE49-F238E27FC236}">
                <a16:creationId xmlns:a16="http://schemas.microsoft.com/office/drawing/2014/main" id="{A5D9591E-4C98-475E-B8D6-C3C11099BF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22" name="Tijdelijke aanduiding voor dianummer 5">
            <a:extLst>
              <a:ext uri="{FF2B5EF4-FFF2-40B4-BE49-F238E27FC236}">
                <a16:creationId xmlns:a16="http://schemas.microsoft.com/office/drawing/2014/main" id="{943A493B-8731-4825-81F9-F1B852A8C7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8" y="27329718"/>
            <a:ext cx="863059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19" name="Tijdelijke aanduiding voor datum 3">
            <a:extLst>
              <a:ext uri="{FF2B5EF4-FFF2-40B4-BE49-F238E27FC236}">
                <a16:creationId xmlns:a16="http://schemas.microsoft.com/office/drawing/2014/main" id="{7AF0D1FE-8D2B-44E6-B3D5-0C8F9474C79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1F9EDFB3-D3AA-4F39-950A-ED89DC69A420}" type="datetime1">
              <a:rPr lang="nl-NL" noProof="0" smtClean="0"/>
              <a:t>26-6-2023</a:t>
            </a:fld>
            <a:endParaRPr lang="nl-NL" noProof="0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3F7DA627-C135-4D0D-8C88-2B07C2C3B7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9822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Wolk 100%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-5562" y="-31536"/>
            <a:ext cx="42767255" cy="30306755"/>
          </a:xfrm>
          <a:solidFill>
            <a:schemeClr val="bg1">
              <a:lumMod val="95000"/>
            </a:schemeClr>
          </a:solidFill>
        </p:spPr>
        <p:txBody>
          <a:bodyPr tIns="1044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677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3" name="Tijdelijke aanduiding voor voettekst 4">
            <a:extLst>
              <a:ext uri="{FF2B5EF4-FFF2-40B4-BE49-F238E27FC236}">
                <a16:creationId xmlns:a16="http://schemas.microsoft.com/office/drawing/2014/main" id="{3FD2C40F-5ED0-4573-8F6F-31F0DA9D46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7" y="27345278"/>
            <a:ext cx="1802756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4" name="Tijdelijke aanduiding voor dianummer 5">
            <a:extLst>
              <a:ext uri="{FF2B5EF4-FFF2-40B4-BE49-F238E27FC236}">
                <a16:creationId xmlns:a16="http://schemas.microsoft.com/office/drawing/2014/main" id="{FDCACBC6-40CE-484B-AC87-549D0BAA4F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7" y="27329717"/>
            <a:ext cx="828942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D78D1FB9-F46F-4739-84B5-17E9644E515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1062562" y="6639726"/>
            <a:ext cx="15869581" cy="8579805"/>
          </a:xfrm>
          <a:custGeom>
            <a:avLst/>
            <a:gdLst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4067 w 4524067"/>
              <a:gd name="connsiteY3" fmla="*/ 1604261 h 1943514"/>
              <a:gd name="connsiteX4" fmla="*/ 374342 w 4524067"/>
              <a:gd name="connsiteY4" fmla="*/ 1604261 h 1943514"/>
              <a:gd name="connsiteX5" fmla="*/ 374342 w 4524067"/>
              <a:gd name="connsiteY5" fmla="*/ 1604495 h 1943514"/>
              <a:gd name="connsiteX6" fmla="*/ 372031 w 4524067"/>
              <a:gd name="connsiteY6" fmla="*/ 1604262 h 1943514"/>
              <a:gd name="connsiteX7" fmla="*/ 7555 w 4524067"/>
              <a:gd name="connsiteY7" fmla="*/ 1901319 h 1943514"/>
              <a:gd name="connsiteX8" fmla="*/ 3301 w 4524067"/>
              <a:gd name="connsiteY8" fmla="*/ 1943514 h 1943514"/>
              <a:gd name="connsiteX9" fmla="*/ 0 w 4524067"/>
              <a:gd name="connsiteY9" fmla="*/ 1935545 h 1943514"/>
              <a:gd name="connsiteX10" fmla="*/ 0 w 4524067"/>
              <a:gd name="connsiteY10" fmla="*/ 71054 h 1943514"/>
              <a:gd name="connsiteX11" fmla="*/ 71054 w 4524067"/>
              <a:gd name="connsiteY11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524067 w 4524067"/>
              <a:gd name="connsiteY4" fmla="*/ 160426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524067 w 4524067"/>
              <a:gd name="connsiteY4" fmla="*/ 1604261 h 1943514"/>
              <a:gd name="connsiteX5" fmla="*/ 4481998 w 4524067"/>
              <a:gd name="connsiteY5" fmla="*/ 1606550 h 1943514"/>
              <a:gd name="connsiteX6" fmla="*/ 374342 w 4524067"/>
              <a:gd name="connsiteY6" fmla="*/ 1604261 h 1943514"/>
              <a:gd name="connsiteX7" fmla="*/ 374342 w 4524067"/>
              <a:gd name="connsiteY7" fmla="*/ 1604495 h 1943514"/>
              <a:gd name="connsiteX8" fmla="*/ 372031 w 4524067"/>
              <a:gd name="connsiteY8" fmla="*/ 1604262 h 1943514"/>
              <a:gd name="connsiteX9" fmla="*/ 7555 w 4524067"/>
              <a:gd name="connsiteY9" fmla="*/ 1901319 h 1943514"/>
              <a:gd name="connsiteX10" fmla="*/ 3301 w 4524067"/>
              <a:gd name="connsiteY10" fmla="*/ 1943514 h 1943514"/>
              <a:gd name="connsiteX11" fmla="*/ 0 w 4524067"/>
              <a:gd name="connsiteY11" fmla="*/ 1935545 h 1943514"/>
              <a:gd name="connsiteX12" fmla="*/ 0 w 4524067"/>
              <a:gd name="connsiteY12" fmla="*/ 71054 h 1943514"/>
              <a:gd name="connsiteX13" fmla="*/ 71054 w 4524067"/>
              <a:gd name="connsiteY13" fmla="*/ 0 h 1943514"/>
              <a:gd name="connsiteX0" fmla="*/ 71054 w 4799095"/>
              <a:gd name="connsiteY0" fmla="*/ 0 h 1943514"/>
              <a:gd name="connsiteX1" fmla="*/ 4453013 w 4799095"/>
              <a:gd name="connsiteY1" fmla="*/ 0 h 1943514"/>
              <a:gd name="connsiteX2" fmla="*/ 4524067 w 4799095"/>
              <a:gd name="connsiteY2" fmla="*/ 71054 h 1943514"/>
              <a:gd name="connsiteX3" fmla="*/ 4522480 w 4799095"/>
              <a:gd name="connsiteY3" fmla="*/ 1547019 h 1943514"/>
              <a:gd name="connsiteX4" fmla="*/ 4524067 w 4799095"/>
              <a:gd name="connsiteY4" fmla="*/ 1604261 h 1943514"/>
              <a:gd name="connsiteX5" fmla="*/ 4481998 w 4799095"/>
              <a:gd name="connsiteY5" fmla="*/ 1606550 h 1943514"/>
              <a:gd name="connsiteX6" fmla="*/ 374342 w 4799095"/>
              <a:gd name="connsiteY6" fmla="*/ 1604261 h 1943514"/>
              <a:gd name="connsiteX7" fmla="*/ 374342 w 4799095"/>
              <a:gd name="connsiteY7" fmla="*/ 1604495 h 1943514"/>
              <a:gd name="connsiteX8" fmla="*/ 372031 w 4799095"/>
              <a:gd name="connsiteY8" fmla="*/ 1604262 h 1943514"/>
              <a:gd name="connsiteX9" fmla="*/ 7555 w 4799095"/>
              <a:gd name="connsiteY9" fmla="*/ 1901319 h 1943514"/>
              <a:gd name="connsiteX10" fmla="*/ 3301 w 4799095"/>
              <a:gd name="connsiteY10" fmla="*/ 1943514 h 1943514"/>
              <a:gd name="connsiteX11" fmla="*/ 0 w 4799095"/>
              <a:gd name="connsiteY11" fmla="*/ 1935545 h 1943514"/>
              <a:gd name="connsiteX12" fmla="*/ 0 w 4799095"/>
              <a:gd name="connsiteY12" fmla="*/ 71054 h 1943514"/>
              <a:gd name="connsiteX13" fmla="*/ 71054 w 4799095"/>
              <a:gd name="connsiteY13" fmla="*/ 0 h 1943514"/>
              <a:gd name="connsiteX0" fmla="*/ 71054 w 4798479"/>
              <a:gd name="connsiteY0" fmla="*/ 0 h 1943514"/>
              <a:gd name="connsiteX1" fmla="*/ 4453013 w 4798479"/>
              <a:gd name="connsiteY1" fmla="*/ 0 h 1943514"/>
              <a:gd name="connsiteX2" fmla="*/ 4524067 w 4798479"/>
              <a:gd name="connsiteY2" fmla="*/ 71054 h 1943514"/>
              <a:gd name="connsiteX3" fmla="*/ 4522480 w 4798479"/>
              <a:gd name="connsiteY3" fmla="*/ 1547019 h 1943514"/>
              <a:gd name="connsiteX4" fmla="*/ 4481998 w 4798479"/>
              <a:gd name="connsiteY4" fmla="*/ 1606550 h 1943514"/>
              <a:gd name="connsiteX5" fmla="*/ 374342 w 4798479"/>
              <a:gd name="connsiteY5" fmla="*/ 1604261 h 1943514"/>
              <a:gd name="connsiteX6" fmla="*/ 374342 w 4798479"/>
              <a:gd name="connsiteY6" fmla="*/ 1604495 h 1943514"/>
              <a:gd name="connsiteX7" fmla="*/ 372031 w 4798479"/>
              <a:gd name="connsiteY7" fmla="*/ 1604262 h 1943514"/>
              <a:gd name="connsiteX8" fmla="*/ 7555 w 4798479"/>
              <a:gd name="connsiteY8" fmla="*/ 1901319 h 1943514"/>
              <a:gd name="connsiteX9" fmla="*/ 3301 w 4798479"/>
              <a:gd name="connsiteY9" fmla="*/ 1943514 h 1943514"/>
              <a:gd name="connsiteX10" fmla="*/ 0 w 4798479"/>
              <a:gd name="connsiteY10" fmla="*/ 1935545 h 1943514"/>
              <a:gd name="connsiteX11" fmla="*/ 0 w 4798479"/>
              <a:gd name="connsiteY11" fmla="*/ 71054 h 1943514"/>
              <a:gd name="connsiteX12" fmla="*/ 71054 w 4798479"/>
              <a:gd name="connsiteY12" fmla="*/ 0 h 1943514"/>
              <a:gd name="connsiteX0" fmla="*/ 71054 w 4801282"/>
              <a:gd name="connsiteY0" fmla="*/ 0 h 1943514"/>
              <a:gd name="connsiteX1" fmla="*/ 4453013 w 4801282"/>
              <a:gd name="connsiteY1" fmla="*/ 0 h 1943514"/>
              <a:gd name="connsiteX2" fmla="*/ 4524067 w 4801282"/>
              <a:gd name="connsiteY2" fmla="*/ 71054 h 1943514"/>
              <a:gd name="connsiteX3" fmla="*/ 4522480 w 4801282"/>
              <a:gd name="connsiteY3" fmla="*/ 1547019 h 1943514"/>
              <a:gd name="connsiteX4" fmla="*/ 4481998 w 4801282"/>
              <a:gd name="connsiteY4" fmla="*/ 1606550 h 1943514"/>
              <a:gd name="connsiteX5" fmla="*/ 374342 w 4801282"/>
              <a:gd name="connsiteY5" fmla="*/ 1604261 h 1943514"/>
              <a:gd name="connsiteX6" fmla="*/ 374342 w 4801282"/>
              <a:gd name="connsiteY6" fmla="*/ 1604495 h 1943514"/>
              <a:gd name="connsiteX7" fmla="*/ 372031 w 4801282"/>
              <a:gd name="connsiteY7" fmla="*/ 1604262 h 1943514"/>
              <a:gd name="connsiteX8" fmla="*/ 7555 w 4801282"/>
              <a:gd name="connsiteY8" fmla="*/ 1901319 h 1943514"/>
              <a:gd name="connsiteX9" fmla="*/ 3301 w 4801282"/>
              <a:gd name="connsiteY9" fmla="*/ 1943514 h 1943514"/>
              <a:gd name="connsiteX10" fmla="*/ 0 w 4801282"/>
              <a:gd name="connsiteY10" fmla="*/ 1935545 h 1943514"/>
              <a:gd name="connsiteX11" fmla="*/ 0 w 4801282"/>
              <a:gd name="connsiteY11" fmla="*/ 71054 h 1943514"/>
              <a:gd name="connsiteX12" fmla="*/ 71054 w 4801282"/>
              <a:gd name="connsiteY12" fmla="*/ 0 h 1943514"/>
              <a:gd name="connsiteX0" fmla="*/ 71054 w 4527104"/>
              <a:gd name="connsiteY0" fmla="*/ 0 h 1943514"/>
              <a:gd name="connsiteX1" fmla="*/ 4453013 w 4527104"/>
              <a:gd name="connsiteY1" fmla="*/ 0 h 1943514"/>
              <a:gd name="connsiteX2" fmla="*/ 4524067 w 4527104"/>
              <a:gd name="connsiteY2" fmla="*/ 71054 h 1943514"/>
              <a:gd name="connsiteX3" fmla="*/ 4522480 w 4527104"/>
              <a:gd name="connsiteY3" fmla="*/ 1547019 h 1943514"/>
              <a:gd name="connsiteX4" fmla="*/ 4481998 w 4527104"/>
              <a:gd name="connsiteY4" fmla="*/ 1606550 h 1943514"/>
              <a:gd name="connsiteX5" fmla="*/ 374342 w 4527104"/>
              <a:gd name="connsiteY5" fmla="*/ 1604261 h 1943514"/>
              <a:gd name="connsiteX6" fmla="*/ 374342 w 4527104"/>
              <a:gd name="connsiteY6" fmla="*/ 1604495 h 1943514"/>
              <a:gd name="connsiteX7" fmla="*/ 372031 w 4527104"/>
              <a:gd name="connsiteY7" fmla="*/ 1604262 h 1943514"/>
              <a:gd name="connsiteX8" fmla="*/ 7555 w 4527104"/>
              <a:gd name="connsiteY8" fmla="*/ 1901319 h 1943514"/>
              <a:gd name="connsiteX9" fmla="*/ 3301 w 4527104"/>
              <a:gd name="connsiteY9" fmla="*/ 1943514 h 1943514"/>
              <a:gd name="connsiteX10" fmla="*/ 0 w 4527104"/>
              <a:gd name="connsiteY10" fmla="*/ 1935545 h 1943514"/>
              <a:gd name="connsiteX11" fmla="*/ 0 w 4527104"/>
              <a:gd name="connsiteY11" fmla="*/ 71054 h 1943514"/>
              <a:gd name="connsiteX12" fmla="*/ 71054 w 4527104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81998 w 4524067"/>
              <a:gd name="connsiteY4" fmla="*/ 1606550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81998 w 4524067"/>
              <a:gd name="connsiteY4" fmla="*/ 1606550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81998 w 4524067"/>
              <a:gd name="connsiteY4" fmla="*/ 1606550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16062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16062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16062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524067" h="1943514">
                <a:moveTo>
                  <a:pt x="71054" y="0"/>
                </a:moveTo>
                <a:lnTo>
                  <a:pt x="4453013" y="0"/>
                </a:lnTo>
                <a:cubicBezTo>
                  <a:pt x="4492255" y="0"/>
                  <a:pt x="4524067" y="31812"/>
                  <a:pt x="4524067" y="71054"/>
                </a:cubicBezTo>
                <a:cubicBezTo>
                  <a:pt x="4523538" y="552723"/>
                  <a:pt x="4522346" y="1479221"/>
                  <a:pt x="4522480" y="1516062"/>
                </a:cubicBezTo>
                <a:cubicBezTo>
                  <a:pt x="4522614" y="1552903"/>
                  <a:pt x="4525654" y="1606535"/>
                  <a:pt x="4458185" y="1608931"/>
                </a:cubicBezTo>
                <a:cubicBezTo>
                  <a:pt x="4390716" y="1611327"/>
                  <a:pt x="1735623" y="1605818"/>
                  <a:pt x="374342" y="1604261"/>
                </a:cubicBezTo>
                <a:lnTo>
                  <a:pt x="374342" y="1604495"/>
                </a:lnTo>
                <a:lnTo>
                  <a:pt x="372031" y="1604262"/>
                </a:lnTo>
                <a:cubicBezTo>
                  <a:pt x="192246" y="1604262"/>
                  <a:pt x="42246" y="1731789"/>
                  <a:pt x="7555" y="1901319"/>
                </a:cubicBezTo>
                <a:lnTo>
                  <a:pt x="3301" y="1943514"/>
                </a:lnTo>
                <a:lnTo>
                  <a:pt x="0" y="1935545"/>
                </a:lnTo>
                <a:lnTo>
                  <a:pt x="0" y="71054"/>
                </a:lnTo>
                <a:cubicBezTo>
                  <a:pt x="0" y="31812"/>
                  <a:pt x="31812" y="0"/>
                  <a:pt x="71054" y="0"/>
                </a:cubicBezTo>
                <a:close/>
              </a:path>
            </a:pathLst>
          </a:custGeom>
          <a:solidFill>
            <a:schemeClr val="tx2">
              <a:alpha val="85000"/>
            </a:schemeClr>
          </a:solidFill>
        </p:spPr>
        <p:txBody>
          <a:bodyPr wrap="square" lIns="360000" tIns="180000" rIns="576000" bIns="180000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352" b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3352" b="0"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/>
              <a:t>Klik om tekst in te voegen</a:t>
            </a:r>
          </a:p>
        </p:txBody>
      </p:sp>
      <p:sp>
        <p:nvSpPr>
          <p:cNvPr id="14" name="Tijdelijke aanduiding voor datum 3">
            <a:extLst>
              <a:ext uri="{FF2B5EF4-FFF2-40B4-BE49-F238E27FC236}">
                <a16:creationId xmlns:a16="http://schemas.microsoft.com/office/drawing/2014/main" id="{6C5C6C08-DDA7-4CC4-B473-244AE8EBA70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50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B70BE4-B49B-4495-86FF-21BC09262938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66" name="Tijdelijke aanduiding voor tekst 3">
            <a:extLst>
              <a:ext uri="{FF2B5EF4-FFF2-40B4-BE49-F238E27FC236}">
                <a16:creationId xmlns:a16="http://schemas.microsoft.com/office/drawing/2014/main" id="{04EB488E-1D5D-4652-9678-D82AC0E2590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504420" y="1449454"/>
            <a:ext cx="6635240" cy="3534584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248"/>
            </a:lvl1pPr>
          </a:lstStyle>
          <a:p>
            <a:pPr lvl="0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95595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4250" fill="hold"/>
                                        <p:tgtEl>
                                          <p:spTgt spid="10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6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rnpunten + Tekstvlak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jdelijke aanduiding voor afbeelding 35">
            <a:extLst>
              <a:ext uri="{FF2B5EF4-FFF2-40B4-BE49-F238E27FC236}">
                <a16:creationId xmlns:a16="http://schemas.microsoft.com/office/drawing/2014/main" id="{DDF59742-AC42-4AAA-9941-6163D1AD1558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1742382" y="8813275"/>
            <a:ext cx="12350590" cy="12648664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881" h="2865200">
                <a:moveTo>
                  <a:pt x="1036" y="89"/>
                </a:moveTo>
                <a:lnTo>
                  <a:pt x="3319663" y="6217"/>
                </a:lnTo>
                <a:cubicBezTo>
                  <a:pt x="3430792" y="6217"/>
                  <a:pt x="3520881" y="73784"/>
                  <a:pt x="3520881" y="157131"/>
                </a:cubicBezTo>
                <a:lnTo>
                  <a:pt x="3520881" y="2714286"/>
                </a:lnTo>
                <a:cubicBezTo>
                  <a:pt x="3520881" y="2797633"/>
                  <a:pt x="3430792" y="2865200"/>
                  <a:pt x="3319663" y="2865200"/>
                </a:cubicBezTo>
                <a:lnTo>
                  <a:pt x="201219" y="2865200"/>
                </a:lnTo>
                <a:cubicBezTo>
                  <a:pt x="90089" y="2865200"/>
                  <a:pt x="0" y="2797633"/>
                  <a:pt x="0" y="2714286"/>
                </a:cubicBezTo>
                <a:lnTo>
                  <a:pt x="0" y="157131"/>
                </a:lnTo>
                <a:cubicBezTo>
                  <a:pt x="0" y="73784"/>
                  <a:pt x="211" y="-2975"/>
                  <a:pt x="1036" y="8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188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7" name="Tijdelijke aanduiding voor afbeelding 36">
            <a:extLst>
              <a:ext uri="{FF2B5EF4-FFF2-40B4-BE49-F238E27FC236}">
                <a16:creationId xmlns:a16="http://schemas.microsoft.com/office/drawing/2014/main" id="{74727CE5-EDB8-480E-B745-73C1373713EB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15265721" y="8813275"/>
            <a:ext cx="12350590" cy="12648664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881" h="2865200">
                <a:moveTo>
                  <a:pt x="1036" y="89"/>
                </a:moveTo>
                <a:lnTo>
                  <a:pt x="3319663" y="6217"/>
                </a:lnTo>
                <a:cubicBezTo>
                  <a:pt x="3430792" y="6217"/>
                  <a:pt x="3520881" y="73784"/>
                  <a:pt x="3520881" y="157131"/>
                </a:cubicBezTo>
                <a:lnTo>
                  <a:pt x="3520881" y="2714286"/>
                </a:lnTo>
                <a:cubicBezTo>
                  <a:pt x="3520881" y="2797633"/>
                  <a:pt x="3430792" y="2865200"/>
                  <a:pt x="3319663" y="2865200"/>
                </a:cubicBezTo>
                <a:lnTo>
                  <a:pt x="201219" y="2865200"/>
                </a:lnTo>
                <a:cubicBezTo>
                  <a:pt x="90089" y="2865200"/>
                  <a:pt x="0" y="2797633"/>
                  <a:pt x="0" y="2714286"/>
                </a:cubicBezTo>
                <a:lnTo>
                  <a:pt x="0" y="157131"/>
                </a:lnTo>
                <a:cubicBezTo>
                  <a:pt x="0" y="73784"/>
                  <a:pt x="211" y="-2975"/>
                  <a:pt x="1036" y="8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188000" anchor="ctr">
            <a:noAutofit/>
          </a:bodyPr>
          <a:lstStyle>
            <a:lvl1pPr marL="0" indent="0" algn="ctr">
              <a:buNone/>
              <a:defRPr lang="nl-NL" sz="4209" b="0" i="1" kern="1200" noProof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8" name="Tijdelijke aanduiding voor afbeelding 37">
            <a:extLst>
              <a:ext uri="{FF2B5EF4-FFF2-40B4-BE49-F238E27FC236}">
                <a16:creationId xmlns:a16="http://schemas.microsoft.com/office/drawing/2014/main" id="{B4DAE761-2905-4370-925B-2CBA8CDD4757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28808926" y="8813275"/>
            <a:ext cx="12350590" cy="12648664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881" h="2865200">
                <a:moveTo>
                  <a:pt x="1036" y="89"/>
                </a:moveTo>
                <a:lnTo>
                  <a:pt x="3319663" y="6217"/>
                </a:lnTo>
                <a:cubicBezTo>
                  <a:pt x="3430792" y="6217"/>
                  <a:pt x="3520881" y="73784"/>
                  <a:pt x="3520881" y="157131"/>
                </a:cubicBezTo>
                <a:lnTo>
                  <a:pt x="3520881" y="2714286"/>
                </a:lnTo>
                <a:cubicBezTo>
                  <a:pt x="3520881" y="2797633"/>
                  <a:pt x="3430792" y="2865200"/>
                  <a:pt x="3319663" y="2865200"/>
                </a:cubicBezTo>
                <a:lnTo>
                  <a:pt x="201219" y="2865200"/>
                </a:lnTo>
                <a:cubicBezTo>
                  <a:pt x="90089" y="2865200"/>
                  <a:pt x="0" y="2797633"/>
                  <a:pt x="0" y="2714286"/>
                </a:cubicBezTo>
                <a:lnTo>
                  <a:pt x="0" y="157131"/>
                </a:lnTo>
                <a:cubicBezTo>
                  <a:pt x="0" y="73784"/>
                  <a:pt x="211" y="-2975"/>
                  <a:pt x="1036" y="8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188000" anchor="ctr">
            <a:noAutofit/>
          </a:bodyPr>
          <a:lstStyle>
            <a:lvl1pPr marL="0" indent="0" algn="ctr"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5" name="Tijdelijke aanduiding voor tekst 5">
            <a:extLst>
              <a:ext uri="{FF2B5EF4-FFF2-40B4-BE49-F238E27FC236}">
                <a16:creationId xmlns:a16="http://schemas.microsoft.com/office/drawing/2014/main" id="{7581CA50-F401-4352-B20E-C61DC891A3E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740476" y="22013647"/>
            <a:ext cx="12352499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6" name="Tijdelijke aanduiding voor tekst 5">
            <a:extLst>
              <a:ext uri="{FF2B5EF4-FFF2-40B4-BE49-F238E27FC236}">
                <a16:creationId xmlns:a16="http://schemas.microsoft.com/office/drawing/2014/main" id="{EE7615E9-55F0-4367-ADAF-BF9E9F9AFF0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265724" y="22013647"/>
            <a:ext cx="12352499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32" name="Tijdelijke aanduiding voor tekst 5">
            <a:extLst>
              <a:ext uri="{FF2B5EF4-FFF2-40B4-BE49-F238E27FC236}">
                <a16:creationId xmlns:a16="http://schemas.microsoft.com/office/drawing/2014/main" id="{1F90D83A-4F8A-4644-B6AA-08EAF0B98A5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8807971" y="22013647"/>
            <a:ext cx="12352499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6644E39-2AF2-4EA0-9C3F-28C89D5A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9" y="27329718"/>
            <a:ext cx="758217" cy="101640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55B2A88A-B7BD-41B1-9FCB-9BE633251ACA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7" name="Tijdelijke aanduiding voor tekst 14">
            <a:extLst>
              <a:ext uri="{FF2B5EF4-FFF2-40B4-BE49-F238E27FC236}">
                <a16:creationId xmlns:a16="http://schemas.microsoft.com/office/drawing/2014/main" id="{A6BF4B27-7FC5-4896-80CE-3BA6119B83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marR="0" indent="0" algn="l" defTabSz="3207489" rtl="0" eaLnBrk="1" fontAlgn="auto" latinLnBrk="0" hangingPunct="1">
              <a:lnSpc>
                <a:spcPct val="10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6314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sp>
        <p:nvSpPr>
          <p:cNvPr id="33" name="Tijdelijke aanduiding voor voettekst 4">
            <a:extLst>
              <a:ext uri="{FF2B5EF4-FFF2-40B4-BE49-F238E27FC236}">
                <a16:creationId xmlns:a16="http://schemas.microsoft.com/office/drawing/2014/main" id="{3C7CF4CB-CF25-44A3-95AE-206B86BFD6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29" name="Tijdelijke aanduiding voor datum 3">
            <a:extLst>
              <a:ext uri="{FF2B5EF4-FFF2-40B4-BE49-F238E27FC236}">
                <a16:creationId xmlns:a16="http://schemas.microsoft.com/office/drawing/2014/main" id="{53600F14-A3DB-4812-872D-DFA76F4B6A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2937E998-9E7B-429D-9513-ADEE2CA512AF}" type="datetime1">
              <a:rPr lang="nl-NL" noProof="0" smtClean="0"/>
              <a:t>26-6-2023</a:t>
            </a:fld>
            <a:endParaRPr lang="nl-NL" noProof="0"/>
          </a:p>
        </p:txBody>
      </p:sp>
      <p:pic>
        <p:nvPicPr>
          <p:cNvPr id="67" name="Afbeelding 66">
            <a:extLst>
              <a:ext uri="{FF2B5EF4-FFF2-40B4-BE49-F238E27FC236}">
                <a16:creationId xmlns:a16="http://schemas.microsoft.com/office/drawing/2014/main" id="{ABF56545-77FC-49FE-B0DB-389C796A74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4833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rnpunten + Tekstvlakke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jdelijke aanduiding voor afbeelding 35">
            <a:extLst>
              <a:ext uri="{FF2B5EF4-FFF2-40B4-BE49-F238E27FC236}">
                <a16:creationId xmlns:a16="http://schemas.microsoft.com/office/drawing/2014/main" id="{DDF59742-AC42-4AAA-9941-6163D1AD1558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1742385" y="10288803"/>
            <a:ext cx="8792735" cy="9004942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881" h="2865200">
                <a:moveTo>
                  <a:pt x="1036" y="89"/>
                </a:moveTo>
                <a:lnTo>
                  <a:pt x="3319663" y="6217"/>
                </a:lnTo>
                <a:cubicBezTo>
                  <a:pt x="3430792" y="6217"/>
                  <a:pt x="3520881" y="73784"/>
                  <a:pt x="3520881" y="157131"/>
                </a:cubicBezTo>
                <a:lnTo>
                  <a:pt x="3520881" y="2714286"/>
                </a:lnTo>
                <a:cubicBezTo>
                  <a:pt x="3520881" y="2797633"/>
                  <a:pt x="3430792" y="2865200"/>
                  <a:pt x="3319663" y="2865200"/>
                </a:cubicBezTo>
                <a:lnTo>
                  <a:pt x="201219" y="2865200"/>
                </a:lnTo>
                <a:cubicBezTo>
                  <a:pt x="90089" y="2865200"/>
                  <a:pt x="0" y="2797633"/>
                  <a:pt x="0" y="2714286"/>
                </a:cubicBezTo>
                <a:lnTo>
                  <a:pt x="0" y="157131"/>
                </a:lnTo>
                <a:cubicBezTo>
                  <a:pt x="0" y="73784"/>
                  <a:pt x="211" y="-2975"/>
                  <a:pt x="1036" y="8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188000" anchor="ctr">
            <a:noAutofit/>
          </a:bodyPr>
          <a:lstStyle>
            <a:lvl1pPr marL="0" indent="0" algn="ctr"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7" name="Tijdelijke aanduiding voor afbeelding 36">
            <a:extLst>
              <a:ext uri="{FF2B5EF4-FFF2-40B4-BE49-F238E27FC236}">
                <a16:creationId xmlns:a16="http://schemas.microsoft.com/office/drawing/2014/main" id="{74727CE5-EDB8-480E-B745-73C1373713EB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11892101" y="10288803"/>
            <a:ext cx="8792735" cy="9004942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881" h="2865200">
                <a:moveTo>
                  <a:pt x="1036" y="89"/>
                </a:moveTo>
                <a:lnTo>
                  <a:pt x="3319663" y="6217"/>
                </a:lnTo>
                <a:cubicBezTo>
                  <a:pt x="3430792" y="6217"/>
                  <a:pt x="3520881" y="73784"/>
                  <a:pt x="3520881" y="157131"/>
                </a:cubicBezTo>
                <a:lnTo>
                  <a:pt x="3520881" y="2714286"/>
                </a:lnTo>
                <a:cubicBezTo>
                  <a:pt x="3520881" y="2797633"/>
                  <a:pt x="3430792" y="2865200"/>
                  <a:pt x="3319663" y="2865200"/>
                </a:cubicBezTo>
                <a:lnTo>
                  <a:pt x="201219" y="2865200"/>
                </a:lnTo>
                <a:cubicBezTo>
                  <a:pt x="90089" y="2865200"/>
                  <a:pt x="0" y="2797633"/>
                  <a:pt x="0" y="2714286"/>
                </a:cubicBezTo>
                <a:lnTo>
                  <a:pt x="0" y="157131"/>
                </a:lnTo>
                <a:cubicBezTo>
                  <a:pt x="0" y="73784"/>
                  <a:pt x="211" y="-2975"/>
                  <a:pt x="1036" y="8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188000" anchor="ctr">
            <a:noAutofit/>
          </a:bodyPr>
          <a:lstStyle>
            <a:lvl1pPr marL="0" indent="0" algn="ctr"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8" name="Tijdelijke aanduiding voor afbeelding 37">
            <a:extLst>
              <a:ext uri="{FF2B5EF4-FFF2-40B4-BE49-F238E27FC236}">
                <a16:creationId xmlns:a16="http://schemas.microsoft.com/office/drawing/2014/main" id="{B4DAE761-2905-4370-925B-2CBA8CDD4757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22041817" y="10288803"/>
            <a:ext cx="8792735" cy="9004942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881" h="2865200">
                <a:moveTo>
                  <a:pt x="1036" y="89"/>
                </a:moveTo>
                <a:lnTo>
                  <a:pt x="3319663" y="6217"/>
                </a:lnTo>
                <a:cubicBezTo>
                  <a:pt x="3430792" y="6217"/>
                  <a:pt x="3520881" y="73784"/>
                  <a:pt x="3520881" y="157131"/>
                </a:cubicBezTo>
                <a:lnTo>
                  <a:pt x="3520881" y="2714286"/>
                </a:lnTo>
                <a:cubicBezTo>
                  <a:pt x="3520881" y="2797633"/>
                  <a:pt x="3430792" y="2865200"/>
                  <a:pt x="3319663" y="2865200"/>
                </a:cubicBezTo>
                <a:lnTo>
                  <a:pt x="201219" y="2865200"/>
                </a:lnTo>
                <a:cubicBezTo>
                  <a:pt x="90089" y="2865200"/>
                  <a:pt x="0" y="2797633"/>
                  <a:pt x="0" y="2714286"/>
                </a:cubicBezTo>
                <a:lnTo>
                  <a:pt x="0" y="157131"/>
                </a:lnTo>
                <a:cubicBezTo>
                  <a:pt x="0" y="73784"/>
                  <a:pt x="211" y="-2975"/>
                  <a:pt x="1036" y="8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188000" anchor="ctr">
            <a:noAutofit/>
          </a:bodyPr>
          <a:lstStyle>
            <a:lvl1pPr marL="0" indent="0" algn="ctr"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5" name="Tijdelijke aanduiding voor tekst 5">
            <a:extLst>
              <a:ext uri="{FF2B5EF4-FFF2-40B4-BE49-F238E27FC236}">
                <a16:creationId xmlns:a16="http://schemas.microsoft.com/office/drawing/2014/main" id="{7581CA50-F401-4352-B20E-C61DC891A3E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740479" y="19884610"/>
            <a:ext cx="8792735" cy="1515884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6" name="Tijdelijke aanduiding voor tekst 5">
            <a:extLst>
              <a:ext uri="{FF2B5EF4-FFF2-40B4-BE49-F238E27FC236}">
                <a16:creationId xmlns:a16="http://schemas.microsoft.com/office/drawing/2014/main" id="{EE7615E9-55F0-4367-ADAF-BF9E9F9AFF0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1892101" y="19884610"/>
            <a:ext cx="8792735" cy="1515884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32" name="Tijdelijke aanduiding voor tekst 5">
            <a:extLst>
              <a:ext uri="{FF2B5EF4-FFF2-40B4-BE49-F238E27FC236}">
                <a16:creationId xmlns:a16="http://schemas.microsoft.com/office/drawing/2014/main" id="{1F90D83A-4F8A-4644-B6AA-08EAF0B98A5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2041817" y="19884610"/>
            <a:ext cx="8792735" cy="1515884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grpSp>
        <p:nvGrpSpPr>
          <p:cNvPr id="19" name="GRID" hidden="1"/>
          <p:cNvGrpSpPr/>
          <p:nvPr userDrawn="1"/>
        </p:nvGrpSpPr>
        <p:grpSpPr>
          <a:xfrm>
            <a:off x="5" y="0"/>
            <a:ext cx="42767261" cy="30275213"/>
            <a:chOff x="0" y="0"/>
            <a:chExt cx="12192003" cy="6858000"/>
          </a:xfrm>
        </p:grpSpPr>
        <p:sp>
          <p:nvSpPr>
            <p:cNvPr id="20" name="Rechthoek 19"/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1" name="Rechthoek 20"/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2" name="Rechthoek 21"/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4" name="Rechthoek 23"/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8" name="Rechthoek 27">
              <a:extLst>
                <a:ext uri="{FF2B5EF4-FFF2-40B4-BE49-F238E27FC236}">
                  <a16:creationId xmlns:a16="http://schemas.microsoft.com/office/drawing/2014/main" id="{6BC69531-4B5F-447E-B7A9-2951B17E6FC2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6644E39-2AF2-4EA0-9C3F-28C89D5A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8"/>
            <a:ext cx="707315" cy="101640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7" name="Tijdelijke aanduiding voor tekst 14">
            <a:extLst>
              <a:ext uri="{FF2B5EF4-FFF2-40B4-BE49-F238E27FC236}">
                <a16:creationId xmlns:a16="http://schemas.microsoft.com/office/drawing/2014/main" id="{A6BF4B27-7FC5-4896-80CE-3BA6119B83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marR="0" indent="0" algn="l" defTabSz="3207489" rtl="0" eaLnBrk="1" fontAlgn="auto" latinLnBrk="0" hangingPunct="1">
              <a:lnSpc>
                <a:spcPct val="10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6314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sp>
        <p:nvSpPr>
          <p:cNvPr id="33" name="Tijdelijke aanduiding voor voettekst 4">
            <a:extLst>
              <a:ext uri="{FF2B5EF4-FFF2-40B4-BE49-F238E27FC236}">
                <a16:creationId xmlns:a16="http://schemas.microsoft.com/office/drawing/2014/main" id="{3C7CF4CB-CF25-44A3-95AE-206B86BFD6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endParaRPr lang="nl-NL" noProof="0"/>
          </a:p>
        </p:txBody>
      </p:sp>
      <p:sp>
        <p:nvSpPr>
          <p:cNvPr id="29" name="Tijdelijke aanduiding voor datum 3">
            <a:extLst>
              <a:ext uri="{FF2B5EF4-FFF2-40B4-BE49-F238E27FC236}">
                <a16:creationId xmlns:a16="http://schemas.microsoft.com/office/drawing/2014/main" id="{53600F14-A3DB-4812-872D-DFA76F4B6A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endParaRPr lang="nl-NL" noProof="0"/>
          </a:p>
        </p:txBody>
      </p:sp>
      <p:sp>
        <p:nvSpPr>
          <p:cNvPr id="155" name="Tijdelijke aanduiding voor afbeelding 37">
            <a:extLst>
              <a:ext uri="{FF2B5EF4-FFF2-40B4-BE49-F238E27FC236}">
                <a16:creationId xmlns:a16="http://schemas.microsoft.com/office/drawing/2014/main" id="{4B086C57-3BEE-4549-87B3-7562F8DF0AE6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2191528" y="10288803"/>
            <a:ext cx="8792735" cy="9004942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881" h="2865200">
                <a:moveTo>
                  <a:pt x="1036" y="89"/>
                </a:moveTo>
                <a:lnTo>
                  <a:pt x="3319663" y="6217"/>
                </a:lnTo>
                <a:cubicBezTo>
                  <a:pt x="3430792" y="6217"/>
                  <a:pt x="3520881" y="73784"/>
                  <a:pt x="3520881" y="157131"/>
                </a:cubicBezTo>
                <a:lnTo>
                  <a:pt x="3520881" y="2714286"/>
                </a:lnTo>
                <a:cubicBezTo>
                  <a:pt x="3520881" y="2797633"/>
                  <a:pt x="3430792" y="2865200"/>
                  <a:pt x="3319663" y="2865200"/>
                </a:cubicBezTo>
                <a:lnTo>
                  <a:pt x="201219" y="2865200"/>
                </a:lnTo>
                <a:cubicBezTo>
                  <a:pt x="90089" y="2865200"/>
                  <a:pt x="0" y="2797633"/>
                  <a:pt x="0" y="2714286"/>
                </a:cubicBezTo>
                <a:lnTo>
                  <a:pt x="0" y="157131"/>
                </a:lnTo>
                <a:cubicBezTo>
                  <a:pt x="0" y="73784"/>
                  <a:pt x="211" y="-2975"/>
                  <a:pt x="1036" y="8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188000" anchor="ctr">
            <a:noAutofit/>
          </a:bodyPr>
          <a:lstStyle>
            <a:lvl1pPr marL="0" indent="0" algn="ctr"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156" name="Tijdelijke aanduiding voor tekst 5">
            <a:extLst>
              <a:ext uri="{FF2B5EF4-FFF2-40B4-BE49-F238E27FC236}">
                <a16:creationId xmlns:a16="http://schemas.microsoft.com/office/drawing/2014/main" id="{9E15389D-5806-474F-9FEF-A9CFC8A7F10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191528" y="19884610"/>
            <a:ext cx="8792735" cy="1515884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pic>
        <p:nvPicPr>
          <p:cNvPr id="80" name="Afbeelding 79">
            <a:extLst>
              <a:ext uri="{FF2B5EF4-FFF2-40B4-BE49-F238E27FC236}">
                <a16:creationId xmlns:a16="http://schemas.microsoft.com/office/drawing/2014/main" id="{6639F2A8-E8F6-4DE3-9FA2-A221B750E3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0294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100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10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10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7" grpId="0" animBg="1"/>
      <p:bldP spid="38" grpId="0" animBg="1"/>
      <p:bldP spid="25" grpId="0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2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2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" grpId="0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2" grpId="0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3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3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5" grpId="0" animBg="1"/>
      <p:bldP spid="156" grpId="0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5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5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rnpunten + Tekstvlakke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jdelijke aanduiding voor afbeelding 35">
            <a:extLst>
              <a:ext uri="{FF2B5EF4-FFF2-40B4-BE49-F238E27FC236}">
                <a16:creationId xmlns:a16="http://schemas.microsoft.com/office/drawing/2014/main" id="{DDF59742-AC42-4AAA-9941-6163D1AD1558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1742383" y="5815907"/>
            <a:ext cx="12350720" cy="6929700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958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82707"/>
              <a:gd name="connsiteX1" fmla="*/ 3386338 w 3520881"/>
              <a:gd name="connsiteY1" fmla="*/ 6216 h 2882707"/>
              <a:gd name="connsiteX2" fmla="*/ 3520881 w 3520881"/>
              <a:gd name="connsiteY2" fmla="*/ 157131 h 2882707"/>
              <a:gd name="connsiteX3" fmla="*/ 3520881 w 3520881"/>
              <a:gd name="connsiteY3" fmla="*/ 2714286 h 2882707"/>
              <a:gd name="connsiteX4" fmla="*/ 3395863 w 3520881"/>
              <a:gd name="connsiteY4" fmla="*/ 2865200 h 2882707"/>
              <a:gd name="connsiteX5" fmla="*/ 125019 w 3520881"/>
              <a:gd name="connsiteY5" fmla="*/ 2882707 h 2882707"/>
              <a:gd name="connsiteX6" fmla="*/ 0 w 3520881"/>
              <a:gd name="connsiteY6" fmla="*/ 2714286 h 2882707"/>
              <a:gd name="connsiteX7" fmla="*/ 0 w 3520881"/>
              <a:gd name="connsiteY7" fmla="*/ 157131 h 2882707"/>
              <a:gd name="connsiteX8" fmla="*/ 1036 w 3520881"/>
              <a:gd name="connsiteY8" fmla="*/ 89 h 2882707"/>
              <a:gd name="connsiteX0" fmla="*/ 1036 w 3522188"/>
              <a:gd name="connsiteY0" fmla="*/ 2627 h 2885245"/>
              <a:gd name="connsiteX1" fmla="*/ 3429201 w 3522188"/>
              <a:gd name="connsiteY1" fmla="*/ 0 h 2885245"/>
              <a:gd name="connsiteX2" fmla="*/ 3520881 w 3522188"/>
              <a:gd name="connsiteY2" fmla="*/ 159669 h 2885245"/>
              <a:gd name="connsiteX3" fmla="*/ 3520881 w 3522188"/>
              <a:gd name="connsiteY3" fmla="*/ 2716824 h 2885245"/>
              <a:gd name="connsiteX4" fmla="*/ 3395863 w 3522188"/>
              <a:gd name="connsiteY4" fmla="*/ 2867738 h 2885245"/>
              <a:gd name="connsiteX5" fmla="*/ 125019 w 3522188"/>
              <a:gd name="connsiteY5" fmla="*/ 2885245 h 2885245"/>
              <a:gd name="connsiteX6" fmla="*/ 0 w 3522188"/>
              <a:gd name="connsiteY6" fmla="*/ 2716824 h 2885245"/>
              <a:gd name="connsiteX7" fmla="*/ 0 w 3522188"/>
              <a:gd name="connsiteY7" fmla="*/ 159669 h 2885245"/>
              <a:gd name="connsiteX8" fmla="*/ 1036 w 3522188"/>
              <a:gd name="connsiteY8" fmla="*/ 2627 h 2885245"/>
              <a:gd name="connsiteX0" fmla="*/ 1036 w 3520918"/>
              <a:gd name="connsiteY0" fmla="*/ 2627 h 2885245"/>
              <a:gd name="connsiteX1" fmla="*/ 3414913 w 3520918"/>
              <a:gd name="connsiteY1" fmla="*/ 0 h 2885245"/>
              <a:gd name="connsiteX2" fmla="*/ 3520881 w 3520918"/>
              <a:gd name="connsiteY2" fmla="*/ 159669 h 2885245"/>
              <a:gd name="connsiteX3" fmla="*/ 3520881 w 3520918"/>
              <a:gd name="connsiteY3" fmla="*/ 2716824 h 2885245"/>
              <a:gd name="connsiteX4" fmla="*/ 3395863 w 3520918"/>
              <a:gd name="connsiteY4" fmla="*/ 2867738 h 2885245"/>
              <a:gd name="connsiteX5" fmla="*/ 125019 w 3520918"/>
              <a:gd name="connsiteY5" fmla="*/ 2885245 h 2885245"/>
              <a:gd name="connsiteX6" fmla="*/ 0 w 3520918"/>
              <a:gd name="connsiteY6" fmla="*/ 2716824 h 2885245"/>
              <a:gd name="connsiteX7" fmla="*/ 0 w 3520918"/>
              <a:gd name="connsiteY7" fmla="*/ 159669 h 2885245"/>
              <a:gd name="connsiteX8" fmla="*/ 1036 w 3520918"/>
              <a:gd name="connsiteY8" fmla="*/ 2627 h 2885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918" h="2885245">
                <a:moveTo>
                  <a:pt x="1036" y="2627"/>
                </a:moveTo>
                <a:lnTo>
                  <a:pt x="3414913" y="0"/>
                </a:lnTo>
                <a:cubicBezTo>
                  <a:pt x="3526042" y="0"/>
                  <a:pt x="3520881" y="76322"/>
                  <a:pt x="3520881" y="159669"/>
                </a:cubicBezTo>
                <a:lnTo>
                  <a:pt x="3520881" y="2716824"/>
                </a:lnTo>
                <a:cubicBezTo>
                  <a:pt x="3520881" y="2800171"/>
                  <a:pt x="3506992" y="2867738"/>
                  <a:pt x="3395863" y="2867738"/>
                </a:cubicBezTo>
                <a:lnTo>
                  <a:pt x="125019" y="2885245"/>
                </a:lnTo>
                <a:cubicBezTo>
                  <a:pt x="13889" y="2885245"/>
                  <a:pt x="0" y="2800171"/>
                  <a:pt x="0" y="2716824"/>
                </a:cubicBezTo>
                <a:lnTo>
                  <a:pt x="0" y="159669"/>
                </a:lnTo>
                <a:cubicBezTo>
                  <a:pt x="0" y="76322"/>
                  <a:pt x="211" y="-437"/>
                  <a:pt x="1036" y="262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972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5" name="Tijdelijke aanduiding voor tekst 5">
            <a:extLst>
              <a:ext uri="{FF2B5EF4-FFF2-40B4-BE49-F238E27FC236}">
                <a16:creationId xmlns:a16="http://schemas.microsoft.com/office/drawing/2014/main" id="{7581CA50-F401-4352-B20E-C61DC891A3E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740476" y="13257591"/>
            <a:ext cx="12352499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6" name="Tijdelijke aanduiding voor tekst 5">
            <a:extLst>
              <a:ext uri="{FF2B5EF4-FFF2-40B4-BE49-F238E27FC236}">
                <a16:creationId xmlns:a16="http://schemas.microsoft.com/office/drawing/2014/main" id="{EE7615E9-55F0-4367-ADAF-BF9E9F9AFF0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265724" y="13257591"/>
            <a:ext cx="12352499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32" name="Tijdelijke aanduiding voor tekst 5">
            <a:extLst>
              <a:ext uri="{FF2B5EF4-FFF2-40B4-BE49-F238E27FC236}">
                <a16:creationId xmlns:a16="http://schemas.microsoft.com/office/drawing/2014/main" id="{1F90D83A-4F8A-4644-B6AA-08EAF0B98A5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8807971" y="13257591"/>
            <a:ext cx="12352499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grpSp>
        <p:nvGrpSpPr>
          <p:cNvPr id="19" name="GRID" hidden="1"/>
          <p:cNvGrpSpPr/>
          <p:nvPr userDrawn="1"/>
        </p:nvGrpSpPr>
        <p:grpSpPr>
          <a:xfrm>
            <a:off x="5" y="0"/>
            <a:ext cx="42767261" cy="30275213"/>
            <a:chOff x="0" y="0"/>
            <a:chExt cx="12192003" cy="6858000"/>
          </a:xfrm>
        </p:grpSpPr>
        <p:sp>
          <p:nvSpPr>
            <p:cNvPr id="20" name="Rechthoek 19"/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1" name="Rechthoek 20"/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2" name="Rechthoek 21"/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4" name="Rechthoek 23"/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8" name="Rechthoek 27">
              <a:extLst>
                <a:ext uri="{FF2B5EF4-FFF2-40B4-BE49-F238E27FC236}">
                  <a16:creationId xmlns:a16="http://schemas.microsoft.com/office/drawing/2014/main" id="{6BC69531-4B5F-447E-B7A9-2951B17E6FC2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6644E39-2AF2-4EA0-9C3F-28C89D5A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8"/>
            <a:ext cx="707315" cy="101640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7" name="Tijdelijke aanduiding voor tekst 14">
            <a:extLst>
              <a:ext uri="{FF2B5EF4-FFF2-40B4-BE49-F238E27FC236}">
                <a16:creationId xmlns:a16="http://schemas.microsoft.com/office/drawing/2014/main" id="{A6BF4B27-7FC5-4896-80CE-3BA6119B83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marR="0" indent="0" algn="l" defTabSz="3207489" rtl="0" eaLnBrk="1" fontAlgn="auto" latinLnBrk="0" hangingPunct="1">
              <a:lnSpc>
                <a:spcPct val="10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6314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sp>
        <p:nvSpPr>
          <p:cNvPr id="33" name="Tijdelijke aanduiding voor voettekst 4">
            <a:extLst>
              <a:ext uri="{FF2B5EF4-FFF2-40B4-BE49-F238E27FC236}">
                <a16:creationId xmlns:a16="http://schemas.microsoft.com/office/drawing/2014/main" id="{3C7CF4CB-CF25-44A3-95AE-206B86BFD6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endParaRPr lang="nl-NL" noProof="0"/>
          </a:p>
        </p:txBody>
      </p:sp>
      <p:sp>
        <p:nvSpPr>
          <p:cNvPr id="29" name="Tijdelijke aanduiding voor datum 3">
            <a:extLst>
              <a:ext uri="{FF2B5EF4-FFF2-40B4-BE49-F238E27FC236}">
                <a16:creationId xmlns:a16="http://schemas.microsoft.com/office/drawing/2014/main" id="{53600F14-A3DB-4812-872D-DFA76F4B6A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endParaRPr lang="nl-NL" noProof="0"/>
          </a:p>
        </p:txBody>
      </p:sp>
      <p:sp>
        <p:nvSpPr>
          <p:cNvPr id="170" name="Tijdelijke aanduiding voor tekst 5">
            <a:extLst>
              <a:ext uri="{FF2B5EF4-FFF2-40B4-BE49-F238E27FC236}">
                <a16:creationId xmlns:a16="http://schemas.microsoft.com/office/drawing/2014/main" id="{3F0188AC-8892-4C7B-8E2B-B715F4DDB33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740476" y="24130217"/>
            <a:ext cx="12352499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71" name="Tijdelijke aanduiding voor tekst 5">
            <a:extLst>
              <a:ext uri="{FF2B5EF4-FFF2-40B4-BE49-F238E27FC236}">
                <a16:creationId xmlns:a16="http://schemas.microsoft.com/office/drawing/2014/main" id="{BCD28633-05C1-4036-ACD0-8B909BE0A8A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5265724" y="24130217"/>
            <a:ext cx="12352499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72" name="Tijdelijke aanduiding voor tekst 5">
            <a:extLst>
              <a:ext uri="{FF2B5EF4-FFF2-40B4-BE49-F238E27FC236}">
                <a16:creationId xmlns:a16="http://schemas.microsoft.com/office/drawing/2014/main" id="{FFCDB378-C3AB-408C-9AD4-E299B638AF03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8807971" y="24130217"/>
            <a:ext cx="12352499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73" name="Tijdelijke aanduiding voor afbeelding 35">
            <a:extLst>
              <a:ext uri="{FF2B5EF4-FFF2-40B4-BE49-F238E27FC236}">
                <a16:creationId xmlns:a16="http://schemas.microsoft.com/office/drawing/2014/main" id="{CEF46CD6-D59A-4DA6-83B8-A8A76F0275F7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5267499" y="5815907"/>
            <a:ext cx="12350720" cy="6929700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958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82707"/>
              <a:gd name="connsiteX1" fmla="*/ 3386338 w 3520881"/>
              <a:gd name="connsiteY1" fmla="*/ 6216 h 2882707"/>
              <a:gd name="connsiteX2" fmla="*/ 3520881 w 3520881"/>
              <a:gd name="connsiteY2" fmla="*/ 157131 h 2882707"/>
              <a:gd name="connsiteX3" fmla="*/ 3520881 w 3520881"/>
              <a:gd name="connsiteY3" fmla="*/ 2714286 h 2882707"/>
              <a:gd name="connsiteX4" fmla="*/ 3395863 w 3520881"/>
              <a:gd name="connsiteY4" fmla="*/ 2865200 h 2882707"/>
              <a:gd name="connsiteX5" fmla="*/ 125019 w 3520881"/>
              <a:gd name="connsiteY5" fmla="*/ 2882707 h 2882707"/>
              <a:gd name="connsiteX6" fmla="*/ 0 w 3520881"/>
              <a:gd name="connsiteY6" fmla="*/ 2714286 h 2882707"/>
              <a:gd name="connsiteX7" fmla="*/ 0 w 3520881"/>
              <a:gd name="connsiteY7" fmla="*/ 157131 h 2882707"/>
              <a:gd name="connsiteX8" fmla="*/ 1036 w 3520881"/>
              <a:gd name="connsiteY8" fmla="*/ 89 h 2882707"/>
              <a:gd name="connsiteX0" fmla="*/ 1036 w 3522188"/>
              <a:gd name="connsiteY0" fmla="*/ 2627 h 2885245"/>
              <a:gd name="connsiteX1" fmla="*/ 3429201 w 3522188"/>
              <a:gd name="connsiteY1" fmla="*/ 0 h 2885245"/>
              <a:gd name="connsiteX2" fmla="*/ 3520881 w 3522188"/>
              <a:gd name="connsiteY2" fmla="*/ 159669 h 2885245"/>
              <a:gd name="connsiteX3" fmla="*/ 3520881 w 3522188"/>
              <a:gd name="connsiteY3" fmla="*/ 2716824 h 2885245"/>
              <a:gd name="connsiteX4" fmla="*/ 3395863 w 3522188"/>
              <a:gd name="connsiteY4" fmla="*/ 2867738 h 2885245"/>
              <a:gd name="connsiteX5" fmla="*/ 125019 w 3522188"/>
              <a:gd name="connsiteY5" fmla="*/ 2885245 h 2885245"/>
              <a:gd name="connsiteX6" fmla="*/ 0 w 3522188"/>
              <a:gd name="connsiteY6" fmla="*/ 2716824 h 2885245"/>
              <a:gd name="connsiteX7" fmla="*/ 0 w 3522188"/>
              <a:gd name="connsiteY7" fmla="*/ 159669 h 2885245"/>
              <a:gd name="connsiteX8" fmla="*/ 1036 w 3522188"/>
              <a:gd name="connsiteY8" fmla="*/ 2627 h 2885245"/>
              <a:gd name="connsiteX0" fmla="*/ 1036 w 3520918"/>
              <a:gd name="connsiteY0" fmla="*/ 2627 h 2885245"/>
              <a:gd name="connsiteX1" fmla="*/ 3414913 w 3520918"/>
              <a:gd name="connsiteY1" fmla="*/ 0 h 2885245"/>
              <a:gd name="connsiteX2" fmla="*/ 3520881 w 3520918"/>
              <a:gd name="connsiteY2" fmla="*/ 159669 h 2885245"/>
              <a:gd name="connsiteX3" fmla="*/ 3520881 w 3520918"/>
              <a:gd name="connsiteY3" fmla="*/ 2716824 h 2885245"/>
              <a:gd name="connsiteX4" fmla="*/ 3395863 w 3520918"/>
              <a:gd name="connsiteY4" fmla="*/ 2867738 h 2885245"/>
              <a:gd name="connsiteX5" fmla="*/ 125019 w 3520918"/>
              <a:gd name="connsiteY5" fmla="*/ 2885245 h 2885245"/>
              <a:gd name="connsiteX6" fmla="*/ 0 w 3520918"/>
              <a:gd name="connsiteY6" fmla="*/ 2716824 h 2885245"/>
              <a:gd name="connsiteX7" fmla="*/ 0 w 3520918"/>
              <a:gd name="connsiteY7" fmla="*/ 159669 h 2885245"/>
              <a:gd name="connsiteX8" fmla="*/ 1036 w 3520918"/>
              <a:gd name="connsiteY8" fmla="*/ 2627 h 2885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918" h="2885245">
                <a:moveTo>
                  <a:pt x="1036" y="2627"/>
                </a:moveTo>
                <a:lnTo>
                  <a:pt x="3414913" y="0"/>
                </a:lnTo>
                <a:cubicBezTo>
                  <a:pt x="3526042" y="0"/>
                  <a:pt x="3520881" y="76322"/>
                  <a:pt x="3520881" y="159669"/>
                </a:cubicBezTo>
                <a:lnTo>
                  <a:pt x="3520881" y="2716824"/>
                </a:lnTo>
                <a:cubicBezTo>
                  <a:pt x="3520881" y="2800171"/>
                  <a:pt x="3506992" y="2867738"/>
                  <a:pt x="3395863" y="2867738"/>
                </a:cubicBezTo>
                <a:lnTo>
                  <a:pt x="125019" y="2885245"/>
                </a:lnTo>
                <a:cubicBezTo>
                  <a:pt x="13889" y="2885245"/>
                  <a:pt x="0" y="2800171"/>
                  <a:pt x="0" y="2716824"/>
                </a:cubicBezTo>
                <a:lnTo>
                  <a:pt x="0" y="159669"/>
                </a:lnTo>
                <a:cubicBezTo>
                  <a:pt x="0" y="76322"/>
                  <a:pt x="211" y="-437"/>
                  <a:pt x="1036" y="262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972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174" name="Tijdelijke aanduiding voor afbeelding 35">
            <a:extLst>
              <a:ext uri="{FF2B5EF4-FFF2-40B4-BE49-F238E27FC236}">
                <a16:creationId xmlns:a16="http://schemas.microsoft.com/office/drawing/2014/main" id="{F620ACD4-13AF-4B66-AAF5-56B1F26AF5D4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28809745" y="5815907"/>
            <a:ext cx="12350720" cy="6929700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958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82707"/>
              <a:gd name="connsiteX1" fmla="*/ 3386338 w 3520881"/>
              <a:gd name="connsiteY1" fmla="*/ 6216 h 2882707"/>
              <a:gd name="connsiteX2" fmla="*/ 3520881 w 3520881"/>
              <a:gd name="connsiteY2" fmla="*/ 157131 h 2882707"/>
              <a:gd name="connsiteX3" fmla="*/ 3520881 w 3520881"/>
              <a:gd name="connsiteY3" fmla="*/ 2714286 h 2882707"/>
              <a:gd name="connsiteX4" fmla="*/ 3395863 w 3520881"/>
              <a:gd name="connsiteY4" fmla="*/ 2865200 h 2882707"/>
              <a:gd name="connsiteX5" fmla="*/ 125019 w 3520881"/>
              <a:gd name="connsiteY5" fmla="*/ 2882707 h 2882707"/>
              <a:gd name="connsiteX6" fmla="*/ 0 w 3520881"/>
              <a:gd name="connsiteY6" fmla="*/ 2714286 h 2882707"/>
              <a:gd name="connsiteX7" fmla="*/ 0 w 3520881"/>
              <a:gd name="connsiteY7" fmla="*/ 157131 h 2882707"/>
              <a:gd name="connsiteX8" fmla="*/ 1036 w 3520881"/>
              <a:gd name="connsiteY8" fmla="*/ 89 h 2882707"/>
              <a:gd name="connsiteX0" fmla="*/ 1036 w 3522188"/>
              <a:gd name="connsiteY0" fmla="*/ 2627 h 2885245"/>
              <a:gd name="connsiteX1" fmla="*/ 3429201 w 3522188"/>
              <a:gd name="connsiteY1" fmla="*/ 0 h 2885245"/>
              <a:gd name="connsiteX2" fmla="*/ 3520881 w 3522188"/>
              <a:gd name="connsiteY2" fmla="*/ 159669 h 2885245"/>
              <a:gd name="connsiteX3" fmla="*/ 3520881 w 3522188"/>
              <a:gd name="connsiteY3" fmla="*/ 2716824 h 2885245"/>
              <a:gd name="connsiteX4" fmla="*/ 3395863 w 3522188"/>
              <a:gd name="connsiteY4" fmla="*/ 2867738 h 2885245"/>
              <a:gd name="connsiteX5" fmla="*/ 125019 w 3522188"/>
              <a:gd name="connsiteY5" fmla="*/ 2885245 h 2885245"/>
              <a:gd name="connsiteX6" fmla="*/ 0 w 3522188"/>
              <a:gd name="connsiteY6" fmla="*/ 2716824 h 2885245"/>
              <a:gd name="connsiteX7" fmla="*/ 0 w 3522188"/>
              <a:gd name="connsiteY7" fmla="*/ 159669 h 2885245"/>
              <a:gd name="connsiteX8" fmla="*/ 1036 w 3522188"/>
              <a:gd name="connsiteY8" fmla="*/ 2627 h 2885245"/>
              <a:gd name="connsiteX0" fmla="*/ 1036 w 3520918"/>
              <a:gd name="connsiteY0" fmla="*/ 2627 h 2885245"/>
              <a:gd name="connsiteX1" fmla="*/ 3414913 w 3520918"/>
              <a:gd name="connsiteY1" fmla="*/ 0 h 2885245"/>
              <a:gd name="connsiteX2" fmla="*/ 3520881 w 3520918"/>
              <a:gd name="connsiteY2" fmla="*/ 159669 h 2885245"/>
              <a:gd name="connsiteX3" fmla="*/ 3520881 w 3520918"/>
              <a:gd name="connsiteY3" fmla="*/ 2716824 h 2885245"/>
              <a:gd name="connsiteX4" fmla="*/ 3395863 w 3520918"/>
              <a:gd name="connsiteY4" fmla="*/ 2867738 h 2885245"/>
              <a:gd name="connsiteX5" fmla="*/ 125019 w 3520918"/>
              <a:gd name="connsiteY5" fmla="*/ 2885245 h 2885245"/>
              <a:gd name="connsiteX6" fmla="*/ 0 w 3520918"/>
              <a:gd name="connsiteY6" fmla="*/ 2716824 h 2885245"/>
              <a:gd name="connsiteX7" fmla="*/ 0 w 3520918"/>
              <a:gd name="connsiteY7" fmla="*/ 159669 h 2885245"/>
              <a:gd name="connsiteX8" fmla="*/ 1036 w 3520918"/>
              <a:gd name="connsiteY8" fmla="*/ 2627 h 2885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918" h="2885245">
                <a:moveTo>
                  <a:pt x="1036" y="2627"/>
                </a:moveTo>
                <a:lnTo>
                  <a:pt x="3414913" y="0"/>
                </a:lnTo>
                <a:cubicBezTo>
                  <a:pt x="3526042" y="0"/>
                  <a:pt x="3520881" y="76322"/>
                  <a:pt x="3520881" y="159669"/>
                </a:cubicBezTo>
                <a:lnTo>
                  <a:pt x="3520881" y="2716824"/>
                </a:lnTo>
                <a:cubicBezTo>
                  <a:pt x="3520881" y="2800171"/>
                  <a:pt x="3506992" y="2867738"/>
                  <a:pt x="3395863" y="2867738"/>
                </a:cubicBezTo>
                <a:lnTo>
                  <a:pt x="125019" y="2885245"/>
                </a:lnTo>
                <a:cubicBezTo>
                  <a:pt x="13889" y="2885245"/>
                  <a:pt x="0" y="2800171"/>
                  <a:pt x="0" y="2716824"/>
                </a:cubicBezTo>
                <a:lnTo>
                  <a:pt x="0" y="159669"/>
                </a:lnTo>
                <a:cubicBezTo>
                  <a:pt x="0" y="76322"/>
                  <a:pt x="211" y="-437"/>
                  <a:pt x="1036" y="262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972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175" name="Tijdelijke aanduiding voor afbeelding 35">
            <a:extLst>
              <a:ext uri="{FF2B5EF4-FFF2-40B4-BE49-F238E27FC236}">
                <a16:creationId xmlns:a16="http://schemas.microsoft.com/office/drawing/2014/main" id="{D24E1274-C596-458A-AA45-713DA34AEAEF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1742383" y="16696707"/>
            <a:ext cx="12350720" cy="6929700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958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82707"/>
              <a:gd name="connsiteX1" fmla="*/ 3386338 w 3520881"/>
              <a:gd name="connsiteY1" fmla="*/ 6216 h 2882707"/>
              <a:gd name="connsiteX2" fmla="*/ 3520881 w 3520881"/>
              <a:gd name="connsiteY2" fmla="*/ 157131 h 2882707"/>
              <a:gd name="connsiteX3" fmla="*/ 3520881 w 3520881"/>
              <a:gd name="connsiteY3" fmla="*/ 2714286 h 2882707"/>
              <a:gd name="connsiteX4" fmla="*/ 3395863 w 3520881"/>
              <a:gd name="connsiteY4" fmla="*/ 2865200 h 2882707"/>
              <a:gd name="connsiteX5" fmla="*/ 125019 w 3520881"/>
              <a:gd name="connsiteY5" fmla="*/ 2882707 h 2882707"/>
              <a:gd name="connsiteX6" fmla="*/ 0 w 3520881"/>
              <a:gd name="connsiteY6" fmla="*/ 2714286 h 2882707"/>
              <a:gd name="connsiteX7" fmla="*/ 0 w 3520881"/>
              <a:gd name="connsiteY7" fmla="*/ 157131 h 2882707"/>
              <a:gd name="connsiteX8" fmla="*/ 1036 w 3520881"/>
              <a:gd name="connsiteY8" fmla="*/ 89 h 2882707"/>
              <a:gd name="connsiteX0" fmla="*/ 1036 w 3522188"/>
              <a:gd name="connsiteY0" fmla="*/ 2627 h 2885245"/>
              <a:gd name="connsiteX1" fmla="*/ 3429201 w 3522188"/>
              <a:gd name="connsiteY1" fmla="*/ 0 h 2885245"/>
              <a:gd name="connsiteX2" fmla="*/ 3520881 w 3522188"/>
              <a:gd name="connsiteY2" fmla="*/ 159669 h 2885245"/>
              <a:gd name="connsiteX3" fmla="*/ 3520881 w 3522188"/>
              <a:gd name="connsiteY3" fmla="*/ 2716824 h 2885245"/>
              <a:gd name="connsiteX4" fmla="*/ 3395863 w 3522188"/>
              <a:gd name="connsiteY4" fmla="*/ 2867738 h 2885245"/>
              <a:gd name="connsiteX5" fmla="*/ 125019 w 3522188"/>
              <a:gd name="connsiteY5" fmla="*/ 2885245 h 2885245"/>
              <a:gd name="connsiteX6" fmla="*/ 0 w 3522188"/>
              <a:gd name="connsiteY6" fmla="*/ 2716824 h 2885245"/>
              <a:gd name="connsiteX7" fmla="*/ 0 w 3522188"/>
              <a:gd name="connsiteY7" fmla="*/ 159669 h 2885245"/>
              <a:gd name="connsiteX8" fmla="*/ 1036 w 3522188"/>
              <a:gd name="connsiteY8" fmla="*/ 2627 h 2885245"/>
              <a:gd name="connsiteX0" fmla="*/ 1036 w 3520918"/>
              <a:gd name="connsiteY0" fmla="*/ 2627 h 2885245"/>
              <a:gd name="connsiteX1" fmla="*/ 3414913 w 3520918"/>
              <a:gd name="connsiteY1" fmla="*/ 0 h 2885245"/>
              <a:gd name="connsiteX2" fmla="*/ 3520881 w 3520918"/>
              <a:gd name="connsiteY2" fmla="*/ 159669 h 2885245"/>
              <a:gd name="connsiteX3" fmla="*/ 3520881 w 3520918"/>
              <a:gd name="connsiteY3" fmla="*/ 2716824 h 2885245"/>
              <a:gd name="connsiteX4" fmla="*/ 3395863 w 3520918"/>
              <a:gd name="connsiteY4" fmla="*/ 2867738 h 2885245"/>
              <a:gd name="connsiteX5" fmla="*/ 125019 w 3520918"/>
              <a:gd name="connsiteY5" fmla="*/ 2885245 h 2885245"/>
              <a:gd name="connsiteX6" fmla="*/ 0 w 3520918"/>
              <a:gd name="connsiteY6" fmla="*/ 2716824 h 2885245"/>
              <a:gd name="connsiteX7" fmla="*/ 0 w 3520918"/>
              <a:gd name="connsiteY7" fmla="*/ 159669 h 2885245"/>
              <a:gd name="connsiteX8" fmla="*/ 1036 w 3520918"/>
              <a:gd name="connsiteY8" fmla="*/ 2627 h 2885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918" h="2885245">
                <a:moveTo>
                  <a:pt x="1036" y="2627"/>
                </a:moveTo>
                <a:lnTo>
                  <a:pt x="3414913" y="0"/>
                </a:lnTo>
                <a:cubicBezTo>
                  <a:pt x="3526042" y="0"/>
                  <a:pt x="3520881" y="76322"/>
                  <a:pt x="3520881" y="159669"/>
                </a:cubicBezTo>
                <a:lnTo>
                  <a:pt x="3520881" y="2716824"/>
                </a:lnTo>
                <a:cubicBezTo>
                  <a:pt x="3520881" y="2800171"/>
                  <a:pt x="3506992" y="2867738"/>
                  <a:pt x="3395863" y="2867738"/>
                </a:cubicBezTo>
                <a:lnTo>
                  <a:pt x="125019" y="2885245"/>
                </a:lnTo>
                <a:cubicBezTo>
                  <a:pt x="13889" y="2885245"/>
                  <a:pt x="0" y="2800171"/>
                  <a:pt x="0" y="2716824"/>
                </a:cubicBezTo>
                <a:lnTo>
                  <a:pt x="0" y="159669"/>
                </a:lnTo>
                <a:cubicBezTo>
                  <a:pt x="0" y="76322"/>
                  <a:pt x="211" y="-437"/>
                  <a:pt x="1036" y="262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972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176" name="Tijdelijke aanduiding voor afbeelding 35">
            <a:extLst>
              <a:ext uri="{FF2B5EF4-FFF2-40B4-BE49-F238E27FC236}">
                <a16:creationId xmlns:a16="http://schemas.microsoft.com/office/drawing/2014/main" id="{936A94BE-D794-43E5-987F-0D0A37508FAA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15267499" y="16696707"/>
            <a:ext cx="12350720" cy="6929700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958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82707"/>
              <a:gd name="connsiteX1" fmla="*/ 3386338 w 3520881"/>
              <a:gd name="connsiteY1" fmla="*/ 6216 h 2882707"/>
              <a:gd name="connsiteX2" fmla="*/ 3520881 w 3520881"/>
              <a:gd name="connsiteY2" fmla="*/ 157131 h 2882707"/>
              <a:gd name="connsiteX3" fmla="*/ 3520881 w 3520881"/>
              <a:gd name="connsiteY3" fmla="*/ 2714286 h 2882707"/>
              <a:gd name="connsiteX4" fmla="*/ 3395863 w 3520881"/>
              <a:gd name="connsiteY4" fmla="*/ 2865200 h 2882707"/>
              <a:gd name="connsiteX5" fmla="*/ 125019 w 3520881"/>
              <a:gd name="connsiteY5" fmla="*/ 2882707 h 2882707"/>
              <a:gd name="connsiteX6" fmla="*/ 0 w 3520881"/>
              <a:gd name="connsiteY6" fmla="*/ 2714286 h 2882707"/>
              <a:gd name="connsiteX7" fmla="*/ 0 w 3520881"/>
              <a:gd name="connsiteY7" fmla="*/ 157131 h 2882707"/>
              <a:gd name="connsiteX8" fmla="*/ 1036 w 3520881"/>
              <a:gd name="connsiteY8" fmla="*/ 89 h 2882707"/>
              <a:gd name="connsiteX0" fmla="*/ 1036 w 3522188"/>
              <a:gd name="connsiteY0" fmla="*/ 2627 h 2885245"/>
              <a:gd name="connsiteX1" fmla="*/ 3429201 w 3522188"/>
              <a:gd name="connsiteY1" fmla="*/ 0 h 2885245"/>
              <a:gd name="connsiteX2" fmla="*/ 3520881 w 3522188"/>
              <a:gd name="connsiteY2" fmla="*/ 159669 h 2885245"/>
              <a:gd name="connsiteX3" fmla="*/ 3520881 w 3522188"/>
              <a:gd name="connsiteY3" fmla="*/ 2716824 h 2885245"/>
              <a:gd name="connsiteX4" fmla="*/ 3395863 w 3522188"/>
              <a:gd name="connsiteY4" fmla="*/ 2867738 h 2885245"/>
              <a:gd name="connsiteX5" fmla="*/ 125019 w 3522188"/>
              <a:gd name="connsiteY5" fmla="*/ 2885245 h 2885245"/>
              <a:gd name="connsiteX6" fmla="*/ 0 w 3522188"/>
              <a:gd name="connsiteY6" fmla="*/ 2716824 h 2885245"/>
              <a:gd name="connsiteX7" fmla="*/ 0 w 3522188"/>
              <a:gd name="connsiteY7" fmla="*/ 159669 h 2885245"/>
              <a:gd name="connsiteX8" fmla="*/ 1036 w 3522188"/>
              <a:gd name="connsiteY8" fmla="*/ 2627 h 2885245"/>
              <a:gd name="connsiteX0" fmla="*/ 1036 w 3520918"/>
              <a:gd name="connsiteY0" fmla="*/ 2627 h 2885245"/>
              <a:gd name="connsiteX1" fmla="*/ 3414913 w 3520918"/>
              <a:gd name="connsiteY1" fmla="*/ 0 h 2885245"/>
              <a:gd name="connsiteX2" fmla="*/ 3520881 w 3520918"/>
              <a:gd name="connsiteY2" fmla="*/ 159669 h 2885245"/>
              <a:gd name="connsiteX3" fmla="*/ 3520881 w 3520918"/>
              <a:gd name="connsiteY3" fmla="*/ 2716824 h 2885245"/>
              <a:gd name="connsiteX4" fmla="*/ 3395863 w 3520918"/>
              <a:gd name="connsiteY4" fmla="*/ 2867738 h 2885245"/>
              <a:gd name="connsiteX5" fmla="*/ 125019 w 3520918"/>
              <a:gd name="connsiteY5" fmla="*/ 2885245 h 2885245"/>
              <a:gd name="connsiteX6" fmla="*/ 0 w 3520918"/>
              <a:gd name="connsiteY6" fmla="*/ 2716824 h 2885245"/>
              <a:gd name="connsiteX7" fmla="*/ 0 w 3520918"/>
              <a:gd name="connsiteY7" fmla="*/ 159669 h 2885245"/>
              <a:gd name="connsiteX8" fmla="*/ 1036 w 3520918"/>
              <a:gd name="connsiteY8" fmla="*/ 2627 h 2885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918" h="2885245">
                <a:moveTo>
                  <a:pt x="1036" y="2627"/>
                </a:moveTo>
                <a:lnTo>
                  <a:pt x="3414913" y="0"/>
                </a:lnTo>
                <a:cubicBezTo>
                  <a:pt x="3526042" y="0"/>
                  <a:pt x="3520881" y="76322"/>
                  <a:pt x="3520881" y="159669"/>
                </a:cubicBezTo>
                <a:lnTo>
                  <a:pt x="3520881" y="2716824"/>
                </a:lnTo>
                <a:cubicBezTo>
                  <a:pt x="3520881" y="2800171"/>
                  <a:pt x="3506992" y="2867738"/>
                  <a:pt x="3395863" y="2867738"/>
                </a:cubicBezTo>
                <a:lnTo>
                  <a:pt x="125019" y="2885245"/>
                </a:lnTo>
                <a:cubicBezTo>
                  <a:pt x="13889" y="2885245"/>
                  <a:pt x="0" y="2800171"/>
                  <a:pt x="0" y="2716824"/>
                </a:cubicBezTo>
                <a:lnTo>
                  <a:pt x="0" y="159669"/>
                </a:lnTo>
                <a:cubicBezTo>
                  <a:pt x="0" y="76322"/>
                  <a:pt x="211" y="-437"/>
                  <a:pt x="1036" y="262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972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177" name="Tijdelijke aanduiding voor afbeelding 35">
            <a:extLst>
              <a:ext uri="{FF2B5EF4-FFF2-40B4-BE49-F238E27FC236}">
                <a16:creationId xmlns:a16="http://schemas.microsoft.com/office/drawing/2014/main" id="{E5BA7F73-6327-420C-A063-660A2696DB9E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28809745" y="16696707"/>
            <a:ext cx="12350720" cy="6929700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958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82707"/>
              <a:gd name="connsiteX1" fmla="*/ 3386338 w 3520881"/>
              <a:gd name="connsiteY1" fmla="*/ 6216 h 2882707"/>
              <a:gd name="connsiteX2" fmla="*/ 3520881 w 3520881"/>
              <a:gd name="connsiteY2" fmla="*/ 157131 h 2882707"/>
              <a:gd name="connsiteX3" fmla="*/ 3520881 w 3520881"/>
              <a:gd name="connsiteY3" fmla="*/ 2714286 h 2882707"/>
              <a:gd name="connsiteX4" fmla="*/ 3395863 w 3520881"/>
              <a:gd name="connsiteY4" fmla="*/ 2865200 h 2882707"/>
              <a:gd name="connsiteX5" fmla="*/ 125019 w 3520881"/>
              <a:gd name="connsiteY5" fmla="*/ 2882707 h 2882707"/>
              <a:gd name="connsiteX6" fmla="*/ 0 w 3520881"/>
              <a:gd name="connsiteY6" fmla="*/ 2714286 h 2882707"/>
              <a:gd name="connsiteX7" fmla="*/ 0 w 3520881"/>
              <a:gd name="connsiteY7" fmla="*/ 157131 h 2882707"/>
              <a:gd name="connsiteX8" fmla="*/ 1036 w 3520881"/>
              <a:gd name="connsiteY8" fmla="*/ 89 h 2882707"/>
              <a:gd name="connsiteX0" fmla="*/ 1036 w 3522188"/>
              <a:gd name="connsiteY0" fmla="*/ 2627 h 2885245"/>
              <a:gd name="connsiteX1" fmla="*/ 3429201 w 3522188"/>
              <a:gd name="connsiteY1" fmla="*/ 0 h 2885245"/>
              <a:gd name="connsiteX2" fmla="*/ 3520881 w 3522188"/>
              <a:gd name="connsiteY2" fmla="*/ 159669 h 2885245"/>
              <a:gd name="connsiteX3" fmla="*/ 3520881 w 3522188"/>
              <a:gd name="connsiteY3" fmla="*/ 2716824 h 2885245"/>
              <a:gd name="connsiteX4" fmla="*/ 3395863 w 3522188"/>
              <a:gd name="connsiteY4" fmla="*/ 2867738 h 2885245"/>
              <a:gd name="connsiteX5" fmla="*/ 125019 w 3522188"/>
              <a:gd name="connsiteY5" fmla="*/ 2885245 h 2885245"/>
              <a:gd name="connsiteX6" fmla="*/ 0 w 3522188"/>
              <a:gd name="connsiteY6" fmla="*/ 2716824 h 2885245"/>
              <a:gd name="connsiteX7" fmla="*/ 0 w 3522188"/>
              <a:gd name="connsiteY7" fmla="*/ 159669 h 2885245"/>
              <a:gd name="connsiteX8" fmla="*/ 1036 w 3522188"/>
              <a:gd name="connsiteY8" fmla="*/ 2627 h 2885245"/>
              <a:gd name="connsiteX0" fmla="*/ 1036 w 3520918"/>
              <a:gd name="connsiteY0" fmla="*/ 2627 h 2885245"/>
              <a:gd name="connsiteX1" fmla="*/ 3414913 w 3520918"/>
              <a:gd name="connsiteY1" fmla="*/ 0 h 2885245"/>
              <a:gd name="connsiteX2" fmla="*/ 3520881 w 3520918"/>
              <a:gd name="connsiteY2" fmla="*/ 159669 h 2885245"/>
              <a:gd name="connsiteX3" fmla="*/ 3520881 w 3520918"/>
              <a:gd name="connsiteY3" fmla="*/ 2716824 h 2885245"/>
              <a:gd name="connsiteX4" fmla="*/ 3395863 w 3520918"/>
              <a:gd name="connsiteY4" fmla="*/ 2867738 h 2885245"/>
              <a:gd name="connsiteX5" fmla="*/ 125019 w 3520918"/>
              <a:gd name="connsiteY5" fmla="*/ 2885245 h 2885245"/>
              <a:gd name="connsiteX6" fmla="*/ 0 w 3520918"/>
              <a:gd name="connsiteY6" fmla="*/ 2716824 h 2885245"/>
              <a:gd name="connsiteX7" fmla="*/ 0 w 3520918"/>
              <a:gd name="connsiteY7" fmla="*/ 159669 h 2885245"/>
              <a:gd name="connsiteX8" fmla="*/ 1036 w 3520918"/>
              <a:gd name="connsiteY8" fmla="*/ 2627 h 2885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918" h="2885245">
                <a:moveTo>
                  <a:pt x="1036" y="2627"/>
                </a:moveTo>
                <a:lnTo>
                  <a:pt x="3414913" y="0"/>
                </a:lnTo>
                <a:cubicBezTo>
                  <a:pt x="3526042" y="0"/>
                  <a:pt x="3520881" y="76322"/>
                  <a:pt x="3520881" y="159669"/>
                </a:cubicBezTo>
                <a:lnTo>
                  <a:pt x="3520881" y="2716824"/>
                </a:lnTo>
                <a:cubicBezTo>
                  <a:pt x="3520881" y="2800171"/>
                  <a:pt x="3506992" y="2867738"/>
                  <a:pt x="3395863" y="2867738"/>
                </a:cubicBezTo>
                <a:lnTo>
                  <a:pt x="125019" y="2885245"/>
                </a:lnTo>
                <a:cubicBezTo>
                  <a:pt x="13889" y="2885245"/>
                  <a:pt x="0" y="2800171"/>
                  <a:pt x="0" y="2716824"/>
                </a:cubicBezTo>
                <a:lnTo>
                  <a:pt x="0" y="159669"/>
                </a:lnTo>
                <a:cubicBezTo>
                  <a:pt x="0" y="76322"/>
                  <a:pt x="211" y="-437"/>
                  <a:pt x="1036" y="262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972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pic>
        <p:nvPicPr>
          <p:cNvPr id="79" name="Afbeelding 78">
            <a:extLst>
              <a:ext uri="{FF2B5EF4-FFF2-40B4-BE49-F238E27FC236}">
                <a16:creationId xmlns:a16="http://schemas.microsoft.com/office/drawing/2014/main" id="{FFEF7835-07BB-4DA8-AB27-DB859E6A8D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5793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25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2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0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1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2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3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3" grpId="0" animBg="1"/>
      <p:bldP spid="174" grpId="0" animBg="1"/>
      <p:bldP spid="175" grpId="0" animBg="1"/>
      <p:bldP spid="176" grpId="0" animBg="1"/>
      <p:bldP spid="177" grpId="0" animBg="1"/>
    </p:bld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rnpunten + Ico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marR="0" indent="0" algn="l" defTabSz="3207489" rtl="0" eaLnBrk="1" fontAlgn="auto" latinLnBrk="0" hangingPunct="1">
              <a:lnSpc>
                <a:spcPct val="10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6314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5B16B44F-53F8-4476-BF86-4B2D1AD65ECB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9" y="27329718"/>
            <a:ext cx="834509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9B18BDE9-18FD-4C97-9F64-E73C2C770EF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57139" y="10897677"/>
            <a:ext cx="11802765" cy="13168314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087536" y="0"/>
                </a:lnTo>
                <a:cubicBezTo>
                  <a:pt x="32406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240614" y="2982912"/>
                  <a:pt x="3087536" y="2982912"/>
                </a:cubicBezTo>
                <a:lnTo>
                  <a:pt x="281143" y="2982912"/>
                </a:lnTo>
                <a:cubicBezTo>
                  <a:pt x="12806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>
              <a:spcAft>
                <a:spcPts val="0"/>
              </a:spcAft>
              <a:defRPr sz="4911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4911"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 sz="4911"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 sz="4911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 sz="5612"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21" name="Tijdelijke aanduiding voor tekst 3">
            <a:extLst>
              <a:ext uri="{FF2B5EF4-FFF2-40B4-BE49-F238E27FC236}">
                <a16:creationId xmlns:a16="http://schemas.microsoft.com/office/drawing/2014/main" id="{548B21C5-7247-47FE-96DC-CDF5B1CD27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482243" y="10897677"/>
            <a:ext cx="11802765" cy="13168314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087536" y="0"/>
                </a:lnTo>
                <a:cubicBezTo>
                  <a:pt x="32406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240614" y="2982912"/>
                  <a:pt x="3087536" y="2982912"/>
                </a:cubicBezTo>
                <a:lnTo>
                  <a:pt x="281143" y="2982912"/>
                </a:lnTo>
                <a:cubicBezTo>
                  <a:pt x="12806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>
              <a:spcAft>
                <a:spcPts val="0"/>
              </a:spcAft>
              <a:defRPr sz="4911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4911"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 sz="4911"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 sz="4911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 sz="5612"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24" name="Tijdelijke aanduiding voor tekst 3">
            <a:extLst>
              <a:ext uri="{FF2B5EF4-FFF2-40B4-BE49-F238E27FC236}">
                <a16:creationId xmlns:a16="http://schemas.microsoft.com/office/drawing/2014/main" id="{DDC7D301-B09D-45A2-84F5-FAC25F143C2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207348" y="10897677"/>
            <a:ext cx="11802765" cy="13168314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087536" y="0"/>
                </a:lnTo>
                <a:cubicBezTo>
                  <a:pt x="32406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240614" y="2982912"/>
                  <a:pt x="3087536" y="2982912"/>
                </a:cubicBezTo>
                <a:lnTo>
                  <a:pt x="281143" y="2982912"/>
                </a:lnTo>
                <a:cubicBezTo>
                  <a:pt x="12806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>
              <a:spcAft>
                <a:spcPts val="0"/>
              </a:spcAft>
              <a:defRPr sz="4911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4911"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 sz="4911"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 sz="4911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 sz="5612"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id="{3B2874ED-CC7F-4F0C-BB1D-75A9CC43DC3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9699110" y="8777721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 sz="351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nl-NL" noProof="0"/>
          </a:p>
        </p:txBody>
      </p:sp>
      <p:sp>
        <p:nvSpPr>
          <p:cNvPr id="48" name="Tijdelijke aanduiding voor tekst 14">
            <a:extLst>
              <a:ext uri="{FF2B5EF4-FFF2-40B4-BE49-F238E27FC236}">
                <a16:creationId xmlns:a16="http://schemas.microsoft.com/office/drawing/2014/main" id="{F1653C5F-83B0-4357-9779-FCA8C005D7E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974001" y="8777721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 sz="351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nl-NL" noProof="0"/>
          </a:p>
        </p:txBody>
      </p:sp>
      <p:sp>
        <p:nvSpPr>
          <p:cNvPr id="50" name="Tijdelijke aanduiding voor tekst 14">
            <a:extLst>
              <a:ext uri="{FF2B5EF4-FFF2-40B4-BE49-F238E27FC236}">
                <a16:creationId xmlns:a16="http://schemas.microsoft.com/office/drawing/2014/main" id="{3AA2D7D9-83DC-4599-894C-1EA7D9983FA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424213" y="8777721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 sz="351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nl-NL" noProof="0"/>
          </a:p>
        </p:txBody>
      </p:sp>
      <p:pic>
        <p:nvPicPr>
          <p:cNvPr id="285" name="Afbeelding 284">
            <a:extLst>
              <a:ext uri="{FF2B5EF4-FFF2-40B4-BE49-F238E27FC236}">
                <a16:creationId xmlns:a16="http://schemas.microsoft.com/office/drawing/2014/main" id="{3BD56D34-C124-47A1-AAB3-51268E6794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0415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rnpunten + Iconen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err="1"/>
              <a:t>Koptitel</a:t>
            </a:r>
            <a:endParaRPr lang="en-US" noProof="0"/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6314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err="1"/>
              <a:t>Ondertitel</a:t>
            </a:r>
            <a:endParaRPr lang="en-US"/>
          </a:p>
        </p:txBody>
      </p:sp>
      <p:grpSp>
        <p:nvGrpSpPr>
          <p:cNvPr id="38" name="GRID" hidden="1">
            <a:extLst>
              <a:ext uri="{FF2B5EF4-FFF2-40B4-BE49-F238E27FC236}">
                <a16:creationId xmlns:a16="http://schemas.microsoft.com/office/drawing/2014/main" id="{51D5F7E8-69F8-47AD-81F5-1645C97607C1}"/>
              </a:ext>
            </a:extLst>
          </p:cNvPr>
          <p:cNvGrpSpPr/>
          <p:nvPr userDrawn="1"/>
        </p:nvGrpSpPr>
        <p:grpSpPr>
          <a:xfrm>
            <a:off x="5" y="0"/>
            <a:ext cx="42767261" cy="30275213"/>
            <a:chOff x="0" y="0"/>
            <a:chExt cx="12192003" cy="6858000"/>
          </a:xfrm>
        </p:grpSpPr>
        <p:sp>
          <p:nvSpPr>
            <p:cNvPr id="39" name="Rechthoek 38">
              <a:extLst>
                <a:ext uri="{FF2B5EF4-FFF2-40B4-BE49-F238E27FC236}">
                  <a16:creationId xmlns:a16="http://schemas.microsoft.com/office/drawing/2014/main" id="{71DB2C92-E6A8-4532-98F6-C917E7F5CD17}"/>
                </a:ext>
              </a:extLst>
            </p:cNvPr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0" name="Rechthoek 39">
              <a:extLst>
                <a:ext uri="{FF2B5EF4-FFF2-40B4-BE49-F238E27FC236}">
                  <a16:creationId xmlns:a16="http://schemas.microsoft.com/office/drawing/2014/main" id="{1283F161-5F8A-45E1-A9F2-F823FC1CB0A5}"/>
                </a:ext>
              </a:extLst>
            </p:cNvPr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1" name="Rechthoek 40">
              <a:extLst>
                <a:ext uri="{FF2B5EF4-FFF2-40B4-BE49-F238E27FC236}">
                  <a16:creationId xmlns:a16="http://schemas.microsoft.com/office/drawing/2014/main" id="{E25AE021-76F4-4113-9019-FB3CB3351AD2}"/>
                </a:ext>
              </a:extLst>
            </p:cNvPr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2" name="Rechthoek 41">
              <a:extLst>
                <a:ext uri="{FF2B5EF4-FFF2-40B4-BE49-F238E27FC236}">
                  <a16:creationId xmlns:a16="http://schemas.microsoft.com/office/drawing/2014/main" id="{4F56F574-960D-4395-B98C-5F49ED9EF418}"/>
                </a:ext>
              </a:extLst>
            </p:cNvPr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34E307D0-CCA0-4BDF-BC5F-E19838E9F7DA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4" name="Rechthoek 43">
              <a:extLst>
                <a:ext uri="{FF2B5EF4-FFF2-40B4-BE49-F238E27FC236}">
                  <a16:creationId xmlns:a16="http://schemas.microsoft.com/office/drawing/2014/main" id="{2AEE0B25-FBCC-4048-A2C0-6D97C3E7FEB7}"/>
                </a:ext>
              </a:extLst>
            </p:cNvPr>
            <p:cNvSpPr/>
            <p:nvPr userDrawn="1"/>
          </p:nvSpPr>
          <p:spPr>
            <a:xfrm rot="5400000">
              <a:off x="5895976" y="-108104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8"/>
            <a:ext cx="707315" cy="1016405"/>
          </a:xfrm>
        </p:spPr>
        <p:txBody>
          <a:bodyPr/>
          <a:lstStyle/>
          <a:p>
            <a:fld id="{55B2A88A-B7BD-41B1-9FCB-9BE633251ACA}" type="slidenum">
              <a:rPr lang="en-US" noProof="0" smtClean="0"/>
              <a:t>‹nr.›</a:t>
            </a:fld>
            <a:endParaRPr lang="en-US" noProof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9B18BDE9-18FD-4C97-9F64-E73C2C770EF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57138" y="10288803"/>
            <a:ext cx="8777982" cy="9793572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087536" y="0"/>
                </a:lnTo>
                <a:cubicBezTo>
                  <a:pt x="32406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240614" y="2982912"/>
                  <a:pt x="3087536" y="2982912"/>
                </a:cubicBezTo>
                <a:lnTo>
                  <a:pt x="281143" y="2982912"/>
                </a:lnTo>
                <a:cubicBezTo>
                  <a:pt x="12806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4209">
                <a:solidFill>
                  <a:schemeClr val="bg1"/>
                </a:solidFill>
              </a:defRPr>
            </a:lvl2pPr>
            <a:lvl3pPr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48" name="Tijdelijke aanduiding voor tekst 14">
            <a:extLst>
              <a:ext uri="{FF2B5EF4-FFF2-40B4-BE49-F238E27FC236}">
                <a16:creationId xmlns:a16="http://schemas.microsoft.com/office/drawing/2014/main" id="{F1653C5F-83B0-4357-9779-FCA8C005D7E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61610" y="8083434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0" name="Tijdelijke aanduiding voor tekst 3">
            <a:extLst>
              <a:ext uri="{FF2B5EF4-FFF2-40B4-BE49-F238E27FC236}">
                <a16:creationId xmlns:a16="http://schemas.microsoft.com/office/drawing/2014/main" id="{2CDDE61D-7900-4D30-8C50-19D730DC4B3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176292" y="10288803"/>
            <a:ext cx="8777982" cy="9793572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087536" y="0"/>
                </a:lnTo>
                <a:cubicBezTo>
                  <a:pt x="32406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240614" y="2982912"/>
                  <a:pt x="3087536" y="2982912"/>
                </a:cubicBezTo>
                <a:lnTo>
                  <a:pt x="281143" y="2982912"/>
                </a:lnTo>
                <a:cubicBezTo>
                  <a:pt x="12806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defRPr sz="4209">
                <a:solidFill>
                  <a:schemeClr val="bg1"/>
                </a:solidFill>
              </a:defRPr>
            </a:lvl2pPr>
            <a:lvl3pPr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31" name="Tijdelijke aanduiding voor tekst 14">
            <a:extLst>
              <a:ext uri="{FF2B5EF4-FFF2-40B4-BE49-F238E27FC236}">
                <a16:creationId xmlns:a16="http://schemas.microsoft.com/office/drawing/2014/main" id="{7BCA5047-285E-4616-AF7C-30C41FBE50D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4880762" y="8083434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3" name="Tijdelijke aanduiding voor tekst 3">
            <a:extLst>
              <a:ext uri="{FF2B5EF4-FFF2-40B4-BE49-F238E27FC236}">
                <a16:creationId xmlns:a16="http://schemas.microsoft.com/office/drawing/2014/main" id="{33196E6E-959A-406E-A275-32D18E41825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896856" y="10288803"/>
            <a:ext cx="8777982" cy="9793572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087536" y="0"/>
                </a:lnTo>
                <a:cubicBezTo>
                  <a:pt x="32406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240614" y="2982912"/>
                  <a:pt x="3087536" y="2982912"/>
                </a:cubicBezTo>
                <a:lnTo>
                  <a:pt x="281143" y="2982912"/>
                </a:lnTo>
                <a:cubicBezTo>
                  <a:pt x="12806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4209">
                <a:solidFill>
                  <a:schemeClr val="bg1"/>
                </a:solidFill>
              </a:defRPr>
            </a:lvl2pPr>
            <a:lvl3pPr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34" name="Tijdelijke aanduiding voor tekst 14">
            <a:extLst>
              <a:ext uri="{FF2B5EF4-FFF2-40B4-BE49-F238E27FC236}">
                <a16:creationId xmlns:a16="http://schemas.microsoft.com/office/drawing/2014/main" id="{2BC9E580-784A-425F-A45F-E9BAE702C3A4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4601328" y="8083434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7" name="Tijdelijke aanduiding voor tekst 3">
            <a:extLst>
              <a:ext uri="{FF2B5EF4-FFF2-40B4-BE49-F238E27FC236}">
                <a16:creationId xmlns:a16="http://schemas.microsoft.com/office/drawing/2014/main" id="{20A32965-12AC-4768-9A3A-36933D48FA46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2036574" y="10288803"/>
            <a:ext cx="8777982" cy="9793572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087536" y="0"/>
                </a:lnTo>
                <a:cubicBezTo>
                  <a:pt x="32406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240614" y="2982912"/>
                  <a:pt x="3087536" y="2982912"/>
                </a:cubicBezTo>
                <a:lnTo>
                  <a:pt x="281143" y="2982912"/>
                </a:lnTo>
                <a:cubicBezTo>
                  <a:pt x="12806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4209">
                <a:solidFill>
                  <a:schemeClr val="bg1"/>
                </a:solidFill>
              </a:defRPr>
            </a:lvl2pPr>
            <a:lvl3pPr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52" name="Tijdelijke aanduiding voor tekst 14">
            <a:extLst>
              <a:ext uri="{FF2B5EF4-FFF2-40B4-BE49-F238E27FC236}">
                <a16:creationId xmlns:a16="http://schemas.microsoft.com/office/drawing/2014/main" id="{64B43F51-91B8-44C7-88A8-99F45ADD7CB4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24741045" y="8083434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pic>
        <p:nvPicPr>
          <p:cNvPr id="24" name="Afbeelding 23">
            <a:extLst>
              <a:ext uri="{FF2B5EF4-FFF2-40B4-BE49-F238E27FC236}">
                <a16:creationId xmlns:a16="http://schemas.microsoft.com/office/drawing/2014/main" id="{9808A347-7021-4A95-A1A8-D23F88DBAE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4254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rnpunten + Iconen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Tijdelijke aanduiding voor tekst 3">
            <a:extLst>
              <a:ext uri="{FF2B5EF4-FFF2-40B4-BE49-F238E27FC236}">
                <a16:creationId xmlns:a16="http://schemas.microsoft.com/office/drawing/2014/main" id="{60C96555-1A50-4EF0-87CB-9ACB58C9E0F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9207348" y="18619120"/>
            <a:ext cx="11802765" cy="7631866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18278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17319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176436" y="0"/>
                </a:lnTo>
                <a:cubicBezTo>
                  <a:pt x="33295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354914" y="2982912"/>
                  <a:pt x="3201836" y="2982912"/>
                </a:cubicBezTo>
                <a:lnTo>
                  <a:pt x="173193" y="2982912"/>
                </a:lnTo>
                <a:cubicBezTo>
                  <a:pt x="2011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>
              <a:spcAft>
                <a:spcPts val="0"/>
              </a:spcAft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defRPr sz="4209">
                <a:solidFill>
                  <a:schemeClr val="bg1"/>
                </a:solidFill>
              </a:defRPr>
            </a:lvl2pPr>
            <a:lvl3pPr marL="0" indent="0"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54" name="Tijdelijke aanduiding voor tekst 3">
            <a:extLst>
              <a:ext uri="{FF2B5EF4-FFF2-40B4-BE49-F238E27FC236}">
                <a16:creationId xmlns:a16="http://schemas.microsoft.com/office/drawing/2014/main" id="{B8B199D0-5FCA-4521-BEA6-F6144A03151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5482243" y="18619120"/>
            <a:ext cx="11802765" cy="7631866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18278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17319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176436" y="0"/>
                </a:lnTo>
                <a:cubicBezTo>
                  <a:pt x="33295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354914" y="2982912"/>
                  <a:pt x="3201836" y="2982912"/>
                </a:cubicBezTo>
                <a:lnTo>
                  <a:pt x="173193" y="2982912"/>
                </a:lnTo>
                <a:cubicBezTo>
                  <a:pt x="2011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defRPr sz="4209">
                <a:solidFill>
                  <a:schemeClr val="bg1"/>
                </a:solidFill>
              </a:defRPr>
            </a:lvl2pPr>
            <a:lvl3pPr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53" name="Tijdelijke aanduiding voor tekst 3">
            <a:extLst>
              <a:ext uri="{FF2B5EF4-FFF2-40B4-BE49-F238E27FC236}">
                <a16:creationId xmlns:a16="http://schemas.microsoft.com/office/drawing/2014/main" id="{BC18145F-6353-4193-8C5D-F21499B241C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757139" y="18619120"/>
            <a:ext cx="11802765" cy="7631866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18278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17319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176436" y="0"/>
                </a:lnTo>
                <a:cubicBezTo>
                  <a:pt x="33295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354914" y="2982912"/>
                  <a:pt x="3201836" y="2982912"/>
                </a:cubicBezTo>
                <a:lnTo>
                  <a:pt x="173193" y="2982912"/>
                </a:lnTo>
                <a:cubicBezTo>
                  <a:pt x="2011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defRPr sz="4209">
                <a:solidFill>
                  <a:schemeClr val="bg1"/>
                </a:solidFill>
              </a:defRPr>
            </a:lvl2pPr>
            <a:lvl3pPr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52" name="Tijdelijke aanduiding voor tekst 3">
            <a:extLst>
              <a:ext uri="{FF2B5EF4-FFF2-40B4-BE49-F238E27FC236}">
                <a16:creationId xmlns:a16="http://schemas.microsoft.com/office/drawing/2014/main" id="{74701542-138A-4340-8C2F-BB14933495A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9207348" y="7970563"/>
            <a:ext cx="11802765" cy="7631866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18278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17319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176436" y="0"/>
                </a:lnTo>
                <a:cubicBezTo>
                  <a:pt x="33295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354914" y="2982912"/>
                  <a:pt x="3201836" y="2982912"/>
                </a:cubicBezTo>
                <a:lnTo>
                  <a:pt x="173193" y="2982912"/>
                </a:lnTo>
                <a:cubicBezTo>
                  <a:pt x="2011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defRPr sz="4209">
                <a:solidFill>
                  <a:schemeClr val="bg1"/>
                </a:solidFill>
              </a:defRPr>
            </a:lvl2pPr>
            <a:lvl3pPr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37" name="Tijdelijke aanduiding voor tekst 3">
            <a:extLst>
              <a:ext uri="{FF2B5EF4-FFF2-40B4-BE49-F238E27FC236}">
                <a16:creationId xmlns:a16="http://schemas.microsoft.com/office/drawing/2014/main" id="{392E85A5-D697-48B7-A85B-E3E96885C72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5482243" y="7970563"/>
            <a:ext cx="11802765" cy="7631866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18278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17319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176436" y="0"/>
                </a:lnTo>
                <a:cubicBezTo>
                  <a:pt x="33295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354914" y="2982912"/>
                  <a:pt x="3201836" y="2982912"/>
                </a:cubicBezTo>
                <a:lnTo>
                  <a:pt x="173193" y="2982912"/>
                </a:lnTo>
                <a:cubicBezTo>
                  <a:pt x="2011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defRPr sz="4209">
                <a:solidFill>
                  <a:schemeClr val="bg1"/>
                </a:solidFill>
              </a:defRPr>
            </a:lvl2pPr>
            <a:lvl3pPr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err="1"/>
              <a:t>Koptitel</a:t>
            </a:r>
            <a:endParaRPr lang="en-US" noProof="0"/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6314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err="1"/>
              <a:t>Ondertitel</a:t>
            </a:r>
            <a:endParaRPr lang="en-US"/>
          </a:p>
        </p:txBody>
      </p:sp>
      <p:grpSp>
        <p:nvGrpSpPr>
          <p:cNvPr id="38" name="GRID" hidden="1">
            <a:extLst>
              <a:ext uri="{FF2B5EF4-FFF2-40B4-BE49-F238E27FC236}">
                <a16:creationId xmlns:a16="http://schemas.microsoft.com/office/drawing/2014/main" id="{51D5F7E8-69F8-47AD-81F5-1645C97607C1}"/>
              </a:ext>
            </a:extLst>
          </p:cNvPr>
          <p:cNvGrpSpPr/>
          <p:nvPr userDrawn="1"/>
        </p:nvGrpSpPr>
        <p:grpSpPr>
          <a:xfrm>
            <a:off x="5" y="0"/>
            <a:ext cx="42767261" cy="30275213"/>
            <a:chOff x="0" y="0"/>
            <a:chExt cx="12192003" cy="6858000"/>
          </a:xfrm>
        </p:grpSpPr>
        <p:sp>
          <p:nvSpPr>
            <p:cNvPr id="39" name="Rechthoek 38">
              <a:extLst>
                <a:ext uri="{FF2B5EF4-FFF2-40B4-BE49-F238E27FC236}">
                  <a16:creationId xmlns:a16="http://schemas.microsoft.com/office/drawing/2014/main" id="{71DB2C92-E6A8-4532-98F6-C917E7F5CD17}"/>
                </a:ext>
              </a:extLst>
            </p:cNvPr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0" name="Rechthoek 39">
              <a:extLst>
                <a:ext uri="{FF2B5EF4-FFF2-40B4-BE49-F238E27FC236}">
                  <a16:creationId xmlns:a16="http://schemas.microsoft.com/office/drawing/2014/main" id="{1283F161-5F8A-45E1-A9F2-F823FC1CB0A5}"/>
                </a:ext>
              </a:extLst>
            </p:cNvPr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1" name="Rechthoek 40">
              <a:extLst>
                <a:ext uri="{FF2B5EF4-FFF2-40B4-BE49-F238E27FC236}">
                  <a16:creationId xmlns:a16="http://schemas.microsoft.com/office/drawing/2014/main" id="{E25AE021-76F4-4113-9019-FB3CB3351AD2}"/>
                </a:ext>
              </a:extLst>
            </p:cNvPr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2" name="Rechthoek 41">
              <a:extLst>
                <a:ext uri="{FF2B5EF4-FFF2-40B4-BE49-F238E27FC236}">
                  <a16:creationId xmlns:a16="http://schemas.microsoft.com/office/drawing/2014/main" id="{4F56F574-960D-4395-B98C-5F49ED9EF418}"/>
                </a:ext>
              </a:extLst>
            </p:cNvPr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34E307D0-CCA0-4BDF-BC5F-E19838E9F7DA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4" name="Rechthoek 43">
              <a:extLst>
                <a:ext uri="{FF2B5EF4-FFF2-40B4-BE49-F238E27FC236}">
                  <a16:creationId xmlns:a16="http://schemas.microsoft.com/office/drawing/2014/main" id="{2AEE0B25-FBCC-4048-A2C0-6D97C3E7FEB7}"/>
                </a:ext>
              </a:extLst>
            </p:cNvPr>
            <p:cNvSpPr/>
            <p:nvPr userDrawn="1"/>
          </p:nvSpPr>
          <p:spPr>
            <a:xfrm rot="5400000">
              <a:off x="5895976" y="-108104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8"/>
            <a:ext cx="707315" cy="1016405"/>
          </a:xfrm>
        </p:spPr>
        <p:txBody>
          <a:bodyPr/>
          <a:lstStyle/>
          <a:p>
            <a:fld id="{55B2A88A-B7BD-41B1-9FCB-9BE633251ACA}" type="slidenum">
              <a:rPr lang="en-US" noProof="0" smtClean="0"/>
              <a:t>‹nr.›</a:t>
            </a:fld>
            <a:endParaRPr lang="en-US" noProof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9B18BDE9-18FD-4C97-9F64-E73C2C770EF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57139" y="7970563"/>
            <a:ext cx="11802765" cy="7631866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18278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17319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176436" y="0"/>
                </a:lnTo>
                <a:cubicBezTo>
                  <a:pt x="33295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354914" y="2982912"/>
                  <a:pt x="3201836" y="2982912"/>
                </a:cubicBezTo>
                <a:lnTo>
                  <a:pt x="173193" y="2982912"/>
                </a:lnTo>
                <a:cubicBezTo>
                  <a:pt x="2011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defRPr sz="4209" b="0">
                <a:solidFill>
                  <a:schemeClr val="bg1"/>
                </a:solidFill>
              </a:defRPr>
            </a:lvl2pPr>
            <a:lvl3pPr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id="{3B2874ED-CC7F-4F0C-BB1D-75A9CC43DC3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9699110" y="5850604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48" name="Tijdelijke aanduiding voor tekst 14">
            <a:extLst>
              <a:ext uri="{FF2B5EF4-FFF2-40B4-BE49-F238E27FC236}">
                <a16:creationId xmlns:a16="http://schemas.microsoft.com/office/drawing/2014/main" id="{F1653C5F-83B0-4357-9779-FCA8C005D7E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974001" y="5850604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50" name="Tijdelijke aanduiding voor tekst 14">
            <a:extLst>
              <a:ext uri="{FF2B5EF4-FFF2-40B4-BE49-F238E27FC236}">
                <a16:creationId xmlns:a16="http://schemas.microsoft.com/office/drawing/2014/main" id="{3AA2D7D9-83DC-4599-894C-1EA7D9983FA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424213" y="5850604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0" name="Tijdelijke aanduiding voor tekst 14">
            <a:extLst>
              <a:ext uri="{FF2B5EF4-FFF2-40B4-BE49-F238E27FC236}">
                <a16:creationId xmlns:a16="http://schemas.microsoft.com/office/drawing/2014/main" id="{5F6EF29C-6547-44C1-BD48-1D3581117F6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9699110" y="16499158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2" name="Tijdelijke aanduiding voor tekst 14">
            <a:extLst>
              <a:ext uri="{FF2B5EF4-FFF2-40B4-BE49-F238E27FC236}">
                <a16:creationId xmlns:a16="http://schemas.microsoft.com/office/drawing/2014/main" id="{1A143C27-038F-4761-B827-CC3711286E6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974001" y="16499158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4" name="Tijdelijke aanduiding voor tekst 14">
            <a:extLst>
              <a:ext uri="{FF2B5EF4-FFF2-40B4-BE49-F238E27FC236}">
                <a16:creationId xmlns:a16="http://schemas.microsoft.com/office/drawing/2014/main" id="{0069A324-1E9A-44F6-A036-D73045802C0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424213" y="16499158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pic>
        <p:nvPicPr>
          <p:cNvPr id="27" name="Afbeelding 26">
            <a:extLst>
              <a:ext uri="{FF2B5EF4-FFF2-40B4-BE49-F238E27FC236}">
                <a16:creationId xmlns:a16="http://schemas.microsoft.com/office/drawing/2014/main" id="{25B00D5A-DF64-4D2B-976E-01DD75975A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2330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kaders + Uitleg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marR="0" indent="0" algn="l" defTabSz="3207489" rtl="0" eaLnBrk="1" fontAlgn="auto" latinLnBrk="0" hangingPunct="1">
              <a:lnSpc>
                <a:spcPct val="10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6314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grpSp>
        <p:nvGrpSpPr>
          <p:cNvPr id="38" name="GRID" hidden="1">
            <a:extLst>
              <a:ext uri="{FF2B5EF4-FFF2-40B4-BE49-F238E27FC236}">
                <a16:creationId xmlns:a16="http://schemas.microsoft.com/office/drawing/2014/main" id="{51D5F7E8-69F8-47AD-81F5-1645C97607C1}"/>
              </a:ext>
            </a:extLst>
          </p:cNvPr>
          <p:cNvGrpSpPr/>
          <p:nvPr userDrawn="1"/>
        </p:nvGrpSpPr>
        <p:grpSpPr>
          <a:xfrm>
            <a:off x="5" y="0"/>
            <a:ext cx="42767261" cy="30275213"/>
            <a:chOff x="0" y="0"/>
            <a:chExt cx="12192003" cy="6858000"/>
          </a:xfrm>
        </p:grpSpPr>
        <p:sp>
          <p:nvSpPr>
            <p:cNvPr id="39" name="Rechthoek 38">
              <a:extLst>
                <a:ext uri="{FF2B5EF4-FFF2-40B4-BE49-F238E27FC236}">
                  <a16:creationId xmlns:a16="http://schemas.microsoft.com/office/drawing/2014/main" id="{71DB2C92-E6A8-4532-98F6-C917E7F5CD17}"/>
                </a:ext>
              </a:extLst>
            </p:cNvPr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0" name="Rechthoek 39">
              <a:extLst>
                <a:ext uri="{FF2B5EF4-FFF2-40B4-BE49-F238E27FC236}">
                  <a16:creationId xmlns:a16="http://schemas.microsoft.com/office/drawing/2014/main" id="{1283F161-5F8A-45E1-A9F2-F823FC1CB0A5}"/>
                </a:ext>
              </a:extLst>
            </p:cNvPr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1" name="Rechthoek 40">
              <a:extLst>
                <a:ext uri="{FF2B5EF4-FFF2-40B4-BE49-F238E27FC236}">
                  <a16:creationId xmlns:a16="http://schemas.microsoft.com/office/drawing/2014/main" id="{E25AE021-76F4-4113-9019-FB3CB3351AD2}"/>
                </a:ext>
              </a:extLst>
            </p:cNvPr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2" name="Rechthoek 41">
              <a:extLst>
                <a:ext uri="{FF2B5EF4-FFF2-40B4-BE49-F238E27FC236}">
                  <a16:creationId xmlns:a16="http://schemas.microsoft.com/office/drawing/2014/main" id="{4F56F574-960D-4395-B98C-5F49ED9EF418}"/>
                </a:ext>
              </a:extLst>
            </p:cNvPr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34E307D0-CCA0-4BDF-BC5F-E19838E9F7DA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4" name="Rechthoek 43">
              <a:extLst>
                <a:ext uri="{FF2B5EF4-FFF2-40B4-BE49-F238E27FC236}">
                  <a16:creationId xmlns:a16="http://schemas.microsoft.com/office/drawing/2014/main" id="{2AEE0B25-FBCC-4048-A2C0-6D97C3E7FEB7}"/>
                </a:ext>
              </a:extLst>
            </p:cNvPr>
            <p:cNvSpPr/>
            <p:nvPr userDrawn="1"/>
          </p:nvSpPr>
          <p:spPr>
            <a:xfrm rot="5400000">
              <a:off x="5895976" y="-108104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FF4C18EE-AB1E-4734-B490-93DC11E51DED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Voettekst</a:t>
            </a:r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9" y="27329718"/>
            <a:ext cx="834509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0D7B9878-B8FD-4C53-84A0-30824F06295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33803" y="6316510"/>
            <a:ext cx="25627524" cy="5476873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089185" y="2382"/>
                </a:lnTo>
                <a:cubicBezTo>
                  <a:pt x="7208841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08841" y="1240632"/>
                  <a:pt x="7089185" y="1240632"/>
                </a:cubicBezTo>
                <a:lnTo>
                  <a:pt x="216824" y="1240632"/>
                </a:lnTo>
                <a:cubicBezTo>
                  <a:pt x="9716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>
              <a:spcAft>
                <a:spcPts val="0"/>
              </a:spcAft>
              <a:defRPr sz="4209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7F82B2D1-AD00-49E7-AE45-05F1D50B110A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696814" y="6310557"/>
            <a:ext cx="5345254" cy="5474264"/>
          </a:xfrm>
          <a:custGeom>
            <a:avLst/>
            <a:gdLst>
              <a:gd name="connsiteX0" fmla="*/ 0 w 1525587"/>
              <a:gd name="connsiteY0" fmla="*/ 161658 h 1241425"/>
              <a:gd name="connsiteX1" fmla="*/ 161658 w 1525587"/>
              <a:gd name="connsiteY1" fmla="*/ 0 h 1241425"/>
              <a:gd name="connsiteX2" fmla="*/ 1363929 w 1525587"/>
              <a:gd name="connsiteY2" fmla="*/ 0 h 1241425"/>
              <a:gd name="connsiteX3" fmla="*/ 1525587 w 1525587"/>
              <a:gd name="connsiteY3" fmla="*/ 161658 h 1241425"/>
              <a:gd name="connsiteX4" fmla="*/ 1525587 w 1525587"/>
              <a:gd name="connsiteY4" fmla="*/ 1079767 h 1241425"/>
              <a:gd name="connsiteX5" fmla="*/ 1363929 w 1525587"/>
              <a:gd name="connsiteY5" fmla="*/ 1241425 h 1241425"/>
              <a:gd name="connsiteX6" fmla="*/ 161658 w 1525587"/>
              <a:gd name="connsiteY6" fmla="*/ 1241425 h 1241425"/>
              <a:gd name="connsiteX7" fmla="*/ 0 w 1525587"/>
              <a:gd name="connsiteY7" fmla="*/ 1079767 h 1241425"/>
              <a:gd name="connsiteX8" fmla="*/ 0 w 1525587"/>
              <a:gd name="connsiteY8" fmla="*/ 161658 h 1241425"/>
              <a:gd name="connsiteX0" fmla="*/ 0 w 1525587"/>
              <a:gd name="connsiteY0" fmla="*/ 161658 h 1241425"/>
              <a:gd name="connsiteX1" fmla="*/ 42862 w 1525587"/>
              <a:gd name="connsiteY1" fmla="*/ 48418 h 1241425"/>
              <a:gd name="connsiteX2" fmla="*/ 161658 w 1525587"/>
              <a:gd name="connsiteY2" fmla="*/ 0 h 1241425"/>
              <a:gd name="connsiteX3" fmla="*/ 1363929 w 1525587"/>
              <a:gd name="connsiteY3" fmla="*/ 0 h 1241425"/>
              <a:gd name="connsiteX4" fmla="*/ 1525587 w 1525587"/>
              <a:gd name="connsiteY4" fmla="*/ 161658 h 1241425"/>
              <a:gd name="connsiteX5" fmla="*/ 1525587 w 1525587"/>
              <a:gd name="connsiteY5" fmla="*/ 1079767 h 1241425"/>
              <a:gd name="connsiteX6" fmla="*/ 1363929 w 1525587"/>
              <a:gd name="connsiteY6" fmla="*/ 1241425 h 1241425"/>
              <a:gd name="connsiteX7" fmla="*/ 161658 w 1525587"/>
              <a:gd name="connsiteY7" fmla="*/ 1241425 h 1241425"/>
              <a:gd name="connsiteX8" fmla="*/ 0 w 1525587"/>
              <a:gd name="connsiteY8" fmla="*/ 1079767 h 1241425"/>
              <a:gd name="connsiteX9" fmla="*/ 0 w 1525587"/>
              <a:gd name="connsiteY9" fmla="*/ 161658 h 1241425"/>
              <a:gd name="connsiteX0" fmla="*/ 8672 w 1534259"/>
              <a:gd name="connsiteY0" fmla="*/ 165982 h 1245749"/>
              <a:gd name="connsiteX1" fmla="*/ 11053 w 1534259"/>
              <a:gd name="connsiteY1" fmla="*/ 12261 h 1245749"/>
              <a:gd name="connsiteX2" fmla="*/ 170330 w 1534259"/>
              <a:gd name="connsiteY2" fmla="*/ 4324 h 1245749"/>
              <a:gd name="connsiteX3" fmla="*/ 1372601 w 1534259"/>
              <a:gd name="connsiteY3" fmla="*/ 4324 h 1245749"/>
              <a:gd name="connsiteX4" fmla="*/ 1534259 w 1534259"/>
              <a:gd name="connsiteY4" fmla="*/ 165982 h 1245749"/>
              <a:gd name="connsiteX5" fmla="*/ 1534259 w 1534259"/>
              <a:gd name="connsiteY5" fmla="*/ 1084091 h 1245749"/>
              <a:gd name="connsiteX6" fmla="*/ 1372601 w 1534259"/>
              <a:gd name="connsiteY6" fmla="*/ 1245749 h 1245749"/>
              <a:gd name="connsiteX7" fmla="*/ 170330 w 1534259"/>
              <a:gd name="connsiteY7" fmla="*/ 1245749 h 1245749"/>
              <a:gd name="connsiteX8" fmla="*/ 8672 w 1534259"/>
              <a:gd name="connsiteY8" fmla="*/ 1084091 h 1245749"/>
              <a:gd name="connsiteX9" fmla="*/ 8672 w 1534259"/>
              <a:gd name="connsiteY9" fmla="*/ 165982 h 1245749"/>
              <a:gd name="connsiteX0" fmla="*/ 8672 w 1534259"/>
              <a:gd name="connsiteY0" fmla="*/ 167890 h 1247657"/>
              <a:gd name="connsiteX1" fmla="*/ 11053 w 1534259"/>
              <a:gd name="connsiteY1" fmla="*/ 14169 h 1247657"/>
              <a:gd name="connsiteX2" fmla="*/ 170330 w 1534259"/>
              <a:gd name="connsiteY2" fmla="*/ 6232 h 1247657"/>
              <a:gd name="connsiteX3" fmla="*/ 1372601 w 1534259"/>
              <a:gd name="connsiteY3" fmla="*/ 6232 h 1247657"/>
              <a:gd name="connsiteX4" fmla="*/ 1534259 w 1534259"/>
              <a:gd name="connsiteY4" fmla="*/ 167890 h 1247657"/>
              <a:gd name="connsiteX5" fmla="*/ 1534259 w 1534259"/>
              <a:gd name="connsiteY5" fmla="*/ 1085999 h 1247657"/>
              <a:gd name="connsiteX6" fmla="*/ 1372601 w 1534259"/>
              <a:gd name="connsiteY6" fmla="*/ 1247657 h 1247657"/>
              <a:gd name="connsiteX7" fmla="*/ 170330 w 1534259"/>
              <a:gd name="connsiteY7" fmla="*/ 1247657 h 1247657"/>
              <a:gd name="connsiteX8" fmla="*/ 8672 w 1534259"/>
              <a:gd name="connsiteY8" fmla="*/ 1085999 h 1247657"/>
              <a:gd name="connsiteX9" fmla="*/ 8672 w 1534259"/>
              <a:gd name="connsiteY9" fmla="*/ 167890 h 1247657"/>
              <a:gd name="connsiteX0" fmla="*/ 8672 w 1534259"/>
              <a:gd name="connsiteY0" fmla="*/ 161658 h 1241425"/>
              <a:gd name="connsiteX1" fmla="*/ 11053 w 1534259"/>
              <a:gd name="connsiteY1" fmla="*/ 7937 h 1241425"/>
              <a:gd name="connsiteX2" fmla="*/ 170330 w 1534259"/>
              <a:gd name="connsiteY2" fmla="*/ 0 h 1241425"/>
              <a:gd name="connsiteX3" fmla="*/ 1372601 w 1534259"/>
              <a:gd name="connsiteY3" fmla="*/ 0 h 1241425"/>
              <a:gd name="connsiteX4" fmla="*/ 1534259 w 1534259"/>
              <a:gd name="connsiteY4" fmla="*/ 161658 h 1241425"/>
              <a:gd name="connsiteX5" fmla="*/ 1534259 w 1534259"/>
              <a:gd name="connsiteY5" fmla="*/ 1079767 h 1241425"/>
              <a:gd name="connsiteX6" fmla="*/ 1372601 w 1534259"/>
              <a:gd name="connsiteY6" fmla="*/ 1241425 h 1241425"/>
              <a:gd name="connsiteX7" fmla="*/ 170330 w 1534259"/>
              <a:gd name="connsiteY7" fmla="*/ 1241425 h 1241425"/>
              <a:gd name="connsiteX8" fmla="*/ 8672 w 1534259"/>
              <a:gd name="connsiteY8" fmla="*/ 1079767 h 1241425"/>
              <a:gd name="connsiteX9" fmla="*/ 8672 w 1534259"/>
              <a:gd name="connsiteY9" fmla="*/ 161658 h 124142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3668 h 1243435"/>
              <a:gd name="connsiteX1" fmla="*/ 10644 w 1535715"/>
              <a:gd name="connsiteY1" fmla="*/ 0 h 1243435"/>
              <a:gd name="connsiteX2" fmla="*/ 171786 w 1535715"/>
              <a:gd name="connsiteY2" fmla="*/ 2010 h 1243435"/>
              <a:gd name="connsiteX3" fmla="*/ 1374057 w 1535715"/>
              <a:gd name="connsiteY3" fmla="*/ 2010 h 1243435"/>
              <a:gd name="connsiteX4" fmla="*/ 1535715 w 1535715"/>
              <a:gd name="connsiteY4" fmla="*/ 163668 h 1243435"/>
              <a:gd name="connsiteX5" fmla="*/ 1535715 w 1535715"/>
              <a:gd name="connsiteY5" fmla="*/ 1081777 h 1243435"/>
              <a:gd name="connsiteX6" fmla="*/ 1374057 w 1535715"/>
              <a:gd name="connsiteY6" fmla="*/ 1243435 h 1243435"/>
              <a:gd name="connsiteX7" fmla="*/ 171786 w 1535715"/>
              <a:gd name="connsiteY7" fmla="*/ 1243435 h 1243435"/>
              <a:gd name="connsiteX8" fmla="*/ 10128 w 1535715"/>
              <a:gd name="connsiteY8" fmla="*/ 1081777 h 1243435"/>
              <a:gd name="connsiteX9" fmla="*/ 10128 w 1535715"/>
              <a:gd name="connsiteY9" fmla="*/ 163668 h 124343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1808 w 1537395"/>
              <a:gd name="connsiteY0" fmla="*/ 161803 h 1241570"/>
              <a:gd name="connsiteX1" fmla="*/ 12324 w 1537395"/>
              <a:gd name="connsiteY1" fmla="*/ 0 h 1241570"/>
              <a:gd name="connsiteX2" fmla="*/ 173466 w 1537395"/>
              <a:gd name="connsiteY2" fmla="*/ 145 h 1241570"/>
              <a:gd name="connsiteX3" fmla="*/ 1375737 w 1537395"/>
              <a:gd name="connsiteY3" fmla="*/ 145 h 1241570"/>
              <a:gd name="connsiteX4" fmla="*/ 1537395 w 1537395"/>
              <a:gd name="connsiteY4" fmla="*/ 161803 h 1241570"/>
              <a:gd name="connsiteX5" fmla="*/ 1537395 w 1537395"/>
              <a:gd name="connsiteY5" fmla="*/ 1079912 h 1241570"/>
              <a:gd name="connsiteX6" fmla="*/ 1375737 w 1537395"/>
              <a:gd name="connsiteY6" fmla="*/ 1241570 h 1241570"/>
              <a:gd name="connsiteX7" fmla="*/ 173466 w 1537395"/>
              <a:gd name="connsiteY7" fmla="*/ 1241570 h 1241570"/>
              <a:gd name="connsiteX8" fmla="*/ 11808 w 1537395"/>
              <a:gd name="connsiteY8" fmla="*/ 1079912 h 1241570"/>
              <a:gd name="connsiteX9" fmla="*/ 11808 w 1537395"/>
              <a:gd name="connsiteY9" fmla="*/ 161803 h 1241570"/>
              <a:gd name="connsiteX0" fmla="*/ 346 w 1525933"/>
              <a:gd name="connsiteY0" fmla="*/ 161803 h 1241570"/>
              <a:gd name="connsiteX1" fmla="*/ 862 w 1525933"/>
              <a:gd name="connsiteY1" fmla="*/ 0 h 1241570"/>
              <a:gd name="connsiteX2" fmla="*/ 162004 w 1525933"/>
              <a:gd name="connsiteY2" fmla="*/ 145 h 1241570"/>
              <a:gd name="connsiteX3" fmla="*/ 1364275 w 1525933"/>
              <a:gd name="connsiteY3" fmla="*/ 145 h 1241570"/>
              <a:gd name="connsiteX4" fmla="*/ 1525933 w 1525933"/>
              <a:gd name="connsiteY4" fmla="*/ 161803 h 1241570"/>
              <a:gd name="connsiteX5" fmla="*/ 1525933 w 1525933"/>
              <a:gd name="connsiteY5" fmla="*/ 1079912 h 1241570"/>
              <a:gd name="connsiteX6" fmla="*/ 1364275 w 1525933"/>
              <a:gd name="connsiteY6" fmla="*/ 1241570 h 1241570"/>
              <a:gd name="connsiteX7" fmla="*/ 162004 w 1525933"/>
              <a:gd name="connsiteY7" fmla="*/ 1241570 h 1241570"/>
              <a:gd name="connsiteX8" fmla="*/ 346 w 1525933"/>
              <a:gd name="connsiteY8" fmla="*/ 1079912 h 1241570"/>
              <a:gd name="connsiteX9" fmla="*/ 346 w 1525933"/>
              <a:gd name="connsiteY9" fmla="*/ 161803 h 1241570"/>
              <a:gd name="connsiteX0" fmla="*/ 872 w 1526459"/>
              <a:gd name="connsiteY0" fmla="*/ 161803 h 1241570"/>
              <a:gd name="connsiteX1" fmla="*/ 1388 w 1526459"/>
              <a:gd name="connsiteY1" fmla="*/ 0 h 1241570"/>
              <a:gd name="connsiteX2" fmla="*/ 162530 w 1526459"/>
              <a:gd name="connsiteY2" fmla="*/ 145 h 1241570"/>
              <a:gd name="connsiteX3" fmla="*/ 1364801 w 1526459"/>
              <a:gd name="connsiteY3" fmla="*/ 145 h 1241570"/>
              <a:gd name="connsiteX4" fmla="*/ 1526459 w 1526459"/>
              <a:gd name="connsiteY4" fmla="*/ 161803 h 1241570"/>
              <a:gd name="connsiteX5" fmla="*/ 1526459 w 1526459"/>
              <a:gd name="connsiteY5" fmla="*/ 1079912 h 1241570"/>
              <a:gd name="connsiteX6" fmla="*/ 1364801 w 1526459"/>
              <a:gd name="connsiteY6" fmla="*/ 1241570 h 1241570"/>
              <a:gd name="connsiteX7" fmla="*/ 162530 w 1526459"/>
              <a:gd name="connsiteY7" fmla="*/ 1241570 h 1241570"/>
              <a:gd name="connsiteX8" fmla="*/ 872 w 1526459"/>
              <a:gd name="connsiteY8" fmla="*/ 1079912 h 1241570"/>
              <a:gd name="connsiteX9" fmla="*/ 872 w 1526459"/>
              <a:gd name="connsiteY9" fmla="*/ 161803 h 1241570"/>
              <a:gd name="connsiteX0" fmla="*/ 470 w 1526057"/>
              <a:gd name="connsiteY0" fmla="*/ 161803 h 1241570"/>
              <a:gd name="connsiteX1" fmla="*/ 986 w 1526057"/>
              <a:gd name="connsiteY1" fmla="*/ 0 h 1241570"/>
              <a:gd name="connsiteX2" fmla="*/ 162128 w 1526057"/>
              <a:gd name="connsiteY2" fmla="*/ 145 h 1241570"/>
              <a:gd name="connsiteX3" fmla="*/ 1364399 w 1526057"/>
              <a:gd name="connsiteY3" fmla="*/ 145 h 1241570"/>
              <a:gd name="connsiteX4" fmla="*/ 1526057 w 1526057"/>
              <a:gd name="connsiteY4" fmla="*/ 161803 h 1241570"/>
              <a:gd name="connsiteX5" fmla="*/ 1526057 w 1526057"/>
              <a:gd name="connsiteY5" fmla="*/ 1079912 h 1241570"/>
              <a:gd name="connsiteX6" fmla="*/ 1364399 w 1526057"/>
              <a:gd name="connsiteY6" fmla="*/ 1241570 h 1241570"/>
              <a:gd name="connsiteX7" fmla="*/ 162128 w 1526057"/>
              <a:gd name="connsiteY7" fmla="*/ 1241570 h 1241570"/>
              <a:gd name="connsiteX8" fmla="*/ 470 w 1526057"/>
              <a:gd name="connsiteY8" fmla="*/ 1079912 h 1241570"/>
              <a:gd name="connsiteX9" fmla="*/ 470 w 1526057"/>
              <a:gd name="connsiteY9" fmla="*/ 161803 h 1241570"/>
              <a:gd name="connsiteX0" fmla="*/ 649 w 1526236"/>
              <a:gd name="connsiteY0" fmla="*/ 161803 h 1241570"/>
              <a:gd name="connsiteX1" fmla="*/ 1165 w 1526236"/>
              <a:gd name="connsiteY1" fmla="*/ 0 h 1241570"/>
              <a:gd name="connsiteX2" fmla="*/ 162307 w 1526236"/>
              <a:gd name="connsiteY2" fmla="*/ 145 h 1241570"/>
              <a:gd name="connsiteX3" fmla="*/ 1364578 w 1526236"/>
              <a:gd name="connsiteY3" fmla="*/ 145 h 1241570"/>
              <a:gd name="connsiteX4" fmla="*/ 1526236 w 1526236"/>
              <a:gd name="connsiteY4" fmla="*/ 161803 h 1241570"/>
              <a:gd name="connsiteX5" fmla="*/ 1526236 w 1526236"/>
              <a:gd name="connsiteY5" fmla="*/ 1079912 h 1241570"/>
              <a:gd name="connsiteX6" fmla="*/ 1364578 w 1526236"/>
              <a:gd name="connsiteY6" fmla="*/ 1241570 h 1241570"/>
              <a:gd name="connsiteX7" fmla="*/ 162307 w 1526236"/>
              <a:gd name="connsiteY7" fmla="*/ 1241570 h 1241570"/>
              <a:gd name="connsiteX8" fmla="*/ 649 w 1526236"/>
              <a:gd name="connsiteY8" fmla="*/ 1079912 h 1241570"/>
              <a:gd name="connsiteX9" fmla="*/ 649 w 1526236"/>
              <a:gd name="connsiteY9" fmla="*/ 161803 h 1241570"/>
              <a:gd name="connsiteX0" fmla="*/ 268 w 1525855"/>
              <a:gd name="connsiteY0" fmla="*/ 161803 h 1241570"/>
              <a:gd name="connsiteX1" fmla="*/ 784 w 1525855"/>
              <a:gd name="connsiteY1" fmla="*/ 0 h 1241570"/>
              <a:gd name="connsiteX2" fmla="*/ 161926 w 1525855"/>
              <a:gd name="connsiteY2" fmla="*/ 145 h 1241570"/>
              <a:gd name="connsiteX3" fmla="*/ 1364197 w 1525855"/>
              <a:gd name="connsiteY3" fmla="*/ 145 h 1241570"/>
              <a:gd name="connsiteX4" fmla="*/ 1525855 w 1525855"/>
              <a:gd name="connsiteY4" fmla="*/ 161803 h 1241570"/>
              <a:gd name="connsiteX5" fmla="*/ 1525855 w 1525855"/>
              <a:gd name="connsiteY5" fmla="*/ 1079912 h 1241570"/>
              <a:gd name="connsiteX6" fmla="*/ 1364197 w 1525855"/>
              <a:gd name="connsiteY6" fmla="*/ 1241570 h 1241570"/>
              <a:gd name="connsiteX7" fmla="*/ 161926 w 1525855"/>
              <a:gd name="connsiteY7" fmla="*/ 1241570 h 1241570"/>
              <a:gd name="connsiteX8" fmla="*/ 268 w 1525855"/>
              <a:gd name="connsiteY8" fmla="*/ 1079912 h 1241570"/>
              <a:gd name="connsiteX9" fmla="*/ 268 w 1525855"/>
              <a:gd name="connsiteY9" fmla="*/ 161803 h 1241570"/>
              <a:gd name="connsiteX0" fmla="*/ 359 w 1525946"/>
              <a:gd name="connsiteY0" fmla="*/ 161803 h 1241570"/>
              <a:gd name="connsiteX1" fmla="*/ 253 w 1525946"/>
              <a:gd name="connsiteY1" fmla="*/ 0 h 1241570"/>
              <a:gd name="connsiteX2" fmla="*/ 162017 w 1525946"/>
              <a:gd name="connsiteY2" fmla="*/ 145 h 1241570"/>
              <a:gd name="connsiteX3" fmla="*/ 1364288 w 1525946"/>
              <a:gd name="connsiteY3" fmla="*/ 145 h 1241570"/>
              <a:gd name="connsiteX4" fmla="*/ 1525946 w 1525946"/>
              <a:gd name="connsiteY4" fmla="*/ 161803 h 1241570"/>
              <a:gd name="connsiteX5" fmla="*/ 1525946 w 1525946"/>
              <a:gd name="connsiteY5" fmla="*/ 1079912 h 1241570"/>
              <a:gd name="connsiteX6" fmla="*/ 1364288 w 1525946"/>
              <a:gd name="connsiteY6" fmla="*/ 1241570 h 1241570"/>
              <a:gd name="connsiteX7" fmla="*/ 162017 w 1525946"/>
              <a:gd name="connsiteY7" fmla="*/ 1241570 h 1241570"/>
              <a:gd name="connsiteX8" fmla="*/ 359 w 1525946"/>
              <a:gd name="connsiteY8" fmla="*/ 1079912 h 1241570"/>
              <a:gd name="connsiteX9" fmla="*/ 359 w 1525946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364035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25693" h="1241570">
                <a:moveTo>
                  <a:pt x="106" y="161803"/>
                </a:moveTo>
                <a:cubicBezTo>
                  <a:pt x="-210" y="159620"/>
                  <a:pt x="409" y="7672"/>
                  <a:pt x="0" y="0"/>
                </a:cubicBezTo>
                <a:cubicBezTo>
                  <a:pt x="6219" y="388"/>
                  <a:pt x="110655" y="450"/>
                  <a:pt x="161764" y="145"/>
                </a:cubicBezTo>
                <a:lnTo>
                  <a:pt x="1364035" y="145"/>
                </a:lnTo>
                <a:cubicBezTo>
                  <a:pt x="1453316" y="145"/>
                  <a:pt x="1525693" y="72522"/>
                  <a:pt x="1525693" y="161803"/>
                </a:cubicBezTo>
                <a:lnTo>
                  <a:pt x="1525693" y="1079912"/>
                </a:lnTo>
                <a:cubicBezTo>
                  <a:pt x="1525693" y="1169193"/>
                  <a:pt x="1453316" y="1241570"/>
                  <a:pt x="1364035" y="1241570"/>
                </a:cubicBezTo>
                <a:lnTo>
                  <a:pt x="161764" y="1241570"/>
                </a:lnTo>
                <a:cubicBezTo>
                  <a:pt x="72483" y="1241570"/>
                  <a:pt x="106" y="1169193"/>
                  <a:pt x="106" y="1079912"/>
                </a:cubicBezTo>
                <a:lnTo>
                  <a:pt x="106" y="1618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tIns="0" bIns="252000" anchor="b"/>
          <a:lstStyle>
            <a:lvl1pPr marL="0" indent="0" algn="ctr">
              <a:buNone/>
              <a:defRPr sz="2806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nl-NL" noProof="0"/>
          </a:p>
        </p:txBody>
      </p:sp>
      <p:sp>
        <p:nvSpPr>
          <p:cNvPr id="30" name="Tijdelijke aanduiding voor tekst 2">
            <a:extLst>
              <a:ext uri="{FF2B5EF4-FFF2-40B4-BE49-F238E27FC236}">
                <a16:creationId xmlns:a16="http://schemas.microsoft.com/office/drawing/2014/main" id="{9D2AC618-ACAD-484E-BBCB-91B7EBF7B70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533803" y="13275428"/>
            <a:ext cx="25627524" cy="5476873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089185" y="2382"/>
                </a:lnTo>
                <a:cubicBezTo>
                  <a:pt x="7208841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08841" y="1240632"/>
                  <a:pt x="7089185" y="1240632"/>
                </a:cubicBezTo>
                <a:lnTo>
                  <a:pt x="216824" y="1240632"/>
                </a:lnTo>
                <a:cubicBezTo>
                  <a:pt x="9716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>
              <a:spcAft>
                <a:spcPts val="0"/>
              </a:spcAft>
              <a:defRPr sz="4209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31" name="Tijdelijke aanduiding voor afbeelding 6">
            <a:extLst>
              <a:ext uri="{FF2B5EF4-FFF2-40B4-BE49-F238E27FC236}">
                <a16:creationId xmlns:a16="http://schemas.microsoft.com/office/drawing/2014/main" id="{6EAA7FFB-E40E-4744-8AF0-0E4BEE5C22A0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1696814" y="13269468"/>
            <a:ext cx="5345254" cy="5474264"/>
          </a:xfrm>
          <a:custGeom>
            <a:avLst/>
            <a:gdLst>
              <a:gd name="connsiteX0" fmla="*/ 0 w 1525587"/>
              <a:gd name="connsiteY0" fmla="*/ 161658 h 1241425"/>
              <a:gd name="connsiteX1" fmla="*/ 161658 w 1525587"/>
              <a:gd name="connsiteY1" fmla="*/ 0 h 1241425"/>
              <a:gd name="connsiteX2" fmla="*/ 1363929 w 1525587"/>
              <a:gd name="connsiteY2" fmla="*/ 0 h 1241425"/>
              <a:gd name="connsiteX3" fmla="*/ 1525587 w 1525587"/>
              <a:gd name="connsiteY3" fmla="*/ 161658 h 1241425"/>
              <a:gd name="connsiteX4" fmla="*/ 1525587 w 1525587"/>
              <a:gd name="connsiteY4" fmla="*/ 1079767 h 1241425"/>
              <a:gd name="connsiteX5" fmla="*/ 1363929 w 1525587"/>
              <a:gd name="connsiteY5" fmla="*/ 1241425 h 1241425"/>
              <a:gd name="connsiteX6" fmla="*/ 161658 w 1525587"/>
              <a:gd name="connsiteY6" fmla="*/ 1241425 h 1241425"/>
              <a:gd name="connsiteX7" fmla="*/ 0 w 1525587"/>
              <a:gd name="connsiteY7" fmla="*/ 1079767 h 1241425"/>
              <a:gd name="connsiteX8" fmla="*/ 0 w 1525587"/>
              <a:gd name="connsiteY8" fmla="*/ 161658 h 1241425"/>
              <a:gd name="connsiteX0" fmla="*/ 0 w 1525587"/>
              <a:gd name="connsiteY0" fmla="*/ 161658 h 1241425"/>
              <a:gd name="connsiteX1" fmla="*/ 42862 w 1525587"/>
              <a:gd name="connsiteY1" fmla="*/ 48418 h 1241425"/>
              <a:gd name="connsiteX2" fmla="*/ 161658 w 1525587"/>
              <a:gd name="connsiteY2" fmla="*/ 0 h 1241425"/>
              <a:gd name="connsiteX3" fmla="*/ 1363929 w 1525587"/>
              <a:gd name="connsiteY3" fmla="*/ 0 h 1241425"/>
              <a:gd name="connsiteX4" fmla="*/ 1525587 w 1525587"/>
              <a:gd name="connsiteY4" fmla="*/ 161658 h 1241425"/>
              <a:gd name="connsiteX5" fmla="*/ 1525587 w 1525587"/>
              <a:gd name="connsiteY5" fmla="*/ 1079767 h 1241425"/>
              <a:gd name="connsiteX6" fmla="*/ 1363929 w 1525587"/>
              <a:gd name="connsiteY6" fmla="*/ 1241425 h 1241425"/>
              <a:gd name="connsiteX7" fmla="*/ 161658 w 1525587"/>
              <a:gd name="connsiteY7" fmla="*/ 1241425 h 1241425"/>
              <a:gd name="connsiteX8" fmla="*/ 0 w 1525587"/>
              <a:gd name="connsiteY8" fmla="*/ 1079767 h 1241425"/>
              <a:gd name="connsiteX9" fmla="*/ 0 w 1525587"/>
              <a:gd name="connsiteY9" fmla="*/ 161658 h 1241425"/>
              <a:gd name="connsiteX0" fmla="*/ 8672 w 1534259"/>
              <a:gd name="connsiteY0" fmla="*/ 165982 h 1245749"/>
              <a:gd name="connsiteX1" fmla="*/ 11053 w 1534259"/>
              <a:gd name="connsiteY1" fmla="*/ 12261 h 1245749"/>
              <a:gd name="connsiteX2" fmla="*/ 170330 w 1534259"/>
              <a:gd name="connsiteY2" fmla="*/ 4324 h 1245749"/>
              <a:gd name="connsiteX3" fmla="*/ 1372601 w 1534259"/>
              <a:gd name="connsiteY3" fmla="*/ 4324 h 1245749"/>
              <a:gd name="connsiteX4" fmla="*/ 1534259 w 1534259"/>
              <a:gd name="connsiteY4" fmla="*/ 165982 h 1245749"/>
              <a:gd name="connsiteX5" fmla="*/ 1534259 w 1534259"/>
              <a:gd name="connsiteY5" fmla="*/ 1084091 h 1245749"/>
              <a:gd name="connsiteX6" fmla="*/ 1372601 w 1534259"/>
              <a:gd name="connsiteY6" fmla="*/ 1245749 h 1245749"/>
              <a:gd name="connsiteX7" fmla="*/ 170330 w 1534259"/>
              <a:gd name="connsiteY7" fmla="*/ 1245749 h 1245749"/>
              <a:gd name="connsiteX8" fmla="*/ 8672 w 1534259"/>
              <a:gd name="connsiteY8" fmla="*/ 1084091 h 1245749"/>
              <a:gd name="connsiteX9" fmla="*/ 8672 w 1534259"/>
              <a:gd name="connsiteY9" fmla="*/ 165982 h 1245749"/>
              <a:gd name="connsiteX0" fmla="*/ 8672 w 1534259"/>
              <a:gd name="connsiteY0" fmla="*/ 167890 h 1247657"/>
              <a:gd name="connsiteX1" fmla="*/ 11053 w 1534259"/>
              <a:gd name="connsiteY1" fmla="*/ 14169 h 1247657"/>
              <a:gd name="connsiteX2" fmla="*/ 170330 w 1534259"/>
              <a:gd name="connsiteY2" fmla="*/ 6232 h 1247657"/>
              <a:gd name="connsiteX3" fmla="*/ 1372601 w 1534259"/>
              <a:gd name="connsiteY3" fmla="*/ 6232 h 1247657"/>
              <a:gd name="connsiteX4" fmla="*/ 1534259 w 1534259"/>
              <a:gd name="connsiteY4" fmla="*/ 167890 h 1247657"/>
              <a:gd name="connsiteX5" fmla="*/ 1534259 w 1534259"/>
              <a:gd name="connsiteY5" fmla="*/ 1085999 h 1247657"/>
              <a:gd name="connsiteX6" fmla="*/ 1372601 w 1534259"/>
              <a:gd name="connsiteY6" fmla="*/ 1247657 h 1247657"/>
              <a:gd name="connsiteX7" fmla="*/ 170330 w 1534259"/>
              <a:gd name="connsiteY7" fmla="*/ 1247657 h 1247657"/>
              <a:gd name="connsiteX8" fmla="*/ 8672 w 1534259"/>
              <a:gd name="connsiteY8" fmla="*/ 1085999 h 1247657"/>
              <a:gd name="connsiteX9" fmla="*/ 8672 w 1534259"/>
              <a:gd name="connsiteY9" fmla="*/ 167890 h 1247657"/>
              <a:gd name="connsiteX0" fmla="*/ 8672 w 1534259"/>
              <a:gd name="connsiteY0" fmla="*/ 161658 h 1241425"/>
              <a:gd name="connsiteX1" fmla="*/ 11053 w 1534259"/>
              <a:gd name="connsiteY1" fmla="*/ 7937 h 1241425"/>
              <a:gd name="connsiteX2" fmla="*/ 170330 w 1534259"/>
              <a:gd name="connsiteY2" fmla="*/ 0 h 1241425"/>
              <a:gd name="connsiteX3" fmla="*/ 1372601 w 1534259"/>
              <a:gd name="connsiteY3" fmla="*/ 0 h 1241425"/>
              <a:gd name="connsiteX4" fmla="*/ 1534259 w 1534259"/>
              <a:gd name="connsiteY4" fmla="*/ 161658 h 1241425"/>
              <a:gd name="connsiteX5" fmla="*/ 1534259 w 1534259"/>
              <a:gd name="connsiteY5" fmla="*/ 1079767 h 1241425"/>
              <a:gd name="connsiteX6" fmla="*/ 1372601 w 1534259"/>
              <a:gd name="connsiteY6" fmla="*/ 1241425 h 1241425"/>
              <a:gd name="connsiteX7" fmla="*/ 170330 w 1534259"/>
              <a:gd name="connsiteY7" fmla="*/ 1241425 h 1241425"/>
              <a:gd name="connsiteX8" fmla="*/ 8672 w 1534259"/>
              <a:gd name="connsiteY8" fmla="*/ 1079767 h 1241425"/>
              <a:gd name="connsiteX9" fmla="*/ 8672 w 1534259"/>
              <a:gd name="connsiteY9" fmla="*/ 161658 h 124142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3668 h 1243435"/>
              <a:gd name="connsiteX1" fmla="*/ 10644 w 1535715"/>
              <a:gd name="connsiteY1" fmla="*/ 0 h 1243435"/>
              <a:gd name="connsiteX2" fmla="*/ 171786 w 1535715"/>
              <a:gd name="connsiteY2" fmla="*/ 2010 h 1243435"/>
              <a:gd name="connsiteX3" fmla="*/ 1374057 w 1535715"/>
              <a:gd name="connsiteY3" fmla="*/ 2010 h 1243435"/>
              <a:gd name="connsiteX4" fmla="*/ 1535715 w 1535715"/>
              <a:gd name="connsiteY4" fmla="*/ 163668 h 1243435"/>
              <a:gd name="connsiteX5" fmla="*/ 1535715 w 1535715"/>
              <a:gd name="connsiteY5" fmla="*/ 1081777 h 1243435"/>
              <a:gd name="connsiteX6" fmla="*/ 1374057 w 1535715"/>
              <a:gd name="connsiteY6" fmla="*/ 1243435 h 1243435"/>
              <a:gd name="connsiteX7" fmla="*/ 171786 w 1535715"/>
              <a:gd name="connsiteY7" fmla="*/ 1243435 h 1243435"/>
              <a:gd name="connsiteX8" fmla="*/ 10128 w 1535715"/>
              <a:gd name="connsiteY8" fmla="*/ 1081777 h 1243435"/>
              <a:gd name="connsiteX9" fmla="*/ 10128 w 1535715"/>
              <a:gd name="connsiteY9" fmla="*/ 163668 h 124343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1808 w 1537395"/>
              <a:gd name="connsiteY0" fmla="*/ 161803 h 1241570"/>
              <a:gd name="connsiteX1" fmla="*/ 12324 w 1537395"/>
              <a:gd name="connsiteY1" fmla="*/ 0 h 1241570"/>
              <a:gd name="connsiteX2" fmla="*/ 173466 w 1537395"/>
              <a:gd name="connsiteY2" fmla="*/ 145 h 1241570"/>
              <a:gd name="connsiteX3" fmla="*/ 1375737 w 1537395"/>
              <a:gd name="connsiteY3" fmla="*/ 145 h 1241570"/>
              <a:gd name="connsiteX4" fmla="*/ 1537395 w 1537395"/>
              <a:gd name="connsiteY4" fmla="*/ 161803 h 1241570"/>
              <a:gd name="connsiteX5" fmla="*/ 1537395 w 1537395"/>
              <a:gd name="connsiteY5" fmla="*/ 1079912 h 1241570"/>
              <a:gd name="connsiteX6" fmla="*/ 1375737 w 1537395"/>
              <a:gd name="connsiteY6" fmla="*/ 1241570 h 1241570"/>
              <a:gd name="connsiteX7" fmla="*/ 173466 w 1537395"/>
              <a:gd name="connsiteY7" fmla="*/ 1241570 h 1241570"/>
              <a:gd name="connsiteX8" fmla="*/ 11808 w 1537395"/>
              <a:gd name="connsiteY8" fmla="*/ 1079912 h 1241570"/>
              <a:gd name="connsiteX9" fmla="*/ 11808 w 1537395"/>
              <a:gd name="connsiteY9" fmla="*/ 161803 h 1241570"/>
              <a:gd name="connsiteX0" fmla="*/ 346 w 1525933"/>
              <a:gd name="connsiteY0" fmla="*/ 161803 h 1241570"/>
              <a:gd name="connsiteX1" fmla="*/ 862 w 1525933"/>
              <a:gd name="connsiteY1" fmla="*/ 0 h 1241570"/>
              <a:gd name="connsiteX2" fmla="*/ 162004 w 1525933"/>
              <a:gd name="connsiteY2" fmla="*/ 145 h 1241570"/>
              <a:gd name="connsiteX3" fmla="*/ 1364275 w 1525933"/>
              <a:gd name="connsiteY3" fmla="*/ 145 h 1241570"/>
              <a:gd name="connsiteX4" fmla="*/ 1525933 w 1525933"/>
              <a:gd name="connsiteY4" fmla="*/ 161803 h 1241570"/>
              <a:gd name="connsiteX5" fmla="*/ 1525933 w 1525933"/>
              <a:gd name="connsiteY5" fmla="*/ 1079912 h 1241570"/>
              <a:gd name="connsiteX6" fmla="*/ 1364275 w 1525933"/>
              <a:gd name="connsiteY6" fmla="*/ 1241570 h 1241570"/>
              <a:gd name="connsiteX7" fmla="*/ 162004 w 1525933"/>
              <a:gd name="connsiteY7" fmla="*/ 1241570 h 1241570"/>
              <a:gd name="connsiteX8" fmla="*/ 346 w 1525933"/>
              <a:gd name="connsiteY8" fmla="*/ 1079912 h 1241570"/>
              <a:gd name="connsiteX9" fmla="*/ 346 w 1525933"/>
              <a:gd name="connsiteY9" fmla="*/ 161803 h 1241570"/>
              <a:gd name="connsiteX0" fmla="*/ 872 w 1526459"/>
              <a:gd name="connsiteY0" fmla="*/ 161803 h 1241570"/>
              <a:gd name="connsiteX1" fmla="*/ 1388 w 1526459"/>
              <a:gd name="connsiteY1" fmla="*/ 0 h 1241570"/>
              <a:gd name="connsiteX2" fmla="*/ 162530 w 1526459"/>
              <a:gd name="connsiteY2" fmla="*/ 145 h 1241570"/>
              <a:gd name="connsiteX3" fmla="*/ 1364801 w 1526459"/>
              <a:gd name="connsiteY3" fmla="*/ 145 h 1241570"/>
              <a:gd name="connsiteX4" fmla="*/ 1526459 w 1526459"/>
              <a:gd name="connsiteY4" fmla="*/ 161803 h 1241570"/>
              <a:gd name="connsiteX5" fmla="*/ 1526459 w 1526459"/>
              <a:gd name="connsiteY5" fmla="*/ 1079912 h 1241570"/>
              <a:gd name="connsiteX6" fmla="*/ 1364801 w 1526459"/>
              <a:gd name="connsiteY6" fmla="*/ 1241570 h 1241570"/>
              <a:gd name="connsiteX7" fmla="*/ 162530 w 1526459"/>
              <a:gd name="connsiteY7" fmla="*/ 1241570 h 1241570"/>
              <a:gd name="connsiteX8" fmla="*/ 872 w 1526459"/>
              <a:gd name="connsiteY8" fmla="*/ 1079912 h 1241570"/>
              <a:gd name="connsiteX9" fmla="*/ 872 w 1526459"/>
              <a:gd name="connsiteY9" fmla="*/ 161803 h 1241570"/>
              <a:gd name="connsiteX0" fmla="*/ 470 w 1526057"/>
              <a:gd name="connsiteY0" fmla="*/ 161803 h 1241570"/>
              <a:gd name="connsiteX1" fmla="*/ 986 w 1526057"/>
              <a:gd name="connsiteY1" fmla="*/ 0 h 1241570"/>
              <a:gd name="connsiteX2" fmla="*/ 162128 w 1526057"/>
              <a:gd name="connsiteY2" fmla="*/ 145 h 1241570"/>
              <a:gd name="connsiteX3" fmla="*/ 1364399 w 1526057"/>
              <a:gd name="connsiteY3" fmla="*/ 145 h 1241570"/>
              <a:gd name="connsiteX4" fmla="*/ 1526057 w 1526057"/>
              <a:gd name="connsiteY4" fmla="*/ 161803 h 1241570"/>
              <a:gd name="connsiteX5" fmla="*/ 1526057 w 1526057"/>
              <a:gd name="connsiteY5" fmla="*/ 1079912 h 1241570"/>
              <a:gd name="connsiteX6" fmla="*/ 1364399 w 1526057"/>
              <a:gd name="connsiteY6" fmla="*/ 1241570 h 1241570"/>
              <a:gd name="connsiteX7" fmla="*/ 162128 w 1526057"/>
              <a:gd name="connsiteY7" fmla="*/ 1241570 h 1241570"/>
              <a:gd name="connsiteX8" fmla="*/ 470 w 1526057"/>
              <a:gd name="connsiteY8" fmla="*/ 1079912 h 1241570"/>
              <a:gd name="connsiteX9" fmla="*/ 470 w 1526057"/>
              <a:gd name="connsiteY9" fmla="*/ 161803 h 1241570"/>
              <a:gd name="connsiteX0" fmla="*/ 649 w 1526236"/>
              <a:gd name="connsiteY0" fmla="*/ 161803 h 1241570"/>
              <a:gd name="connsiteX1" fmla="*/ 1165 w 1526236"/>
              <a:gd name="connsiteY1" fmla="*/ 0 h 1241570"/>
              <a:gd name="connsiteX2" fmla="*/ 162307 w 1526236"/>
              <a:gd name="connsiteY2" fmla="*/ 145 h 1241570"/>
              <a:gd name="connsiteX3" fmla="*/ 1364578 w 1526236"/>
              <a:gd name="connsiteY3" fmla="*/ 145 h 1241570"/>
              <a:gd name="connsiteX4" fmla="*/ 1526236 w 1526236"/>
              <a:gd name="connsiteY4" fmla="*/ 161803 h 1241570"/>
              <a:gd name="connsiteX5" fmla="*/ 1526236 w 1526236"/>
              <a:gd name="connsiteY5" fmla="*/ 1079912 h 1241570"/>
              <a:gd name="connsiteX6" fmla="*/ 1364578 w 1526236"/>
              <a:gd name="connsiteY6" fmla="*/ 1241570 h 1241570"/>
              <a:gd name="connsiteX7" fmla="*/ 162307 w 1526236"/>
              <a:gd name="connsiteY7" fmla="*/ 1241570 h 1241570"/>
              <a:gd name="connsiteX8" fmla="*/ 649 w 1526236"/>
              <a:gd name="connsiteY8" fmla="*/ 1079912 h 1241570"/>
              <a:gd name="connsiteX9" fmla="*/ 649 w 1526236"/>
              <a:gd name="connsiteY9" fmla="*/ 161803 h 1241570"/>
              <a:gd name="connsiteX0" fmla="*/ 268 w 1525855"/>
              <a:gd name="connsiteY0" fmla="*/ 161803 h 1241570"/>
              <a:gd name="connsiteX1" fmla="*/ 784 w 1525855"/>
              <a:gd name="connsiteY1" fmla="*/ 0 h 1241570"/>
              <a:gd name="connsiteX2" fmla="*/ 161926 w 1525855"/>
              <a:gd name="connsiteY2" fmla="*/ 145 h 1241570"/>
              <a:gd name="connsiteX3" fmla="*/ 1364197 w 1525855"/>
              <a:gd name="connsiteY3" fmla="*/ 145 h 1241570"/>
              <a:gd name="connsiteX4" fmla="*/ 1525855 w 1525855"/>
              <a:gd name="connsiteY4" fmla="*/ 161803 h 1241570"/>
              <a:gd name="connsiteX5" fmla="*/ 1525855 w 1525855"/>
              <a:gd name="connsiteY5" fmla="*/ 1079912 h 1241570"/>
              <a:gd name="connsiteX6" fmla="*/ 1364197 w 1525855"/>
              <a:gd name="connsiteY6" fmla="*/ 1241570 h 1241570"/>
              <a:gd name="connsiteX7" fmla="*/ 161926 w 1525855"/>
              <a:gd name="connsiteY7" fmla="*/ 1241570 h 1241570"/>
              <a:gd name="connsiteX8" fmla="*/ 268 w 1525855"/>
              <a:gd name="connsiteY8" fmla="*/ 1079912 h 1241570"/>
              <a:gd name="connsiteX9" fmla="*/ 268 w 1525855"/>
              <a:gd name="connsiteY9" fmla="*/ 161803 h 1241570"/>
              <a:gd name="connsiteX0" fmla="*/ 359 w 1525946"/>
              <a:gd name="connsiteY0" fmla="*/ 161803 h 1241570"/>
              <a:gd name="connsiteX1" fmla="*/ 253 w 1525946"/>
              <a:gd name="connsiteY1" fmla="*/ 0 h 1241570"/>
              <a:gd name="connsiteX2" fmla="*/ 162017 w 1525946"/>
              <a:gd name="connsiteY2" fmla="*/ 145 h 1241570"/>
              <a:gd name="connsiteX3" fmla="*/ 1364288 w 1525946"/>
              <a:gd name="connsiteY3" fmla="*/ 145 h 1241570"/>
              <a:gd name="connsiteX4" fmla="*/ 1525946 w 1525946"/>
              <a:gd name="connsiteY4" fmla="*/ 161803 h 1241570"/>
              <a:gd name="connsiteX5" fmla="*/ 1525946 w 1525946"/>
              <a:gd name="connsiteY5" fmla="*/ 1079912 h 1241570"/>
              <a:gd name="connsiteX6" fmla="*/ 1364288 w 1525946"/>
              <a:gd name="connsiteY6" fmla="*/ 1241570 h 1241570"/>
              <a:gd name="connsiteX7" fmla="*/ 162017 w 1525946"/>
              <a:gd name="connsiteY7" fmla="*/ 1241570 h 1241570"/>
              <a:gd name="connsiteX8" fmla="*/ 359 w 1525946"/>
              <a:gd name="connsiteY8" fmla="*/ 1079912 h 1241570"/>
              <a:gd name="connsiteX9" fmla="*/ 359 w 1525946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364035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25693" h="1241570">
                <a:moveTo>
                  <a:pt x="106" y="161803"/>
                </a:moveTo>
                <a:cubicBezTo>
                  <a:pt x="-210" y="159620"/>
                  <a:pt x="409" y="7672"/>
                  <a:pt x="0" y="0"/>
                </a:cubicBezTo>
                <a:cubicBezTo>
                  <a:pt x="6219" y="388"/>
                  <a:pt x="110655" y="450"/>
                  <a:pt x="161764" y="145"/>
                </a:cubicBezTo>
                <a:lnTo>
                  <a:pt x="1364035" y="145"/>
                </a:lnTo>
                <a:cubicBezTo>
                  <a:pt x="1453316" y="145"/>
                  <a:pt x="1525693" y="72522"/>
                  <a:pt x="1525693" y="161803"/>
                </a:cubicBezTo>
                <a:lnTo>
                  <a:pt x="1525693" y="1079912"/>
                </a:lnTo>
                <a:cubicBezTo>
                  <a:pt x="1525693" y="1169193"/>
                  <a:pt x="1453316" y="1241570"/>
                  <a:pt x="1364035" y="1241570"/>
                </a:cubicBezTo>
                <a:lnTo>
                  <a:pt x="161764" y="1241570"/>
                </a:lnTo>
                <a:cubicBezTo>
                  <a:pt x="72483" y="1241570"/>
                  <a:pt x="106" y="1169193"/>
                  <a:pt x="106" y="1079912"/>
                </a:cubicBezTo>
                <a:lnTo>
                  <a:pt x="106" y="1618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tIns="0" bIns="252000" anchor="b"/>
          <a:lstStyle>
            <a:lvl1pPr marL="0" indent="0" algn="ctr">
              <a:buNone/>
              <a:defRPr sz="2806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nl-NL" noProof="0"/>
          </a:p>
        </p:txBody>
      </p:sp>
      <p:sp>
        <p:nvSpPr>
          <p:cNvPr id="32" name="Tijdelijke aanduiding voor tekst 2">
            <a:extLst>
              <a:ext uri="{FF2B5EF4-FFF2-40B4-BE49-F238E27FC236}">
                <a16:creationId xmlns:a16="http://schemas.microsoft.com/office/drawing/2014/main" id="{F4636EEB-5D3E-40A6-BA1D-52AAF0683C6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533803" y="20234339"/>
            <a:ext cx="25627524" cy="5476873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089185" y="2382"/>
                </a:lnTo>
                <a:cubicBezTo>
                  <a:pt x="7208841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08841" y="1240632"/>
                  <a:pt x="7089185" y="1240632"/>
                </a:cubicBezTo>
                <a:lnTo>
                  <a:pt x="216824" y="1240632"/>
                </a:lnTo>
                <a:cubicBezTo>
                  <a:pt x="9716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>
              <a:spcAft>
                <a:spcPts val="0"/>
              </a:spcAft>
              <a:defRPr sz="4209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33" name="Tijdelijke aanduiding voor afbeelding 6">
            <a:extLst>
              <a:ext uri="{FF2B5EF4-FFF2-40B4-BE49-F238E27FC236}">
                <a16:creationId xmlns:a16="http://schemas.microsoft.com/office/drawing/2014/main" id="{E282FF1F-8DC9-4A36-8B0E-4868FD1C3CCE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1696814" y="20228383"/>
            <a:ext cx="5345254" cy="5474264"/>
          </a:xfrm>
          <a:custGeom>
            <a:avLst/>
            <a:gdLst>
              <a:gd name="connsiteX0" fmla="*/ 0 w 1525587"/>
              <a:gd name="connsiteY0" fmla="*/ 161658 h 1241425"/>
              <a:gd name="connsiteX1" fmla="*/ 161658 w 1525587"/>
              <a:gd name="connsiteY1" fmla="*/ 0 h 1241425"/>
              <a:gd name="connsiteX2" fmla="*/ 1363929 w 1525587"/>
              <a:gd name="connsiteY2" fmla="*/ 0 h 1241425"/>
              <a:gd name="connsiteX3" fmla="*/ 1525587 w 1525587"/>
              <a:gd name="connsiteY3" fmla="*/ 161658 h 1241425"/>
              <a:gd name="connsiteX4" fmla="*/ 1525587 w 1525587"/>
              <a:gd name="connsiteY4" fmla="*/ 1079767 h 1241425"/>
              <a:gd name="connsiteX5" fmla="*/ 1363929 w 1525587"/>
              <a:gd name="connsiteY5" fmla="*/ 1241425 h 1241425"/>
              <a:gd name="connsiteX6" fmla="*/ 161658 w 1525587"/>
              <a:gd name="connsiteY6" fmla="*/ 1241425 h 1241425"/>
              <a:gd name="connsiteX7" fmla="*/ 0 w 1525587"/>
              <a:gd name="connsiteY7" fmla="*/ 1079767 h 1241425"/>
              <a:gd name="connsiteX8" fmla="*/ 0 w 1525587"/>
              <a:gd name="connsiteY8" fmla="*/ 161658 h 1241425"/>
              <a:gd name="connsiteX0" fmla="*/ 0 w 1525587"/>
              <a:gd name="connsiteY0" fmla="*/ 161658 h 1241425"/>
              <a:gd name="connsiteX1" fmla="*/ 42862 w 1525587"/>
              <a:gd name="connsiteY1" fmla="*/ 48418 h 1241425"/>
              <a:gd name="connsiteX2" fmla="*/ 161658 w 1525587"/>
              <a:gd name="connsiteY2" fmla="*/ 0 h 1241425"/>
              <a:gd name="connsiteX3" fmla="*/ 1363929 w 1525587"/>
              <a:gd name="connsiteY3" fmla="*/ 0 h 1241425"/>
              <a:gd name="connsiteX4" fmla="*/ 1525587 w 1525587"/>
              <a:gd name="connsiteY4" fmla="*/ 161658 h 1241425"/>
              <a:gd name="connsiteX5" fmla="*/ 1525587 w 1525587"/>
              <a:gd name="connsiteY5" fmla="*/ 1079767 h 1241425"/>
              <a:gd name="connsiteX6" fmla="*/ 1363929 w 1525587"/>
              <a:gd name="connsiteY6" fmla="*/ 1241425 h 1241425"/>
              <a:gd name="connsiteX7" fmla="*/ 161658 w 1525587"/>
              <a:gd name="connsiteY7" fmla="*/ 1241425 h 1241425"/>
              <a:gd name="connsiteX8" fmla="*/ 0 w 1525587"/>
              <a:gd name="connsiteY8" fmla="*/ 1079767 h 1241425"/>
              <a:gd name="connsiteX9" fmla="*/ 0 w 1525587"/>
              <a:gd name="connsiteY9" fmla="*/ 161658 h 1241425"/>
              <a:gd name="connsiteX0" fmla="*/ 8672 w 1534259"/>
              <a:gd name="connsiteY0" fmla="*/ 165982 h 1245749"/>
              <a:gd name="connsiteX1" fmla="*/ 11053 w 1534259"/>
              <a:gd name="connsiteY1" fmla="*/ 12261 h 1245749"/>
              <a:gd name="connsiteX2" fmla="*/ 170330 w 1534259"/>
              <a:gd name="connsiteY2" fmla="*/ 4324 h 1245749"/>
              <a:gd name="connsiteX3" fmla="*/ 1372601 w 1534259"/>
              <a:gd name="connsiteY3" fmla="*/ 4324 h 1245749"/>
              <a:gd name="connsiteX4" fmla="*/ 1534259 w 1534259"/>
              <a:gd name="connsiteY4" fmla="*/ 165982 h 1245749"/>
              <a:gd name="connsiteX5" fmla="*/ 1534259 w 1534259"/>
              <a:gd name="connsiteY5" fmla="*/ 1084091 h 1245749"/>
              <a:gd name="connsiteX6" fmla="*/ 1372601 w 1534259"/>
              <a:gd name="connsiteY6" fmla="*/ 1245749 h 1245749"/>
              <a:gd name="connsiteX7" fmla="*/ 170330 w 1534259"/>
              <a:gd name="connsiteY7" fmla="*/ 1245749 h 1245749"/>
              <a:gd name="connsiteX8" fmla="*/ 8672 w 1534259"/>
              <a:gd name="connsiteY8" fmla="*/ 1084091 h 1245749"/>
              <a:gd name="connsiteX9" fmla="*/ 8672 w 1534259"/>
              <a:gd name="connsiteY9" fmla="*/ 165982 h 1245749"/>
              <a:gd name="connsiteX0" fmla="*/ 8672 w 1534259"/>
              <a:gd name="connsiteY0" fmla="*/ 167890 h 1247657"/>
              <a:gd name="connsiteX1" fmla="*/ 11053 w 1534259"/>
              <a:gd name="connsiteY1" fmla="*/ 14169 h 1247657"/>
              <a:gd name="connsiteX2" fmla="*/ 170330 w 1534259"/>
              <a:gd name="connsiteY2" fmla="*/ 6232 h 1247657"/>
              <a:gd name="connsiteX3" fmla="*/ 1372601 w 1534259"/>
              <a:gd name="connsiteY3" fmla="*/ 6232 h 1247657"/>
              <a:gd name="connsiteX4" fmla="*/ 1534259 w 1534259"/>
              <a:gd name="connsiteY4" fmla="*/ 167890 h 1247657"/>
              <a:gd name="connsiteX5" fmla="*/ 1534259 w 1534259"/>
              <a:gd name="connsiteY5" fmla="*/ 1085999 h 1247657"/>
              <a:gd name="connsiteX6" fmla="*/ 1372601 w 1534259"/>
              <a:gd name="connsiteY6" fmla="*/ 1247657 h 1247657"/>
              <a:gd name="connsiteX7" fmla="*/ 170330 w 1534259"/>
              <a:gd name="connsiteY7" fmla="*/ 1247657 h 1247657"/>
              <a:gd name="connsiteX8" fmla="*/ 8672 w 1534259"/>
              <a:gd name="connsiteY8" fmla="*/ 1085999 h 1247657"/>
              <a:gd name="connsiteX9" fmla="*/ 8672 w 1534259"/>
              <a:gd name="connsiteY9" fmla="*/ 167890 h 1247657"/>
              <a:gd name="connsiteX0" fmla="*/ 8672 w 1534259"/>
              <a:gd name="connsiteY0" fmla="*/ 161658 h 1241425"/>
              <a:gd name="connsiteX1" fmla="*/ 11053 w 1534259"/>
              <a:gd name="connsiteY1" fmla="*/ 7937 h 1241425"/>
              <a:gd name="connsiteX2" fmla="*/ 170330 w 1534259"/>
              <a:gd name="connsiteY2" fmla="*/ 0 h 1241425"/>
              <a:gd name="connsiteX3" fmla="*/ 1372601 w 1534259"/>
              <a:gd name="connsiteY3" fmla="*/ 0 h 1241425"/>
              <a:gd name="connsiteX4" fmla="*/ 1534259 w 1534259"/>
              <a:gd name="connsiteY4" fmla="*/ 161658 h 1241425"/>
              <a:gd name="connsiteX5" fmla="*/ 1534259 w 1534259"/>
              <a:gd name="connsiteY5" fmla="*/ 1079767 h 1241425"/>
              <a:gd name="connsiteX6" fmla="*/ 1372601 w 1534259"/>
              <a:gd name="connsiteY6" fmla="*/ 1241425 h 1241425"/>
              <a:gd name="connsiteX7" fmla="*/ 170330 w 1534259"/>
              <a:gd name="connsiteY7" fmla="*/ 1241425 h 1241425"/>
              <a:gd name="connsiteX8" fmla="*/ 8672 w 1534259"/>
              <a:gd name="connsiteY8" fmla="*/ 1079767 h 1241425"/>
              <a:gd name="connsiteX9" fmla="*/ 8672 w 1534259"/>
              <a:gd name="connsiteY9" fmla="*/ 161658 h 124142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3668 h 1243435"/>
              <a:gd name="connsiteX1" fmla="*/ 10644 w 1535715"/>
              <a:gd name="connsiteY1" fmla="*/ 0 h 1243435"/>
              <a:gd name="connsiteX2" fmla="*/ 171786 w 1535715"/>
              <a:gd name="connsiteY2" fmla="*/ 2010 h 1243435"/>
              <a:gd name="connsiteX3" fmla="*/ 1374057 w 1535715"/>
              <a:gd name="connsiteY3" fmla="*/ 2010 h 1243435"/>
              <a:gd name="connsiteX4" fmla="*/ 1535715 w 1535715"/>
              <a:gd name="connsiteY4" fmla="*/ 163668 h 1243435"/>
              <a:gd name="connsiteX5" fmla="*/ 1535715 w 1535715"/>
              <a:gd name="connsiteY5" fmla="*/ 1081777 h 1243435"/>
              <a:gd name="connsiteX6" fmla="*/ 1374057 w 1535715"/>
              <a:gd name="connsiteY6" fmla="*/ 1243435 h 1243435"/>
              <a:gd name="connsiteX7" fmla="*/ 171786 w 1535715"/>
              <a:gd name="connsiteY7" fmla="*/ 1243435 h 1243435"/>
              <a:gd name="connsiteX8" fmla="*/ 10128 w 1535715"/>
              <a:gd name="connsiteY8" fmla="*/ 1081777 h 1243435"/>
              <a:gd name="connsiteX9" fmla="*/ 10128 w 1535715"/>
              <a:gd name="connsiteY9" fmla="*/ 163668 h 124343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1808 w 1537395"/>
              <a:gd name="connsiteY0" fmla="*/ 161803 h 1241570"/>
              <a:gd name="connsiteX1" fmla="*/ 12324 w 1537395"/>
              <a:gd name="connsiteY1" fmla="*/ 0 h 1241570"/>
              <a:gd name="connsiteX2" fmla="*/ 173466 w 1537395"/>
              <a:gd name="connsiteY2" fmla="*/ 145 h 1241570"/>
              <a:gd name="connsiteX3" fmla="*/ 1375737 w 1537395"/>
              <a:gd name="connsiteY3" fmla="*/ 145 h 1241570"/>
              <a:gd name="connsiteX4" fmla="*/ 1537395 w 1537395"/>
              <a:gd name="connsiteY4" fmla="*/ 161803 h 1241570"/>
              <a:gd name="connsiteX5" fmla="*/ 1537395 w 1537395"/>
              <a:gd name="connsiteY5" fmla="*/ 1079912 h 1241570"/>
              <a:gd name="connsiteX6" fmla="*/ 1375737 w 1537395"/>
              <a:gd name="connsiteY6" fmla="*/ 1241570 h 1241570"/>
              <a:gd name="connsiteX7" fmla="*/ 173466 w 1537395"/>
              <a:gd name="connsiteY7" fmla="*/ 1241570 h 1241570"/>
              <a:gd name="connsiteX8" fmla="*/ 11808 w 1537395"/>
              <a:gd name="connsiteY8" fmla="*/ 1079912 h 1241570"/>
              <a:gd name="connsiteX9" fmla="*/ 11808 w 1537395"/>
              <a:gd name="connsiteY9" fmla="*/ 161803 h 1241570"/>
              <a:gd name="connsiteX0" fmla="*/ 346 w 1525933"/>
              <a:gd name="connsiteY0" fmla="*/ 161803 h 1241570"/>
              <a:gd name="connsiteX1" fmla="*/ 862 w 1525933"/>
              <a:gd name="connsiteY1" fmla="*/ 0 h 1241570"/>
              <a:gd name="connsiteX2" fmla="*/ 162004 w 1525933"/>
              <a:gd name="connsiteY2" fmla="*/ 145 h 1241570"/>
              <a:gd name="connsiteX3" fmla="*/ 1364275 w 1525933"/>
              <a:gd name="connsiteY3" fmla="*/ 145 h 1241570"/>
              <a:gd name="connsiteX4" fmla="*/ 1525933 w 1525933"/>
              <a:gd name="connsiteY4" fmla="*/ 161803 h 1241570"/>
              <a:gd name="connsiteX5" fmla="*/ 1525933 w 1525933"/>
              <a:gd name="connsiteY5" fmla="*/ 1079912 h 1241570"/>
              <a:gd name="connsiteX6" fmla="*/ 1364275 w 1525933"/>
              <a:gd name="connsiteY6" fmla="*/ 1241570 h 1241570"/>
              <a:gd name="connsiteX7" fmla="*/ 162004 w 1525933"/>
              <a:gd name="connsiteY7" fmla="*/ 1241570 h 1241570"/>
              <a:gd name="connsiteX8" fmla="*/ 346 w 1525933"/>
              <a:gd name="connsiteY8" fmla="*/ 1079912 h 1241570"/>
              <a:gd name="connsiteX9" fmla="*/ 346 w 1525933"/>
              <a:gd name="connsiteY9" fmla="*/ 161803 h 1241570"/>
              <a:gd name="connsiteX0" fmla="*/ 872 w 1526459"/>
              <a:gd name="connsiteY0" fmla="*/ 161803 h 1241570"/>
              <a:gd name="connsiteX1" fmla="*/ 1388 w 1526459"/>
              <a:gd name="connsiteY1" fmla="*/ 0 h 1241570"/>
              <a:gd name="connsiteX2" fmla="*/ 162530 w 1526459"/>
              <a:gd name="connsiteY2" fmla="*/ 145 h 1241570"/>
              <a:gd name="connsiteX3" fmla="*/ 1364801 w 1526459"/>
              <a:gd name="connsiteY3" fmla="*/ 145 h 1241570"/>
              <a:gd name="connsiteX4" fmla="*/ 1526459 w 1526459"/>
              <a:gd name="connsiteY4" fmla="*/ 161803 h 1241570"/>
              <a:gd name="connsiteX5" fmla="*/ 1526459 w 1526459"/>
              <a:gd name="connsiteY5" fmla="*/ 1079912 h 1241570"/>
              <a:gd name="connsiteX6" fmla="*/ 1364801 w 1526459"/>
              <a:gd name="connsiteY6" fmla="*/ 1241570 h 1241570"/>
              <a:gd name="connsiteX7" fmla="*/ 162530 w 1526459"/>
              <a:gd name="connsiteY7" fmla="*/ 1241570 h 1241570"/>
              <a:gd name="connsiteX8" fmla="*/ 872 w 1526459"/>
              <a:gd name="connsiteY8" fmla="*/ 1079912 h 1241570"/>
              <a:gd name="connsiteX9" fmla="*/ 872 w 1526459"/>
              <a:gd name="connsiteY9" fmla="*/ 161803 h 1241570"/>
              <a:gd name="connsiteX0" fmla="*/ 470 w 1526057"/>
              <a:gd name="connsiteY0" fmla="*/ 161803 h 1241570"/>
              <a:gd name="connsiteX1" fmla="*/ 986 w 1526057"/>
              <a:gd name="connsiteY1" fmla="*/ 0 h 1241570"/>
              <a:gd name="connsiteX2" fmla="*/ 162128 w 1526057"/>
              <a:gd name="connsiteY2" fmla="*/ 145 h 1241570"/>
              <a:gd name="connsiteX3" fmla="*/ 1364399 w 1526057"/>
              <a:gd name="connsiteY3" fmla="*/ 145 h 1241570"/>
              <a:gd name="connsiteX4" fmla="*/ 1526057 w 1526057"/>
              <a:gd name="connsiteY4" fmla="*/ 161803 h 1241570"/>
              <a:gd name="connsiteX5" fmla="*/ 1526057 w 1526057"/>
              <a:gd name="connsiteY5" fmla="*/ 1079912 h 1241570"/>
              <a:gd name="connsiteX6" fmla="*/ 1364399 w 1526057"/>
              <a:gd name="connsiteY6" fmla="*/ 1241570 h 1241570"/>
              <a:gd name="connsiteX7" fmla="*/ 162128 w 1526057"/>
              <a:gd name="connsiteY7" fmla="*/ 1241570 h 1241570"/>
              <a:gd name="connsiteX8" fmla="*/ 470 w 1526057"/>
              <a:gd name="connsiteY8" fmla="*/ 1079912 h 1241570"/>
              <a:gd name="connsiteX9" fmla="*/ 470 w 1526057"/>
              <a:gd name="connsiteY9" fmla="*/ 161803 h 1241570"/>
              <a:gd name="connsiteX0" fmla="*/ 649 w 1526236"/>
              <a:gd name="connsiteY0" fmla="*/ 161803 h 1241570"/>
              <a:gd name="connsiteX1" fmla="*/ 1165 w 1526236"/>
              <a:gd name="connsiteY1" fmla="*/ 0 h 1241570"/>
              <a:gd name="connsiteX2" fmla="*/ 162307 w 1526236"/>
              <a:gd name="connsiteY2" fmla="*/ 145 h 1241570"/>
              <a:gd name="connsiteX3" fmla="*/ 1364578 w 1526236"/>
              <a:gd name="connsiteY3" fmla="*/ 145 h 1241570"/>
              <a:gd name="connsiteX4" fmla="*/ 1526236 w 1526236"/>
              <a:gd name="connsiteY4" fmla="*/ 161803 h 1241570"/>
              <a:gd name="connsiteX5" fmla="*/ 1526236 w 1526236"/>
              <a:gd name="connsiteY5" fmla="*/ 1079912 h 1241570"/>
              <a:gd name="connsiteX6" fmla="*/ 1364578 w 1526236"/>
              <a:gd name="connsiteY6" fmla="*/ 1241570 h 1241570"/>
              <a:gd name="connsiteX7" fmla="*/ 162307 w 1526236"/>
              <a:gd name="connsiteY7" fmla="*/ 1241570 h 1241570"/>
              <a:gd name="connsiteX8" fmla="*/ 649 w 1526236"/>
              <a:gd name="connsiteY8" fmla="*/ 1079912 h 1241570"/>
              <a:gd name="connsiteX9" fmla="*/ 649 w 1526236"/>
              <a:gd name="connsiteY9" fmla="*/ 161803 h 1241570"/>
              <a:gd name="connsiteX0" fmla="*/ 268 w 1525855"/>
              <a:gd name="connsiteY0" fmla="*/ 161803 h 1241570"/>
              <a:gd name="connsiteX1" fmla="*/ 784 w 1525855"/>
              <a:gd name="connsiteY1" fmla="*/ 0 h 1241570"/>
              <a:gd name="connsiteX2" fmla="*/ 161926 w 1525855"/>
              <a:gd name="connsiteY2" fmla="*/ 145 h 1241570"/>
              <a:gd name="connsiteX3" fmla="*/ 1364197 w 1525855"/>
              <a:gd name="connsiteY3" fmla="*/ 145 h 1241570"/>
              <a:gd name="connsiteX4" fmla="*/ 1525855 w 1525855"/>
              <a:gd name="connsiteY4" fmla="*/ 161803 h 1241570"/>
              <a:gd name="connsiteX5" fmla="*/ 1525855 w 1525855"/>
              <a:gd name="connsiteY5" fmla="*/ 1079912 h 1241570"/>
              <a:gd name="connsiteX6" fmla="*/ 1364197 w 1525855"/>
              <a:gd name="connsiteY6" fmla="*/ 1241570 h 1241570"/>
              <a:gd name="connsiteX7" fmla="*/ 161926 w 1525855"/>
              <a:gd name="connsiteY7" fmla="*/ 1241570 h 1241570"/>
              <a:gd name="connsiteX8" fmla="*/ 268 w 1525855"/>
              <a:gd name="connsiteY8" fmla="*/ 1079912 h 1241570"/>
              <a:gd name="connsiteX9" fmla="*/ 268 w 1525855"/>
              <a:gd name="connsiteY9" fmla="*/ 161803 h 1241570"/>
              <a:gd name="connsiteX0" fmla="*/ 359 w 1525946"/>
              <a:gd name="connsiteY0" fmla="*/ 161803 h 1241570"/>
              <a:gd name="connsiteX1" fmla="*/ 253 w 1525946"/>
              <a:gd name="connsiteY1" fmla="*/ 0 h 1241570"/>
              <a:gd name="connsiteX2" fmla="*/ 162017 w 1525946"/>
              <a:gd name="connsiteY2" fmla="*/ 145 h 1241570"/>
              <a:gd name="connsiteX3" fmla="*/ 1364288 w 1525946"/>
              <a:gd name="connsiteY3" fmla="*/ 145 h 1241570"/>
              <a:gd name="connsiteX4" fmla="*/ 1525946 w 1525946"/>
              <a:gd name="connsiteY4" fmla="*/ 161803 h 1241570"/>
              <a:gd name="connsiteX5" fmla="*/ 1525946 w 1525946"/>
              <a:gd name="connsiteY5" fmla="*/ 1079912 h 1241570"/>
              <a:gd name="connsiteX6" fmla="*/ 1364288 w 1525946"/>
              <a:gd name="connsiteY6" fmla="*/ 1241570 h 1241570"/>
              <a:gd name="connsiteX7" fmla="*/ 162017 w 1525946"/>
              <a:gd name="connsiteY7" fmla="*/ 1241570 h 1241570"/>
              <a:gd name="connsiteX8" fmla="*/ 359 w 1525946"/>
              <a:gd name="connsiteY8" fmla="*/ 1079912 h 1241570"/>
              <a:gd name="connsiteX9" fmla="*/ 359 w 1525946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364035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25693" h="1241570">
                <a:moveTo>
                  <a:pt x="106" y="161803"/>
                </a:moveTo>
                <a:cubicBezTo>
                  <a:pt x="-210" y="159620"/>
                  <a:pt x="409" y="7672"/>
                  <a:pt x="0" y="0"/>
                </a:cubicBezTo>
                <a:cubicBezTo>
                  <a:pt x="6219" y="388"/>
                  <a:pt x="110655" y="450"/>
                  <a:pt x="161764" y="145"/>
                </a:cubicBezTo>
                <a:lnTo>
                  <a:pt x="1364035" y="145"/>
                </a:lnTo>
                <a:cubicBezTo>
                  <a:pt x="1453316" y="145"/>
                  <a:pt x="1525693" y="72522"/>
                  <a:pt x="1525693" y="161803"/>
                </a:cubicBezTo>
                <a:lnTo>
                  <a:pt x="1525693" y="1079912"/>
                </a:lnTo>
                <a:cubicBezTo>
                  <a:pt x="1525693" y="1169193"/>
                  <a:pt x="1453316" y="1241570"/>
                  <a:pt x="1364035" y="1241570"/>
                </a:cubicBezTo>
                <a:lnTo>
                  <a:pt x="161764" y="1241570"/>
                </a:lnTo>
                <a:cubicBezTo>
                  <a:pt x="72483" y="1241570"/>
                  <a:pt x="106" y="1169193"/>
                  <a:pt x="106" y="1079912"/>
                </a:cubicBezTo>
                <a:lnTo>
                  <a:pt x="106" y="1618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tIns="0" bIns="252000" anchor="b"/>
          <a:lstStyle>
            <a:lvl1pPr marL="0" indent="0" algn="ctr">
              <a:buNone/>
              <a:defRPr sz="2806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nl-NL" noProof="0"/>
          </a:p>
        </p:txBody>
      </p:sp>
      <p:pic>
        <p:nvPicPr>
          <p:cNvPr id="202" name="Afbeelding 201">
            <a:extLst>
              <a:ext uri="{FF2B5EF4-FFF2-40B4-BE49-F238E27FC236}">
                <a16:creationId xmlns:a16="http://schemas.microsoft.com/office/drawing/2014/main" id="{889F0510-046E-4908-9005-B0269FC547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349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kaders + Uitleg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marR="0" indent="0" algn="l" defTabSz="3207489" rtl="0" eaLnBrk="1" fontAlgn="auto" latinLnBrk="0" hangingPunct="1">
              <a:lnSpc>
                <a:spcPct val="10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6314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grpSp>
        <p:nvGrpSpPr>
          <p:cNvPr id="38" name="GRID" hidden="1">
            <a:extLst>
              <a:ext uri="{FF2B5EF4-FFF2-40B4-BE49-F238E27FC236}">
                <a16:creationId xmlns:a16="http://schemas.microsoft.com/office/drawing/2014/main" id="{51D5F7E8-69F8-47AD-81F5-1645C97607C1}"/>
              </a:ext>
            </a:extLst>
          </p:cNvPr>
          <p:cNvGrpSpPr/>
          <p:nvPr userDrawn="1"/>
        </p:nvGrpSpPr>
        <p:grpSpPr>
          <a:xfrm>
            <a:off x="5" y="0"/>
            <a:ext cx="42767261" cy="30275213"/>
            <a:chOff x="0" y="0"/>
            <a:chExt cx="12192003" cy="6858000"/>
          </a:xfrm>
        </p:grpSpPr>
        <p:sp>
          <p:nvSpPr>
            <p:cNvPr id="39" name="Rechthoek 38">
              <a:extLst>
                <a:ext uri="{FF2B5EF4-FFF2-40B4-BE49-F238E27FC236}">
                  <a16:creationId xmlns:a16="http://schemas.microsoft.com/office/drawing/2014/main" id="{71DB2C92-E6A8-4532-98F6-C917E7F5CD17}"/>
                </a:ext>
              </a:extLst>
            </p:cNvPr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0" name="Rechthoek 39">
              <a:extLst>
                <a:ext uri="{FF2B5EF4-FFF2-40B4-BE49-F238E27FC236}">
                  <a16:creationId xmlns:a16="http://schemas.microsoft.com/office/drawing/2014/main" id="{1283F161-5F8A-45E1-A9F2-F823FC1CB0A5}"/>
                </a:ext>
              </a:extLst>
            </p:cNvPr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1" name="Rechthoek 40">
              <a:extLst>
                <a:ext uri="{FF2B5EF4-FFF2-40B4-BE49-F238E27FC236}">
                  <a16:creationId xmlns:a16="http://schemas.microsoft.com/office/drawing/2014/main" id="{E25AE021-76F4-4113-9019-FB3CB3351AD2}"/>
                </a:ext>
              </a:extLst>
            </p:cNvPr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2" name="Rechthoek 41">
              <a:extLst>
                <a:ext uri="{FF2B5EF4-FFF2-40B4-BE49-F238E27FC236}">
                  <a16:creationId xmlns:a16="http://schemas.microsoft.com/office/drawing/2014/main" id="{4F56F574-960D-4395-B98C-5F49ED9EF418}"/>
                </a:ext>
              </a:extLst>
            </p:cNvPr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34E307D0-CCA0-4BDF-BC5F-E19838E9F7DA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4" name="Rechthoek 43">
              <a:extLst>
                <a:ext uri="{FF2B5EF4-FFF2-40B4-BE49-F238E27FC236}">
                  <a16:creationId xmlns:a16="http://schemas.microsoft.com/office/drawing/2014/main" id="{2AEE0B25-FBCC-4048-A2C0-6D97C3E7FEB7}"/>
                </a:ext>
              </a:extLst>
            </p:cNvPr>
            <p:cNvSpPr/>
            <p:nvPr userDrawn="1"/>
          </p:nvSpPr>
          <p:spPr>
            <a:xfrm rot="5400000">
              <a:off x="5895976" y="-108104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endParaRPr lang="nl-NL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endParaRPr lang="nl-NL" noProof="0"/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8"/>
            <a:ext cx="707315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0D7B9878-B8FD-4C53-84A0-30824F06295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33807" y="6316512"/>
            <a:ext cx="26489657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 marL="0" indent="0">
              <a:buNone/>
              <a:defRPr sz="4209"/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7F82B2D1-AD00-49E7-AE45-05F1D50B110A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696819" y="6310559"/>
            <a:ext cx="5345591" cy="3935014"/>
          </a:xfrm>
          <a:custGeom>
            <a:avLst/>
            <a:gdLst>
              <a:gd name="connsiteX0" fmla="*/ 0 w 1525587"/>
              <a:gd name="connsiteY0" fmla="*/ 161658 h 1241425"/>
              <a:gd name="connsiteX1" fmla="*/ 161658 w 1525587"/>
              <a:gd name="connsiteY1" fmla="*/ 0 h 1241425"/>
              <a:gd name="connsiteX2" fmla="*/ 1363929 w 1525587"/>
              <a:gd name="connsiteY2" fmla="*/ 0 h 1241425"/>
              <a:gd name="connsiteX3" fmla="*/ 1525587 w 1525587"/>
              <a:gd name="connsiteY3" fmla="*/ 161658 h 1241425"/>
              <a:gd name="connsiteX4" fmla="*/ 1525587 w 1525587"/>
              <a:gd name="connsiteY4" fmla="*/ 1079767 h 1241425"/>
              <a:gd name="connsiteX5" fmla="*/ 1363929 w 1525587"/>
              <a:gd name="connsiteY5" fmla="*/ 1241425 h 1241425"/>
              <a:gd name="connsiteX6" fmla="*/ 161658 w 1525587"/>
              <a:gd name="connsiteY6" fmla="*/ 1241425 h 1241425"/>
              <a:gd name="connsiteX7" fmla="*/ 0 w 1525587"/>
              <a:gd name="connsiteY7" fmla="*/ 1079767 h 1241425"/>
              <a:gd name="connsiteX8" fmla="*/ 0 w 1525587"/>
              <a:gd name="connsiteY8" fmla="*/ 161658 h 1241425"/>
              <a:gd name="connsiteX0" fmla="*/ 0 w 1525587"/>
              <a:gd name="connsiteY0" fmla="*/ 161658 h 1241425"/>
              <a:gd name="connsiteX1" fmla="*/ 42862 w 1525587"/>
              <a:gd name="connsiteY1" fmla="*/ 48418 h 1241425"/>
              <a:gd name="connsiteX2" fmla="*/ 161658 w 1525587"/>
              <a:gd name="connsiteY2" fmla="*/ 0 h 1241425"/>
              <a:gd name="connsiteX3" fmla="*/ 1363929 w 1525587"/>
              <a:gd name="connsiteY3" fmla="*/ 0 h 1241425"/>
              <a:gd name="connsiteX4" fmla="*/ 1525587 w 1525587"/>
              <a:gd name="connsiteY4" fmla="*/ 161658 h 1241425"/>
              <a:gd name="connsiteX5" fmla="*/ 1525587 w 1525587"/>
              <a:gd name="connsiteY5" fmla="*/ 1079767 h 1241425"/>
              <a:gd name="connsiteX6" fmla="*/ 1363929 w 1525587"/>
              <a:gd name="connsiteY6" fmla="*/ 1241425 h 1241425"/>
              <a:gd name="connsiteX7" fmla="*/ 161658 w 1525587"/>
              <a:gd name="connsiteY7" fmla="*/ 1241425 h 1241425"/>
              <a:gd name="connsiteX8" fmla="*/ 0 w 1525587"/>
              <a:gd name="connsiteY8" fmla="*/ 1079767 h 1241425"/>
              <a:gd name="connsiteX9" fmla="*/ 0 w 1525587"/>
              <a:gd name="connsiteY9" fmla="*/ 161658 h 1241425"/>
              <a:gd name="connsiteX0" fmla="*/ 8672 w 1534259"/>
              <a:gd name="connsiteY0" fmla="*/ 165982 h 1245749"/>
              <a:gd name="connsiteX1" fmla="*/ 11053 w 1534259"/>
              <a:gd name="connsiteY1" fmla="*/ 12261 h 1245749"/>
              <a:gd name="connsiteX2" fmla="*/ 170330 w 1534259"/>
              <a:gd name="connsiteY2" fmla="*/ 4324 h 1245749"/>
              <a:gd name="connsiteX3" fmla="*/ 1372601 w 1534259"/>
              <a:gd name="connsiteY3" fmla="*/ 4324 h 1245749"/>
              <a:gd name="connsiteX4" fmla="*/ 1534259 w 1534259"/>
              <a:gd name="connsiteY4" fmla="*/ 165982 h 1245749"/>
              <a:gd name="connsiteX5" fmla="*/ 1534259 w 1534259"/>
              <a:gd name="connsiteY5" fmla="*/ 1084091 h 1245749"/>
              <a:gd name="connsiteX6" fmla="*/ 1372601 w 1534259"/>
              <a:gd name="connsiteY6" fmla="*/ 1245749 h 1245749"/>
              <a:gd name="connsiteX7" fmla="*/ 170330 w 1534259"/>
              <a:gd name="connsiteY7" fmla="*/ 1245749 h 1245749"/>
              <a:gd name="connsiteX8" fmla="*/ 8672 w 1534259"/>
              <a:gd name="connsiteY8" fmla="*/ 1084091 h 1245749"/>
              <a:gd name="connsiteX9" fmla="*/ 8672 w 1534259"/>
              <a:gd name="connsiteY9" fmla="*/ 165982 h 1245749"/>
              <a:gd name="connsiteX0" fmla="*/ 8672 w 1534259"/>
              <a:gd name="connsiteY0" fmla="*/ 167890 h 1247657"/>
              <a:gd name="connsiteX1" fmla="*/ 11053 w 1534259"/>
              <a:gd name="connsiteY1" fmla="*/ 14169 h 1247657"/>
              <a:gd name="connsiteX2" fmla="*/ 170330 w 1534259"/>
              <a:gd name="connsiteY2" fmla="*/ 6232 h 1247657"/>
              <a:gd name="connsiteX3" fmla="*/ 1372601 w 1534259"/>
              <a:gd name="connsiteY3" fmla="*/ 6232 h 1247657"/>
              <a:gd name="connsiteX4" fmla="*/ 1534259 w 1534259"/>
              <a:gd name="connsiteY4" fmla="*/ 167890 h 1247657"/>
              <a:gd name="connsiteX5" fmla="*/ 1534259 w 1534259"/>
              <a:gd name="connsiteY5" fmla="*/ 1085999 h 1247657"/>
              <a:gd name="connsiteX6" fmla="*/ 1372601 w 1534259"/>
              <a:gd name="connsiteY6" fmla="*/ 1247657 h 1247657"/>
              <a:gd name="connsiteX7" fmla="*/ 170330 w 1534259"/>
              <a:gd name="connsiteY7" fmla="*/ 1247657 h 1247657"/>
              <a:gd name="connsiteX8" fmla="*/ 8672 w 1534259"/>
              <a:gd name="connsiteY8" fmla="*/ 1085999 h 1247657"/>
              <a:gd name="connsiteX9" fmla="*/ 8672 w 1534259"/>
              <a:gd name="connsiteY9" fmla="*/ 167890 h 1247657"/>
              <a:gd name="connsiteX0" fmla="*/ 8672 w 1534259"/>
              <a:gd name="connsiteY0" fmla="*/ 161658 h 1241425"/>
              <a:gd name="connsiteX1" fmla="*/ 11053 w 1534259"/>
              <a:gd name="connsiteY1" fmla="*/ 7937 h 1241425"/>
              <a:gd name="connsiteX2" fmla="*/ 170330 w 1534259"/>
              <a:gd name="connsiteY2" fmla="*/ 0 h 1241425"/>
              <a:gd name="connsiteX3" fmla="*/ 1372601 w 1534259"/>
              <a:gd name="connsiteY3" fmla="*/ 0 h 1241425"/>
              <a:gd name="connsiteX4" fmla="*/ 1534259 w 1534259"/>
              <a:gd name="connsiteY4" fmla="*/ 161658 h 1241425"/>
              <a:gd name="connsiteX5" fmla="*/ 1534259 w 1534259"/>
              <a:gd name="connsiteY5" fmla="*/ 1079767 h 1241425"/>
              <a:gd name="connsiteX6" fmla="*/ 1372601 w 1534259"/>
              <a:gd name="connsiteY6" fmla="*/ 1241425 h 1241425"/>
              <a:gd name="connsiteX7" fmla="*/ 170330 w 1534259"/>
              <a:gd name="connsiteY7" fmla="*/ 1241425 h 1241425"/>
              <a:gd name="connsiteX8" fmla="*/ 8672 w 1534259"/>
              <a:gd name="connsiteY8" fmla="*/ 1079767 h 1241425"/>
              <a:gd name="connsiteX9" fmla="*/ 8672 w 1534259"/>
              <a:gd name="connsiteY9" fmla="*/ 161658 h 124142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3668 h 1243435"/>
              <a:gd name="connsiteX1" fmla="*/ 10644 w 1535715"/>
              <a:gd name="connsiteY1" fmla="*/ 0 h 1243435"/>
              <a:gd name="connsiteX2" fmla="*/ 171786 w 1535715"/>
              <a:gd name="connsiteY2" fmla="*/ 2010 h 1243435"/>
              <a:gd name="connsiteX3" fmla="*/ 1374057 w 1535715"/>
              <a:gd name="connsiteY3" fmla="*/ 2010 h 1243435"/>
              <a:gd name="connsiteX4" fmla="*/ 1535715 w 1535715"/>
              <a:gd name="connsiteY4" fmla="*/ 163668 h 1243435"/>
              <a:gd name="connsiteX5" fmla="*/ 1535715 w 1535715"/>
              <a:gd name="connsiteY5" fmla="*/ 1081777 h 1243435"/>
              <a:gd name="connsiteX6" fmla="*/ 1374057 w 1535715"/>
              <a:gd name="connsiteY6" fmla="*/ 1243435 h 1243435"/>
              <a:gd name="connsiteX7" fmla="*/ 171786 w 1535715"/>
              <a:gd name="connsiteY7" fmla="*/ 1243435 h 1243435"/>
              <a:gd name="connsiteX8" fmla="*/ 10128 w 1535715"/>
              <a:gd name="connsiteY8" fmla="*/ 1081777 h 1243435"/>
              <a:gd name="connsiteX9" fmla="*/ 10128 w 1535715"/>
              <a:gd name="connsiteY9" fmla="*/ 163668 h 124343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1808 w 1537395"/>
              <a:gd name="connsiteY0" fmla="*/ 161803 h 1241570"/>
              <a:gd name="connsiteX1" fmla="*/ 12324 w 1537395"/>
              <a:gd name="connsiteY1" fmla="*/ 0 h 1241570"/>
              <a:gd name="connsiteX2" fmla="*/ 173466 w 1537395"/>
              <a:gd name="connsiteY2" fmla="*/ 145 h 1241570"/>
              <a:gd name="connsiteX3" fmla="*/ 1375737 w 1537395"/>
              <a:gd name="connsiteY3" fmla="*/ 145 h 1241570"/>
              <a:gd name="connsiteX4" fmla="*/ 1537395 w 1537395"/>
              <a:gd name="connsiteY4" fmla="*/ 161803 h 1241570"/>
              <a:gd name="connsiteX5" fmla="*/ 1537395 w 1537395"/>
              <a:gd name="connsiteY5" fmla="*/ 1079912 h 1241570"/>
              <a:gd name="connsiteX6" fmla="*/ 1375737 w 1537395"/>
              <a:gd name="connsiteY6" fmla="*/ 1241570 h 1241570"/>
              <a:gd name="connsiteX7" fmla="*/ 173466 w 1537395"/>
              <a:gd name="connsiteY7" fmla="*/ 1241570 h 1241570"/>
              <a:gd name="connsiteX8" fmla="*/ 11808 w 1537395"/>
              <a:gd name="connsiteY8" fmla="*/ 1079912 h 1241570"/>
              <a:gd name="connsiteX9" fmla="*/ 11808 w 1537395"/>
              <a:gd name="connsiteY9" fmla="*/ 161803 h 1241570"/>
              <a:gd name="connsiteX0" fmla="*/ 346 w 1525933"/>
              <a:gd name="connsiteY0" fmla="*/ 161803 h 1241570"/>
              <a:gd name="connsiteX1" fmla="*/ 862 w 1525933"/>
              <a:gd name="connsiteY1" fmla="*/ 0 h 1241570"/>
              <a:gd name="connsiteX2" fmla="*/ 162004 w 1525933"/>
              <a:gd name="connsiteY2" fmla="*/ 145 h 1241570"/>
              <a:gd name="connsiteX3" fmla="*/ 1364275 w 1525933"/>
              <a:gd name="connsiteY3" fmla="*/ 145 h 1241570"/>
              <a:gd name="connsiteX4" fmla="*/ 1525933 w 1525933"/>
              <a:gd name="connsiteY4" fmla="*/ 161803 h 1241570"/>
              <a:gd name="connsiteX5" fmla="*/ 1525933 w 1525933"/>
              <a:gd name="connsiteY5" fmla="*/ 1079912 h 1241570"/>
              <a:gd name="connsiteX6" fmla="*/ 1364275 w 1525933"/>
              <a:gd name="connsiteY6" fmla="*/ 1241570 h 1241570"/>
              <a:gd name="connsiteX7" fmla="*/ 162004 w 1525933"/>
              <a:gd name="connsiteY7" fmla="*/ 1241570 h 1241570"/>
              <a:gd name="connsiteX8" fmla="*/ 346 w 1525933"/>
              <a:gd name="connsiteY8" fmla="*/ 1079912 h 1241570"/>
              <a:gd name="connsiteX9" fmla="*/ 346 w 1525933"/>
              <a:gd name="connsiteY9" fmla="*/ 161803 h 1241570"/>
              <a:gd name="connsiteX0" fmla="*/ 872 w 1526459"/>
              <a:gd name="connsiteY0" fmla="*/ 161803 h 1241570"/>
              <a:gd name="connsiteX1" fmla="*/ 1388 w 1526459"/>
              <a:gd name="connsiteY1" fmla="*/ 0 h 1241570"/>
              <a:gd name="connsiteX2" fmla="*/ 162530 w 1526459"/>
              <a:gd name="connsiteY2" fmla="*/ 145 h 1241570"/>
              <a:gd name="connsiteX3" fmla="*/ 1364801 w 1526459"/>
              <a:gd name="connsiteY3" fmla="*/ 145 h 1241570"/>
              <a:gd name="connsiteX4" fmla="*/ 1526459 w 1526459"/>
              <a:gd name="connsiteY4" fmla="*/ 161803 h 1241570"/>
              <a:gd name="connsiteX5" fmla="*/ 1526459 w 1526459"/>
              <a:gd name="connsiteY5" fmla="*/ 1079912 h 1241570"/>
              <a:gd name="connsiteX6" fmla="*/ 1364801 w 1526459"/>
              <a:gd name="connsiteY6" fmla="*/ 1241570 h 1241570"/>
              <a:gd name="connsiteX7" fmla="*/ 162530 w 1526459"/>
              <a:gd name="connsiteY7" fmla="*/ 1241570 h 1241570"/>
              <a:gd name="connsiteX8" fmla="*/ 872 w 1526459"/>
              <a:gd name="connsiteY8" fmla="*/ 1079912 h 1241570"/>
              <a:gd name="connsiteX9" fmla="*/ 872 w 1526459"/>
              <a:gd name="connsiteY9" fmla="*/ 161803 h 1241570"/>
              <a:gd name="connsiteX0" fmla="*/ 470 w 1526057"/>
              <a:gd name="connsiteY0" fmla="*/ 161803 h 1241570"/>
              <a:gd name="connsiteX1" fmla="*/ 986 w 1526057"/>
              <a:gd name="connsiteY1" fmla="*/ 0 h 1241570"/>
              <a:gd name="connsiteX2" fmla="*/ 162128 w 1526057"/>
              <a:gd name="connsiteY2" fmla="*/ 145 h 1241570"/>
              <a:gd name="connsiteX3" fmla="*/ 1364399 w 1526057"/>
              <a:gd name="connsiteY3" fmla="*/ 145 h 1241570"/>
              <a:gd name="connsiteX4" fmla="*/ 1526057 w 1526057"/>
              <a:gd name="connsiteY4" fmla="*/ 161803 h 1241570"/>
              <a:gd name="connsiteX5" fmla="*/ 1526057 w 1526057"/>
              <a:gd name="connsiteY5" fmla="*/ 1079912 h 1241570"/>
              <a:gd name="connsiteX6" fmla="*/ 1364399 w 1526057"/>
              <a:gd name="connsiteY6" fmla="*/ 1241570 h 1241570"/>
              <a:gd name="connsiteX7" fmla="*/ 162128 w 1526057"/>
              <a:gd name="connsiteY7" fmla="*/ 1241570 h 1241570"/>
              <a:gd name="connsiteX8" fmla="*/ 470 w 1526057"/>
              <a:gd name="connsiteY8" fmla="*/ 1079912 h 1241570"/>
              <a:gd name="connsiteX9" fmla="*/ 470 w 1526057"/>
              <a:gd name="connsiteY9" fmla="*/ 161803 h 1241570"/>
              <a:gd name="connsiteX0" fmla="*/ 649 w 1526236"/>
              <a:gd name="connsiteY0" fmla="*/ 161803 h 1241570"/>
              <a:gd name="connsiteX1" fmla="*/ 1165 w 1526236"/>
              <a:gd name="connsiteY1" fmla="*/ 0 h 1241570"/>
              <a:gd name="connsiteX2" fmla="*/ 162307 w 1526236"/>
              <a:gd name="connsiteY2" fmla="*/ 145 h 1241570"/>
              <a:gd name="connsiteX3" fmla="*/ 1364578 w 1526236"/>
              <a:gd name="connsiteY3" fmla="*/ 145 h 1241570"/>
              <a:gd name="connsiteX4" fmla="*/ 1526236 w 1526236"/>
              <a:gd name="connsiteY4" fmla="*/ 161803 h 1241570"/>
              <a:gd name="connsiteX5" fmla="*/ 1526236 w 1526236"/>
              <a:gd name="connsiteY5" fmla="*/ 1079912 h 1241570"/>
              <a:gd name="connsiteX6" fmla="*/ 1364578 w 1526236"/>
              <a:gd name="connsiteY6" fmla="*/ 1241570 h 1241570"/>
              <a:gd name="connsiteX7" fmla="*/ 162307 w 1526236"/>
              <a:gd name="connsiteY7" fmla="*/ 1241570 h 1241570"/>
              <a:gd name="connsiteX8" fmla="*/ 649 w 1526236"/>
              <a:gd name="connsiteY8" fmla="*/ 1079912 h 1241570"/>
              <a:gd name="connsiteX9" fmla="*/ 649 w 1526236"/>
              <a:gd name="connsiteY9" fmla="*/ 161803 h 1241570"/>
              <a:gd name="connsiteX0" fmla="*/ 268 w 1525855"/>
              <a:gd name="connsiteY0" fmla="*/ 161803 h 1241570"/>
              <a:gd name="connsiteX1" fmla="*/ 784 w 1525855"/>
              <a:gd name="connsiteY1" fmla="*/ 0 h 1241570"/>
              <a:gd name="connsiteX2" fmla="*/ 161926 w 1525855"/>
              <a:gd name="connsiteY2" fmla="*/ 145 h 1241570"/>
              <a:gd name="connsiteX3" fmla="*/ 1364197 w 1525855"/>
              <a:gd name="connsiteY3" fmla="*/ 145 h 1241570"/>
              <a:gd name="connsiteX4" fmla="*/ 1525855 w 1525855"/>
              <a:gd name="connsiteY4" fmla="*/ 161803 h 1241570"/>
              <a:gd name="connsiteX5" fmla="*/ 1525855 w 1525855"/>
              <a:gd name="connsiteY5" fmla="*/ 1079912 h 1241570"/>
              <a:gd name="connsiteX6" fmla="*/ 1364197 w 1525855"/>
              <a:gd name="connsiteY6" fmla="*/ 1241570 h 1241570"/>
              <a:gd name="connsiteX7" fmla="*/ 161926 w 1525855"/>
              <a:gd name="connsiteY7" fmla="*/ 1241570 h 1241570"/>
              <a:gd name="connsiteX8" fmla="*/ 268 w 1525855"/>
              <a:gd name="connsiteY8" fmla="*/ 1079912 h 1241570"/>
              <a:gd name="connsiteX9" fmla="*/ 268 w 1525855"/>
              <a:gd name="connsiteY9" fmla="*/ 161803 h 1241570"/>
              <a:gd name="connsiteX0" fmla="*/ 359 w 1525946"/>
              <a:gd name="connsiteY0" fmla="*/ 161803 h 1241570"/>
              <a:gd name="connsiteX1" fmla="*/ 253 w 1525946"/>
              <a:gd name="connsiteY1" fmla="*/ 0 h 1241570"/>
              <a:gd name="connsiteX2" fmla="*/ 162017 w 1525946"/>
              <a:gd name="connsiteY2" fmla="*/ 145 h 1241570"/>
              <a:gd name="connsiteX3" fmla="*/ 1364288 w 1525946"/>
              <a:gd name="connsiteY3" fmla="*/ 145 h 1241570"/>
              <a:gd name="connsiteX4" fmla="*/ 1525946 w 1525946"/>
              <a:gd name="connsiteY4" fmla="*/ 161803 h 1241570"/>
              <a:gd name="connsiteX5" fmla="*/ 1525946 w 1525946"/>
              <a:gd name="connsiteY5" fmla="*/ 1079912 h 1241570"/>
              <a:gd name="connsiteX6" fmla="*/ 1364288 w 1525946"/>
              <a:gd name="connsiteY6" fmla="*/ 1241570 h 1241570"/>
              <a:gd name="connsiteX7" fmla="*/ 162017 w 1525946"/>
              <a:gd name="connsiteY7" fmla="*/ 1241570 h 1241570"/>
              <a:gd name="connsiteX8" fmla="*/ 359 w 1525946"/>
              <a:gd name="connsiteY8" fmla="*/ 1079912 h 1241570"/>
              <a:gd name="connsiteX9" fmla="*/ 359 w 1525946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364035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414898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414898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414898 w 1525693"/>
              <a:gd name="connsiteY6" fmla="*/ 1232717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  <a:gd name="connsiteX0" fmla="*/ 106 w 1525718"/>
              <a:gd name="connsiteY0" fmla="*/ 161803 h 1241570"/>
              <a:gd name="connsiteX1" fmla="*/ 0 w 1525718"/>
              <a:gd name="connsiteY1" fmla="*/ 0 h 1241570"/>
              <a:gd name="connsiteX2" fmla="*/ 161764 w 1525718"/>
              <a:gd name="connsiteY2" fmla="*/ 145 h 1241570"/>
              <a:gd name="connsiteX3" fmla="*/ 1414898 w 1525718"/>
              <a:gd name="connsiteY3" fmla="*/ 145 h 1241570"/>
              <a:gd name="connsiteX4" fmla="*/ 1525693 w 1525718"/>
              <a:gd name="connsiteY4" fmla="*/ 161803 h 1241570"/>
              <a:gd name="connsiteX5" fmla="*/ 1525693 w 1525718"/>
              <a:gd name="connsiteY5" fmla="*/ 1079912 h 1241570"/>
              <a:gd name="connsiteX6" fmla="*/ 1440330 w 1525718"/>
              <a:gd name="connsiteY6" fmla="*/ 1232717 h 1241570"/>
              <a:gd name="connsiteX7" fmla="*/ 161764 w 1525718"/>
              <a:gd name="connsiteY7" fmla="*/ 1241570 h 1241570"/>
              <a:gd name="connsiteX8" fmla="*/ 106 w 1525718"/>
              <a:gd name="connsiteY8" fmla="*/ 1079912 h 1241570"/>
              <a:gd name="connsiteX9" fmla="*/ 106 w 1525718"/>
              <a:gd name="connsiteY9" fmla="*/ 161803 h 1241570"/>
              <a:gd name="connsiteX0" fmla="*/ 106 w 1525718"/>
              <a:gd name="connsiteY0" fmla="*/ 161803 h 1241570"/>
              <a:gd name="connsiteX1" fmla="*/ 0 w 1525718"/>
              <a:gd name="connsiteY1" fmla="*/ 0 h 1241570"/>
              <a:gd name="connsiteX2" fmla="*/ 161764 w 1525718"/>
              <a:gd name="connsiteY2" fmla="*/ 145 h 1241570"/>
              <a:gd name="connsiteX3" fmla="*/ 1414898 w 1525718"/>
              <a:gd name="connsiteY3" fmla="*/ 145 h 1241570"/>
              <a:gd name="connsiteX4" fmla="*/ 1525693 w 1525718"/>
              <a:gd name="connsiteY4" fmla="*/ 161803 h 1241570"/>
              <a:gd name="connsiteX5" fmla="*/ 1525693 w 1525718"/>
              <a:gd name="connsiteY5" fmla="*/ 1079912 h 1241570"/>
              <a:gd name="connsiteX6" fmla="*/ 1440330 w 1525718"/>
              <a:gd name="connsiteY6" fmla="*/ 1239358 h 1241570"/>
              <a:gd name="connsiteX7" fmla="*/ 161764 w 1525718"/>
              <a:gd name="connsiteY7" fmla="*/ 1241570 h 1241570"/>
              <a:gd name="connsiteX8" fmla="*/ 106 w 1525718"/>
              <a:gd name="connsiteY8" fmla="*/ 1079912 h 1241570"/>
              <a:gd name="connsiteX9" fmla="*/ 106 w 1525718"/>
              <a:gd name="connsiteY9" fmla="*/ 161803 h 1241570"/>
              <a:gd name="connsiteX0" fmla="*/ 106 w 1525718"/>
              <a:gd name="connsiteY0" fmla="*/ 161803 h 1241570"/>
              <a:gd name="connsiteX1" fmla="*/ 0 w 1525718"/>
              <a:gd name="connsiteY1" fmla="*/ 0 h 1241570"/>
              <a:gd name="connsiteX2" fmla="*/ 161764 w 1525718"/>
              <a:gd name="connsiteY2" fmla="*/ 145 h 1241570"/>
              <a:gd name="connsiteX3" fmla="*/ 1414898 w 1525718"/>
              <a:gd name="connsiteY3" fmla="*/ 145 h 1241570"/>
              <a:gd name="connsiteX4" fmla="*/ 1525693 w 1525718"/>
              <a:gd name="connsiteY4" fmla="*/ 161803 h 1241570"/>
              <a:gd name="connsiteX5" fmla="*/ 1525693 w 1525718"/>
              <a:gd name="connsiteY5" fmla="*/ 1079912 h 1241570"/>
              <a:gd name="connsiteX6" fmla="*/ 1440330 w 1525718"/>
              <a:gd name="connsiteY6" fmla="*/ 1232717 h 1241570"/>
              <a:gd name="connsiteX7" fmla="*/ 161764 w 1525718"/>
              <a:gd name="connsiteY7" fmla="*/ 1241570 h 1241570"/>
              <a:gd name="connsiteX8" fmla="*/ 106 w 1525718"/>
              <a:gd name="connsiteY8" fmla="*/ 1079912 h 1241570"/>
              <a:gd name="connsiteX9" fmla="*/ 106 w 1525718"/>
              <a:gd name="connsiteY9" fmla="*/ 161803 h 1241570"/>
              <a:gd name="connsiteX0" fmla="*/ 106 w 1525718"/>
              <a:gd name="connsiteY0" fmla="*/ 161803 h 1241570"/>
              <a:gd name="connsiteX1" fmla="*/ 0 w 1525718"/>
              <a:gd name="connsiteY1" fmla="*/ 0 h 1241570"/>
              <a:gd name="connsiteX2" fmla="*/ 161764 w 1525718"/>
              <a:gd name="connsiteY2" fmla="*/ 145 h 1241570"/>
              <a:gd name="connsiteX3" fmla="*/ 1414898 w 1525718"/>
              <a:gd name="connsiteY3" fmla="*/ 145 h 1241570"/>
              <a:gd name="connsiteX4" fmla="*/ 1525693 w 1525718"/>
              <a:gd name="connsiteY4" fmla="*/ 161803 h 1241570"/>
              <a:gd name="connsiteX5" fmla="*/ 1525693 w 1525718"/>
              <a:gd name="connsiteY5" fmla="*/ 1079912 h 1241570"/>
              <a:gd name="connsiteX6" fmla="*/ 1440330 w 1525718"/>
              <a:gd name="connsiteY6" fmla="*/ 1232717 h 1241570"/>
              <a:gd name="connsiteX7" fmla="*/ 161764 w 1525718"/>
              <a:gd name="connsiteY7" fmla="*/ 1241570 h 1241570"/>
              <a:gd name="connsiteX8" fmla="*/ 106 w 1525718"/>
              <a:gd name="connsiteY8" fmla="*/ 1079912 h 1241570"/>
              <a:gd name="connsiteX9" fmla="*/ 106 w 1525718"/>
              <a:gd name="connsiteY9" fmla="*/ 161803 h 1241570"/>
              <a:gd name="connsiteX0" fmla="*/ 106 w 1525718"/>
              <a:gd name="connsiteY0" fmla="*/ 161803 h 1241570"/>
              <a:gd name="connsiteX1" fmla="*/ 0 w 1525718"/>
              <a:gd name="connsiteY1" fmla="*/ 0 h 1241570"/>
              <a:gd name="connsiteX2" fmla="*/ 161764 w 1525718"/>
              <a:gd name="connsiteY2" fmla="*/ 145 h 1241570"/>
              <a:gd name="connsiteX3" fmla="*/ 1414898 w 1525718"/>
              <a:gd name="connsiteY3" fmla="*/ 145 h 1241570"/>
              <a:gd name="connsiteX4" fmla="*/ 1525693 w 1525718"/>
              <a:gd name="connsiteY4" fmla="*/ 161803 h 1241570"/>
              <a:gd name="connsiteX5" fmla="*/ 1525693 w 1525718"/>
              <a:gd name="connsiteY5" fmla="*/ 1079912 h 1241570"/>
              <a:gd name="connsiteX6" fmla="*/ 1440330 w 1525718"/>
              <a:gd name="connsiteY6" fmla="*/ 1239358 h 1241570"/>
              <a:gd name="connsiteX7" fmla="*/ 161764 w 1525718"/>
              <a:gd name="connsiteY7" fmla="*/ 1241570 h 1241570"/>
              <a:gd name="connsiteX8" fmla="*/ 106 w 1525718"/>
              <a:gd name="connsiteY8" fmla="*/ 1079912 h 1241570"/>
              <a:gd name="connsiteX9" fmla="*/ 106 w 1525718"/>
              <a:gd name="connsiteY9" fmla="*/ 161803 h 1241570"/>
              <a:gd name="connsiteX0" fmla="*/ 106 w 1525718"/>
              <a:gd name="connsiteY0" fmla="*/ 161803 h 1241570"/>
              <a:gd name="connsiteX1" fmla="*/ 0 w 1525718"/>
              <a:gd name="connsiteY1" fmla="*/ 0 h 1241570"/>
              <a:gd name="connsiteX2" fmla="*/ 161764 w 1525718"/>
              <a:gd name="connsiteY2" fmla="*/ 145 h 1241570"/>
              <a:gd name="connsiteX3" fmla="*/ 1414898 w 1525718"/>
              <a:gd name="connsiteY3" fmla="*/ 145 h 1241570"/>
              <a:gd name="connsiteX4" fmla="*/ 1525693 w 1525718"/>
              <a:gd name="connsiteY4" fmla="*/ 161803 h 1241570"/>
              <a:gd name="connsiteX5" fmla="*/ 1525693 w 1525718"/>
              <a:gd name="connsiteY5" fmla="*/ 1079912 h 1241570"/>
              <a:gd name="connsiteX6" fmla="*/ 1440330 w 1525718"/>
              <a:gd name="connsiteY6" fmla="*/ 1229398 h 1241570"/>
              <a:gd name="connsiteX7" fmla="*/ 161764 w 1525718"/>
              <a:gd name="connsiteY7" fmla="*/ 1241570 h 1241570"/>
              <a:gd name="connsiteX8" fmla="*/ 106 w 1525718"/>
              <a:gd name="connsiteY8" fmla="*/ 1079912 h 1241570"/>
              <a:gd name="connsiteX9" fmla="*/ 106 w 1525718"/>
              <a:gd name="connsiteY9" fmla="*/ 161803 h 1241570"/>
              <a:gd name="connsiteX0" fmla="*/ 106 w 1525789"/>
              <a:gd name="connsiteY0" fmla="*/ 161803 h 1249317"/>
              <a:gd name="connsiteX1" fmla="*/ 0 w 1525789"/>
              <a:gd name="connsiteY1" fmla="*/ 0 h 1249317"/>
              <a:gd name="connsiteX2" fmla="*/ 161764 w 1525789"/>
              <a:gd name="connsiteY2" fmla="*/ 145 h 1249317"/>
              <a:gd name="connsiteX3" fmla="*/ 1414898 w 1525789"/>
              <a:gd name="connsiteY3" fmla="*/ 145 h 1249317"/>
              <a:gd name="connsiteX4" fmla="*/ 1525693 w 1525789"/>
              <a:gd name="connsiteY4" fmla="*/ 161803 h 1249317"/>
              <a:gd name="connsiteX5" fmla="*/ 1525693 w 1525789"/>
              <a:gd name="connsiteY5" fmla="*/ 1079912 h 1249317"/>
              <a:gd name="connsiteX6" fmla="*/ 1442714 w 1525789"/>
              <a:gd name="connsiteY6" fmla="*/ 1249317 h 1249317"/>
              <a:gd name="connsiteX7" fmla="*/ 161764 w 1525789"/>
              <a:gd name="connsiteY7" fmla="*/ 1241570 h 1249317"/>
              <a:gd name="connsiteX8" fmla="*/ 106 w 1525789"/>
              <a:gd name="connsiteY8" fmla="*/ 1079912 h 1249317"/>
              <a:gd name="connsiteX9" fmla="*/ 106 w 1525789"/>
              <a:gd name="connsiteY9" fmla="*/ 161803 h 1249317"/>
              <a:gd name="connsiteX0" fmla="*/ 106 w 1525789"/>
              <a:gd name="connsiteY0" fmla="*/ 161803 h 1242677"/>
              <a:gd name="connsiteX1" fmla="*/ 0 w 1525789"/>
              <a:gd name="connsiteY1" fmla="*/ 0 h 1242677"/>
              <a:gd name="connsiteX2" fmla="*/ 161764 w 1525789"/>
              <a:gd name="connsiteY2" fmla="*/ 145 h 1242677"/>
              <a:gd name="connsiteX3" fmla="*/ 1414898 w 1525789"/>
              <a:gd name="connsiteY3" fmla="*/ 145 h 1242677"/>
              <a:gd name="connsiteX4" fmla="*/ 1525693 w 1525789"/>
              <a:gd name="connsiteY4" fmla="*/ 161803 h 1242677"/>
              <a:gd name="connsiteX5" fmla="*/ 1525693 w 1525789"/>
              <a:gd name="connsiteY5" fmla="*/ 1079912 h 1242677"/>
              <a:gd name="connsiteX6" fmla="*/ 1442714 w 1525789"/>
              <a:gd name="connsiteY6" fmla="*/ 1242677 h 1242677"/>
              <a:gd name="connsiteX7" fmla="*/ 161764 w 1525789"/>
              <a:gd name="connsiteY7" fmla="*/ 1241570 h 1242677"/>
              <a:gd name="connsiteX8" fmla="*/ 106 w 1525789"/>
              <a:gd name="connsiteY8" fmla="*/ 1079912 h 1242677"/>
              <a:gd name="connsiteX9" fmla="*/ 106 w 1525789"/>
              <a:gd name="connsiteY9" fmla="*/ 161803 h 1242677"/>
              <a:gd name="connsiteX0" fmla="*/ 106 w 1525789"/>
              <a:gd name="connsiteY0" fmla="*/ 161803 h 1242677"/>
              <a:gd name="connsiteX1" fmla="*/ 0 w 1525789"/>
              <a:gd name="connsiteY1" fmla="*/ 0 h 1242677"/>
              <a:gd name="connsiteX2" fmla="*/ 161764 w 1525789"/>
              <a:gd name="connsiteY2" fmla="*/ 145 h 1242677"/>
              <a:gd name="connsiteX3" fmla="*/ 1414898 w 1525789"/>
              <a:gd name="connsiteY3" fmla="*/ 145 h 1242677"/>
              <a:gd name="connsiteX4" fmla="*/ 1525693 w 1525789"/>
              <a:gd name="connsiteY4" fmla="*/ 161803 h 1242677"/>
              <a:gd name="connsiteX5" fmla="*/ 1525693 w 1525789"/>
              <a:gd name="connsiteY5" fmla="*/ 1079912 h 1242677"/>
              <a:gd name="connsiteX6" fmla="*/ 1442714 w 1525789"/>
              <a:gd name="connsiteY6" fmla="*/ 1242677 h 1242677"/>
              <a:gd name="connsiteX7" fmla="*/ 130769 w 1525789"/>
              <a:gd name="connsiteY7" fmla="*/ 1241570 h 1242677"/>
              <a:gd name="connsiteX8" fmla="*/ 106 w 1525789"/>
              <a:gd name="connsiteY8" fmla="*/ 1079912 h 1242677"/>
              <a:gd name="connsiteX9" fmla="*/ 106 w 1525789"/>
              <a:gd name="connsiteY9" fmla="*/ 161803 h 1242677"/>
              <a:gd name="connsiteX0" fmla="*/ 106 w 1525789"/>
              <a:gd name="connsiteY0" fmla="*/ 161803 h 1242677"/>
              <a:gd name="connsiteX1" fmla="*/ 0 w 1525789"/>
              <a:gd name="connsiteY1" fmla="*/ 0 h 1242677"/>
              <a:gd name="connsiteX2" fmla="*/ 161764 w 1525789"/>
              <a:gd name="connsiteY2" fmla="*/ 145 h 1242677"/>
              <a:gd name="connsiteX3" fmla="*/ 1414898 w 1525789"/>
              <a:gd name="connsiteY3" fmla="*/ 145 h 1242677"/>
              <a:gd name="connsiteX4" fmla="*/ 1525693 w 1525789"/>
              <a:gd name="connsiteY4" fmla="*/ 161803 h 1242677"/>
              <a:gd name="connsiteX5" fmla="*/ 1525693 w 1525789"/>
              <a:gd name="connsiteY5" fmla="*/ 1079912 h 1242677"/>
              <a:gd name="connsiteX6" fmla="*/ 1442714 w 1525789"/>
              <a:gd name="connsiteY6" fmla="*/ 1242677 h 1242677"/>
              <a:gd name="connsiteX7" fmla="*/ 118848 w 1525789"/>
              <a:gd name="connsiteY7" fmla="*/ 1241570 h 1242677"/>
              <a:gd name="connsiteX8" fmla="*/ 106 w 1525789"/>
              <a:gd name="connsiteY8" fmla="*/ 1079912 h 1242677"/>
              <a:gd name="connsiteX9" fmla="*/ 106 w 1525789"/>
              <a:gd name="connsiteY9" fmla="*/ 161803 h 1242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25789" h="1242677">
                <a:moveTo>
                  <a:pt x="106" y="161803"/>
                </a:moveTo>
                <a:cubicBezTo>
                  <a:pt x="-210" y="159620"/>
                  <a:pt x="409" y="7672"/>
                  <a:pt x="0" y="0"/>
                </a:cubicBezTo>
                <a:cubicBezTo>
                  <a:pt x="6219" y="388"/>
                  <a:pt x="110655" y="450"/>
                  <a:pt x="161764" y="145"/>
                </a:cubicBezTo>
                <a:lnTo>
                  <a:pt x="1414898" y="145"/>
                </a:lnTo>
                <a:cubicBezTo>
                  <a:pt x="1504179" y="145"/>
                  <a:pt x="1525693" y="72522"/>
                  <a:pt x="1525693" y="161803"/>
                </a:cubicBezTo>
                <a:lnTo>
                  <a:pt x="1525693" y="1079912"/>
                </a:lnTo>
                <a:cubicBezTo>
                  <a:pt x="1525693" y="1169193"/>
                  <a:pt x="1531995" y="1242677"/>
                  <a:pt x="1442714" y="1242677"/>
                </a:cubicBezTo>
                <a:lnTo>
                  <a:pt x="118848" y="1241570"/>
                </a:lnTo>
                <a:cubicBezTo>
                  <a:pt x="29567" y="1241570"/>
                  <a:pt x="106" y="1169193"/>
                  <a:pt x="106" y="1079912"/>
                </a:cubicBezTo>
                <a:lnTo>
                  <a:pt x="106" y="1618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144000" anchor="b"/>
          <a:lstStyle>
            <a:lvl1pPr marL="0" indent="0" algn="ctr">
              <a:buNone/>
              <a:defRPr sz="2806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nl-NL" noProof="0"/>
          </a:p>
        </p:txBody>
      </p:sp>
      <p:sp>
        <p:nvSpPr>
          <p:cNvPr id="31" name="Tijdelijke aanduiding voor afbeelding 6">
            <a:extLst>
              <a:ext uri="{FF2B5EF4-FFF2-40B4-BE49-F238E27FC236}">
                <a16:creationId xmlns:a16="http://schemas.microsoft.com/office/drawing/2014/main" id="{6EAA7FFB-E40E-4744-8AF0-0E4BEE5C22A0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1696814" y="11466943"/>
            <a:ext cx="5345254" cy="3931509"/>
          </a:xfrm>
          <a:custGeom>
            <a:avLst/>
            <a:gdLst>
              <a:gd name="connsiteX0" fmla="*/ 0 w 1525587"/>
              <a:gd name="connsiteY0" fmla="*/ 161658 h 1241425"/>
              <a:gd name="connsiteX1" fmla="*/ 161658 w 1525587"/>
              <a:gd name="connsiteY1" fmla="*/ 0 h 1241425"/>
              <a:gd name="connsiteX2" fmla="*/ 1363929 w 1525587"/>
              <a:gd name="connsiteY2" fmla="*/ 0 h 1241425"/>
              <a:gd name="connsiteX3" fmla="*/ 1525587 w 1525587"/>
              <a:gd name="connsiteY3" fmla="*/ 161658 h 1241425"/>
              <a:gd name="connsiteX4" fmla="*/ 1525587 w 1525587"/>
              <a:gd name="connsiteY4" fmla="*/ 1079767 h 1241425"/>
              <a:gd name="connsiteX5" fmla="*/ 1363929 w 1525587"/>
              <a:gd name="connsiteY5" fmla="*/ 1241425 h 1241425"/>
              <a:gd name="connsiteX6" fmla="*/ 161658 w 1525587"/>
              <a:gd name="connsiteY6" fmla="*/ 1241425 h 1241425"/>
              <a:gd name="connsiteX7" fmla="*/ 0 w 1525587"/>
              <a:gd name="connsiteY7" fmla="*/ 1079767 h 1241425"/>
              <a:gd name="connsiteX8" fmla="*/ 0 w 1525587"/>
              <a:gd name="connsiteY8" fmla="*/ 161658 h 1241425"/>
              <a:gd name="connsiteX0" fmla="*/ 0 w 1525587"/>
              <a:gd name="connsiteY0" fmla="*/ 161658 h 1241425"/>
              <a:gd name="connsiteX1" fmla="*/ 42862 w 1525587"/>
              <a:gd name="connsiteY1" fmla="*/ 48418 h 1241425"/>
              <a:gd name="connsiteX2" fmla="*/ 161658 w 1525587"/>
              <a:gd name="connsiteY2" fmla="*/ 0 h 1241425"/>
              <a:gd name="connsiteX3" fmla="*/ 1363929 w 1525587"/>
              <a:gd name="connsiteY3" fmla="*/ 0 h 1241425"/>
              <a:gd name="connsiteX4" fmla="*/ 1525587 w 1525587"/>
              <a:gd name="connsiteY4" fmla="*/ 161658 h 1241425"/>
              <a:gd name="connsiteX5" fmla="*/ 1525587 w 1525587"/>
              <a:gd name="connsiteY5" fmla="*/ 1079767 h 1241425"/>
              <a:gd name="connsiteX6" fmla="*/ 1363929 w 1525587"/>
              <a:gd name="connsiteY6" fmla="*/ 1241425 h 1241425"/>
              <a:gd name="connsiteX7" fmla="*/ 161658 w 1525587"/>
              <a:gd name="connsiteY7" fmla="*/ 1241425 h 1241425"/>
              <a:gd name="connsiteX8" fmla="*/ 0 w 1525587"/>
              <a:gd name="connsiteY8" fmla="*/ 1079767 h 1241425"/>
              <a:gd name="connsiteX9" fmla="*/ 0 w 1525587"/>
              <a:gd name="connsiteY9" fmla="*/ 161658 h 1241425"/>
              <a:gd name="connsiteX0" fmla="*/ 8672 w 1534259"/>
              <a:gd name="connsiteY0" fmla="*/ 165982 h 1245749"/>
              <a:gd name="connsiteX1" fmla="*/ 11053 w 1534259"/>
              <a:gd name="connsiteY1" fmla="*/ 12261 h 1245749"/>
              <a:gd name="connsiteX2" fmla="*/ 170330 w 1534259"/>
              <a:gd name="connsiteY2" fmla="*/ 4324 h 1245749"/>
              <a:gd name="connsiteX3" fmla="*/ 1372601 w 1534259"/>
              <a:gd name="connsiteY3" fmla="*/ 4324 h 1245749"/>
              <a:gd name="connsiteX4" fmla="*/ 1534259 w 1534259"/>
              <a:gd name="connsiteY4" fmla="*/ 165982 h 1245749"/>
              <a:gd name="connsiteX5" fmla="*/ 1534259 w 1534259"/>
              <a:gd name="connsiteY5" fmla="*/ 1084091 h 1245749"/>
              <a:gd name="connsiteX6" fmla="*/ 1372601 w 1534259"/>
              <a:gd name="connsiteY6" fmla="*/ 1245749 h 1245749"/>
              <a:gd name="connsiteX7" fmla="*/ 170330 w 1534259"/>
              <a:gd name="connsiteY7" fmla="*/ 1245749 h 1245749"/>
              <a:gd name="connsiteX8" fmla="*/ 8672 w 1534259"/>
              <a:gd name="connsiteY8" fmla="*/ 1084091 h 1245749"/>
              <a:gd name="connsiteX9" fmla="*/ 8672 w 1534259"/>
              <a:gd name="connsiteY9" fmla="*/ 165982 h 1245749"/>
              <a:gd name="connsiteX0" fmla="*/ 8672 w 1534259"/>
              <a:gd name="connsiteY0" fmla="*/ 167890 h 1247657"/>
              <a:gd name="connsiteX1" fmla="*/ 11053 w 1534259"/>
              <a:gd name="connsiteY1" fmla="*/ 14169 h 1247657"/>
              <a:gd name="connsiteX2" fmla="*/ 170330 w 1534259"/>
              <a:gd name="connsiteY2" fmla="*/ 6232 h 1247657"/>
              <a:gd name="connsiteX3" fmla="*/ 1372601 w 1534259"/>
              <a:gd name="connsiteY3" fmla="*/ 6232 h 1247657"/>
              <a:gd name="connsiteX4" fmla="*/ 1534259 w 1534259"/>
              <a:gd name="connsiteY4" fmla="*/ 167890 h 1247657"/>
              <a:gd name="connsiteX5" fmla="*/ 1534259 w 1534259"/>
              <a:gd name="connsiteY5" fmla="*/ 1085999 h 1247657"/>
              <a:gd name="connsiteX6" fmla="*/ 1372601 w 1534259"/>
              <a:gd name="connsiteY6" fmla="*/ 1247657 h 1247657"/>
              <a:gd name="connsiteX7" fmla="*/ 170330 w 1534259"/>
              <a:gd name="connsiteY7" fmla="*/ 1247657 h 1247657"/>
              <a:gd name="connsiteX8" fmla="*/ 8672 w 1534259"/>
              <a:gd name="connsiteY8" fmla="*/ 1085999 h 1247657"/>
              <a:gd name="connsiteX9" fmla="*/ 8672 w 1534259"/>
              <a:gd name="connsiteY9" fmla="*/ 167890 h 1247657"/>
              <a:gd name="connsiteX0" fmla="*/ 8672 w 1534259"/>
              <a:gd name="connsiteY0" fmla="*/ 161658 h 1241425"/>
              <a:gd name="connsiteX1" fmla="*/ 11053 w 1534259"/>
              <a:gd name="connsiteY1" fmla="*/ 7937 h 1241425"/>
              <a:gd name="connsiteX2" fmla="*/ 170330 w 1534259"/>
              <a:gd name="connsiteY2" fmla="*/ 0 h 1241425"/>
              <a:gd name="connsiteX3" fmla="*/ 1372601 w 1534259"/>
              <a:gd name="connsiteY3" fmla="*/ 0 h 1241425"/>
              <a:gd name="connsiteX4" fmla="*/ 1534259 w 1534259"/>
              <a:gd name="connsiteY4" fmla="*/ 161658 h 1241425"/>
              <a:gd name="connsiteX5" fmla="*/ 1534259 w 1534259"/>
              <a:gd name="connsiteY5" fmla="*/ 1079767 h 1241425"/>
              <a:gd name="connsiteX6" fmla="*/ 1372601 w 1534259"/>
              <a:gd name="connsiteY6" fmla="*/ 1241425 h 1241425"/>
              <a:gd name="connsiteX7" fmla="*/ 170330 w 1534259"/>
              <a:gd name="connsiteY7" fmla="*/ 1241425 h 1241425"/>
              <a:gd name="connsiteX8" fmla="*/ 8672 w 1534259"/>
              <a:gd name="connsiteY8" fmla="*/ 1079767 h 1241425"/>
              <a:gd name="connsiteX9" fmla="*/ 8672 w 1534259"/>
              <a:gd name="connsiteY9" fmla="*/ 161658 h 124142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3668 h 1243435"/>
              <a:gd name="connsiteX1" fmla="*/ 10644 w 1535715"/>
              <a:gd name="connsiteY1" fmla="*/ 0 h 1243435"/>
              <a:gd name="connsiteX2" fmla="*/ 171786 w 1535715"/>
              <a:gd name="connsiteY2" fmla="*/ 2010 h 1243435"/>
              <a:gd name="connsiteX3" fmla="*/ 1374057 w 1535715"/>
              <a:gd name="connsiteY3" fmla="*/ 2010 h 1243435"/>
              <a:gd name="connsiteX4" fmla="*/ 1535715 w 1535715"/>
              <a:gd name="connsiteY4" fmla="*/ 163668 h 1243435"/>
              <a:gd name="connsiteX5" fmla="*/ 1535715 w 1535715"/>
              <a:gd name="connsiteY5" fmla="*/ 1081777 h 1243435"/>
              <a:gd name="connsiteX6" fmla="*/ 1374057 w 1535715"/>
              <a:gd name="connsiteY6" fmla="*/ 1243435 h 1243435"/>
              <a:gd name="connsiteX7" fmla="*/ 171786 w 1535715"/>
              <a:gd name="connsiteY7" fmla="*/ 1243435 h 1243435"/>
              <a:gd name="connsiteX8" fmla="*/ 10128 w 1535715"/>
              <a:gd name="connsiteY8" fmla="*/ 1081777 h 1243435"/>
              <a:gd name="connsiteX9" fmla="*/ 10128 w 1535715"/>
              <a:gd name="connsiteY9" fmla="*/ 163668 h 124343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1808 w 1537395"/>
              <a:gd name="connsiteY0" fmla="*/ 161803 h 1241570"/>
              <a:gd name="connsiteX1" fmla="*/ 12324 w 1537395"/>
              <a:gd name="connsiteY1" fmla="*/ 0 h 1241570"/>
              <a:gd name="connsiteX2" fmla="*/ 173466 w 1537395"/>
              <a:gd name="connsiteY2" fmla="*/ 145 h 1241570"/>
              <a:gd name="connsiteX3" fmla="*/ 1375737 w 1537395"/>
              <a:gd name="connsiteY3" fmla="*/ 145 h 1241570"/>
              <a:gd name="connsiteX4" fmla="*/ 1537395 w 1537395"/>
              <a:gd name="connsiteY4" fmla="*/ 161803 h 1241570"/>
              <a:gd name="connsiteX5" fmla="*/ 1537395 w 1537395"/>
              <a:gd name="connsiteY5" fmla="*/ 1079912 h 1241570"/>
              <a:gd name="connsiteX6" fmla="*/ 1375737 w 1537395"/>
              <a:gd name="connsiteY6" fmla="*/ 1241570 h 1241570"/>
              <a:gd name="connsiteX7" fmla="*/ 173466 w 1537395"/>
              <a:gd name="connsiteY7" fmla="*/ 1241570 h 1241570"/>
              <a:gd name="connsiteX8" fmla="*/ 11808 w 1537395"/>
              <a:gd name="connsiteY8" fmla="*/ 1079912 h 1241570"/>
              <a:gd name="connsiteX9" fmla="*/ 11808 w 1537395"/>
              <a:gd name="connsiteY9" fmla="*/ 161803 h 1241570"/>
              <a:gd name="connsiteX0" fmla="*/ 346 w 1525933"/>
              <a:gd name="connsiteY0" fmla="*/ 161803 h 1241570"/>
              <a:gd name="connsiteX1" fmla="*/ 862 w 1525933"/>
              <a:gd name="connsiteY1" fmla="*/ 0 h 1241570"/>
              <a:gd name="connsiteX2" fmla="*/ 162004 w 1525933"/>
              <a:gd name="connsiteY2" fmla="*/ 145 h 1241570"/>
              <a:gd name="connsiteX3" fmla="*/ 1364275 w 1525933"/>
              <a:gd name="connsiteY3" fmla="*/ 145 h 1241570"/>
              <a:gd name="connsiteX4" fmla="*/ 1525933 w 1525933"/>
              <a:gd name="connsiteY4" fmla="*/ 161803 h 1241570"/>
              <a:gd name="connsiteX5" fmla="*/ 1525933 w 1525933"/>
              <a:gd name="connsiteY5" fmla="*/ 1079912 h 1241570"/>
              <a:gd name="connsiteX6" fmla="*/ 1364275 w 1525933"/>
              <a:gd name="connsiteY6" fmla="*/ 1241570 h 1241570"/>
              <a:gd name="connsiteX7" fmla="*/ 162004 w 1525933"/>
              <a:gd name="connsiteY7" fmla="*/ 1241570 h 1241570"/>
              <a:gd name="connsiteX8" fmla="*/ 346 w 1525933"/>
              <a:gd name="connsiteY8" fmla="*/ 1079912 h 1241570"/>
              <a:gd name="connsiteX9" fmla="*/ 346 w 1525933"/>
              <a:gd name="connsiteY9" fmla="*/ 161803 h 1241570"/>
              <a:gd name="connsiteX0" fmla="*/ 872 w 1526459"/>
              <a:gd name="connsiteY0" fmla="*/ 161803 h 1241570"/>
              <a:gd name="connsiteX1" fmla="*/ 1388 w 1526459"/>
              <a:gd name="connsiteY1" fmla="*/ 0 h 1241570"/>
              <a:gd name="connsiteX2" fmla="*/ 162530 w 1526459"/>
              <a:gd name="connsiteY2" fmla="*/ 145 h 1241570"/>
              <a:gd name="connsiteX3" fmla="*/ 1364801 w 1526459"/>
              <a:gd name="connsiteY3" fmla="*/ 145 h 1241570"/>
              <a:gd name="connsiteX4" fmla="*/ 1526459 w 1526459"/>
              <a:gd name="connsiteY4" fmla="*/ 161803 h 1241570"/>
              <a:gd name="connsiteX5" fmla="*/ 1526459 w 1526459"/>
              <a:gd name="connsiteY5" fmla="*/ 1079912 h 1241570"/>
              <a:gd name="connsiteX6" fmla="*/ 1364801 w 1526459"/>
              <a:gd name="connsiteY6" fmla="*/ 1241570 h 1241570"/>
              <a:gd name="connsiteX7" fmla="*/ 162530 w 1526459"/>
              <a:gd name="connsiteY7" fmla="*/ 1241570 h 1241570"/>
              <a:gd name="connsiteX8" fmla="*/ 872 w 1526459"/>
              <a:gd name="connsiteY8" fmla="*/ 1079912 h 1241570"/>
              <a:gd name="connsiteX9" fmla="*/ 872 w 1526459"/>
              <a:gd name="connsiteY9" fmla="*/ 161803 h 1241570"/>
              <a:gd name="connsiteX0" fmla="*/ 470 w 1526057"/>
              <a:gd name="connsiteY0" fmla="*/ 161803 h 1241570"/>
              <a:gd name="connsiteX1" fmla="*/ 986 w 1526057"/>
              <a:gd name="connsiteY1" fmla="*/ 0 h 1241570"/>
              <a:gd name="connsiteX2" fmla="*/ 162128 w 1526057"/>
              <a:gd name="connsiteY2" fmla="*/ 145 h 1241570"/>
              <a:gd name="connsiteX3" fmla="*/ 1364399 w 1526057"/>
              <a:gd name="connsiteY3" fmla="*/ 145 h 1241570"/>
              <a:gd name="connsiteX4" fmla="*/ 1526057 w 1526057"/>
              <a:gd name="connsiteY4" fmla="*/ 161803 h 1241570"/>
              <a:gd name="connsiteX5" fmla="*/ 1526057 w 1526057"/>
              <a:gd name="connsiteY5" fmla="*/ 1079912 h 1241570"/>
              <a:gd name="connsiteX6" fmla="*/ 1364399 w 1526057"/>
              <a:gd name="connsiteY6" fmla="*/ 1241570 h 1241570"/>
              <a:gd name="connsiteX7" fmla="*/ 162128 w 1526057"/>
              <a:gd name="connsiteY7" fmla="*/ 1241570 h 1241570"/>
              <a:gd name="connsiteX8" fmla="*/ 470 w 1526057"/>
              <a:gd name="connsiteY8" fmla="*/ 1079912 h 1241570"/>
              <a:gd name="connsiteX9" fmla="*/ 470 w 1526057"/>
              <a:gd name="connsiteY9" fmla="*/ 161803 h 1241570"/>
              <a:gd name="connsiteX0" fmla="*/ 649 w 1526236"/>
              <a:gd name="connsiteY0" fmla="*/ 161803 h 1241570"/>
              <a:gd name="connsiteX1" fmla="*/ 1165 w 1526236"/>
              <a:gd name="connsiteY1" fmla="*/ 0 h 1241570"/>
              <a:gd name="connsiteX2" fmla="*/ 162307 w 1526236"/>
              <a:gd name="connsiteY2" fmla="*/ 145 h 1241570"/>
              <a:gd name="connsiteX3" fmla="*/ 1364578 w 1526236"/>
              <a:gd name="connsiteY3" fmla="*/ 145 h 1241570"/>
              <a:gd name="connsiteX4" fmla="*/ 1526236 w 1526236"/>
              <a:gd name="connsiteY4" fmla="*/ 161803 h 1241570"/>
              <a:gd name="connsiteX5" fmla="*/ 1526236 w 1526236"/>
              <a:gd name="connsiteY5" fmla="*/ 1079912 h 1241570"/>
              <a:gd name="connsiteX6" fmla="*/ 1364578 w 1526236"/>
              <a:gd name="connsiteY6" fmla="*/ 1241570 h 1241570"/>
              <a:gd name="connsiteX7" fmla="*/ 162307 w 1526236"/>
              <a:gd name="connsiteY7" fmla="*/ 1241570 h 1241570"/>
              <a:gd name="connsiteX8" fmla="*/ 649 w 1526236"/>
              <a:gd name="connsiteY8" fmla="*/ 1079912 h 1241570"/>
              <a:gd name="connsiteX9" fmla="*/ 649 w 1526236"/>
              <a:gd name="connsiteY9" fmla="*/ 161803 h 1241570"/>
              <a:gd name="connsiteX0" fmla="*/ 268 w 1525855"/>
              <a:gd name="connsiteY0" fmla="*/ 161803 h 1241570"/>
              <a:gd name="connsiteX1" fmla="*/ 784 w 1525855"/>
              <a:gd name="connsiteY1" fmla="*/ 0 h 1241570"/>
              <a:gd name="connsiteX2" fmla="*/ 161926 w 1525855"/>
              <a:gd name="connsiteY2" fmla="*/ 145 h 1241570"/>
              <a:gd name="connsiteX3" fmla="*/ 1364197 w 1525855"/>
              <a:gd name="connsiteY3" fmla="*/ 145 h 1241570"/>
              <a:gd name="connsiteX4" fmla="*/ 1525855 w 1525855"/>
              <a:gd name="connsiteY4" fmla="*/ 161803 h 1241570"/>
              <a:gd name="connsiteX5" fmla="*/ 1525855 w 1525855"/>
              <a:gd name="connsiteY5" fmla="*/ 1079912 h 1241570"/>
              <a:gd name="connsiteX6" fmla="*/ 1364197 w 1525855"/>
              <a:gd name="connsiteY6" fmla="*/ 1241570 h 1241570"/>
              <a:gd name="connsiteX7" fmla="*/ 161926 w 1525855"/>
              <a:gd name="connsiteY7" fmla="*/ 1241570 h 1241570"/>
              <a:gd name="connsiteX8" fmla="*/ 268 w 1525855"/>
              <a:gd name="connsiteY8" fmla="*/ 1079912 h 1241570"/>
              <a:gd name="connsiteX9" fmla="*/ 268 w 1525855"/>
              <a:gd name="connsiteY9" fmla="*/ 161803 h 1241570"/>
              <a:gd name="connsiteX0" fmla="*/ 359 w 1525946"/>
              <a:gd name="connsiteY0" fmla="*/ 161803 h 1241570"/>
              <a:gd name="connsiteX1" fmla="*/ 253 w 1525946"/>
              <a:gd name="connsiteY1" fmla="*/ 0 h 1241570"/>
              <a:gd name="connsiteX2" fmla="*/ 162017 w 1525946"/>
              <a:gd name="connsiteY2" fmla="*/ 145 h 1241570"/>
              <a:gd name="connsiteX3" fmla="*/ 1364288 w 1525946"/>
              <a:gd name="connsiteY3" fmla="*/ 145 h 1241570"/>
              <a:gd name="connsiteX4" fmla="*/ 1525946 w 1525946"/>
              <a:gd name="connsiteY4" fmla="*/ 161803 h 1241570"/>
              <a:gd name="connsiteX5" fmla="*/ 1525946 w 1525946"/>
              <a:gd name="connsiteY5" fmla="*/ 1079912 h 1241570"/>
              <a:gd name="connsiteX6" fmla="*/ 1364288 w 1525946"/>
              <a:gd name="connsiteY6" fmla="*/ 1241570 h 1241570"/>
              <a:gd name="connsiteX7" fmla="*/ 162017 w 1525946"/>
              <a:gd name="connsiteY7" fmla="*/ 1241570 h 1241570"/>
              <a:gd name="connsiteX8" fmla="*/ 359 w 1525946"/>
              <a:gd name="connsiteY8" fmla="*/ 1079912 h 1241570"/>
              <a:gd name="connsiteX9" fmla="*/ 359 w 1525946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364035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25693" h="1241570">
                <a:moveTo>
                  <a:pt x="106" y="161803"/>
                </a:moveTo>
                <a:cubicBezTo>
                  <a:pt x="-210" y="159620"/>
                  <a:pt x="409" y="7672"/>
                  <a:pt x="0" y="0"/>
                </a:cubicBezTo>
                <a:cubicBezTo>
                  <a:pt x="6219" y="388"/>
                  <a:pt x="110655" y="450"/>
                  <a:pt x="161764" y="145"/>
                </a:cubicBezTo>
                <a:lnTo>
                  <a:pt x="1364035" y="145"/>
                </a:lnTo>
                <a:cubicBezTo>
                  <a:pt x="1453316" y="145"/>
                  <a:pt x="1525693" y="72522"/>
                  <a:pt x="1525693" y="161803"/>
                </a:cubicBezTo>
                <a:lnTo>
                  <a:pt x="1525693" y="1079912"/>
                </a:lnTo>
                <a:cubicBezTo>
                  <a:pt x="1525693" y="1169193"/>
                  <a:pt x="1453316" y="1241570"/>
                  <a:pt x="1364035" y="1241570"/>
                </a:cubicBezTo>
                <a:lnTo>
                  <a:pt x="161764" y="1241570"/>
                </a:lnTo>
                <a:cubicBezTo>
                  <a:pt x="72483" y="1241570"/>
                  <a:pt x="106" y="1169193"/>
                  <a:pt x="106" y="1079912"/>
                </a:cubicBezTo>
                <a:lnTo>
                  <a:pt x="106" y="1618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144000" anchor="b"/>
          <a:lstStyle>
            <a:lvl1pPr marL="0" indent="0" algn="ctr">
              <a:buNone/>
              <a:defRPr sz="2806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nl-NL" noProof="0"/>
          </a:p>
        </p:txBody>
      </p:sp>
      <p:sp>
        <p:nvSpPr>
          <p:cNvPr id="33" name="Tijdelijke aanduiding voor afbeelding 6">
            <a:extLst>
              <a:ext uri="{FF2B5EF4-FFF2-40B4-BE49-F238E27FC236}">
                <a16:creationId xmlns:a16="http://schemas.microsoft.com/office/drawing/2014/main" id="{E282FF1F-8DC9-4A36-8B0E-4868FD1C3CCE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1696814" y="16623326"/>
            <a:ext cx="5345254" cy="3931509"/>
          </a:xfrm>
          <a:custGeom>
            <a:avLst/>
            <a:gdLst>
              <a:gd name="connsiteX0" fmla="*/ 0 w 1525587"/>
              <a:gd name="connsiteY0" fmla="*/ 161658 h 1241425"/>
              <a:gd name="connsiteX1" fmla="*/ 161658 w 1525587"/>
              <a:gd name="connsiteY1" fmla="*/ 0 h 1241425"/>
              <a:gd name="connsiteX2" fmla="*/ 1363929 w 1525587"/>
              <a:gd name="connsiteY2" fmla="*/ 0 h 1241425"/>
              <a:gd name="connsiteX3" fmla="*/ 1525587 w 1525587"/>
              <a:gd name="connsiteY3" fmla="*/ 161658 h 1241425"/>
              <a:gd name="connsiteX4" fmla="*/ 1525587 w 1525587"/>
              <a:gd name="connsiteY4" fmla="*/ 1079767 h 1241425"/>
              <a:gd name="connsiteX5" fmla="*/ 1363929 w 1525587"/>
              <a:gd name="connsiteY5" fmla="*/ 1241425 h 1241425"/>
              <a:gd name="connsiteX6" fmla="*/ 161658 w 1525587"/>
              <a:gd name="connsiteY6" fmla="*/ 1241425 h 1241425"/>
              <a:gd name="connsiteX7" fmla="*/ 0 w 1525587"/>
              <a:gd name="connsiteY7" fmla="*/ 1079767 h 1241425"/>
              <a:gd name="connsiteX8" fmla="*/ 0 w 1525587"/>
              <a:gd name="connsiteY8" fmla="*/ 161658 h 1241425"/>
              <a:gd name="connsiteX0" fmla="*/ 0 w 1525587"/>
              <a:gd name="connsiteY0" fmla="*/ 161658 h 1241425"/>
              <a:gd name="connsiteX1" fmla="*/ 42862 w 1525587"/>
              <a:gd name="connsiteY1" fmla="*/ 48418 h 1241425"/>
              <a:gd name="connsiteX2" fmla="*/ 161658 w 1525587"/>
              <a:gd name="connsiteY2" fmla="*/ 0 h 1241425"/>
              <a:gd name="connsiteX3" fmla="*/ 1363929 w 1525587"/>
              <a:gd name="connsiteY3" fmla="*/ 0 h 1241425"/>
              <a:gd name="connsiteX4" fmla="*/ 1525587 w 1525587"/>
              <a:gd name="connsiteY4" fmla="*/ 161658 h 1241425"/>
              <a:gd name="connsiteX5" fmla="*/ 1525587 w 1525587"/>
              <a:gd name="connsiteY5" fmla="*/ 1079767 h 1241425"/>
              <a:gd name="connsiteX6" fmla="*/ 1363929 w 1525587"/>
              <a:gd name="connsiteY6" fmla="*/ 1241425 h 1241425"/>
              <a:gd name="connsiteX7" fmla="*/ 161658 w 1525587"/>
              <a:gd name="connsiteY7" fmla="*/ 1241425 h 1241425"/>
              <a:gd name="connsiteX8" fmla="*/ 0 w 1525587"/>
              <a:gd name="connsiteY8" fmla="*/ 1079767 h 1241425"/>
              <a:gd name="connsiteX9" fmla="*/ 0 w 1525587"/>
              <a:gd name="connsiteY9" fmla="*/ 161658 h 1241425"/>
              <a:gd name="connsiteX0" fmla="*/ 8672 w 1534259"/>
              <a:gd name="connsiteY0" fmla="*/ 165982 h 1245749"/>
              <a:gd name="connsiteX1" fmla="*/ 11053 w 1534259"/>
              <a:gd name="connsiteY1" fmla="*/ 12261 h 1245749"/>
              <a:gd name="connsiteX2" fmla="*/ 170330 w 1534259"/>
              <a:gd name="connsiteY2" fmla="*/ 4324 h 1245749"/>
              <a:gd name="connsiteX3" fmla="*/ 1372601 w 1534259"/>
              <a:gd name="connsiteY3" fmla="*/ 4324 h 1245749"/>
              <a:gd name="connsiteX4" fmla="*/ 1534259 w 1534259"/>
              <a:gd name="connsiteY4" fmla="*/ 165982 h 1245749"/>
              <a:gd name="connsiteX5" fmla="*/ 1534259 w 1534259"/>
              <a:gd name="connsiteY5" fmla="*/ 1084091 h 1245749"/>
              <a:gd name="connsiteX6" fmla="*/ 1372601 w 1534259"/>
              <a:gd name="connsiteY6" fmla="*/ 1245749 h 1245749"/>
              <a:gd name="connsiteX7" fmla="*/ 170330 w 1534259"/>
              <a:gd name="connsiteY7" fmla="*/ 1245749 h 1245749"/>
              <a:gd name="connsiteX8" fmla="*/ 8672 w 1534259"/>
              <a:gd name="connsiteY8" fmla="*/ 1084091 h 1245749"/>
              <a:gd name="connsiteX9" fmla="*/ 8672 w 1534259"/>
              <a:gd name="connsiteY9" fmla="*/ 165982 h 1245749"/>
              <a:gd name="connsiteX0" fmla="*/ 8672 w 1534259"/>
              <a:gd name="connsiteY0" fmla="*/ 167890 h 1247657"/>
              <a:gd name="connsiteX1" fmla="*/ 11053 w 1534259"/>
              <a:gd name="connsiteY1" fmla="*/ 14169 h 1247657"/>
              <a:gd name="connsiteX2" fmla="*/ 170330 w 1534259"/>
              <a:gd name="connsiteY2" fmla="*/ 6232 h 1247657"/>
              <a:gd name="connsiteX3" fmla="*/ 1372601 w 1534259"/>
              <a:gd name="connsiteY3" fmla="*/ 6232 h 1247657"/>
              <a:gd name="connsiteX4" fmla="*/ 1534259 w 1534259"/>
              <a:gd name="connsiteY4" fmla="*/ 167890 h 1247657"/>
              <a:gd name="connsiteX5" fmla="*/ 1534259 w 1534259"/>
              <a:gd name="connsiteY5" fmla="*/ 1085999 h 1247657"/>
              <a:gd name="connsiteX6" fmla="*/ 1372601 w 1534259"/>
              <a:gd name="connsiteY6" fmla="*/ 1247657 h 1247657"/>
              <a:gd name="connsiteX7" fmla="*/ 170330 w 1534259"/>
              <a:gd name="connsiteY7" fmla="*/ 1247657 h 1247657"/>
              <a:gd name="connsiteX8" fmla="*/ 8672 w 1534259"/>
              <a:gd name="connsiteY8" fmla="*/ 1085999 h 1247657"/>
              <a:gd name="connsiteX9" fmla="*/ 8672 w 1534259"/>
              <a:gd name="connsiteY9" fmla="*/ 167890 h 1247657"/>
              <a:gd name="connsiteX0" fmla="*/ 8672 w 1534259"/>
              <a:gd name="connsiteY0" fmla="*/ 161658 h 1241425"/>
              <a:gd name="connsiteX1" fmla="*/ 11053 w 1534259"/>
              <a:gd name="connsiteY1" fmla="*/ 7937 h 1241425"/>
              <a:gd name="connsiteX2" fmla="*/ 170330 w 1534259"/>
              <a:gd name="connsiteY2" fmla="*/ 0 h 1241425"/>
              <a:gd name="connsiteX3" fmla="*/ 1372601 w 1534259"/>
              <a:gd name="connsiteY3" fmla="*/ 0 h 1241425"/>
              <a:gd name="connsiteX4" fmla="*/ 1534259 w 1534259"/>
              <a:gd name="connsiteY4" fmla="*/ 161658 h 1241425"/>
              <a:gd name="connsiteX5" fmla="*/ 1534259 w 1534259"/>
              <a:gd name="connsiteY5" fmla="*/ 1079767 h 1241425"/>
              <a:gd name="connsiteX6" fmla="*/ 1372601 w 1534259"/>
              <a:gd name="connsiteY6" fmla="*/ 1241425 h 1241425"/>
              <a:gd name="connsiteX7" fmla="*/ 170330 w 1534259"/>
              <a:gd name="connsiteY7" fmla="*/ 1241425 h 1241425"/>
              <a:gd name="connsiteX8" fmla="*/ 8672 w 1534259"/>
              <a:gd name="connsiteY8" fmla="*/ 1079767 h 1241425"/>
              <a:gd name="connsiteX9" fmla="*/ 8672 w 1534259"/>
              <a:gd name="connsiteY9" fmla="*/ 161658 h 124142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3668 h 1243435"/>
              <a:gd name="connsiteX1" fmla="*/ 10644 w 1535715"/>
              <a:gd name="connsiteY1" fmla="*/ 0 h 1243435"/>
              <a:gd name="connsiteX2" fmla="*/ 171786 w 1535715"/>
              <a:gd name="connsiteY2" fmla="*/ 2010 h 1243435"/>
              <a:gd name="connsiteX3" fmla="*/ 1374057 w 1535715"/>
              <a:gd name="connsiteY3" fmla="*/ 2010 h 1243435"/>
              <a:gd name="connsiteX4" fmla="*/ 1535715 w 1535715"/>
              <a:gd name="connsiteY4" fmla="*/ 163668 h 1243435"/>
              <a:gd name="connsiteX5" fmla="*/ 1535715 w 1535715"/>
              <a:gd name="connsiteY5" fmla="*/ 1081777 h 1243435"/>
              <a:gd name="connsiteX6" fmla="*/ 1374057 w 1535715"/>
              <a:gd name="connsiteY6" fmla="*/ 1243435 h 1243435"/>
              <a:gd name="connsiteX7" fmla="*/ 171786 w 1535715"/>
              <a:gd name="connsiteY7" fmla="*/ 1243435 h 1243435"/>
              <a:gd name="connsiteX8" fmla="*/ 10128 w 1535715"/>
              <a:gd name="connsiteY8" fmla="*/ 1081777 h 1243435"/>
              <a:gd name="connsiteX9" fmla="*/ 10128 w 1535715"/>
              <a:gd name="connsiteY9" fmla="*/ 163668 h 124343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1808 w 1537395"/>
              <a:gd name="connsiteY0" fmla="*/ 161803 h 1241570"/>
              <a:gd name="connsiteX1" fmla="*/ 12324 w 1537395"/>
              <a:gd name="connsiteY1" fmla="*/ 0 h 1241570"/>
              <a:gd name="connsiteX2" fmla="*/ 173466 w 1537395"/>
              <a:gd name="connsiteY2" fmla="*/ 145 h 1241570"/>
              <a:gd name="connsiteX3" fmla="*/ 1375737 w 1537395"/>
              <a:gd name="connsiteY3" fmla="*/ 145 h 1241570"/>
              <a:gd name="connsiteX4" fmla="*/ 1537395 w 1537395"/>
              <a:gd name="connsiteY4" fmla="*/ 161803 h 1241570"/>
              <a:gd name="connsiteX5" fmla="*/ 1537395 w 1537395"/>
              <a:gd name="connsiteY5" fmla="*/ 1079912 h 1241570"/>
              <a:gd name="connsiteX6" fmla="*/ 1375737 w 1537395"/>
              <a:gd name="connsiteY6" fmla="*/ 1241570 h 1241570"/>
              <a:gd name="connsiteX7" fmla="*/ 173466 w 1537395"/>
              <a:gd name="connsiteY7" fmla="*/ 1241570 h 1241570"/>
              <a:gd name="connsiteX8" fmla="*/ 11808 w 1537395"/>
              <a:gd name="connsiteY8" fmla="*/ 1079912 h 1241570"/>
              <a:gd name="connsiteX9" fmla="*/ 11808 w 1537395"/>
              <a:gd name="connsiteY9" fmla="*/ 161803 h 1241570"/>
              <a:gd name="connsiteX0" fmla="*/ 346 w 1525933"/>
              <a:gd name="connsiteY0" fmla="*/ 161803 h 1241570"/>
              <a:gd name="connsiteX1" fmla="*/ 862 w 1525933"/>
              <a:gd name="connsiteY1" fmla="*/ 0 h 1241570"/>
              <a:gd name="connsiteX2" fmla="*/ 162004 w 1525933"/>
              <a:gd name="connsiteY2" fmla="*/ 145 h 1241570"/>
              <a:gd name="connsiteX3" fmla="*/ 1364275 w 1525933"/>
              <a:gd name="connsiteY3" fmla="*/ 145 h 1241570"/>
              <a:gd name="connsiteX4" fmla="*/ 1525933 w 1525933"/>
              <a:gd name="connsiteY4" fmla="*/ 161803 h 1241570"/>
              <a:gd name="connsiteX5" fmla="*/ 1525933 w 1525933"/>
              <a:gd name="connsiteY5" fmla="*/ 1079912 h 1241570"/>
              <a:gd name="connsiteX6" fmla="*/ 1364275 w 1525933"/>
              <a:gd name="connsiteY6" fmla="*/ 1241570 h 1241570"/>
              <a:gd name="connsiteX7" fmla="*/ 162004 w 1525933"/>
              <a:gd name="connsiteY7" fmla="*/ 1241570 h 1241570"/>
              <a:gd name="connsiteX8" fmla="*/ 346 w 1525933"/>
              <a:gd name="connsiteY8" fmla="*/ 1079912 h 1241570"/>
              <a:gd name="connsiteX9" fmla="*/ 346 w 1525933"/>
              <a:gd name="connsiteY9" fmla="*/ 161803 h 1241570"/>
              <a:gd name="connsiteX0" fmla="*/ 872 w 1526459"/>
              <a:gd name="connsiteY0" fmla="*/ 161803 h 1241570"/>
              <a:gd name="connsiteX1" fmla="*/ 1388 w 1526459"/>
              <a:gd name="connsiteY1" fmla="*/ 0 h 1241570"/>
              <a:gd name="connsiteX2" fmla="*/ 162530 w 1526459"/>
              <a:gd name="connsiteY2" fmla="*/ 145 h 1241570"/>
              <a:gd name="connsiteX3" fmla="*/ 1364801 w 1526459"/>
              <a:gd name="connsiteY3" fmla="*/ 145 h 1241570"/>
              <a:gd name="connsiteX4" fmla="*/ 1526459 w 1526459"/>
              <a:gd name="connsiteY4" fmla="*/ 161803 h 1241570"/>
              <a:gd name="connsiteX5" fmla="*/ 1526459 w 1526459"/>
              <a:gd name="connsiteY5" fmla="*/ 1079912 h 1241570"/>
              <a:gd name="connsiteX6" fmla="*/ 1364801 w 1526459"/>
              <a:gd name="connsiteY6" fmla="*/ 1241570 h 1241570"/>
              <a:gd name="connsiteX7" fmla="*/ 162530 w 1526459"/>
              <a:gd name="connsiteY7" fmla="*/ 1241570 h 1241570"/>
              <a:gd name="connsiteX8" fmla="*/ 872 w 1526459"/>
              <a:gd name="connsiteY8" fmla="*/ 1079912 h 1241570"/>
              <a:gd name="connsiteX9" fmla="*/ 872 w 1526459"/>
              <a:gd name="connsiteY9" fmla="*/ 161803 h 1241570"/>
              <a:gd name="connsiteX0" fmla="*/ 470 w 1526057"/>
              <a:gd name="connsiteY0" fmla="*/ 161803 h 1241570"/>
              <a:gd name="connsiteX1" fmla="*/ 986 w 1526057"/>
              <a:gd name="connsiteY1" fmla="*/ 0 h 1241570"/>
              <a:gd name="connsiteX2" fmla="*/ 162128 w 1526057"/>
              <a:gd name="connsiteY2" fmla="*/ 145 h 1241570"/>
              <a:gd name="connsiteX3" fmla="*/ 1364399 w 1526057"/>
              <a:gd name="connsiteY3" fmla="*/ 145 h 1241570"/>
              <a:gd name="connsiteX4" fmla="*/ 1526057 w 1526057"/>
              <a:gd name="connsiteY4" fmla="*/ 161803 h 1241570"/>
              <a:gd name="connsiteX5" fmla="*/ 1526057 w 1526057"/>
              <a:gd name="connsiteY5" fmla="*/ 1079912 h 1241570"/>
              <a:gd name="connsiteX6" fmla="*/ 1364399 w 1526057"/>
              <a:gd name="connsiteY6" fmla="*/ 1241570 h 1241570"/>
              <a:gd name="connsiteX7" fmla="*/ 162128 w 1526057"/>
              <a:gd name="connsiteY7" fmla="*/ 1241570 h 1241570"/>
              <a:gd name="connsiteX8" fmla="*/ 470 w 1526057"/>
              <a:gd name="connsiteY8" fmla="*/ 1079912 h 1241570"/>
              <a:gd name="connsiteX9" fmla="*/ 470 w 1526057"/>
              <a:gd name="connsiteY9" fmla="*/ 161803 h 1241570"/>
              <a:gd name="connsiteX0" fmla="*/ 649 w 1526236"/>
              <a:gd name="connsiteY0" fmla="*/ 161803 h 1241570"/>
              <a:gd name="connsiteX1" fmla="*/ 1165 w 1526236"/>
              <a:gd name="connsiteY1" fmla="*/ 0 h 1241570"/>
              <a:gd name="connsiteX2" fmla="*/ 162307 w 1526236"/>
              <a:gd name="connsiteY2" fmla="*/ 145 h 1241570"/>
              <a:gd name="connsiteX3" fmla="*/ 1364578 w 1526236"/>
              <a:gd name="connsiteY3" fmla="*/ 145 h 1241570"/>
              <a:gd name="connsiteX4" fmla="*/ 1526236 w 1526236"/>
              <a:gd name="connsiteY4" fmla="*/ 161803 h 1241570"/>
              <a:gd name="connsiteX5" fmla="*/ 1526236 w 1526236"/>
              <a:gd name="connsiteY5" fmla="*/ 1079912 h 1241570"/>
              <a:gd name="connsiteX6" fmla="*/ 1364578 w 1526236"/>
              <a:gd name="connsiteY6" fmla="*/ 1241570 h 1241570"/>
              <a:gd name="connsiteX7" fmla="*/ 162307 w 1526236"/>
              <a:gd name="connsiteY7" fmla="*/ 1241570 h 1241570"/>
              <a:gd name="connsiteX8" fmla="*/ 649 w 1526236"/>
              <a:gd name="connsiteY8" fmla="*/ 1079912 h 1241570"/>
              <a:gd name="connsiteX9" fmla="*/ 649 w 1526236"/>
              <a:gd name="connsiteY9" fmla="*/ 161803 h 1241570"/>
              <a:gd name="connsiteX0" fmla="*/ 268 w 1525855"/>
              <a:gd name="connsiteY0" fmla="*/ 161803 h 1241570"/>
              <a:gd name="connsiteX1" fmla="*/ 784 w 1525855"/>
              <a:gd name="connsiteY1" fmla="*/ 0 h 1241570"/>
              <a:gd name="connsiteX2" fmla="*/ 161926 w 1525855"/>
              <a:gd name="connsiteY2" fmla="*/ 145 h 1241570"/>
              <a:gd name="connsiteX3" fmla="*/ 1364197 w 1525855"/>
              <a:gd name="connsiteY3" fmla="*/ 145 h 1241570"/>
              <a:gd name="connsiteX4" fmla="*/ 1525855 w 1525855"/>
              <a:gd name="connsiteY4" fmla="*/ 161803 h 1241570"/>
              <a:gd name="connsiteX5" fmla="*/ 1525855 w 1525855"/>
              <a:gd name="connsiteY5" fmla="*/ 1079912 h 1241570"/>
              <a:gd name="connsiteX6" fmla="*/ 1364197 w 1525855"/>
              <a:gd name="connsiteY6" fmla="*/ 1241570 h 1241570"/>
              <a:gd name="connsiteX7" fmla="*/ 161926 w 1525855"/>
              <a:gd name="connsiteY7" fmla="*/ 1241570 h 1241570"/>
              <a:gd name="connsiteX8" fmla="*/ 268 w 1525855"/>
              <a:gd name="connsiteY8" fmla="*/ 1079912 h 1241570"/>
              <a:gd name="connsiteX9" fmla="*/ 268 w 1525855"/>
              <a:gd name="connsiteY9" fmla="*/ 161803 h 1241570"/>
              <a:gd name="connsiteX0" fmla="*/ 359 w 1525946"/>
              <a:gd name="connsiteY0" fmla="*/ 161803 h 1241570"/>
              <a:gd name="connsiteX1" fmla="*/ 253 w 1525946"/>
              <a:gd name="connsiteY1" fmla="*/ 0 h 1241570"/>
              <a:gd name="connsiteX2" fmla="*/ 162017 w 1525946"/>
              <a:gd name="connsiteY2" fmla="*/ 145 h 1241570"/>
              <a:gd name="connsiteX3" fmla="*/ 1364288 w 1525946"/>
              <a:gd name="connsiteY3" fmla="*/ 145 h 1241570"/>
              <a:gd name="connsiteX4" fmla="*/ 1525946 w 1525946"/>
              <a:gd name="connsiteY4" fmla="*/ 161803 h 1241570"/>
              <a:gd name="connsiteX5" fmla="*/ 1525946 w 1525946"/>
              <a:gd name="connsiteY5" fmla="*/ 1079912 h 1241570"/>
              <a:gd name="connsiteX6" fmla="*/ 1364288 w 1525946"/>
              <a:gd name="connsiteY6" fmla="*/ 1241570 h 1241570"/>
              <a:gd name="connsiteX7" fmla="*/ 162017 w 1525946"/>
              <a:gd name="connsiteY7" fmla="*/ 1241570 h 1241570"/>
              <a:gd name="connsiteX8" fmla="*/ 359 w 1525946"/>
              <a:gd name="connsiteY8" fmla="*/ 1079912 h 1241570"/>
              <a:gd name="connsiteX9" fmla="*/ 359 w 1525946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364035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25693" h="1241570">
                <a:moveTo>
                  <a:pt x="106" y="161803"/>
                </a:moveTo>
                <a:cubicBezTo>
                  <a:pt x="-210" y="159620"/>
                  <a:pt x="409" y="7672"/>
                  <a:pt x="0" y="0"/>
                </a:cubicBezTo>
                <a:cubicBezTo>
                  <a:pt x="6219" y="388"/>
                  <a:pt x="110655" y="450"/>
                  <a:pt x="161764" y="145"/>
                </a:cubicBezTo>
                <a:lnTo>
                  <a:pt x="1364035" y="145"/>
                </a:lnTo>
                <a:cubicBezTo>
                  <a:pt x="1453316" y="145"/>
                  <a:pt x="1525693" y="72522"/>
                  <a:pt x="1525693" y="161803"/>
                </a:cubicBezTo>
                <a:lnTo>
                  <a:pt x="1525693" y="1079912"/>
                </a:lnTo>
                <a:cubicBezTo>
                  <a:pt x="1525693" y="1169193"/>
                  <a:pt x="1453316" y="1241570"/>
                  <a:pt x="1364035" y="1241570"/>
                </a:cubicBezTo>
                <a:lnTo>
                  <a:pt x="161764" y="1241570"/>
                </a:lnTo>
                <a:cubicBezTo>
                  <a:pt x="72483" y="1241570"/>
                  <a:pt x="106" y="1169193"/>
                  <a:pt x="106" y="1079912"/>
                </a:cubicBezTo>
                <a:lnTo>
                  <a:pt x="106" y="1618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144000" anchor="b"/>
          <a:lstStyle>
            <a:lvl1pPr marL="0" indent="0" algn="ctr">
              <a:buNone/>
              <a:defRPr sz="2806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nl-NL" noProof="0"/>
          </a:p>
        </p:txBody>
      </p:sp>
      <p:sp>
        <p:nvSpPr>
          <p:cNvPr id="158" name="Tijdelijke aanduiding voor afbeelding 6">
            <a:extLst>
              <a:ext uri="{FF2B5EF4-FFF2-40B4-BE49-F238E27FC236}">
                <a16:creationId xmlns:a16="http://schemas.microsoft.com/office/drawing/2014/main" id="{3BAEA7E3-4B93-482B-8197-4D73CC7255A6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1696814" y="21779706"/>
            <a:ext cx="5345254" cy="3931509"/>
          </a:xfrm>
          <a:custGeom>
            <a:avLst/>
            <a:gdLst>
              <a:gd name="connsiteX0" fmla="*/ 0 w 1525587"/>
              <a:gd name="connsiteY0" fmla="*/ 161658 h 1241425"/>
              <a:gd name="connsiteX1" fmla="*/ 161658 w 1525587"/>
              <a:gd name="connsiteY1" fmla="*/ 0 h 1241425"/>
              <a:gd name="connsiteX2" fmla="*/ 1363929 w 1525587"/>
              <a:gd name="connsiteY2" fmla="*/ 0 h 1241425"/>
              <a:gd name="connsiteX3" fmla="*/ 1525587 w 1525587"/>
              <a:gd name="connsiteY3" fmla="*/ 161658 h 1241425"/>
              <a:gd name="connsiteX4" fmla="*/ 1525587 w 1525587"/>
              <a:gd name="connsiteY4" fmla="*/ 1079767 h 1241425"/>
              <a:gd name="connsiteX5" fmla="*/ 1363929 w 1525587"/>
              <a:gd name="connsiteY5" fmla="*/ 1241425 h 1241425"/>
              <a:gd name="connsiteX6" fmla="*/ 161658 w 1525587"/>
              <a:gd name="connsiteY6" fmla="*/ 1241425 h 1241425"/>
              <a:gd name="connsiteX7" fmla="*/ 0 w 1525587"/>
              <a:gd name="connsiteY7" fmla="*/ 1079767 h 1241425"/>
              <a:gd name="connsiteX8" fmla="*/ 0 w 1525587"/>
              <a:gd name="connsiteY8" fmla="*/ 161658 h 1241425"/>
              <a:gd name="connsiteX0" fmla="*/ 0 w 1525587"/>
              <a:gd name="connsiteY0" fmla="*/ 161658 h 1241425"/>
              <a:gd name="connsiteX1" fmla="*/ 42862 w 1525587"/>
              <a:gd name="connsiteY1" fmla="*/ 48418 h 1241425"/>
              <a:gd name="connsiteX2" fmla="*/ 161658 w 1525587"/>
              <a:gd name="connsiteY2" fmla="*/ 0 h 1241425"/>
              <a:gd name="connsiteX3" fmla="*/ 1363929 w 1525587"/>
              <a:gd name="connsiteY3" fmla="*/ 0 h 1241425"/>
              <a:gd name="connsiteX4" fmla="*/ 1525587 w 1525587"/>
              <a:gd name="connsiteY4" fmla="*/ 161658 h 1241425"/>
              <a:gd name="connsiteX5" fmla="*/ 1525587 w 1525587"/>
              <a:gd name="connsiteY5" fmla="*/ 1079767 h 1241425"/>
              <a:gd name="connsiteX6" fmla="*/ 1363929 w 1525587"/>
              <a:gd name="connsiteY6" fmla="*/ 1241425 h 1241425"/>
              <a:gd name="connsiteX7" fmla="*/ 161658 w 1525587"/>
              <a:gd name="connsiteY7" fmla="*/ 1241425 h 1241425"/>
              <a:gd name="connsiteX8" fmla="*/ 0 w 1525587"/>
              <a:gd name="connsiteY8" fmla="*/ 1079767 h 1241425"/>
              <a:gd name="connsiteX9" fmla="*/ 0 w 1525587"/>
              <a:gd name="connsiteY9" fmla="*/ 161658 h 1241425"/>
              <a:gd name="connsiteX0" fmla="*/ 8672 w 1534259"/>
              <a:gd name="connsiteY0" fmla="*/ 165982 h 1245749"/>
              <a:gd name="connsiteX1" fmla="*/ 11053 w 1534259"/>
              <a:gd name="connsiteY1" fmla="*/ 12261 h 1245749"/>
              <a:gd name="connsiteX2" fmla="*/ 170330 w 1534259"/>
              <a:gd name="connsiteY2" fmla="*/ 4324 h 1245749"/>
              <a:gd name="connsiteX3" fmla="*/ 1372601 w 1534259"/>
              <a:gd name="connsiteY3" fmla="*/ 4324 h 1245749"/>
              <a:gd name="connsiteX4" fmla="*/ 1534259 w 1534259"/>
              <a:gd name="connsiteY4" fmla="*/ 165982 h 1245749"/>
              <a:gd name="connsiteX5" fmla="*/ 1534259 w 1534259"/>
              <a:gd name="connsiteY5" fmla="*/ 1084091 h 1245749"/>
              <a:gd name="connsiteX6" fmla="*/ 1372601 w 1534259"/>
              <a:gd name="connsiteY6" fmla="*/ 1245749 h 1245749"/>
              <a:gd name="connsiteX7" fmla="*/ 170330 w 1534259"/>
              <a:gd name="connsiteY7" fmla="*/ 1245749 h 1245749"/>
              <a:gd name="connsiteX8" fmla="*/ 8672 w 1534259"/>
              <a:gd name="connsiteY8" fmla="*/ 1084091 h 1245749"/>
              <a:gd name="connsiteX9" fmla="*/ 8672 w 1534259"/>
              <a:gd name="connsiteY9" fmla="*/ 165982 h 1245749"/>
              <a:gd name="connsiteX0" fmla="*/ 8672 w 1534259"/>
              <a:gd name="connsiteY0" fmla="*/ 167890 h 1247657"/>
              <a:gd name="connsiteX1" fmla="*/ 11053 w 1534259"/>
              <a:gd name="connsiteY1" fmla="*/ 14169 h 1247657"/>
              <a:gd name="connsiteX2" fmla="*/ 170330 w 1534259"/>
              <a:gd name="connsiteY2" fmla="*/ 6232 h 1247657"/>
              <a:gd name="connsiteX3" fmla="*/ 1372601 w 1534259"/>
              <a:gd name="connsiteY3" fmla="*/ 6232 h 1247657"/>
              <a:gd name="connsiteX4" fmla="*/ 1534259 w 1534259"/>
              <a:gd name="connsiteY4" fmla="*/ 167890 h 1247657"/>
              <a:gd name="connsiteX5" fmla="*/ 1534259 w 1534259"/>
              <a:gd name="connsiteY5" fmla="*/ 1085999 h 1247657"/>
              <a:gd name="connsiteX6" fmla="*/ 1372601 w 1534259"/>
              <a:gd name="connsiteY6" fmla="*/ 1247657 h 1247657"/>
              <a:gd name="connsiteX7" fmla="*/ 170330 w 1534259"/>
              <a:gd name="connsiteY7" fmla="*/ 1247657 h 1247657"/>
              <a:gd name="connsiteX8" fmla="*/ 8672 w 1534259"/>
              <a:gd name="connsiteY8" fmla="*/ 1085999 h 1247657"/>
              <a:gd name="connsiteX9" fmla="*/ 8672 w 1534259"/>
              <a:gd name="connsiteY9" fmla="*/ 167890 h 1247657"/>
              <a:gd name="connsiteX0" fmla="*/ 8672 w 1534259"/>
              <a:gd name="connsiteY0" fmla="*/ 161658 h 1241425"/>
              <a:gd name="connsiteX1" fmla="*/ 11053 w 1534259"/>
              <a:gd name="connsiteY1" fmla="*/ 7937 h 1241425"/>
              <a:gd name="connsiteX2" fmla="*/ 170330 w 1534259"/>
              <a:gd name="connsiteY2" fmla="*/ 0 h 1241425"/>
              <a:gd name="connsiteX3" fmla="*/ 1372601 w 1534259"/>
              <a:gd name="connsiteY3" fmla="*/ 0 h 1241425"/>
              <a:gd name="connsiteX4" fmla="*/ 1534259 w 1534259"/>
              <a:gd name="connsiteY4" fmla="*/ 161658 h 1241425"/>
              <a:gd name="connsiteX5" fmla="*/ 1534259 w 1534259"/>
              <a:gd name="connsiteY5" fmla="*/ 1079767 h 1241425"/>
              <a:gd name="connsiteX6" fmla="*/ 1372601 w 1534259"/>
              <a:gd name="connsiteY6" fmla="*/ 1241425 h 1241425"/>
              <a:gd name="connsiteX7" fmla="*/ 170330 w 1534259"/>
              <a:gd name="connsiteY7" fmla="*/ 1241425 h 1241425"/>
              <a:gd name="connsiteX8" fmla="*/ 8672 w 1534259"/>
              <a:gd name="connsiteY8" fmla="*/ 1079767 h 1241425"/>
              <a:gd name="connsiteX9" fmla="*/ 8672 w 1534259"/>
              <a:gd name="connsiteY9" fmla="*/ 161658 h 124142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3668 h 1243435"/>
              <a:gd name="connsiteX1" fmla="*/ 10644 w 1535715"/>
              <a:gd name="connsiteY1" fmla="*/ 0 h 1243435"/>
              <a:gd name="connsiteX2" fmla="*/ 171786 w 1535715"/>
              <a:gd name="connsiteY2" fmla="*/ 2010 h 1243435"/>
              <a:gd name="connsiteX3" fmla="*/ 1374057 w 1535715"/>
              <a:gd name="connsiteY3" fmla="*/ 2010 h 1243435"/>
              <a:gd name="connsiteX4" fmla="*/ 1535715 w 1535715"/>
              <a:gd name="connsiteY4" fmla="*/ 163668 h 1243435"/>
              <a:gd name="connsiteX5" fmla="*/ 1535715 w 1535715"/>
              <a:gd name="connsiteY5" fmla="*/ 1081777 h 1243435"/>
              <a:gd name="connsiteX6" fmla="*/ 1374057 w 1535715"/>
              <a:gd name="connsiteY6" fmla="*/ 1243435 h 1243435"/>
              <a:gd name="connsiteX7" fmla="*/ 171786 w 1535715"/>
              <a:gd name="connsiteY7" fmla="*/ 1243435 h 1243435"/>
              <a:gd name="connsiteX8" fmla="*/ 10128 w 1535715"/>
              <a:gd name="connsiteY8" fmla="*/ 1081777 h 1243435"/>
              <a:gd name="connsiteX9" fmla="*/ 10128 w 1535715"/>
              <a:gd name="connsiteY9" fmla="*/ 163668 h 124343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1808 w 1537395"/>
              <a:gd name="connsiteY0" fmla="*/ 161803 h 1241570"/>
              <a:gd name="connsiteX1" fmla="*/ 12324 w 1537395"/>
              <a:gd name="connsiteY1" fmla="*/ 0 h 1241570"/>
              <a:gd name="connsiteX2" fmla="*/ 173466 w 1537395"/>
              <a:gd name="connsiteY2" fmla="*/ 145 h 1241570"/>
              <a:gd name="connsiteX3" fmla="*/ 1375737 w 1537395"/>
              <a:gd name="connsiteY3" fmla="*/ 145 h 1241570"/>
              <a:gd name="connsiteX4" fmla="*/ 1537395 w 1537395"/>
              <a:gd name="connsiteY4" fmla="*/ 161803 h 1241570"/>
              <a:gd name="connsiteX5" fmla="*/ 1537395 w 1537395"/>
              <a:gd name="connsiteY5" fmla="*/ 1079912 h 1241570"/>
              <a:gd name="connsiteX6" fmla="*/ 1375737 w 1537395"/>
              <a:gd name="connsiteY6" fmla="*/ 1241570 h 1241570"/>
              <a:gd name="connsiteX7" fmla="*/ 173466 w 1537395"/>
              <a:gd name="connsiteY7" fmla="*/ 1241570 h 1241570"/>
              <a:gd name="connsiteX8" fmla="*/ 11808 w 1537395"/>
              <a:gd name="connsiteY8" fmla="*/ 1079912 h 1241570"/>
              <a:gd name="connsiteX9" fmla="*/ 11808 w 1537395"/>
              <a:gd name="connsiteY9" fmla="*/ 161803 h 1241570"/>
              <a:gd name="connsiteX0" fmla="*/ 346 w 1525933"/>
              <a:gd name="connsiteY0" fmla="*/ 161803 h 1241570"/>
              <a:gd name="connsiteX1" fmla="*/ 862 w 1525933"/>
              <a:gd name="connsiteY1" fmla="*/ 0 h 1241570"/>
              <a:gd name="connsiteX2" fmla="*/ 162004 w 1525933"/>
              <a:gd name="connsiteY2" fmla="*/ 145 h 1241570"/>
              <a:gd name="connsiteX3" fmla="*/ 1364275 w 1525933"/>
              <a:gd name="connsiteY3" fmla="*/ 145 h 1241570"/>
              <a:gd name="connsiteX4" fmla="*/ 1525933 w 1525933"/>
              <a:gd name="connsiteY4" fmla="*/ 161803 h 1241570"/>
              <a:gd name="connsiteX5" fmla="*/ 1525933 w 1525933"/>
              <a:gd name="connsiteY5" fmla="*/ 1079912 h 1241570"/>
              <a:gd name="connsiteX6" fmla="*/ 1364275 w 1525933"/>
              <a:gd name="connsiteY6" fmla="*/ 1241570 h 1241570"/>
              <a:gd name="connsiteX7" fmla="*/ 162004 w 1525933"/>
              <a:gd name="connsiteY7" fmla="*/ 1241570 h 1241570"/>
              <a:gd name="connsiteX8" fmla="*/ 346 w 1525933"/>
              <a:gd name="connsiteY8" fmla="*/ 1079912 h 1241570"/>
              <a:gd name="connsiteX9" fmla="*/ 346 w 1525933"/>
              <a:gd name="connsiteY9" fmla="*/ 161803 h 1241570"/>
              <a:gd name="connsiteX0" fmla="*/ 872 w 1526459"/>
              <a:gd name="connsiteY0" fmla="*/ 161803 h 1241570"/>
              <a:gd name="connsiteX1" fmla="*/ 1388 w 1526459"/>
              <a:gd name="connsiteY1" fmla="*/ 0 h 1241570"/>
              <a:gd name="connsiteX2" fmla="*/ 162530 w 1526459"/>
              <a:gd name="connsiteY2" fmla="*/ 145 h 1241570"/>
              <a:gd name="connsiteX3" fmla="*/ 1364801 w 1526459"/>
              <a:gd name="connsiteY3" fmla="*/ 145 h 1241570"/>
              <a:gd name="connsiteX4" fmla="*/ 1526459 w 1526459"/>
              <a:gd name="connsiteY4" fmla="*/ 161803 h 1241570"/>
              <a:gd name="connsiteX5" fmla="*/ 1526459 w 1526459"/>
              <a:gd name="connsiteY5" fmla="*/ 1079912 h 1241570"/>
              <a:gd name="connsiteX6" fmla="*/ 1364801 w 1526459"/>
              <a:gd name="connsiteY6" fmla="*/ 1241570 h 1241570"/>
              <a:gd name="connsiteX7" fmla="*/ 162530 w 1526459"/>
              <a:gd name="connsiteY7" fmla="*/ 1241570 h 1241570"/>
              <a:gd name="connsiteX8" fmla="*/ 872 w 1526459"/>
              <a:gd name="connsiteY8" fmla="*/ 1079912 h 1241570"/>
              <a:gd name="connsiteX9" fmla="*/ 872 w 1526459"/>
              <a:gd name="connsiteY9" fmla="*/ 161803 h 1241570"/>
              <a:gd name="connsiteX0" fmla="*/ 470 w 1526057"/>
              <a:gd name="connsiteY0" fmla="*/ 161803 h 1241570"/>
              <a:gd name="connsiteX1" fmla="*/ 986 w 1526057"/>
              <a:gd name="connsiteY1" fmla="*/ 0 h 1241570"/>
              <a:gd name="connsiteX2" fmla="*/ 162128 w 1526057"/>
              <a:gd name="connsiteY2" fmla="*/ 145 h 1241570"/>
              <a:gd name="connsiteX3" fmla="*/ 1364399 w 1526057"/>
              <a:gd name="connsiteY3" fmla="*/ 145 h 1241570"/>
              <a:gd name="connsiteX4" fmla="*/ 1526057 w 1526057"/>
              <a:gd name="connsiteY4" fmla="*/ 161803 h 1241570"/>
              <a:gd name="connsiteX5" fmla="*/ 1526057 w 1526057"/>
              <a:gd name="connsiteY5" fmla="*/ 1079912 h 1241570"/>
              <a:gd name="connsiteX6" fmla="*/ 1364399 w 1526057"/>
              <a:gd name="connsiteY6" fmla="*/ 1241570 h 1241570"/>
              <a:gd name="connsiteX7" fmla="*/ 162128 w 1526057"/>
              <a:gd name="connsiteY7" fmla="*/ 1241570 h 1241570"/>
              <a:gd name="connsiteX8" fmla="*/ 470 w 1526057"/>
              <a:gd name="connsiteY8" fmla="*/ 1079912 h 1241570"/>
              <a:gd name="connsiteX9" fmla="*/ 470 w 1526057"/>
              <a:gd name="connsiteY9" fmla="*/ 161803 h 1241570"/>
              <a:gd name="connsiteX0" fmla="*/ 649 w 1526236"/>
              <a:gd name="connsiteY0" fmla="*/ 161803 h 1241570"/>
              <a:gd name="connsiteX1" fmla="*/ 1165 w 1526236"/>
              <a:gd name="connsiteY1" fmla="*/ 0 h 1241570"/>
              <a:gd name="connsiteX2" fmla="*/ 162307 w 1526236"/>
              <a:gd name="connsiteY2" fmla="*/ 145 h 1241570"/>
              <a:gd name="connsiteX3" fmla="*/ 1364578 w 1526236"/>
              <a:gd name="connsiteY3" fmla="*/ 145 h 1241570"/>
              <a:gd name="connsiteX4" fmla="*/ 1526236 w 1526236"/>
              <a:gd name="connsiteY4" fmla="*/ 161803 h 1241570"/>
              <a:gd name="connsiteX5" fmla="*/ 1526236 w 1526236"/>
              <a:gd name="connsiteY5" fmla="*/ 1079912 h 1241570"/>
              <a:gd name="connsiteX6" fmla="*/ 1364578 w 1526236"/>
              <a:gd name="connsiteY6" fmla="*/ 1241570 h 1241570"/>
              <a:gd name="connsiteX7" fmla="*/ 162307 w 1526236"/>
              <a:gd name="connsiteY7" fmla="*/ 1241570 h 1241570"/>
              <a:gd name="connsiteX8" fmla="*/ 649 w 1526236"/>
              <a:gd name="connsiteY8" fmla="*/ 1079912 h 1241570"/>
              <a:gd name="connsiteX9" fmla="*/ 649 w 1526236"/>
              <a:gd name="connsiteY9" fmla="*/ 161803 h 1241570"/>
              <a:gd name="connsiteX0" fmla="*/ 268 w 1525855"/>
              <a:gd name="connsiteY0" fmla="*/ 161803 h 1241570"/>
              <a:gd name="connsiteX1" fmla="*/ 784 w 1525855"/>
              <a:gd name="connsiteY1" fmla="*/ 0 h 1241570"/>
              <a:gd name="connsiteX2" fmla="*/ 161926 w 1525855"/>
              <a:gd name="connsiteY2" fmla="*/ 145 h 1241570"/>
              <a:gd name="connsiteX3" fmla="*/ 1364197 w 1525855"/>
              <a:gd name="connsiteY3" fmla="*/ 145 h 1241570"/>
              <a:gd name="connsiteX4" fmla="*/ 1525855 w 1525855"/>
              <a:gd name="connsiteY4" fmla="*/ 161803 h 1241570"/>
              <a:gd name="connsiteX5" fmla="*/ 1525855 w 1525855"/>
              <a:gd name="connsiteY5" fmla="*/ 1079912 h 1241570"/>
              <a:gd name="connsiteX6" fmla="*/ 1364197 w 1525855"/>
              <a:gd name="connsiteY6" fmla="*/ 1241570 h 1241570"/>
              <a:gd name="connsiteX7" fmla="*/ 161926 w 1525855"/>
              <a:gd name="connsiteY7" fmla="*/ 1241570 h 1241570"/>
              <a:gd name="connsiteX8" fmla="*/ 268 w 1525855"/>
              <a:gd name="connsiteY8" fmla="*/ 1079912 h 1241570"/>
              <a:gd name="connsiteX9" fmla="*/ 268 w 1525855"/>
              <a:gd name="connsiteY9" fmla="*/ 161803 h 1241570"/>
              <a:gd name="connsiteX0" fmla="*/ 359 w 1525946"/>
              <a:gd name="connsiteY0" fmla="*/ 161803 h 1241570"/>
              <a:gd name="connsiteX1" fmla="*/ 253 w 1525946"/>
              <a:gd name="connsiteY1" fmla="*/ 0 h 1241570"/>
              <a:gd name="connsiteX2" fmla="*/ 162017 w 1525946"/>
              <a:gd name="connsiteY2" fmla="*/ 145 h 1241570"/>
              <a:gd name="connsiteX3" fmla="*/ 1364288 w 1525946"/>
              <a:gd name="connsiteY3" fmla="*/ 145 h 1241570"/>
              <a:gd name="connsiteX4" fmla="*/ 1525946 w 1525946"/>
              <a:gd name="connsiteY4" fmla="*/ 161803 h 1241570"/>
              <a:gd name="connsiteX5" fmla="*/ 1525946 w 1525946"/>
              <a:gd name="connsiteY5" fmla="*/ 1079912 h 1241570"/>
              <a:gd name="connsiteX6" fmla="*/ 1364288 w 1525946"/>
              <a:gd name="connsiteY6" fmla="*/ 1241570 h 1241570"/>
              <a:gd name="connsiteX7" fmla="*/ 162017 w 1525946"/>
              <a:gd name="connsiteY7" fmla="*/ 1241570 h 1241570"/>
              <a:gd name="connsiteX8" fmla="*/ 359 w 1525946"/>
              <a:gd name="connsiteY8" fmla="*/ 1079912 h 1241570"/>
              <a:gd name="connsiteX9" fmla="*/ 359 w 1525946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364035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25693" h="1241570">
                <a:moveTo>
                  <a:pt x="106" y="161803"/>
                </a:moveTo>
                <a:cubicBezTo>
                  <a:pt x="-210" y="159620"/>
                  <a:pt x="409" y="7672"/>
                  <a:pt x="0" y="0"/>
                </a:cubicBezTo>
                <a:cubicBezTo>
                  <a:pt x="6219" y="388"/>
                  <a:pt x="110655" y="450"/>
                  <a:pt x="161764" y="145"/>
                </a:cubicBezTo>
                <a:lnTo>
                  <a:pt x="1364035" y="145"/>
                </a:lnTo>
                <a:cubicBezTo>
                  <a:pt x="1453316" y="145"/>
                  <a:pt x="1525693" y="72522"/>
                  <a:pt x="1525693" y="161803"/>
                </a:cubicBezTo>
                <a:lnTo>
                  <a:pt x="1525693" y="1079912"/>
                </a:lnTo>
                <a:cubicBezTo>
                  <a:pt x="1525693" y="1169193"/>
                  <a:pt x="1453316" y="1241570"/>
                  <a:pt x="1364035" y="1241570"/>
                </a:cubicBezTo>
                <a:lnTo>
                  <a:pt x="161764" y="1241570"/>
                </a:lnTo>
                <a:cubicBezTo>
                  <a:pt x="72483" y="1241570"/>
                  <a:pt x="106" y="1169193"/>
                  <a:pt x="106" y="1079912"/>
                </a:cubicBezTo>
                <a:lnTo>
                  <a:pt x="106" y="1618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144000" anchor="b"/>
          <a:lstStyle>
            <a:lvl1pPr marL="0" indent="0" algn="ctr">
              <a:buNone/>
              <a:defRPr sz="2806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nl-NL" noProof="0"/>
          </a:p>
        </p:txBody>
      </p:sp>
      <p:sp>
        <p:nvSpPr>
          <p:cNvPr id="162" name="Tijdelijke aanduiding voor tekst 2">
            <a:extLst>
              <a:ext uri="{FF2B5EF4-FFF2-40B4-BE49-F238E27FC236}">
                <a16:creationId xmlns:a16="http://schemas.microsoft.com/office/drawing/2014/main" id="{7261898A-F5A9-4EF3-AA75-53FC19067F1D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533807" y="11466940"/>
            <a:ext cx="26489657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 marL="0" indent="0">
              <a:buNone/>
              <a:defRPr sz="4209"/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64" name="Tijdelijke aanduiding voor tekst 2">
            <a:extLst>
              <a:ext uri="{FF2B5EF4-FFF2-40B4-BE49-F238E27FC236}">
                <a16:creationId xmlns:a16="http://schemas.microsoft.com/office/drawing/2014/main" id="{F3B45119-1F04-468E-9C06-CB3EFB775B3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533807" y="16623324"/>
            <a:ext cx="26489657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 marL="0" indent="0">
              <a:buNone/>
              <a:defRPr sz="4209"/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66" name="Tijdelijke aanduiding voor tekst 2">
            <a:extLst>
              <a:ext uri="{FF2B5EF4-FFF2-40B4-BE49-F238E27FC236}">
                <a16:creationId xmlns:a16="http://schemas.microsoft.com/office/drawing/2014/main" id="{853D7205-234D-4794-8AC8-B9710AD7AFF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533807" y="21779704"/>
            <a:ext cx="26489657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 marL="0" indent="0">
              <a:buNone/>
              <a:defRPr sz="4209"/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pic>
        <p:nvPicPr>
          <p:cNvPr id="82" name="Afbeelding 81">
            <a:extLst>
              <a:ext uri="{FF2B5EF4-FFF2-40B4-BE49-F238E27FC236}">
                <a16:creationId xmlns:a16="http://schemas.microsoft.com/office/drawing/2014/main" id="{4267A6BF-8856-45AD-8DCE-2F7DFF35BC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172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kaders + Uitleg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marR="0" indent="0" algn="l" defTabSz="3207489" rtl="0" eaLnBrk="1" fontAlgn="auto" latinLnBrk="0" hangingPunct="1">
              <a:lnSpc>
                <a:spcPct val="10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6314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grpSp>
        <p:nvGrpSpPr>
          <p:cNvPr id="38" name="GRID" hidden="1">
            <a:extLst>
              <a:ext uri="{FF2B5EF4-FFF2-40B4-BE49-F238E27FC236}">
                <a16:creationId xmlns:a16="http://schemas.microsoft.com/office/drawing/2014/main" id="{51D5F7E8-69F8-47AD-81F5-1645C97607C1}"/>
              </a:ext>
            </a:extLst>
          </p:cNvPr>
          <p:cNvGrpSpPr/>
          <p:nvPr userDrawn="1"/>
        </p:nvGrpSpPr>
        <p:grpSpPr>
          <a:xfrm>
            <a:off x="5" y="0"/>
            <a:ext cx="42767261" cy="30275213"/>
            <a:chOff x="0" y="0"/>
            <a:chExt cx="12192003" cy="6858000"/>
          </a:xfrm>
        </p:grpSpPr>
        <p:sp>
          <p:nvSpPr>
            <p:cNvPr id="39" name="Rechthoek 38">
              <a:extLst>
                <a:ext uri="{FF2B5EF4-FFF2-40B4-BE49-F238E27FC236}">
                  <a16:creationId xmlns:a16="http://schemas.microsoft.com/office/drawing/2014/main" id="{71DB2C92-E6A8-4532-98F6-C917E7F5CD17}"/>
                </a:ext>
              </a:extLst>
            </p:cNvPr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0" name="Rechthoek 39">
              <a:extLst>
                <a:ext uri="{FF2B5EF4-FFF2-40B4-BE49-F238E27FC236}">
                  <a16:creationId xmlns:a16="http://schemas.microsoft.com/office/drawing/2014/main" id="{1283F161-5F8A-45E1-A9F2-F823FC1CB0A5}"/>
                </a:ext>
              </a:extLst>
            </p:cNvPr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1" name="Rechthoek 40">
              <a:extLst>
                <a:ext uri="{FF2B5EF4-FFF2-40B4-BE49-F238E27FC236}">
                  <a16:creationId xmlns:a16="http://schemas.microsoft.com/office/drawing/2014/main" id="{E25AE021-76F4-4113-9019-FB3CB3351AD2}"/>
                </a:ext>
              </a:extLst>
            </p:cNvPr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2" name="Rechthoek 41">
              <a:extLst>
                <a:ext uri="{FF2B5EF4-FFF2-40B4-BE49-F238E27FC236}">
                  <a16:creationId xmlns:a16="http://schemas.microsoft.com/office/drawing/2014/main" id="{4F56F574-960D-4395-B98C-5F49ED9EF418}"/>
                </a:ext>
              </a:extLst>
            </p:cNvPr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34E307D0-CCA0-4BDF-BC5F-E19838E9F7DA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4" name="Rechthoek 43">
              <a:extLst>
                <a:ext uri="{FF2B5EF4-FFF2-40B4-BE49-F238E27FC236}">
                  <a16:creationId xmlns:a16="http://schemas.microsoft.com/office/drawing/2014/main" id="{2AEE0B25-FBCC-4048-A2C0-6D97C3E7FEB7}"/>
                </a:ext>
              </a:extLst>
            </p:cNvPr>
            <p:cNvSpPr/>
            <p:nvPr userDrawn="1"/>
          </p:nvSpPr>
          <p:spPr>
            <a:xfrm rot="5400000">
              <a:off x="5895976" y="-108104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618A8028-D7C0-455A-B6A5-E5ECB2C2A8D6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Voettekst</a:t>
            </a:r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9" y="27329718"/>
            <a:ext cx="834509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1B658E1F-0E98-4ED4-B7E8-3A0C15D75D3F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687079" y="6308636"/>
            <a:ext cx="5345254" cy="5484109"/>
          </a:xfrm>
          <a:custGeom>
            <a:avLst/>
            <a:gdLst>
              <a:gd name="connsiteX0" fmla="*/ 0 w 6217773"/>
              <a:gd name="connsiteY0" fmla="*/ 631093 h 5069018"/>
              <a:gd name="connsiteX1" fmla="*/ 631093 w 6217773"/>
              <a:gd name="connsiteY1" fmla="*/ 0 h 5069018"/>
              <a:gd name="connsiteX2" fmla="*/ 5586680 w 6217773"/>
              <a:gd name="connsiteY2" fmla="*/ 0 h 5069018"/>
              <a:gd name="connsiteX3" fmla="*/ 6217773 w 6217773"/>
              <a:gd name="connsiteY3" fmla="*/ 631093 h 5069018"/>
              <a:gd name="connsiteX4" fmla="*/ 6217773 w 6217773"/>
              <a:gd name="connsiteY4" fmla="*/ 4437925 h 5069018"/>
              <a:gd name="connsiteX5" fmla="*/ 5586680 w 6217773"/>
              <a:gd name="connsiteY5" fmla="*/ 5069018 h 5069018"/>
              <a:gd name="connsiteX6" fmla="*/ 631093 w 6217773"/>
              <a:gd name="connsiteY6" fmla="*/ 5069018 h 5069018"/>
              <a:gd name="connsiteX7" fmla="*/ 0 w 6217773"/>
              <a:gd name="connsiteY7" fmla="*/ 4437925 h 5069018"/>
              <a:gd name="connsiteX8" fmla="*/ 0 w 6217773"/>
              <a:gd name="connsiteY8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31029 w 6248802"/>
              <a:gd name="connsiteY0" fmla="*/ 638400 h 5076325"/>
              <a:gd name="connsiteX1" fmla="*/ 35792 w 6248802"/>
              <a:gd name="connsiteY1" fmla="*/ 228 h 5076325"/>
              <a:gd name="connsiteX2" fmla="*/ 662122 w 6248802"/>
              <a:gd name="connsiteY2" fmla="*/ 7307 h 5076325"/>
              <a:gd name="connsiteX3" fmla="*/ 5617709 w 6248802"/>
              <a:gd name="connsiteY3" fmla="*/ 7307 h 5076325"/>
              <a:gd name="connsiteX4" fmla="*/ 6248802 w 6248802"/>
              <a:gd name="connsiteY4" fmla="*/ 638400 h 5076325"/>
              <a:gd name="connsiteX5" fmla="*/ 6248802 w 6248802"/>
              <a:gd name="connsiteY5" fmla="*/ 4445232 h 5076325"/>
              <a:gd name="connsiteX6" fmla="*/ 5617709 w 6248802"/>
              <a:gd name="connsiteY6" fmla="*/ 5076325 h 5076325"/>
              <a:gd name="connsiteX7" fmla="*/ 662122 w 6248802"/>
              <a:gd name="connsiteY7" fmla="*/ 5076325 h 5076325"/>
              <a:gd name="connsiteX8" fmla="*/ 31029 w 6248802"/>
              <a:gd name="connsiteY8" fmla="*/ 4445232 h 5076325"/>
              <a:gd name="connsiteX9" fmla="*/ 31029 w 6248802"/>
              <a:gd name="connsiteY9" fmla="*/ 638400 h 5076325"/>
              <a:gd name="connsiteX0" fmla="*/ 0 w 6217773"/>
              <a:gd name="connsiteY0" fmla="*/ 638860 h 5076785"/>
              <a:gd name="connsiteX1" fmla="*/ 4763 w 6217773"/>
              <a:gd name="connsiteY1" fmla="*/ 688 h 5076785"/>
              <a:gd name="connsiteX2" fmla="*/ 631093 w 6217773"/>
              <a:gd name="connsiteY2" fmla="*/ 7767 h 5076785"/>
              <a:gd name="connsiteX3" fmla="*/ 5586680 w 6217773"/>
              <a:gd name="connsiteY3" fmla="*/ 7767 h 5076785"/>
              <a:gd name="connsiteX4" fmla="*/ 6217773 w 6217773"/>
              <a:gd name="connsiteY4" fmla="*/ 638860 h 5076785"/>
              <a:gd name="connsiteX5" fmla="*/ 6217773 w 6217773"/>
              <a:gd name="connsiteY5" fmla="*/ 4445692 h 5076785"/>
              <a:gd name="connsiteX6" fmla="*/ 5586680 w 6217773"/>
              <a:gd name="connsiteY6" fmla="*/ 5076785 h 5076785"/>
              <a:gd name="connsiteX7" fmla="*/ 631093 w 6217773"/>
              <a:gd name="connsiteY7" fmla="*/ 5076785 h 5076785"/>
              <a:gd name="connsiteX8" fmla="*/ 0 w 6217773"/>
              <a:gd name="connsiteY8" fmla="*/ 4445692 h 5076785"/>
              <a:gd name="connsiteX9" fmla="*/ 0 w 6217773"/>
              <a:gd name="connsiteY9" fmla="*/ 638860 h 5076785"/>
              <a:gd name="connsiteX0" fmla="*/ 64 w 6217837"/>
              <a:gd name="connsiteY0" fmla="*/ 638860 h 5076785"/>
              <a:gd name="connsiteX1" fmla="*/ 4827 w 6217837"/>
              <a:gd name="connsiteY1" fmla="*/ 688 h 5076785"/>
              <a:gd name="connsiteX2" fmla="*/ 631157 w 6217837"/>
              <a:gd name="connsiteY2" fmla="*/ 7767 h 5076785"/>
              <a:gd name="connsiteX3" fmla="*/ 5586744 w 6217837"/>
              <a:gd name="connsiteY3" fmla="*/ 7767 h 5076785"/>
              <a:gd name="connsiteX4" fmla="*/ 6217837 w 6217837"/>
              <a:gd name="connsiteY4" fmla="*/ 638860 h 5076785"/>
              <a:gd name="connsiteX5" fmla="*/ 6217837 w 6217837"/>
              <a:gd name="connsiteY5" fmla="*/ 4445692 h 5076785"/>
              <a:gd name="connsiteX6" fmla="*/ 5586744 w 6217837"/>
              <a:gd name="connsiteY6" fmla="*/ 5076785 h 5076785"/>
              <a:gd name="connsiteX7" fmla="*/ 631157 w 6217837"/>
              <a:gd name="connsiteY7" fmla="*/ 5076785 h 5076785"/>
              <a:gd name="connsiteX8" fmla="*/ 64 w 6217837"/>
              <a:gd name="connsiteY8" fmla="*/ 4445692 h 5076785"/>
              <a:gd name="connsiteX9" fmla="*/ 64 w 6217837"/>
              <a:gd name="connsiteY9" fmla="*/ 638860 h 5076785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586744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17837" h="5069018">
                <a:moveTo>
                  <a:pt x="64" y="631093"/>
                </a:moveTo>
                <a:cubicBezTo>
                  <a:pt x="4033" y="467051"/>
                  <a:pt x="-5105" y="12378"/>
                  <a:pt x="4827" y="2446"/>
                </a:cubicBezTo>
                <a:cubicBezTo>
                  <a:pt x="11584" y="-1136"/>
                  <a:pt x="507287" y="937"/>
                  <a:pt x="631157" y="0"/>
                </a:cubicBezTo>
                <a:lnTo>
                  <a:pt x="5586744" y="0"/>
                </a:lnTo>
                <a:cubicBezTo>
                  <a:pt x="5935287" y="0"/>
                  <a:pt x="6217837" y="282550"/>
                  <a:pt x="6217837" y="631093"/>
                </a:cubicBezTo>
                <a:lnTo>
                  <a:pt x="6217837" y="4437925"/>
                </a:lnTo>
                <a:cubicBezTo>
                  <a:pt x="6217837" y="4786468"/>
                  <a:pt x="5935287" y="5069018"/>
                  <a:pt x="5586744" y="5069018"/>
                </a:cubicBezTo>
                <a:lnTo>
                  <a:pt x="631157" y="5069018"/>
                </a:lnTo>
                <a:cubicBezTo>
                  <a:pt x="282614" y="5069018"/>
                  <a:pt x="64" y="4786468"/>
                  <a:pt x="64" y="4437925"/>
                </a:cubicBezTo>
                <a:lnTo>
                  <a:pt x="64" y="631093"/>
                </a:lnTo>
                <a:close/>
              </a:path>
            </a:pathLst>
          </a:custGeom>
          <a:solidFill>
            <a:schemeClr val="bg2"/>
          </a:solidFill>
        </p:spPr>
        <p:txBody>
          <a:bodyPr lIns="360000" tIns="360000" rIns="360000" bIns="360000"/>
          <a:lstStyle>
            <a:lvl1pPr algn="ctr">
              <a:defRPr sz="4209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Punt 1</a:t>
            </a:r>
          </a:p>
        </p:txBody>
      </p:sp>
      <p:sp>
        <p:nvSpPr>
          <p:cNvPr id="24" name="Tijdelijke aanduiding voor tekst 3">
            <a:extLst>
              <a:ext uri="{FF2B5EF4-FFF2-40B4-BE49-F238E27FC236}">
                <a16:creationId xmlns:a16="http://schemas.microsoft.com/office/drawing/2014/main" id="{9403E59F-DA7E-493E-A75C-18B2CDC74E5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687079" y="13268192"/>
            <a:ext cx="5345254" cy="5484109"/>
          </a:xfrm>
          <a:custGeom>
            <a:avLst/>
            <a:gdLst>
              <a:gd name="connsiteX0" fmla="*/ 0 w 6217773"/>
              <a:gd name="connsiteY0" fmla="*/ 631093 h 5069018"/>
              <a:gd name="connsiteX1" fmla="*/ 631093 w 6217773"/>
              <a:gd name="connsiteY1" fmla="*/ 0 h 5069018"/>
              <a:gd name="connsiteX2" fmla="*/ 5586680 w 6217773"/>
              <a:gd name="connsiteY2" fmla="*/ 0 h 5069018"/>
              <a:gd name="connsiteX3" fmla="*/ 6217773 w 6217773"/>
              <a:gd name="connsiteY3" fmla="*/ 631093 h 5069018"/>
              <a:gd name="connsiteX4" fmla="*/ 6217773 w 6217773"/>
              <a:gd name="connsiteY4" fmla="*/ 4437925 h 5069018"/>
              <a:gd name="connsiteX5" fmla="*/ 5586680 w 6217773"/>
              <a:gd name="connsiteY5" fmla="*/ 5069018 h 5069018"/>
              <a:gd name="connsiteX6" fmla="*/ 631093 w 6217773"/>
              <a:gd name="connsiteY6" fmla="*/ 5069018 h 5069018"/>
              <a:gd name="connsiteX7" fmla="*/ 0 w 6217773"/>
              <a:gd name="connsiteY7" fmla="*/ 4437925 h 5069018"/>
              <a:gd name="connsiteX8" fmla="*/ 0 w 6217773"/>
              <a:gd name="connsiteY8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31029 w 6248802"/>
              <a:gd name="connsiteY0" fmla="*/ 638400 h 5076325"/>
              <a:gd name="connsiteX1" fmla="*/ 35792 w 6248802"/>
              <a:gd name="connsiteY1" fmla="*/ 228 h 5076325"/>
              <a:gd name="connsiteX2" fmla="*/ 662122 w 6248802"/>
              <a:gd name="connsiteY2" fmla="*/ 7307 h 5076325"/>
              <a:gd name="connsiteX3" fmla="*/ 5617709 w 6248802"/>
              <a:gd name="connsiteY3" fmla="*/ 7307 h 5076325"/>
              <a:gd name="connsiteX4" fmla="*/ 6248802 w 6248802"/>
              <a:gd name="connsiteY4" fmla="*/ 638400 h 5076325"/>
              <a:gd name="connsiteX5" fmla="*/ 6248802 w 6248802"/>
              <a:gd name="connsiteY5" fmla="*/ 4445232 h 5076325"/>
              <a:gd name="connsiteX6" fmla="*/ 5617709 w 6248802"/>
              <a:gd name="connsiteY6" fmla="*/ 5076325 h 5076325"/>
              <a:gd name="connsiteX7" fmla="*/ 662122 w 6248802"/>
              <a:gd name="connsiteY7" fmla="*/ 5076325 h 5076325"/>
              <a:gd name="connsiteX8" fmla="*/ 31029 w 6248802"/>
              <a:gd name="connsiteY8" fmla="*/ 4445232 h 5076325"/>
              <a:gd name="connsiteX9" fmla="*/ 31029 w 6248802"/>
              <a:gd name="connsiteY9" fmla="*/ 638400 h 5076325"/>
              <a:gd name="connsiteX0" fmla="*/ 0 w 6217773"/>
              <a:gd name="connsiteY0" fmla="*/ 638860 h 5076785"/>
              <a:gd name="connsiteX1" fmla="*/ 4763 w 6217773"/>
              <a:gd name="connsiteY1" fmla="*/ 688 h 5076785"/>
              <a:gd name="connsiteX2" fmla="*/ 631093 w 6217773"/>
              <a:gd name="connsiteY2" fmla="*/ 7767 h 5076785"/>
              <a:gd name="connsiteX3" fmla="*/ 5586680 w 6217773"/>
              <a:gd name="connsiteY3" fmla="*/ 7767 h 5076785"/>
              <a:gd name="connsiteX4" fmla="*/ 6217773 w 6217773"/>
              <a:gd name="connsiteY4" fmla="*/ 638860 h 5076785"/>
              <a:gd name="connsiteX5" fmla="*/ 6217773 w 6217773"/>
              <a:gd name="connsiteY5" fmla="*/ 4445692 h 5076785"/>
              <a:gd name="connsiteX6" fmla="*/ 5586680 w 6217773"/>
              <a:gd name="connsiteY6" fmla="*/ 5076785 h 5076785"/>
              <a:gd name="connsiteX7" fmla="*/ 631093 w 6217773"/>
              <a:gd name="connsiteY7" fmla="*/ 5076785 h 5076785"/>
              <a:gd name="connsiteX8" fmla="*/ 0 w 6217773"/>
              <a:gd name="connsiteY8" fmla="*/ 4445692 h 5076785"/>
              <a:gd name="connsiteX9" fmla="*/ 0 w 6217773"/>
              <a:gd name="connsiteY9" fmla="*/ 638860 h 5076785"/>
              <a:gd name="connsiteX0" fmla="*/ 64 w 6217837"/>
              <a:gd name="connsiteY0" fmla="*/ 638860 h 5076785"/>
              <a:gd name="connsiteX1" fmla="*/ 4827 w 6217837"/>
              <a:gd name="connsiteY1" fmla="*/ 688 h 5076785"/>
              <a:gd name="connsiteX2" fmla="*/ 631157 w 6217837"/>
              <a:gd name="connsiteY2" fmla="*/ 7767 h 5076785"/>
              <a:gd name="connsiteX3" fmla="*/ 5586744 w 6217837"/>
              <a:gd name="connsiteY3" fmla="*/ 7767 h 5076785"/>
              <a:gd name="connsiteX4" fmla="*/ 6217837 w 6217837"/>
              <a:gd name="connsiteY4" fmla="*/ 638860 h 5076785"/>
              <a:gd name="connsiteX5" fmla="*/ 6217837 w 6217837"/>
              <a:gd name="connsiteY5" fmla="*/ 4445692 h 5076785"/>
              <a:gd name="connsiteX6" fmla="*/ 5586744 w 6217837"/>
              <a:gd name="connsiteY6" fmla="*/ 5076785 h 5076785"/>
              <a:gd name="connsiteX7" fmla="*/ 631157 w 6217837"/>
              <a:gd name="connsiteY7" fmla="*/ 5076785 h 5076785"/>
              <a:gd name="connsiteX8" fmla="*/ 64 w 6217837"/>
              <a:gd name="connsiteY8" fmla="*/ 4445692 h 5076785"/>
              <a:gd name="connsiteX9" fmla="*/ 64 w 6217837"/>
              <a:gd name="connsiteY9" fmla="*/ 638860 h 5076785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586744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17837" h="5069018">
                <a:moveTo>
                  <a:pt x="64" y="631093"/>
                </a:moveTo>
                <a:cubicBezTo>
                  <a:pt x="4033" y="467051"/>
                  <a:pt x="-5105" y="12378"/>
                  <a:pt x="4827" y="2446"/>
                </a:cubicBezTo>
                <a:cubicBezTo>
                  <a:pt x="11584" y="-1136"/>
                  <a:pt x="507287" y="937"/>
                  <a:pt x="631157" y="0"/>
                </a:cubicBezTo>
                <a:lnTo>
                  <a:pt x="5586744" y="0"/>
                </a:lnTo>
                <a:cubicBezTo>
                  <a:pt x="5935287" y="0"/>
                  <a:pt x="6217837" y="282550"/>
                  <a:pt x="6217837" y="631093"/>
                </a:cubicBezTo>
                <a:lnTo>
                  <a:pt x="6217837" y="4437925"/>
                </a:lnTo>
                <a:cubicBezTo>
                  <a:pt x="6217837" y="4786468"/>
                  <a:pt x="5935287" y="5069018"/>
                  <a:pt x="5586744" y="5069018"/>
                </a:cubicBezTo>
                <a:lnTo>
                  <a:pt x="631157" y="5069018"/>
                </a:lnTo>
                <a:cubicBezTo>
                  <a:pt x="282614" y="5069018"/>
                  <a:pt x="64" y="4786468"/>
                  <a:pt x="64" y="4437925"/>
                </a:cubicBezTo>
                <a:lnTo>
                  <a:pt x="64" y="631093"/>
                </a:lnTo>
                <a:close/>
              </a:path>
            </a:pathLst>
          </a:custGeom>
          <a:solidFill>
            <a:schemeClr val="bg2"/>
          </a:solidFill>
        </p:spPr>
        <p:txBody>
          <a:bodyPr lIns="360000" tIns="360000" rIns="360000" bIns="360000"/>
          <a:lstStyle>
            <a:lvl1pPr algn="ctr">
              <a:defRPr sz="4209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Punt 2</a:t>
            </a:r>
          </a:p>
        </p:txBody>
      </p:sp>
      <p:sp>
        <p:nvSpPr>
          <p:cNvPr id="25" name="Tijdelijke aanduiding voor tekst 3">
            <a:extLst>
              <a:ext uri="{FF2B5EF4-FFF2-40B4-BE49-F238E27FC236}">
                <a16:creationId xmlns:a16="http://schemas.microsoft.com/office/drawing/2014/main" id="{18770FDC-CD6D-4A8D-A3C8-1090C7435D39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687079" y="20230721"/>
            <a:ext cx="5345254" cy="5484109"/>
          </a:xfrm>
          <a:custGeom>
            <a:avLst/>
            <a:gdLst>
              <a:gd name="connsiteX0" fmla="*/ 0 w 6217773"/>
              <a:gd name="connsiteY0" fmla="*/ 631093 h 5069018"/>
              <a:gd name="connsiteX1" fmla="*/ 631093 w 6217773"/>
              <a:gd name="connsiteY1" fmla="*/ 0 h 5069018"/>
              <a:gd name="connsiteX2" fmla="*/ 5586680 w 6217773"/>
              <a:gd name="connsiteY2" fmla="*/ 0 h 5069018"/>
              <a:gd name="connsiteX3" fmla="*/ 6217773 w 6217773"/>
              <a:gd name="connsiteY3" fmla="*/ 631093 h 5069018"/>
              <a:gd name="connsiteX4" fmla="*/ 6217773 w 6217773"/>
              <a:gd name="connsiteY4" fmla="*/ 4437925 h 5069018"/>
              <a:gd name="connsiteX5" fmla="*/ 5586680 w 6217773"/>
              <a:gd name="connsiteY5" fmla="*/ 5069018 h 5069018"/>
              <a:gd name="connsiteX6" fmla="*/ 631093 w 6217773"/>
              <a:gd name="connsiteY6" fmla="*/ 5069018 h 5069018"/>
              <a:gd name="connsiteX7" fmla="*/ 0 w 6217773"/>
              <a:gd name="connsiteY7" fmla="*/ 4437925 h 5069018"/>
              <a:gd name="connsiteX8" fmla="*/ 0 w 6217773"/>
              <a:gd name="connsiteY8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31029 w 6248802"/>
              <a:gd name="connsiteY0" fmla="*/ 638400 h 5076325"/>
              <a:gd name="connsiteX1" fmla="*/ 35792 w 6248802"/>
              <a:gd name="connsiteY1" fmla="*/ 228 h 5076325"/>
              <a:gd name="connsiteX2" fmla="*/ 662122 w 6248802"/>
              <a:gd name="connsiteY2" fmla="*/ 7307 h 5076325"/>
              <a:gd name="connsiteX3" fmla="*/ 5617709 w 6248802"/>
              <a:gd name="connsiteY3" fmla="*/ 7307 h 5076325"/>
              <a:gd name="connsiteX4" fmla="*/ 6248802 w 6248802"/>
              <a:gd name="connsiteY4" fmla="*/ 638400 h 5076325"/>
              <a:gd name="connsiteX5" fmla="*/ 6248802 w 6248802"/>
              <a:gd name="connsiteY5" fmla="*/ 4445232 h 5076325"/>
              <a:gd name="connsiteX6" fmla="*/ 5617709 w 6248802"/>
              <a:gd name="connsiteY6" fmla="*/ 5076325 h 5076325"/>
              <a:gd name="connsiteX7" fmla="*/ 662122 w 6248802"/>
              <a:gd name="connsiteY7" fmla="*/ 5076325 h 5076325"/>
              <a:gd name="connsiteX8" fmla="*/ 31029 w 6248802"/>
              <a:gd name="connsiteY8" fmla="*/ 4445232 h 5076325"/>
              <a:gd name="connsiteX9" fmla="*/ 31029 w 6248802"/>
              <a:gd name="connsiteY9" fmla="*/ 638400 h 5076325"/>
              <a:gd name="connsiteX0" fmla="*/ 0 w 6217773"/>
              <a:gd name="connsiteY0" fmla="*/ 638860 h 5076785"/>
              <a:gd name="connsiteX1" fmla="*/ 4763 w 6217773"/>
              <a:gd name="connsiteY1" fmla="*/ 688 h 5076785"/>
              <a:gd name="connsiteX2" fmla="*/ 631093 w 6217773"/>
              <a:gd name="connsiteY2" fmla="*/ 7767 h 5076785"/>
              <a:gd name="connsiteX3" fmla="*/ 5586680 w 6217773"/>
              <a:gd name="connsiteY3" fmla="*/ 7767 h 5076785"/>
              <a:gd name="connsiteX4" fmla="*/ 6217773 w 6217773"/>
              <a:gd name="connsiteY4" fmla="*/ 638860 h 5076785"/>
              <a:gd name="connsiteX5" fmla="*/ 6217773 w 6217773"/>
              <a:gd name="connsiteY5" fmla="*/ 4445692 h 5076785"/>
              <a:gd name="connsiteX6" fmla="*/ 5586680 w 6217773"/>
              <a:gd name="connsiteY6" fmla="*/ 5076785 h 5076785"/>
              <a:gd name="connsiteX7" fmla="*/ 631093 w 6217773"/>
              <a:gd name="connsiteY7" fmla="*/ 5076785 h 5076785"/>
              <a:gd name="connsiteX8" fmla="*/ 0 w 6217773"/>
              <a:gd name="connsiteY8" fmla="*/ 4445692 h 5076785"/>
              <a:gd name="connsiteX9" fmla="*/ 0 w 6217773"/>
              <a:gd name="connsiteY9" fmla="*/ 638860 h 5076785"/>
              <a:gd name="connsiteX0" fmla="*/ 64 w 6217837"/>
              <a:gd name="connsiteY0" fmla="*/ 638860 h 5076785"/>
              <a:gd name="connsiteX1" fmla="*/ 4827 w 6217837"/>
              <a:gd name="connsiteY1" fmla="*/ 688 h 5076785"/>
              <a:gd name="connsiteX2" fmla="*/ 631157 w 6217837"/>
              <a:gd name="connsiteY2" fmla="*/ 7767 h 5076785"/>
              <a:gd name="connsiteX3" fmla="*/ 5586744 w 6217837"/>
              <a:gd name="connsiteY3" fmla="*/ 7767 h 5076785"/>
              <a:gd name="connsiteX4" fmla="*/ 6217837 w 6217837"/>
              <a:gd name="connsiteY4" fmla="*/ 638860 h 5076785"/>
              <a:gd name="connsiteX5" fmla="*/ 6217837 w 6217837"/>
              <a:gd name="connsiteY5" fmla="*/ 4445692 h 5076785"/>
              <a:gd name="connsiteX6" fmla="*/ 5586744 w 6217837"/>
              <a:gd name="connsiteY6" fmla="*/ 5076785 h 5076785"/>
              <a:gd name="connsiteX7" fmla="*/ 631157 w 6217837"/>
              <a:gd name="connsiteY7" fmla="*/ 5076785 h 5076785"/>
              <a:gd name="connsiteX8" fmla="*/ 64 w 6217837"/>
              <a:gd name="connsiteY8" fmla="*/ 4445692 h 5076785"/>
              <a:gd name="connsiteX9" fmla="*/ 64 w 6217837"/>
              <a:gd name="connsiteY9" fmla="*/ 638860 h 5076785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586744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17837" h="5069018">
                <a:moveTo>
                  <a:pt x="64" y="631093"/>
                </a:moveTo>
                <a:cubicBezTo>
                  <a:pt x="4033" y="467051"/>
                  <a:pt x="-5105" y="12378"/>
                  <a:pt x="4827" y="2446"/>
                </a:cubicBezTo>
                <a:cubicBezTo>
                  <a:pt x="11584" y="-1136"/>
                  <a:pt x="507287" y="937"/>
                  <a:pt x="631157" y="0"/>
                </a:cubicBezTo>
                <a:lnTo>
                  <a:pt x="5586744" y="0"/>
                </a:lnTo>
                <a:cubicBezTo>
                  <a:pt x="5935287" y="0"/>
                  <a:pt x="6217837" y="282550"/>
                  <a:pt x="6217837" y="631093"/>
                </a:cubicBezTo>
                <a:lnTo>
                  <a:pt x="6217837" y="4437925"/>
                </a:lnTo>
                <a:cubicBezTo>
                  <a:pt x="6217837" y="4786468"/>
                  <a:pt x="5935287" y="5069018"/>
                  <a:pt x="5586744" y="5069018"/>
                </a:cubicBezTo>
                <a:lnTo>
                  <a:pt x="631157" y="5069018"/>
                </a:lnTo>
                <a:cubicBezTo>
                  <a:pt x="282614" y="5069018"/>
                  <a:pt x="64" y="4786468"/>
                  <a:pt x="64" y="4437925"/>
                </a:cubicBezTo>
                <a:lnTo>
                  <a:pt x="64" y="631093"/>
                </a:lnTo>
                <a:close/>
              </a:path>
            </a:pathLst>
          </a:custGeom>
          <a:solidFill>
            <a:schemeClr val="bg2"/>
          </a:solidFill>
        </p:spPr>
        <p:txBody>
          <a:bodyPr lIns="360000" tIns="360000" rIns="360000" bIns="360000"/>
          <a:lstStyle>
            <a:lvl1pPr algn="ctr">
              <a:defRPr sz="4209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Punt 3</a:t>
            </a:r>
          </a:p>
        </p:txBody>
      </p:sp>
      <p:sp>
        <p:nvSpPr>
          <p:cNvPr id="21" name="Tijdelijke aanduiding voor tekst 2">
            <a:extLst>
              <a:ext uri="{FF2B5EF4-FFF2-40B4-BE49-F238E27FC236}">
                <a16:creationId xmlns:a16="http://schemas.microsoft.com/office/drawing/2014/main" id="{93201188-BF14-4AD6-B8D4-12C6EDF4869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33803" y="6316510"/>
            <a:ext cx="25627524" cy="5476873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089185" y="2382"/>
                </a:lnTo>
                <a:cubicBezTo>
                  <a:pt x="7208841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08841" y="1240632"/>
                  <a:pt x="7089185" y="1240632"/>
                </a:cubicBezTo>
                <a:lnTo>
                  <a:pt x="216824" y="1240632"/>
                </a:lnTo>
                <a:cubicBezTo>
                  <a:pt x="9716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>
              <a:spcAft>
                <a:spcPts val="0"/>
              </a:spcAft>
              <a:defRPr sz="4209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6" name="Tijdelijke aanduiding voor tekst 2">
            <a:extLst>
              <a:ext uri="{FF2B5EF4-FFF2-40B4-BE49-F238E27FC236}">
                <a16:creationId xmlns:a16="http://schemas.microsoft.com/office/drawing/2014/main" id="{6BECFFED-1A12-4250-8E12-F2451314694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533803" y="13275428"/>
            <a:ext cx="25627524" cy="5476873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089185" y="2382"/>
                </a:lnTo>
                <a:cubicBezTo>
                  <a:pt x="7208841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08841" y="1240632"/>
                  <a:pt x="7089185" y="1240632"/>
                </a:cubicBezTo>
                <a:lnTo>
                  <a:pt x="216824" y="1240632"/>
                </a:lnTo>
                <a:cubicBezTo>
                  <a:pt x="9716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>
              <a:spcAft>
                <a:spcPts val="0"/>
              </a:spcAft>
              <a:defRPr sz="4209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7" name="Tijdelijke aanduiding voor tekst 2">
            <a:extLst>
              <a:ext uri="{FF2B5EF4-FFF2-40B4-BE49-F238E27FC236}">
                <a16:creationId xmlns:a16="http://schemas.microsoft.com/office/drawing/2014/main" id="{9A7B8253-F6CE-4FCD-AB4A-5EBAC3E7B2E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533803" y="20234339"/>
            <a:ext cx="25627524" cy="5476873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089185" y="2382"/>
                </a:lnTo>
                <a:cubicBezTo>
                  <a:pt x="7208841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08841" y="1240632"/>
                  <a:pt x="7089185" y="1240632"/>
                </a:cubicBezTo>
                <a:lnTo>
                  <a:pt x="216824" y="1240632"/>
                </a:lnTo>
                <a:cubicBezTo>
                  <a:pt x="9716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>
              <a:spcAft>
                <a:spcPts val="0"/>
              </a:spcAft>
              <a:defRPr sz="4209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pic>
        <p:nvPicPr>
          <p:cNvPr id="34" name="Afbeelding 33">
            <a:extLst>
              <a:ext uri="{FF2B5EF4-FFF2-40B4-BE49-F238E27FC236}">
                <a16:creationId xmlns:a16="http://schemas.microsoft.com/office/drawing/2014/main" id="{C1D6ADE6-9F8A-4FFA-9F89-B845469FFC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5491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kaders + Uitleg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Tijdelijke aanduiding voor tekst 3">
            <a:extLst>
              <a:ext uri="{FF2B5EF4-FFF2-40B4-BE49-F238E27FC236}">
                <a16:creationId xmlns:a16="http://schemas.microsoft.com/office/drawing/2014/main" id="{62C5E5DA-733C-4AA3-9467-0732E67E8A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687079" y="21776191"/>
            <a:ext cx="5345254" cy="3935018"/>
          </a:xfrm>
          <a:custGeom>
            <a:avLst/>
            <a:gdLst>
              <a:gd name="connsiteX0" fmla="*/ 0 w 6217773"/>
              <a:gd name="connsiteY0" fmla="*/ 631093 h 5069018"/>
              <a:gd name="connsiteX1" fmla="*/ 631093 w 6217773"/>
              <a:gd name="connsiteY1" fmla="*/ 0 h 5069018"/>
              <a:gd name="connsiteX2" fmla="*/ 5586680 w 6217773"/>
              <a:gd name="connsiteY2" fmla="*/ 0 h 5069018"/>
              <a:gd name="connsiteX3" fmla="*/ 6217773 w 6217773"/>
              <a:gd name="connsiteY3" fmla="*/ 631093 h 5069018"/>
              <a:gd name="connsiteX4" fmla="*/ 6217773 w 6217773"/>
              <a:gd name="connsiteY4" fmla="*/ 4437925 h 5069018"/>
              <a:gd name="connsiteX5" fmla="*/ 5586680 w 6217773"/>
              <a:gd name="connsiteY5" fmla="*/ 5069018 h 5069018"/>
              <a:gd name="connsiteX6" fmla="*/ 631093 w 6217773"/>
              <a:gd name="connsiteY6" fmla="*/ 5069018 h 5069018"/>
              <a:gd name="connsiteX7" fmla="*/ 0 w 6217773"/>
              <a:gd name="connsiteY7" fmla="*/ 4437925 h 5069018"/>
              <a:gd name="connsiteX8" fmla="*/ 0 w 6217773"/>
              <a:gd name="connsiteY8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31029 w 6248802"/>
              <a:gd name="connsiteY0" fmla="*/ 638400 h 5076325"/>
              <a:gd name="connsiteX1" fmla="*/ 35792 w 6248802"/>
              <a:gd name="connsiteY1" fmla="*/ 228 h 5076325"/>
              <a:gd name="connsiteX2" fmla="*/ 662122 w 6248802"/>
              <a:gd name="connsiteY2" fmla="*/ 7307 h 5076325"/>
              <a:gd name="connsiteX3" fmla="*/ 5617709 w 6248802"/>
              <a:gd name="connsiteY3" fmla="*/ 7307 h 5076325"/>
              <a:gd name="connsiteX4" fmla="*/ 6248802 w 6248802"/>
              <a:gd name="connsiteY4" fmla="*/ 638400 h 5076325"/>
              <a:gd name="connsiteX5" fmla="*/ 6248802 w 6248802"/>
              <a:gd name="connsiteY5" fmla="*/ 4445232 h 5076325"/>
              <a:gd name="connsiteX6" fmla="*/ 5617709 w 6248802"/>
              <a:gd name="connsiteY6" fmla="*/ 5076325 h 5076325"/>
              <a:gd name="connsiteX7" fmla="*/ 662122 w 6248802"/>
              <a:gd name="connsiteY7" fmla="*/ 5076325 h 5076325"/>
              <a:gd name="connsiteX8" fmla="*/ 31029 w 6248802"/>
              <a:gd name="connsiteY8" fmla="*/ 4445232 h 5076325"/>
              <a:gd name="connsiteX9" fmla="*/ 31029 w 6248802"/>
              <a:gd name="connsiteY9" fmla="*/ 638400 h 5076325"/>
              <a:gd name="connsiteX0" fmla="*/ 0 w 6217773"/>
              <a:gd name="connsiteY0" fmla="*/ 638860 h 5076785"/>
              <a:gd name="connsiteX1" fmla="*/ 4763 w 6217773"/>
              <a:gd name="connsiteY1" fmla="*/ 688 h 5076785"/>
              <a:gd name="connsiteX2" fmla="*/ 631093 w 6217773"/>
              <a:gd name="connsiteY2" fmla="*/ 7767 h 5076785"/>
              <a:gd name="connsiteX3" fmla="*/ 5586680 w 6217773"/>
              <a:gd name="connsiteY3" fmla="*/ 7767 h 5076785"/>
              <a:gd name="connsiteX4" fmla="*/ 6217773 w 6217773"/>
              <a:gd name="connsiteY4" fmla="*/ 638860 h 5076785"/>
              <a:gd name="connsiteX5" fmla="*/ 6217773 w 6217773"/>
              <a:gd name="connsiteY5" fmla="*/ 4445692 h 5076785"/>
              <a:gd name="connsiteX6" fmla="*/ 5586680 w 6217773"/>
              <a:gd name="connsiteY6" fmla="*/ 5076785 h 5076785"/>
              <a:gd name="connsiteX7" fmla="*/ 631093 w 6217773"/>
              <a:gd name="connsiteY7" fmla="*/ 5076785 h 5076785"/>
              <a:gd name="connsiteX8" fmla="*/ 0 w 6217773"/>
              <a:gd name="connsiteY8" fmla="*/ 4445692 h 5076785"/>
              <a:gd name="connsiteX9" fmla="*/ 0 w 6217773"/>
              <a:gd name="connsiteY9" fmla="*/ 638860 h 5076785"/>
              <a:gd name="connsiteX0" fmla="*/ 64 w 6217837"/>
              <a:gd name="connsiteY0" fmla="*/ 638860 h 5076785"/>
              <a:gd name="connsiteX1" fmla="*/ 4827 w 6217837"/>
              <a:gd name="connsiteY1" fmla="*/ 688 h 5076785"/>
              <a:gd name="connsiteX2" fmla="*/ 631157 w 6217837"/>
              <a:gd name="connsiteY2" fmla="*/ 7767 h 5076785"/>
              <a:gd name="connsiteX3" fmla="*/ 5586744 w 6217837"/>
              <a:gd name="connsiteY3" fmla="*/ 7767 h 5076785"/>
              <a:gd name="connsiteX4" fmla="*/ 6217837 w 6217837"/>
              <a:gd name="connsiteY4" fmla="*/ 638860 h 5076785"/>
              <a:gd name="connsiteX5" fmla="*/ 6217837 w 6217837"/>
              <a:gd name="connsiteY5" fmla="*/ 4445692 h 5076785"/>
              <a:gd name="connsiteX6" fmla="*/ 5586744 w 6217837"/>
              <a:gd name="connsiteY6" fmla="*/ 5076785 h 5076785"/>
              <a:gd name="connsiteX7" fmla="*/ 631157 w 6217837"/>
              <a:gd name="connsiteY7" fmla="*/ 5076785 h 5076785"/>
              <a:gd name="connsiteX8" fmla="*/ 64 w 6217837"/>
              <a:gd name="connsiteY8" fmla="*/ 4445692 h 5076785"/>
              <a:gd name="connsiteX9" fmla="*/ 64 w 6217837"/>
              <a:gd name="connsiteY9" fmla="*/ 638860 h 5076785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586744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19941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17837" h="5069018">
                <a:moveTo>
                  <a:pt x="64" y="631093"/>
                </a:moveTo>
                <a:cubicBezTo>
                  <a:pt x="4033" y="467051"/>
                  <a:pt x="-5105" y="12378"/>
                  <a:pt x="4827" y="2446"/>
                </a:cubicBezTo>
                <a:cubicBezTo>
                  <a:pt x="11584" y="-1136"/>
                  <a:pt x="507287" y="937"/>
                  <a:pt x="631157" y="0"/>
                </a:cubicBezTo>
                <a:lnTo>
                  <a:pt x="5819941" y="0"/>
                </a:lnTo>
                <a:cubicBezTo>
                  <a:pt x="6168484" y="0"/>
                  <a:pt x="6217837" y="282550"/>
                  <a:pt x="6217837" y="631093"/>
                </a:cubicBezTo>
                <a:lnTo>
                  <a:pt x="6217837" y="4437925"/>
                </a:lnTo>
                <a:cubicBezTo>
                  <a:pt x="6217837" y="4786468"/>
                  <a:pt x="6155528" y="5069018"/>
                  <a:pt x="5806985" y="5069018"/>
                </a:cubicBezTo>
                <a:lnTo>
                  <a:pt x="449783" y="5069018"/>
                </a:lnTo>
                <a:cubicBezTo>
                  <a:pt x="101240" y="5069018"/>
                  <a:pt x="64" y="4786468"/>
                  <a:pt x="64" y="4437925"/>
                </a:cubicBezTo>
                <a:lnTo>
                  <a:pt x="64" y="631093"/>
                </a:lnTo>
                <a:close/>
              </a:path>
            </a:pathLst>
          </a:custGeom>
          <a:solidFill>
            <a:schemeClr val="bg2"/>
          </a:solidFill>
        </p:spPr>
        <p:txBody>
          <a:bodyPr lIns="504000" tIns="252000" rIns="252000" bIns="360000"/>
          <a:lstStyle>
            <a:lvl1pPr>
              <a:defRPr sz="4209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Punt 4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marR="0" indent="0" algn="l" defTabSz="3207489" rtl="0" eaLnBrk="1" fontAlgn="auto" latinLnBrk="0" hangingPunct="1">
              <a:lnSpc>
                <a:spcPct val="10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6314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grpSp>
        <p:nvGrpSpPr>
          <p:cNvPr id="38" name="GRID" hidden="1">
            <a:extLst>
              <a:ext uri="{FF2B5EF4-FFF2-40B4-BE49-F238E27FC236}">
                <a16:creationId xmlns:a16="http://schemas.microsoft.com/office/drawing/2014/main" id="{51D5F7E8-69F8-47AD-81F5-1645C97607C1}"/>
              </a:ext>
            </a:extLst>
          </p:cNvPr>
          <p:cNvGrpSpPr/>
          <p:nvPr userDrawn="1"/>
        </p:nvGrpSpPr>
        <p:grpSpPr>
          <a:xfrm>
            <a:off x="5" y="0"/>
            <a:ext cx="42767261" cy="30275213"/>
            <a:chOff x="0" y="0"/>
            <a:chExt cx="12192003" cy="6858000"/>
          </a:xfrm>
        </p:grpSpPr>
        <p:sp>
          <p:nvSpPr>
            <p:cNvPr id="39" name="Rechthoek 38">
              <a:extLst>
                <a:ext uri="{FF2B5EF4-FFF2-40B4-BE49-F238E27FC236}">
                  <a16:creationId xmlns:a16="http://schemas.microsoft.com/office/drawing/2014/main" id="{71DB2C92-E6A8-4532-98F6-C917E7F5CD17}"/>
                </a:ext>
              </a:extLst>
            </p:cNvPr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0" name="Rechthoek 39">
              <a:extLst>
                <a:ext uri="{FF2B5EF4-FFF2-40B4-BE49-F238E27FC236}">
                  <a16:creationId xmlns:a16="http://schemas.microsoft.com/office/drawing/2014/main" id="{1283F161-5F8A-45E1-A9F2-F823FC1CB0A5}"/>
                </a:ext>
              </a:extLst>
            </p:cNvPr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1" name="Rechthoek 40">
              <a:extLst>
                <a:ext uri="{FF2B5EF4-FFF2-40B4-BE49-F238E27FC236}">
                  <a16:creationId xmlns:a16="http://schemas.microsoft.com/office/drawing/2014/main" id="{E25AE021-76F4-4113-9019-FB3CB3351AD2}"/>
                </a:ext>
              </a:extLst>
            </p:cNvPr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2" name="Rechthoek 41">
              <a:extLst>
                <a:ext uri="{FF2B5EF4-FFF2-40B4-BE49-F238E27FC236}">
                  <a16:creationId xmlns:a16="http://schemas.microsoft.com/office/drawing/2014/main" id="{4F56F574-960D-4395-B98C-5F49ED9EF418}"/>
                </a:ext>
              </a:extLst>
            </p:cNvPr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34E307D0-CCA0-4BDF-BC5F-E19838E9F7DA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4" name="Rechthoek 43">
              <a:extLst>
                <a:ext uri="{FF2B5EF4-FFF2-40B4-BE49-F238E27FC236}">
                  <a16:creationId xmlns:a16="http://schemas.microsoft.com/office/drawing/2014/main" id="{2AEE0B25-FBCC-4048-A2C0-6D97C3E7FEB7}"/>
                </a:ext>
              </a:extLst>
            </p:cNvPr>
            <p:cNvSpPr/>
            <p:nvPr userDrawn="1"/>
          </p:nvSpPr>
          <p:spPr>
            <a:xfrm rot="5400000">
              <a:off x="5895976" y="-108104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endParaRPr lang="nl-NL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endParaRPr lang="nl-NL" noProof="0"/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8"/>
            <a:ext cx="707315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1B658E1F-0E98-4ED4-B7E8-3A0C15D75D3F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687079" y="6308642"/>
            <a:ext cx="5345254" cy="3935018"/>
          </a:xfrm>
          <a:custGeom>
            <a:avLst/>
            <a:gdLst>
              <a:gd name="connsiteX0" fmla="*/ 0 w 6217773"/>
              <a:gd name="connsiteY0" fmla="*/ 631093 h 5069018"/>
              <a:gd name="connsiteX1" fmla="*/ 631093 w 6217773"/>
              <a:gd name="connsiteY1" fmla="*/ 0 h 5069018"/>
              <a:gd name="connsiteX2" fmla="*/ 5586680 w 6217773"/>
              <a:gd name="connsiteY2" fmla="*/ 0 h 5069018"/>
              <a:gd name="connsiteX3" fmla="*/ 6217773 w 6217773"/>
              <a:gd name="connsiteY3" fmla="*/ 631093 h 5069018"/>
              <a:gd name="connsiteX4" fmla="*/ 6217773 w 6217773"/>
              <a:gd name="connsiteY4" fmla="*/ 4437925 h 5069018"/>
              <a:gd name="connsiteX5" fmla="*/ 5586680 w 6217773"/>
              <a:gd name="connsiteY5" fmla="*/ 5069018 h 5069018"/>
              <a:gd name="connsiteX6" fmla="*/ 631093 w 6217773"/>
              <a:gd name="connsiteY6" fmla="*/ 5069018 h 5069018"/>
              <a:gd name="connsiteX7" fmla="*/ 0 w 6217773"/>
              <a:gd name="connsiteY7" fmla="*/ 4437925 h 5069018"/>
              <a:gd name="connsiteX8" fmla="*/ 0 w 6217773"/>
              <a:gd name="connsiteY8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31029 w 6248802"/>
              <a:gd name="connsiteY0" fmla="*/ 638400 h 5076325"/>
              <a:gd name="connsiteX1" fmla="*/ 35792 w 6248802"/>
              <a:gd name="connsiteY1" fmla="*/ 228 h 5076325"/>
              <a:gd name="connsiteX2" fmla="*/ 662122 w 6248802"/>
              <a:gd name="connsiteY2" fmla="*/ 7307 h 5076325"/>
              <a:gd name="connsiteX3" fmla="*/ 5617709 w 6248802"/>
              <a:gd name="connsiteY3" fmla="*/ 7307 h 5076325"/>
              <a:gd name="connsiteX4" fmla="*/ 6248802 w 6248802"/>
              <a:gd name="connsiteY4" fmla="*/ 638400 h 5076325"/>
              <a:gd name="connsiteX5" fmla="*/ 6248802 w 6248802"/>
              <a:gd name="connsiteY5" fmla="*/ 4445232 h 5076325"/>
              <a:gd name="connsiteX6" fmla="*/ 5617709 w 6248802"/>
              <a:gd name="connsiteY6" fmla="*/ 5076325 h 5076325"/>
              <a:gd name="connsiteX7" fmla="*/ 662122 w 6248802"/>
              <a:gd name="connsiteY7" fmla="*/ 5076325 h 5076325"/>
              <a:gd name="connsiteX8" fmla="*/ 31029 w 6248802"/>
              <a:gd name="connsiteY8" fmla="*/ 4445232 h 5076325"/>
              <a:gd name="connsiteX9" fmla="*/ 31029 w 6248802"/>
              <a:gd name="connsiteY9" fmla="*/ 638400 h 5076325"/>
              <a:gd name="connsiteX0" fmla="*/ 0 w 6217773"/>
              <a:gd name="connsiteY0" fmla="*/ 638860 h 5076785"/>
              <a:gd name="connsiteX1" fmla="*/ 4763 w 6217773"/>
              <a:gd name="connsiteY1" fmla="*/ 688 h 5076785"/>
              <a:gd name="connsiteX2" fmla="*/ 631093 w 6217773"/>
              <a:gd name="connsiteY2" fmla="*/ 7767 h 5076785"/>
              <a:gd name="connsiteX3" fmla="*/ 5586680 w 6217773"/>
              <a:gd name="connsiteY3" fmla="*/ 7767 h 5076785"/>
              <a:gd name="connsiteX4" fmla="*/ 6217773 w 6217773"/>
              <a:gd name="connsiteY4" fmla="*/ 638860 h 5076785"/>
              <a:gd name="connsiteX5" fmla="*/ 6217773 w 6217773"/>
              <a:gd name="connsiteY5" fmla="*/ 4445692 h 5076785"/>
              <a:gd name="connsiteX6" fmla="*/ 5586680 w 6217773"/>
              <a:gd name="connsiteY6" fmla="*/ 5076785 h 5076785"/>
              <a:gd name="connsiteX7" fmla="*/ 631093 w 6217773"/>
              <a:gd name="connsiteY7" fmla="*/ 5076785 h 5076785"/>
              <a:gd name="connsiteX8" fmla="*/ 0 w 6217773"/>
              <a:gd name="connsiteY8" fmla="*/ 4445692 h 5076785"/>
              <a:gd name="connsiteX9" fmla="*/ 0 w 6217773"/>
              <a:gd name="connsiteY9" fmla="*/ 638860 h 5076785"/>
              <a:gd name="connsiteX0" fmla="*/ 64 w 6217837"/>
              <a:gd name="connsiteY0" fmla="*/ 638860 h 5076785"/>
              <a:gd name="connsiteX1" fmla="*/ 4827 w 6217837"/>
              <a:gd name="connsiteY1" fmla="*/ 688 h 5076785"/>
              <a:gd name="connsiteX2" fmla="*/ 631157 w 6217837"/>
              <a:gd name="connsiteY2" fmla="*/ 7767 h 5076785"/>
              <a:gd name="connsiteX3" fmla="*/ 5586744 w 6217837"/>
              <a:gd name="connsiteY3" fmla="*/ 7767 h 5076785"/>
              <a:gd name="connsiteX4" fmla="*/ 6217837 w 6217837"/>
              <a:gd name="connsiteY4" fmla="*/ 638860 h 5076785"/>
              <a:gd name="connsiteX5" fmla="*/ 6217837 w 6217837"/>
              <a:gd name="connsiteY5" fmla="*/ 4445692 h 5076785"/>
              <a:gd name="connsiteX6" fmla="*/ 5586744 w 6217837"/>
              <a:gd name="connsiteY6" fmla="*/ 5076785 h 5076785"/>
              <a:gd name="connsiteX7" fmla="*/ 631157 w 6217837"/>
              <a:gd name="connsiteY7" fmla="*/ 5076785 h 5076785"/>
              <a:gd name="connsiteX8" fmla="*/ 64 w 6217837"/>
              <a:gd name="connsiteY8" fmla="*/ 4445692 h 5076785"/>
              <a:gd name="connsiteX9" fmla="*/ 64 w 6217837"/>
              <a:gd name="connsiteY9" fmla="*/ 638860 h 5076785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586744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19941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17837" h="5069018">
                <a:moveTo>
                  <a:pt x="64" y="631093"/>
                </a:moveTo>
                <a:cubicBezTo>
                  <a:pt x="4033" y="467051"/>
                  <a:pt x="-5105" y="12378"/>
                  <a:pt x="4827" y="2446"/>
                </a:cubicBezTo>
                <a:cubicBezTo>
                  <a:pt x="11584" y="-1136"/>
                  <a:pt x="507287" y="937"/>
                  <a:pt x="631157" y="0"/>
                </a:cubicBezTo>
                <a:lnTo>
                  <a:pt x="5819941" y="0"/>
                </a:lnTo>
                <a:cubicBezTo>
                  <a:pt x="6168484" y="0"/>
                  <a:pt x="6217837" y="282550"/>
                  <a:pt x="6217837" y="631093"/>
                </a:cubicBezTo>
                <a:lnTo>
                  <a:pt x="6217837" y="4437925"/>
                </a:lnTo>
                <a:cubicBezTo>
                  <a:pt x="6217837" y="4786468"/>
                  <a:pt x="6155528" y="5069018"/>
                  <a:pt x="5806985" y="5069018"/>
                </a:cubicBezTo>
                <a:lnTo>
                  <a:pt x="449783" y="5069018"/>
                </a:lnTo>
                <a:cubicBezTo>
                  <a:pt x="101240" y="5069018"/>
                  <a:pt x="64" y="4786468"/>
                  <a:pt x="64" y="4437925"/>
                </a:cubicBezTo>
                <a:lnTo>
                  <a:pt x="64" y="631093"/>
                </a:lnTo>
                <a:close/>
              </a:path>
            </a:pathLst>
          </a:custGeom>
          <a:solidFill>
            <a:schemeClr val="bg2"/>
          </a:solidFill>
        </p:spPr>
        <p:txBody>
          <a:bodyPr lIns="504000" tIns="252000" rIns="252000" bIns="360000"/>
          <a:lstStyle>
            <a:lvl1pPr>
              <a:defRPr sz="4209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Punt 1</a:t>
            </a:r>
          </a:p>
        </p:txBody>
      </p:sp>
      <p:sp>
        <p:nvSpPr>
          <p:cNvPr id="163" name="Tijdelijke aanduiding voor tekst 3">
            <a:extLst>
              <a:ext uri="{FF2B5EF4-FFF2-40B4-BE49-F238E27FC236}">
                <a16:creationId xmlns:a16="http://schemas.microsoft.com/office/drawing/2014/main" id="{D63CF0FC-A378-4DBC-879D-CF2808176423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687079" y="11464491"/>
            <a:ext cx="5345254" cy="3935018"/>
          </a:xfrm>
          <a:custGeom>
            <a:avLst/>
            <a:gdLst>
              <a:gd name="connsiteX0" fmla="*/ 0 w 6217773"/>
              <a:gd name="connsiteY0" fmla="*/ 631093 h 5069018"/>
              <a:gd name="connsiteX1" fmla="*/ 631093 w 6217773"/>
              <a:gd name="connsiteY1" fmla="*/ 0 h 5069018"/>
              <a:gd name="connsiteX2" fmla="*/ 5586680 w 6217773"/>
              <a:gd name="connsiteY2" fmla="*/ 0 h 5069018"/>
              <a:gd name="connsiteX3" fmla="*/ 6217773 w 6217773"/>
              <a:gd name="connsiteY3" fmla="*/ 631093 h 5069018"/>
              <a:gd name="connsiteX4" fmla="*/ 6217773 w 6217773"/>
              <a:gd name="connsiteY4" fmla="*/ 4437925 h 5069018"/>
              <a:gd name="connsiteX5" fmla="*/ 5586680 w 6217773"/>
              <a:gd name="connsiteY5" fmla="*/ 5069018 h 5069018"/>
              <a:gd name="connsiteX6" fmla="*/ 631093 w 6217773"/>
              <a:gd name="connsiteY6" fmla="*/ 5069018 h 5069018"/>
              <a:gd name="connsiteX7" fmla="*/ 0 w 6217773"/>
              <a:gd name="connsiteY7" fmla="*/ 4437925 h 5069018"/>
              <a:gd name="connsiteX8" fmla="*/ 0 w 6217773"/>
              <a:gd name="connsiteY8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31029 w 6248802"/>
              <a:gd name="connsiteY0" fmla="*/ 638400 h 5076325"/>
              <a:gd name="connsiteX1" fmla="*/ 35792 w 6248802"/>
              <a:gd name="connsiteY1" fmla="*/ 228 h 5076325"/>
              <a:gd name="connsiteX2" fmla="*/ 662122 w 6248802"/>
              <a:gd name="connsiteY2" fmla="*/ 7307 h 5076325"/>
              <a:gd name="connsiteX3" fmla="*/ 5617709 w 6248802"/>
              <a:gd name="connsiteY3" fmla="*/ 7307 h 5076325"/>
              <a:gd name="connsiteX4" fmla="*/ 6248802 w 6248802"/>
              <a:gd name="connsiteY4" fmla="*/ 638400 h 5076325"/>
              <a:gd name="connsiteX5" fmla="*/ 6248802 w 6248802"/>
              <a:gd name="connsiteY5" fmla="*/ 4445232 h 5076325"/>
              <a:gd name="connsiteX6" fmla="*/ 5617709 w 6248802"/>
              <a:gd name="connsiteY6" fmla="*/ 5076325 h 5076325"/>
              <a:gd name="connsiteX7" fmla="*/ 662122 w 6248802"/>
              <a:gd name="connsiteY7" fmla="*/ 5076325 h 5076325"/>
              <a:gd name="connsiteX8" fmla="*/ 31029 w 6248802"/>
              <a:gd name="connsiteY8" fmla="*/ 4445232 h 5076325"/>
              <a:gd name="connsiteX9" fmla="*/ 31029 w 6248802"/>
              <a:gd name="connsiteY9" fmla="*/ 638400 h 5076325"/>
              <a:gd name="connsiteX0" fmla="*/ 0 w 6217773"/>
              <a:gd name="connsiteY0" fmla="*/ 638860 h 5076785"/>
              <a:gd name="connsiteX1" fmla="*/ 4763 w 6217773"/>
              <a:gd name="connsiteY1" fmla="*/ 688 h 5076785"/>
              <a:gd name="connsiteX2" fmla="*/ 631093 w 6217773"/>
              <a:gd name="connsiteY2" fmla="*/ 7767 h 5076785"/>
              <a:gd name="connsiteX3" fmla="*/ 5586680 w 6217773"/>
              <a:gd name="connsiteY3" fmla="*/ 7767 h 5076785"/>
              <a:gd name="connsiteX4" fmla="*/ 6217773 w 6217773"/>
              <a:gd name="connsiteY4" fmla="*/ 638860 h 5076785"/>
              <a:gd name="connsiteX5" fmla="*/ 6217773 w 6217773"/>
              <a:gd name="connsiteY5" fmla="*/ 4445692 h 5076785"/>
              <a:gd name="connsiteX6" fmla="*/ 5586680 w 6217773"/>
              <a:gd name="connsiteY6" fmla="*/ 5076785 h 5076785"/>
              <a:gd name="connsiteX7" fmla="*/ 631093 w 6217773"/>
              <a:gd name="connsiteY7" fmla="*/ 5076785 h 5076785"/>
              <a:gd name="connsiteX8" fmla="*/ 0 w 6217773"/>
              <a:gd name="connsiteY8" fmla="*/ 4445692 h 5076785"/>
              <a:gd name="connsiteX9" fmla="*/ 0 w 6217773"/>
              <a:gd name="connsiteY9" fmla="*/ 638860 h 5076785"/>
              <a:gd name="connsiteX0" fmla="*/ 64 w 6217837"/>
              <a:gd name="connsiteY0" fmla="*/ 638860 h 5076785"/>
              <a:gd name="connsiteX1" fmla="*/ 4827 w 6217837"/>
              <a:gd name="connsiteY1" fmla="*/ 688 h 5076785"/>
              <a:gd name="connsiteX2" fmla="*/ 631157 w 6217837"/>
              <a:gd name="connsiteY2" fmla="*/ 7767 h 5076785"/>
              <a:gd name="connsiteX3" fmla="*/ 5586744 w 6217837"/>
              <a:gd name="connsiteY3" fmla="*/ 7767 h 5076785"/>
              <a:gd name="connsiteX4" fmla="*/ 6217837 w 6217837"/>
              <a:gd name="connsiteY4" fmla="*/ 638860 h 5076785"/>
              <a:gd name="connsiteX5" fmla="*/ 6217837 w 6217837"/>
              <a:gd name="connsiteY5" fmla="*/ 4445692 h 5076785"/>
              <a:gd name="connsiteX6" fmla="*/ 5586744 w 6217837"/>
              <a:gd name="connsiteY6" fmla="*/ 5076785 h 5076785"/>
              <a:gd name="connsiteX7" fmla="*/ 631157 w 6217837"/>
              <a:gd name="connsiteY7" fmla="*/ 5076785 h 5076785"/>
              <a:gd name="connsiteX8" fmla="*/ 64 w 6217837"/>
              <a:gd name="connsiteY8" fmla="*/ 4445692 h 5076785"/>
              <a:gd name="connsiteX9" fmla="*/ 64 w 6217837"/>
              <a:gd name="connsiteY9" fmla="*/ 638860 h 5076785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586744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19941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17837" h="5069018">
                <a:moveTo>
                  <a:pt x="64" y="631093"/>
                </a:moveTo>
                <a:cubicBezTo>
                  <a:pt x="4033" y="467051"/>
                  <a:pt x="-5105" y="12378"/>
                  <a:pt x="4827" y="2446"/>
                </a:cubicBezTo>
                <a:cubicBezTo>
                  <a:pt x="11584" y="-1136"/>
                  <a:pt x="507287" y="937"/>
                  <a:pt x="631157" y="0"/>
                </a:cubicBezTo>
                <a:lnTo>
                  <a:pt x="5819941" y="0"/>
                </a:lnTo>
                <a:cubicBezTo>
                  <a:pt x="6168484" y="0"/>
                  <a:pt x="6217837" y="282550"/>
                  <a:pt x="6217837" y="631093"/>
                </a:cubicBezTo>
                <a:lnTo>
                  <a:pt x="6217837" y="4437925"/>
                </a:lnTo>
                <a:cubicBezTo>
                  <a:pt x="6217837" y="4786468"/>
                  <a:pt x="6155528" y="5069018"/>
                  <a:pt x="5806985" y="5069018"/>
                </a:cubicBezTo>
                <a:lnTo>
                  <a:pt x="449783" y="5069018"/>
                </a:lnTo>
                <a:cubicBezTo>
                  <a:pt x="101240" y="5069018"/>
                  <a:pt x="64" y="4786468"/>
                  <a:pt x="64" y="4437925"/>
                </a:cubicBezTo>
                <a:lnTo>
                  <a:pt x="64" y="631093"/>
                </a:lnTo>
                <a:close/>
              </a:path>
            </a:pathLst>
          </a:custGeom>
          <a:solidFill>
            <a:schemeClr val="bg2"/>
          </a:solidFill>
        </p:spPr>
        <p:txBody>
          <a:bodyPr lIns="504000" tIns="252000" rIns="252000" bIns="360000"/>
          <a:lstStyle>
            <a:lvl1pPr>
              <a:defRPr sz="4209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Punt 2</a:t>
            </a:r>
          </a:p>
        </p:txBody>
      </p:sp>
      <p:sp>
        <p:nvSpPr>
          <p:cNvPr id="164" name="Tijdelijke aanduiding voor tekst 3">
            <a:extLst>
              <a:ext uri="{FF2B5EF4-FFF2-40B4-BE49-F238E27FC236}">
                <a16:creationId xmlns:a16="http://schemas.microsoft.com/office/drawing/2014/main" id="{3D564F2E-B66A-44B1-BD7F-8488248EED5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687079" y="16620337"/>
            <a:ext cx="5345254" cy="3935018"/>
          </a:xfrm>
          <a:custGeom>
            <a:avLst/>
            <a:gdLst>
              <a:gd name="connsiteX0" fmla="*/ 0 w 6217773"/>
              <a:gd name="connsiteY0" fmla="*/ 631093 h 5069018"/>
              <a:gd name="connsiteX1" fmla="*/ 631093 w 6217773"/>
              <a:gd name="connsiteY1" fmla="*/ 0 h 5069018"/>
              <a:gd name="connsiteX2" fmla="*/ 5586680 w 6217773"/>
              <a:gd name="connsiteY2" fmla="*/ 0 h 5069018"/>
              <a:gd name="connsiteX3" fmla="*/ 6217773 w 6217773"/>
              <a:gd name="connsiteY3" fmla="*/ 631093 h 5069018"/>
              <a:gd name="connsiteX4" fmla="*/ 6217773 w 6217773"/>
              <a:gd name="connsiteY4" fmla="*/ 4437925 h 5069018"/>
              <a:gd name="connsiteX5" fmla="*/ 5586680 w 6217773"/>
              <a:gd name="connsiteY5" fmla="*/ 5069018 h 5069018"/>
              <a:gd name="connsiteX6" fmla="*/ 631093 w 6217773"/>
              <a:gd name="connsiteY6" fmla="*/ 5069018 h 5069018"/>
              <a:gd name="connsiteX7" fmla="*/ 0 w 6217773"/>
              <a:gd name="connsiteY7" fmla="*/ 4437925 h 5069018"/>
              <a:gd name="connsiteX8" fmla="*/ 0 w 6217773"/>
              <a:gd name="connsiteY8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31029 w 6248802"/>
              <a:gd name="connsiteY0" fmla="*/ 638400 h 5076325"/>
              <a:gd name="connsiteX1" fmla="*/ 35792 w 6248802"/>
              <a:gd name="connsiteY1" fmla="*/ 228 h 5076325"/>
              <a:gd name="connsiteX2" fmla="*/ 662122 w 6248802"/>
              <a:gd name="connsiteY2" fmla="*/ 7307 h 5076325"/>
              <a:gd name="connsiteX3" fmla="*/ 5617709 w 6248802"/>
              <a:gd name="connsiteY3" fmla="*/ 7307 h 5076325"/>
              <a:gd name="connsiteX4" fmla="*/ 6248802 w 6248802"/>
              <a:gd name="connsiteY4" fmla="*/ 638400 h 5076325"/>
              <a:gd name="connsiteX5" fmla="*/ 6248802 w 6248802"/>
              <a:gd name="connsiteY5" fmla="*/ 4445232 h 5076325"/>
              <a:gd name="connsiteX6" fmla="*/ 5617709 w 6248802"/>
              <a:gd name="connsiteY6" fmla="*/ 5076325 h 5076325"/>
              <a:gd name="connsiteX7" fmla="*/ 662122 w 6248802"/>
              <a:gd name="connsiteY7" fmla="*/ 5076325 h 5076325"/>
              <a:gd name="connsiteX8" fmla="*/ 31029 w 6248802"/>
              <a:gd name="connsiteY8" fmla="*/ 4445232 h 5076325"/>
              <a:gd name="connsiteX9" fmla="*/ 31029 w 6248802"/>
              <a:gd name="connsiteY9" fmla="*/ 638400 h 5076325"/>
              <a:gd name="connsiteX0" fmla="*/ 0 w 6217773"/>
              <a:gd name="connsiteY0" fmla="*/ 638860 h 5076785"/>
              <a:gd name="connsiteX1" fmla="*/ 4763 w 6217773"/>
              <a:gd name="connsiteY1" fmla="*/ 688 h 5076785"/>
              <a:gd name="connsiteX2" fmla="*/ 631093 w 6217773"/>
              <a:gd name="connsiteY2" fmla="*/ 7767 h 5076785"/>
              <a:gd name="connsiteX3" fmla="*/ 5586680 w 6217773"/>
              <a:gd name="connsiteY3" fmla="*/ 7767 h 5076785"/>
              <a:gd name="connsiteX4" fmla="*/ 6217773 w 6217773"/>
              <a:gd name="connsiteY4" fmla="*/ 638860 h 5076785"/>
              <a:gd name="connsiteX5" fmla="*/ 6217773 w 6217773"/>
              <a:gd name="connsiteY5" fmla="*/ 4445692 h 5076785"/>
              <a:gd name="connsiteX6" fmla="*/ 5586680 w 6217773"/>
              <a:gd name="connsiteY6" fmla="*/ 5076785 h 5076785"/>
              <a:gd name="connsiteX7" fmla="*/ 631093 w 6217773"/>
              <a:gd name="connsiteY7" fmla="*/ 5076785 h 5076785"/>
              <a:gd name="connsiteX8" fmla="*/ 0 w 6217773"/>
              <a:gd name="connsiteY8" fmla="*/ 4445692 h 5076785"/>
              <a:gd name="connsiteX9" fmla="*/ 0 w 6217773"/>
              <a:gd name="connsiteY9" fmla="*/ 638860 h 5076785"/>
              <a:gd name="connsiteX0" fmla="*/ 64 w 6217837"/>
              <a:gd name="connsiteY0" fmla="*/ 638860 h 5076785"/>
              <a:gd name="connsiteX1" fmla="*/ 4827 w 6217837"/>
              <a:gd name="connsiteY1" fmla="*/ 688 h 5076785"/>
              <a:gd name="connsiteX2" fmla="*/ 631157 w 6217837"/>
              <a:gd name="connsiteY2" fmla="*/ 7767 h 5076785"/>
              <a:gd name="connsiteX3" fmla="*/ 5586744 w 6217837"/>
              <a:gd name="connsiteY3" fmla="*/ 7767 h 5076785"/>
              <a:gd name="connsiteX4" fmla="*/ 6217837 w 6217837"/>
              <a:gd name="connsiteY4" fmla="*/ 638860 h 5076785"/>
              <a:gd name="connsiteX5" fmla="*/ 6217837 w 6217837"/>
              <a:gd name="connsiteY5" fmla="*/ 4445692 h 5076785"/>
              <a:gd name="connsiteX6" fmla="*/ 5586744 w 6217837"/>
              <a:gd name="connsiteY6" fmla="*/ 5076785 h 5076785"/>
              <a:gd name="connsiteX7" fmla="*/ 631157 w 6217837"/>
              <a:gd name="connsiteY7" fmla="*/ 5076785 h 5076785"/>
              <a:gd name="connsiteX8" fmla="*/ 64 w 6217837"/>
              <a:gd name="connsiteY8" fmla="*/ 4445692 h 5076785"/>
              <a:gd name="connsiteX9" fmla="*/ 64 w 6217837"/>
              <a:gd name="connsiteY9" fmla="*/ 638860 h 5076785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586744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19941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17837" h="5069018">
                <a:moveTo>
                  <a:pt x="64" y="631093"/>
                </a:moveTo>
                <a:cubicBezTo>
                  <a:pt x="4033" y="467051"/>
                  <a:pt x="-5105" y="12378"/>
                  <a:pt x="4827" y="2446"/>
                </a:cubicBezTo>
                <a:cubicBezTo>
                  <a:pt x="11584" y="-1136"/>
                  <a:pt x="507287" y="937"/>
                  <a:pt x="631157" y="0"/>
                </a:cubicBezTo>
                <a:lnTo>
                  <a:pt x="5819941" y="0"/>
                </a:lnTo>
                <a:cubicBezTo>
                  <a:pt x="6168484" y="0"/>
                  <a:pt x="6217837" y="282550"/>
                  <a:pt x="6217837" y="631093"/>
                </a:cubicBezTo>
                <a:lnTo>
                  <a:pt x="6217837" y="4437925"/>
                </a:lnTo>
                <a:cubicBezTo>
                  <a:pt x="6217837" y="4786468"/>
                  <a:pt x="6155528" y="5069018"/>
                  <a:pt x="5806985" y="5069018"/>
                </a:cubicBezTo>
                <a:lnTo>
                  <a:pt x="449783" y="5069018"/>
                </a:lnTo>
                <a:cubicBezTo>
                  <a:pt x="101240" y="5069018"/>
                  <a:pt x="64" y="4786468"/>
                  <a:pt x="64" y="4437925"/>
                </a:cubicBezTo>
                <a:lnTo>
                  <a:pt x="64" y="631093"/>
                </a:lnTo>
                <a:close/>
              </a:path>
            </a:pathLst>
          </a:custGeom>
          <a:solidFill>
            <a:schemeClr val="bg2"/>
          </a:solidFill>
        </p:spPr>
        <p:txBody>
          <a:bodyPr lIns="504000" tIns="252000" rIns="252000" bIns="360000"/>
          <a:lstStyle>
            <a:lvl1pPr>
              <a:defRPr sz="4209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Punt 3</a:t>
            </a:r>
          </a:p>
        </p:txBody>
      </p:sp>
      <p:sp>
        <p:nvSpPr>
          <p:cNvPr id="160" name="Tijdelijke aanduiding voor tekst 2">
            <a:extLst>
              <a:ext uri="{FF2B5EF4-FFF2-40B4-BE49-F238E27FC236}">
                <a16:creationId xmlns:a16="http://schemas.microsoft.com/office/drawing/2014/main" id="{C8983519-A824-4AAD-84BE-E86BCCAA3C8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33807" y="6316512"/>
            <a:ext cx="26489657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 marL="0" indent="0">
              <a:buNone/>
              <a:defRPr sz="4209"/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61" name="Tijdelijke aanduiding voor tekst 2">
            <a:extLst>
              <a:ext uri="{FF2B5EF4-FFF2-40B4-BE49-F238E27FC236}">
                <a16:creationId xmlns:a16="http://schemas.microsoft.com/office/drawing/2014/main" id="{AE7372F4-5605-49B5-BFA6-75FB9F7F477F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533807" y="11466940"/>
            <a:ext cx="26489657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 marL="0" indent="0">
              <a:buNone/>
              <a:defRPr sz="4209"/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69" name="Tijdelijke aanduiding voor tekst 2">
            <a:extLst>
              <a:ext uri="{FF2B5EF4-FFF2-40B4-BE49-F238E27FC236}">
                <a16:creationId xmlns:a16="http://schemas.microsoft.com/office/drawing/2014/main" id="{6DF20755-33D3-4DFC-B8F1-88598EDF11D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533807" y="16623324"/>
            <a:ext cx="26489657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 marL="0" indent="0">
              <a:buNone/>
              <a:defRPr sz="4209"/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70" name="Tijdelijke aanduiding voor tekst 2">
            <a:extLst>
              <a:ext uri="{FF2B5EF4-FFF2-40B4-BE49-F238E27FC236}">
                <a16:creationId xmlns:a16="http://schemas.microsoft.com/office/drawing/2014/main" id="{E9ABA610-FA89-4787-B010-B4676D2C42C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533807" y="21779704"/>
            <a:ext cx="26489657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 marL="0" indent="0">
              <a:buNone/>
              <a:defRPr sz="4209"/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pic>
        <p:nvPicPr>
          <p:cNvPr id="24" name="Afbeelding 23">
            <a:extLst>
              <a:ext uri="{FF2B5EF4-FFF2-40B4-BE49-F238E27FC236}">
                <a16:creationId xmlns:a16="http://schemas.microsoft.com/office/drawing/2014/main" id="{E73F6112-D899-4F2E-A37F-7292DFE860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6205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Balk 10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-5562" y="-31536"/>
            <a:ext cx="42767255" cy="30306755"/>
          </a:xfrm>
          <a:solidFill>
            <a:schemeClr val="bg1">
              <a:lumMod val="95000"/>
            </a:schemeClr>
          </a:solidFill>
        </p:spPr>
        <p:txBody>
          <a:bodyPr tIns="1440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677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3" name="Tijdelijke aanduiding voor voettekst 4">
            <a:extLst>
              <a:ext uri="{FF2B5EF4-FFF2-40B4-BE49-F238E27FC236}">
                <a16:creationId xmlns:a16="http://schemas.microsoft.com/office/drawing/2014/main" id="{3FD2C40F-5ED0-4573-8F6F-31F0DA9D46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7" y="27345278"/>
            <a:ext cx="1802756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4" name="Tijdelijke aanduiding voor dianummer 5">
            <a:extLst>
              <a:ext uri="{FF2B5EF4-FFF2-40B4-BE49-F238E27FC236}">
                <a16:creationId xmlns:a16="http://schemas.microsoft.com/office/drawing/2014/main" id="{FDCACBC6-40CE-484B-AC87-549D0BAA4F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6" y="27329717"/>
            <a:ext cx="851959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4" name="Tijdelijke aanduiding voor verticale tekst 2">
            <a:extLst>
              <a:ext uri="{FF2B5EF4-FFF2-40B4-BE49-F238E27FC236}">
                <a16:creationId xmlns:a16="http://schemas.microsoft.com/office/drawing/2014/main" id="{1D71B8A2-5FF8-4862-BD63-087FD3B538C2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-11125" y="5946785"/>
            <a:ext cx="42778376" cy="6438767"/>
          </a:xfrm>
          <a:solidFill>
            <a:schemeClr val="tx2">
              <a:alpha val="82000"/>
            </a:schemeClr>
          </a:solidFill>
        </p:spPr>
        <p:txBody>
          <a:bodyPr vert="horz" lIns="216000" tIns="180000" rIns="216000" bIns="180000" rtlCol="0" anchor="ctr">
            <a:normAutofit/>
          </a:bodyPr>
          <a:lstStyle>
            <a:lvl1pPr marL="0" indent="0" algn="ctr">
              <a:buFontTx/>
              <a:buNone/>
              <a:defRPr lang="en-US" sz="5028" b="0" baseline="0" noProof="0" dirty="0">
                <a:solidFill>
                  <a:schemeClr val="bg1"/>
                </a:solidFill>
              </a:defRPr>
            </a:lvl1pPr>
            <a:lvl2pPr>
              <a:defRPr lang="en-US" noProof="0" dirty="0">
                <a:solidFill>
                  <a:schemeClr val="bg1"/>
                </a:solidFill>
              </a:defRPr>
            </a:lvl2pPr>
            <a:lvl3pPr>
              <a:defRPr lang="en-US" noProof="0" dirty="0">
                <a:solidFill>
                  <a:schemeClr val="bg1"/>
                </a:solidFill>
              </a:defRPr>
            </a:lvl3pPr>
            <a:lvl4pPr>
              <a:defRPr lang="en-US" noProof="0" dirty="0">
                <a:solidFill>
                  <a:schemeClr val="bg1"/>
                </a:solidFill>
              </a:defRPr>
            </a:lvl4pPr>
            <a:lvl5pPr algn="ctr">
              <a:defRPr lang="en-US" sz="5028" b="0" noProof="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/>
              <a:t>Klik om tekst in te voegen</a:t>
            </a:r>
          </a:p>
        </p:txBody>
      </p:sp>
      <p:sp>
        <p:nvSpPr>
          <p:cNvPr id="15" name="Tijdelijke aanduiding voor datum 3">
            <a:extLst>
              <a:ext uri="{FF2B5EF4-FFF2-40B4-BE49-F238E27FC236}">
                <a16:creationId xmlns:a16="http://schemas.microsoft.com/office/drawing/2014/main" id="{C4AEE98B-5CA5-411B-9688-928C7F70CAA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50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49D2A1-BCAF-464A-ADBC-F90E2254D093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66" name="Tijdelijke aanduiding voor tekst 3">
            <a:extLst>
              <a:ext uri="{FF2B5EF4-FFF2-40B4-BE49-F238E27FC236}">
                <a16:creationId xmlns:a16="http://schemas.microsoft.com/office/drawing/2014/main" id="{A4956C2C-95FD-447A-BD1F-81754DAF602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504420" y="1449454"/>
            <a:ext cx="6635240" cy="3534584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248"/>
            </a:lvl1pPr>
          </a:lstStyle>
          <a:p>
            <a:pPr lvl="0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33955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4250" fill="hold"/>
                                        <p:tgtEl>
                                          <p:spTgt spid="10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4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-media + tekst 50%50%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1742377" y="6476687"/>
            <a:ext cx="39446169" cy="3973575"/>
          </a:xfrm>
        </p:spPr>
        <p:txBody>
          <a:bodyPr vert="horz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b="1">
                <a:solidFill>
                  <a:schemeClr val="bg2"/>
                </a:solidFill>
                <a:latin typeface="+mj-lt"/>
              </a:defRPr>
            </a:lvl1pPr>
            <a:lvl2pPr marL="0" indent="0">
              <a:lnSpc>
                <a:spcPct val="120000"/>
              </a:lnSpc>
              <a:spcAft>
                <a:spcPts val="0"/>
              </a:spcAft>
              <a:buNone/>
              <a:defRPr/>
            </a:lvl2pPr>
            <a:lvl3pPr marL="2199582" indent="-952226">
              <a:lnSpc>
                <a:spcPct val="70000"/>
              </a:lnSpc>
              <a:defRPr/>
            </a:lvl3pPr>
            <a:lvl4pPr>
              <a:lnSpc>
                <a:spcPct val="70000"/>
              </a:lnSpc>
              <a:defRPr/>
            </a:lvl4pPr>
            <a:lvl5pPr>
              <a:lnSpc>
                <a:spcPct val="70000"/>
              </a:lnSpc>
              <a:defRPr>
                <a:solidFill>
                  <a:schemeClr val="bg2"/>
                </a:solidFill>
              </a:defRPr>
            </a:lvl5pPr>
            <a:lvl6pPr marL="0" indent="0">
              <a:lnSpc>
                <a:spcPct val="70000"/>
              </a:lnSpc>
              <a:buFontTx/>
              <a:buNone/>
              <a:defRPr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34" name="Titel 1">
            <a:extLst>
              <a:ext uri="{FF2B5EF4-FFF2-40B4-BE49-F238E27FC236}">
                <a16:creationId xmlns:a16="http://schemas.microsoft.com/office/drawing/2014/main" id="{53A6CE20-1E7A-4F87-96EC-7E964AA913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41" name="Tijdelijke aanduiding voor tekst 14">
            <a:extLst>
              <a:ext uri="{FF2B5EF4-FFF2-40B4-BE49-F238E27FC236}">
                <a16:creationId xmlns:a16="http://schemas.microsoft.com/office/drawing/2014/main" id="{4B035891-3F3E-4E86-9D5A-96D1E3B9D0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marR="0" indent="0" algn="l" defTabSz="3207489" rtl="0" eaLnBrk="1" fontAlgn="auto" latinLnBrk="0" hangingPunct="1">
              <a:lnSpc>
                <a:spcPct val="10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6314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grpSp>
        <p:nvGrpSpPr>
          <p:cNvPr id="50" name="GRID" hidden="1">
            <a:extLst>
              <a:ext uri="{FF2B5EF4-FFF2-40B4-BE49-F238E27FC236}">
                <a16:creationId xmlns:a16="http://schemas.microsoft.com/office/drawing/2014/main" id="{C59E2946-118D-4C01-970E-FC9CE00C6395}"/>
              </a:ext>
            </a:extLst>
          </p:cNvPr>
          <p:cNvGrpSpPr/>
          <p:nvPr userDrawn="1"/>
        </p:nvGrpSpPr>
        <p:grpSpPr>
          <a:xfrm>
            <a:off x="5" y="0"/>
            <a:ext cx="42767261" cy="30275213"/>
            <a:chOff x="0" y="0"/>
            <a:chExt cx="12192003" cy="6858000"/>
          </a:xfrm>
        </p:grpSpPr>
        <p:sp>
          <p:nvSpPr>
            <p:cNvPr id="51" name="Rechthoek 50">
              <a:extLst>
                <a:ext uri="{FF2B5EF4-FFF2-40B4-BE49-F238E27FC236}">
                  <a16:creationId xmlns:a16="http://schemas.microsoft.com/office/drawing/2014/main" id="{E2414C7D-389F-487F-9221-8D96900B448B}"/>
                </a:ext>
              </a:extLst>
            </p:cNvPr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52" name="Rechthoek 51">
              <a:extLst>
                <a:ext uri="{FF2B5EF4-FFF2-40B4-BE49-F238E27FC236}">
                  <a16:creationId xmlns:a16="http://schemas.microsoft.com/office/drawing/2014/main" id="{A8F1195A-80D2-4EBF-8EE2-23A21E134CE7}"/>
                </a:ext>
              </a:extLst>
            </p:cNvPr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53" name="Rechthoek 52">
              <a:extLst>
                <a:ext uri="{FF2B5EF4-FFF2-40B4-BE49-F238E27FC236}">
                  <a16:creationId xmlns:a16="http://schemas.microsoft.com/office/drawing/2014/main" id="{CA706088-94D0-49B2-9F47-CD39731ED611}"/>
                </a:ext>
              </a:extLst>
            </p:cNvPr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54" name="Rechthoek 53">
              <a:extLst>
                <a:ext uri="{FF2B5EF4-FFF2-40B4-BE49-F238E27FC236}">
                  <a16:creationId xmlns:a16="http://schemas.microsoft.com/office/drawing/2014/main" id="{6701A262-4D8B-4596-BEA3-1CDEA9A29D2D}"/>
                </a:ext>
              </a:extLst>
            </p:cNvPr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55" name="Rechthoek 54">
              <a:extLst>
                <a:ext uri="{FF2B5EF4-FFF2-40B4-BE49-F238E27FC236}">
                  <a16:creationId xmlns:a16="http://schemas.microsoft.com/office/drawing/2014/main" id="{3961D0F0-38E3-4745-BB91-8DF2B41B9EC6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56" name="Rechthoek 55">
              <a:extLst>
                <a:ext uri="{FF2B5EF4-FFF2-40B4-BE49-F238E27FC236}">
                  <a16:creationId xmlns:a16="http://schemas.microsoft.com/office/drawing/2014/main" id="{F082B6D4-918A-42B7-99B3-3B8D5AD389F5}"/>
                </a:ext>
              </a:extLst>
            </p:cNvPr>
            <p:cNvSpPr/>
            <p:nvPr userDrawn="1"/>
          </p:nvSpPr>
          <p:spPr>
            <a:xfrm rot="5400000">
              <a:off x="5895976" y="-108104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6D9780EE-AC3E-4C16-9B20-B0A0803E6ED4}"/>
                </a:ext>
              </a:extLst>
            </p:cNvPr>
            <p:cNvSpPr/>
            <p:nvPr userDrawn="1"/>
          </p:nvSpPr>
          <p:spPr>
            <a:xfrm rot="5400000">
              <a:off x="5895976" y="-3728182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FBFCF26E-9F29-4558-9176-F149D8C8577D}"/>
                </a:ext>
              </a:extLst>
            </p:cNvPr>
            <p:cNvSpPr/>
            <p:nvPr userDrawn="1"/>
          </p:nvSpPr>
          <p:spPr>
            <a:xfrm>
              <a:off x="603936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58" name="Tijdelijke aanduiding voor voettekst 4">
            <a:extLst>
              <a:ext uri="{FF2B5EF4-FFF2-40B4-BE49-F238E27FC236}">
                <a16:creationId xmlns:a16="http://schemas.microsoft.com/office/drawing/2014/main" id="{0E659B60-CF7C-460A-A879-0DDBF9C652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endParaRPr lang="nl-NL" noProof="0"/>
          </a:p>
        </p:txBody>
      </p:sp>
      <p:sp>
        <p:nvSpPr>
          <p:cNvPr id="59" name="Tijdelijke aanduiding voor dianummer 5">
            <a:extLst>
              <a:ext uri="{FF2B5EF4-FFF2-40B4-BE49-F238E27FC236}">
                <a16:creationId xmlns:a16="http://schemas.microsoft.com/office/drawing/2014/main" id="{F1A38C1E-7B15-4C30-B676-08D9095C1F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8"/>
            <a:ext cx="707315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26" name="Tijdelijke aanduiding voor inhoud 3">
            <a:extLst>
              <a:ext uri="{FF2B5EF4-FFF2-40B4-BE49-F238E27FC236}">
                <a16:creationId xmlns:a16="http://schemas.microsoft.com/office/drawing/2014/main" id="{D2E8F4BF-FD5F-4F05-BB33-AC3E7EF96F6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22826085" y="11156982"/>
            <a:ext cx="18368190" cy="14394742"/>
          </a:xfrm>
          <a:solidFill>
            <a:schemeClr val="bg1">
              <a:lumMod val="95000"/>
            </a:schemeClr>
          </a:solidFill>
        </p:spPr>
        <p:txBody>
          <a:bodyPr vert="horz" lIns="180000" tIns="180000" rIns="180000" bIns="180000" rtlCol="0">
            <a:normAutofit/>
          </a:bodyPr>
          <a:lstStyle>
            <a:lvl1pPr algn="l">
              <a:defRPr lang="nl-NL" sz="4209" b="0" i="0" smtClean="0">
                <a:latin typeface="+mj-lt"/>
              </a:defRPr>
            </a:lvl1pPr>
            <a:lvl2pPr>
              <a:defRPr lang="nl-NL" smtClean="0"/>
            </a:lvl2pPr>
            <a:lvl3pPr>
              <a:defRPr lang="nl-NL" smtClean="0"/>
            </a:lvl3pPr>
            <a:lvl4pPr>
              <a:defRPr lang="nl-NL" smtClean="0"/>
            </a:lvl4pPr>
            <a:lvl5pPr>
              <a:defRPr lang="nl-NL"/>
            </a:lvl5pPr>
          </a:lstStyle>
          <a:p>
            <a:pPr marL="0" lvl="0" indent="0" algn="ctr">
              <a:buNone/>
            </a:pPr>
            <a:r>
              <a:rPr lang="nl-NL" noProof="0"/>
              <a:t>Klik op één van de iconen</a:t>
            </a:r>
            <a:br>
              <a:rPr lang="nl-NL" noProof="0"/>
            </a:br>
            <a:r>
              <a:rPr lang="nl-NL" noProof="0"/>
              <a:t>om een media in te vullen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3DFC91BB-AEF5-43B4-84CF-C6590D01D3E3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22820351" y="11157673"/>
            <a:ext cx="18373922" cy="14394049"/>
          </a:xfrm>
          <a:solidFill>
            <a:schemeClr val="bg1">
              <a:lumMod val="95000"/>
            </a:schemeClr>
          </a:solidFill>
        </p:spPr>
        <p:txBody>
          <a:bodyPr lIns="180000" tIns="180000" rIns="180000" bIns="180000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 sz="4911" b="1">
                <a:solidFill>
                  <a:schemeClr val="bg2"/>
                </a:solidFill>
              </a:defRPr>
            </a:lvl1pPr>
            <a:lvl2pPr marL="0" indent="0">
              <a:spcAft>
                <a:spcPts val="0"/>
              </a:spcAft>
              <a:buNone/>
              <a:defRPr sz="4209"/>
            </a:lvl2pPr>
            <a:lvl3pPr marL="1247357" indent="-623677">
              <a:spcAft>
                <a:spcPts val="0"/>
              </a:spcAft>
              <a:defRPr sz="4209"/>
            </a:lvl3pPr>
            <a:lvl4pPr marL="1002340" indent="-1002340"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à"/>
              <a:defRPr sz="4209"/>
            </a:lvl4pPr>
            <a:lvl5pPr>
              <a:spcAft>
                <a:spcPts val="4209"/>
              </a:spcAft>
              <a:defRPr sz="4911"/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0" name="Tijdelijke aanduiding voor inhoud 3">
            <a:extLst>
              <a:ext uri="{FF2B5EF4-FFF2-40B4-BE49-F238E27FC236}">
                <a16:creationId xmlns:a16="http://schemas.microsoft.com/office/drawing/2014/main" id="{011BE011-FD19-4C53-988E-6F68943521B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1742373" y="11157673"/>
            <a:ext cx="18373922" cy="14394049"/>
          </a:xfrm>
          <a:solidFill>
            <a:schemeClr val="bg1">
              <a:lumMod val="95000"/>
            </a:schemeClr>
          </a:solidFill>
        </p:spPr>
        <p:txBody>
          <a:bodyPr lIns="180000" tIns="180000" rIns="180000" bIns="18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 sz="4911" b="1">
                <a:solidFill>
                  <a:schemeClr val="bg2"/>
                </a:solidFill>
              </a:defRPr>
            </a:lvl1pPr>
            <a:lvl2pPr marL="0" indent="0">
              <a:spcAft>
                <a:spcPts val="0"/>
              </a:spcAft>
              <a:buNone/>
              <a:defRPr sz="4209"/>
            </a:lvl2pPr>
            <a:lvl3pPr marL="1247357" indent="-623677">
              <a:spcAft>
                <a:spcPts val="0"/>
              </a:spcAft>
              <a:defRPr sz="4209"/>
            </a:lvl3pPr>
            <a:lvl4pPr marL="1002340" indent="-1002340"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à"/>
              <a:defRPr sz="4209"/>
            </a:lvl4pPr>
            <a:lvl5pPr>
              <a:spcAft>
                <a:spcPts val="4209"/>
              </a:spcAft>
              <a:defRPr sz="4911"/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nl-NL" noProof="0"/>
              <a:t>Klik om tekst in te voegen</a:t>
            </a:r>
          </a:p>
          <a:p>
            <a:pPr lvl="0"/>
            <a:endParaRPr lang="nl-NL" noProof="0"/>
          </a:p>
        </p:txBody>
      </p:sp>
      <p:pic>
        <p:nvPicPr>
          <p:cNvPr id="63" name="Afbeelding 62">
            <a:extLst>
              <a:ext uri="{FF2B5EF4-FFF2-40B4-BE49-F238E27FC236}">
                <a16:creationId xmlns:a16="http://schemas.microsoft.com/office/drawing/2014/main" id="{520D55F0-1946-40CA-BE77-284D34AB78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0580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 Balken 8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-5567" y="6476684"/>
            <a:ext cx="42767257" cy="23798534"/>
          </a:xfrm>
          <a:solidFill>
            <a:schemeClr val="bg1">
              <a:lumMod val="95000"/>
            </a:schemeClr>
          </a:solidFill>
        </p:spPr>
        <p:txBody>
          <a:bodyPr tIns="1080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0" name="Tijdelijke aanduiding voor voettekst 4">
            <a:extLst>
              <a:ext uri="{FF2B5EF4-FFF2-40B4-BE49-F238E27FC236}">
                <a16:creationId xmlns:a16="http://schemas.microsoft.com/office/drawing/2014/main" id="{1DA20FBD-9D0F-4EAB-B12C-126591D8B7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6644E39-2AF2-4EA0-9C3F-28C89D5A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7" y="27329718"/>
            <a:ext cx="851960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7" name="Tijdelijke aanduiding voor tekst 14">
            <a:extLst>
              <a:ext uri="{FF2B5EF4-FFF2-40B4-BE49-F238E27FC236}">
                <a16:creationId xmlns:a16="http://schemas.microsoft.com/office/drawing/2014/main" id="{A6BF4B27-7FC5-4896-80CE-3BA6119B83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6314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32" name="Tijdelijke aanduiding voor tekst 3">
            <a:extLst>
              <a:ext uri="{FF2B5EF4-FFF2-40B4-BE49-F238E27FC236}">
                <a16:creationId xmlns:a16="http://schemas.microsoft.com/office/drawing/2014/main" id="{54C989E9-FA4D-4EA9-9D83-ACEFB86E984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2673480" y="14733967"/>
            <a:ext cx="18310781" cy="2416918"/>
          </a:xfrm>
          <a:custGeom>
            <a:avLst/>
            <a:gdLst>
              <a:gd name="connsiteX0" fmla="*/ 0 w 6336000"/>
              <a:gd name="connsiteY0" fmla="*/ 34052 h 547200"/>
              <a:gd name="connsiteX1" fmla="*/ 34052 w 6336000"/>
              <a:gd name="connsiteY1" fmla="*/ 0 h 547200"/>
              <a:gd name="connsiteX2" fmla="*/ 6301948 w 6336000"/>
              <a:gd name="connsiteY2" fmla="*/ 0 h 547200"/>
              <a:gd name="connsiteX3" fmla="*/ 6336000 w 6336000"/>
              <a:gd name="connsiteY3" fmla="*/ 34052 h 547200"/>
              <a:gd name="connsiteX4" fmla="*/ 6336000 w 6336000"/>
              <a:gd name="connsiteY4" fmla="*/ 513148 h 547200"/>
              <a:gd name="connsiteX5" fmla="*/ 6301948 w 6336000"/>
              <a:gd name="connsiteY5" fmla="*/ 547200 h 547200"/>
              <a:gd name="connsiteX6" fmla="*/ 34052 w 6336000"/>
              <a:gd name="connsiteY6" fmla="*/ 547200 h 547200"/>
              <a:gd name="connsiteX7" fmla="*/ 0 w 6336000"/>
              <a:gd name="connsiteY7" fmla="*/ 513148 h 547200"/>
              <a:gd name="connsiteX8" fmla="*/ 0 w 6336000"/>
              <a:gd name="connsiteY8" fmla="*/ 34052 h 547200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0 w 6336000"/>
              <a:gd name="connsiteY0" fmla="*/ 44015 h 557163"/>
              <a:gd name="connsiteX1" fmla="*/ 4390 w 6336000"/>
              <a:gd name="connsiteY1" fmla="*/ 17721 h 557163"/>
              <a:gd name="connsiteX2" fmla="*/ 34052 w 6336000"/>
              <a:gd name="connsiteY2" fmla="*/ 9963 h 557163"/>
              <a:gd name="connsiteX3" fmla="*/ 6301948 w 6336000"/>
              <a:gd name="connsiteY3" fmla="*/ 9963 h 557163"/>
              <a:gd name="connsiteX4" fmla="*/ 6336000 w 6336000"/>
              <a:gd name="connsiteY4" fmla="*/ 44015 h 557163"/>
              <a:gd name="connsiteX5" fmla="*/ 6336000 w 6336000"/>
              <a:gd name="connsiteY5" fmla="*/ 523111 h 557163"/>
              <a:gd name="connsiteX6" fmla="*/ 6301948 w 6336000"/>
              <a:gd name="connsiteY6" fmla="*/ 557163 h 557163"/>
              <a:gd name="connsiteX7" fmla="*/ 34052 w 6336000"/>
              <a:gd name="connsiteY7" fmla="*/ 557163 h 557163"/>
              <a:gd name="connsiteX8" fmla="*/ 0 w 6336000"/>
              <a:gd name="connsiteY8" fmla="*/ 523111 h 557163"/>
              <a:gd name="connsiteX9" fmla="*/ 0 w 6336000"/>
              <a:gd name="connsiteY9" fmla="*/ 44015 h 557163"/>
              <a:gd name="connsiteX0" fmla="*/ 325 w 6336325"/>
              <a:gd name="connsiteY0" fmla="*/ 34265 h 547413"/>
              <a:gd name="connsiteX1" fmla="*/ 4715 w 6336325"/>
              <a:gd name="connsiteY1" fmla="*/ 7971 h 547413"/>
              <a:gd name="connsiteX2" fmla="*/ 34377 w 6336325"/>
              <a:gd name="connsiteY2" fmla="*/ 213 h 547413"/>
              <a:gd name="connsiteX3" fmla="*/ 6302273 w 6336325"/>
              <a:gd name="connsiteY3" fmla="*/ 213 h 547413"/>
              <a:gd name="connsiteX4" fmla="*/ 6336325 w 6336325"/>
              <a:gd name="connsiteY4" fmla="*/ 34265 h 547413"/>
              <a:gd name="connsiteX5" fmla="*/ 6336325 w 6336325"/>
              <a:gd name="connsiteY5" fmla="*/ 513361 h 547413"/>
              <a:gd name="connsiteX6" fmla="*/ 6302273 w 6336325"/>
              <a:gd name="connsiteY6" fmla="*/ 547413 h 547413"/>
              <a:gd name="connsiteX7" fmla="*/ 34377 w 6336325"/>
              <a:gd name="connsiteY7" fmla="*/ 547413 h 547413"/>
              <a:gd name="connsiteX8" fmla="*/ 325 w 6336325"/>
              <a:gd name="connsiteY8" fmla="*/ 513361 h 547413"/>
              <a:gd name="connsiteX9" fmla="*/ 325 w 6336325"/>
              <a:gd name="connsiteY9" fmla="*/ 34265 h 547413"/>
              <a:gd name="connsiteX0" fmla="*/ 2320 w 6338320"/>
              <a:gd name="connsiteY0" fmla="*/ 545788 h 579840"/>
              <a:gd name="connsiteX1" fmla="*/ 6710 w 6338320"/>
              <a:gd name="connsiteY1" fmla="*/ 40398 h 579840"/>
              <a:gd name="connsiteX2" fmla="*/ 36372 w 6338320"/>
              <a:gd name="connsiteY2" fmla="*/ 32640 h 579840"/>
              <a:gd name="connsiteX3" fmla="*/ 6304268 w 6338320"/>
              <a:gd name="connsiteY3" fmla="*/ 32640 h 579840"/>
              <a:gd name="connsiteX4" fmla="*/ 6338320 w 6338320"/>
              <a:gd name="connsiteY4" fmla="*/ 66692 h 579840"/>
              <a:gd name="connsiteX5" fmla="*/ 6338320 w 6338320"/>
              <a:gd name="connsiteY5" fmla="*/ 545788 h 579840"/>
              <a:gd name="connsiteX6" fmla="*/ 6304268 w 6338320"/>
              <a:gd name="connsiteY6" fmla="*/ 579840 h 579840"/>
              <a:gd name="connsiteX7" fmla="*/ 36372 w 6338320"/>
              <a:gd name="connsiteY7" fmla="*/ 579840 h 579840"/>
              <a:gd name="connsiteX8" fmla="*/ 2320 w 6338320"/>
              <a:gd name="connsiteY8" fmla="*/ 545788 h 579840"/>
              <a:gd name="connsiteX0" fmla="*/ 440580 w 6776580"/>
              <a:gd name="connsiteY0" fmla="*/ 545209 h 579261"/>
              <a:gd name="connsiteX1" fmla="*/ 440208 w 6776580"/>
              <a:gd name="connsiteY1" fmla="*/ 39819 h 579261"/>
              <a:gd name="connsiteX2" fmla="*/ 474632 w 6776580"/>
              <a:gd name="connsiteY2" fmla="*/ 32061 h 579261"/>
              <a:gd name="connsiteX3" fmla="*/ 6742528 w 6776580"/>
              <a:gd name="connsiteY3" fmla="*/ 32061 h 579261"/>
              <a:gd name="connsiteX4" fmla="*/ 6776580 w 6776580"/>
              <a:gd name="connsiteY4" fmla="*/ 66113 h 579261"/>
              <a:gd name="connsiteX5" fmla="*/ 6776580 w 6776580"/>
              <a:gd name="connsiteY5" fmla="*/ 545209 h 579261"/>
              <a:gd name="connsiteX6" fmla="*/ 6742528 w 6776580"/>
              <a:gd name="connsiteY6" fmla="*/ 579261 h 579261"/>
              <a:gd name="connsiteX7" fmla="*/ 474632 w 6776580"/>
              <a:gd name="connsiteY7" fmla="*/ 579261 h 579261"/>
              <a:gd name="connsiteX8" fmla="*/ 440580 w 6776580"/>
              <a:gd name="connsiteY8" fmla="*/ 545209 h 579261"/>
              <a:gd name="connsiteX0" fmla="*/ 4188 w 6340188"/>
              <a:gd name="connsiteY0" fmla="*/ 545788 h 579840"/>
              <a:gd name="connsiteX1" fmla="*/ 3816 w 6340188"/>
              <a:gd name="connsiteY1" fmla="*/ 40398 h 579840"/>
              <a:gd name="connsiteX2" fmla="*/ 38240 w 6340188"/>
              <a:gd name="connsiteY2" fmla="*/ 32640 h 579840"/>
              <a:gd name="connsiteX3" fmla="*/ 6306136 w 6340188"/>
              <a:gd name="connsiteY3" fmla="*/ 32640 h 579840"/>
              <a:gd name="connsiteX4" fmla="*/ 6340188 w 6340188"/>
              <a:gd name="connsiteY4" fmla="*/ 66692 h 579840"/>
              <a:gd name="connsiteX5" fmla="*/ 6340188 w 6340188"/>
              <a:gd name="connsiteY5" fmla="*/ 545788 h 579840"/>
              <a:gd name="connsiteX6" fmla="*/ 6306136 w 6340188"/>
              <a:gd name="connsiteY6" fmla="*/ 579840 h 579840"/>
              <a:gd name="connsiteX7" fmla="*/ 38240 w 6340188"/>
              <a:gd name="connsiteY7" fmla="*/ 579840 h 579840"/>
              <a:gd name="connsiteX8" fmla="*/ 4188 w 6340188"/>
              <a:gd name="connsiteY8" fmla="*/ 545788 h 579840"/>
              <a:gd name="connsiteX0" fmla="*/ 1984 w 6337984"/>
              <a:gd name="connsiteY0" fmla="*/ 513434 h 547486"/>
              <a:gd name="connsiteX1" fmla="*/ 1612 w 6337984"/>
              <a:gd name="connsiteY1" fmla="*/ 8044 h 547486"/>
              <a:gd name="connsiteX2" fmla="*/ 36036 w 6337984"/>
              <a:gd name="connsiteY2" fmla="*/ 286 h 547486"/>
              <a:gd name="connsiteX3" fmla="*/ 6303932 w 6337984"/>
              <a:gd name="connsiteY3" fmla="*/ 286 h 547486"/>
              <a:gd name="connsiteX4" fmla="*/ 6337984 w 6337984"/>
              <a:gd name="connsiteY4" fmla="*/ 34338 h 547486"/>
              <a:gd name="connsiteX5" fmla="*/ 6337984 w 6337984"/>
              <a:gd name="connsiteY5" fmla="*/ 513434 h 547486"/>
              <a:gd name="connsiteX6" fmla="*/ 6303932 w 6337984"/>
              <a:gd name="connsiteY6" fmla="*/ 547486 h 547486"/>
              <a:gd name="connsiteX7" fmla="*/ 36036 w 6337984"/>
              <a:gd name="connsiteY7" fmla="*/ 547486 h 547486"/>
              <a:gd name="connsiteX8" fmla="*/ 1984 w 6337984"/>
              <a:gd name="connsiteY8" fmla="*/ 513434 h 547486"/>
              <a:gd name="connsiteX0" fmla="*/ 443038 w 6779038"/>
              <a:gd name="connsiteY0" fmla="*/ 513148 h 547200"/>
              <a:gd name="connsiteX1" fmla="*/ 440285 w 6779038"/>
              <a:gd name="connsiteY1" fmla="*/ 7758 h 547200"/>
              <a:gd name="connsiteX2" fmla="*/ 477090 w 6779038"/>
              <a:gd name="connsiteY2" fmla="*/ 0 h 547200"/>
              <a:gd name="connsiteX3" fmla="*/ 6744986 w 6779038"/>
              <a:gd name="connsiteY3" fmla="*/ 0 h 547200"/>
              <a:gd name="connsiteX4" fmla="*/ 6779038 w 6779038"/>
              <a:gd name="connsiteY4" fmla="*/ 34052 h 547200"/>
              <a:gd name="connsiteX5" fmla="*/ 6779038 w 6779038"/>
              <a:gd name="connsiteY5" fmla="*/ 513148 h 547200"/>
              <a:gd name="connsiteX6" fmla="*/ 6744986 w 6779038"/>
              <a:gd name="connsiteY6" fmla="*/ 547200 h 547200"/>
              <a:gd name="connsiteX7" fmla="*/ 477090 w 6779038"/>
              <a:gd name="connsiteY7" fmla="*/ 547200 h 547200"/>
              <a:gd name="connsiteX8" fmla="*/ 443038 w 6779038"/>
              <a:gd name="connsiteY8" fmla="*/ 513148 h 547200"/>
              <a:gd name="connsiteX0" fmla="*/ 3229 w 6339229"/>
              <a:gd name="connsiteY0" fmla="*/ 513433 h 547485"/>
              <a:gd name="connsiteX1" fmla="*/ 476 w 6339229"/>
              <a:gd name="connsiteY1" fmla="*/ 8043 h 547485"/>
              <a:gd name="connsiteX2" fmla="*/ 37281 w 6339229"/>
              <a:gd name="connsiteY2" fmla="*/ 285 h 547485"/>
              <a:gd name="connsiteX3" fmla="*/ 6305177 w 6339229"/>
              <a:gd name="connsiteY3" fmla="*/ 285 h 547485"/>
              <a:gd name="connsiteX4" fmla="*/ 6339229 w 6339229"/>
              <a:gd name="connsiteY4" fmla="*/ 34337 h 547485"/>
              <a:gd name="connsiteX5" fmla="*/ 6339229 w 6339229"/>
              <a:gd name="connsiteY5" fmla="*/ 513433 h 547485"/>
              <a:gd name="connsiteX6" fmla="*/ 6305177 w 6339229"/>
              <a:gd name="connsiteY6" fmla="*/ 547485 h 547485"/>
              <a:gd name="connsiteX7" fmla="*/ 37281 w 6339229"/>
              <a:gd name="connsiteY7" fmla="*/ 547485 h 547485"/>
              <a:gd name="connsiteX8" fmla="*/ 3229 w 6339229"/>
              <a:gd name="connsiteY8" fmla="*/ 513433 h 547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339229" h="547485">
                <a:moveTo>
                  <a:pt x="3229" y="513433"/>
                </a:moveTo>
                <a:cubicBezTo>
                  <a:pt x="-1715" y="423526"/>
                  <a:pt x="1945" y="14987"/>
                  <a:pt x="476" y="8043"/>
                </a:cubicBezTo>
                <a:cubicBezTo>
                  <a:pt x="-993" y="1099"/>
                  <a:pt x="-1471" y="-803"/>
                  <a:pt x="37281" y="285"/>
                </a:cubicBezTo>
                <a:cubicBezTo>
                  <a:pt x="76033" y="1373"/>
                  <a:pt x="4215878" y="285"/>
                  <a:pt x="6305177" y="285"/>
                </a:cubicBezTo>
                <a:cubicBezTo>
                  <a:pt x="6323983" y="285"/>
                  <a:pt x="6339229" y="15531"/>
                  <a:pt x="6339229" y="34337"/>
                </a:cubicBezTo>
                <a:lnTo>
                  <a:pt x="6339229" y="513433"/>
                </a:lnTo>
                <a:cubicBezTo>
                  <a:pt x="6339229" y="532239"/>
                  <a:pt x="6323983" y="547485"/>
                  <a:pt x="6305177" y="547485"/>
                </a:cubicBezTo>
                <a:lnTo>
                  <a:pt x="37281" y="547485"/>
                </a:lnTo>
                <a:cubicBezTo>
                  <a:pt x="18475" y="547485"/>
                  <a:pt x="3229" y="532239"/>
                  <a:pt x="3229" y="513433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144000" tIns="144000" rIns="216000" bIns="216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3" name="Tijdelijke aanduiding voor datum 3">
            <a:extLst>
              <a:ext uri="{FF2B5EF4-FFF2-40B4-BE49-F238E27FC236}">
                <a16:creationId xmlns:a16="http://schemas.microsoft.com/office/drawing/2014/main" id="{BDC78B71-F098-49D0-A82C-26F4C2AFD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70796E-DDED-4E27-9226-E9660C071F14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153" name="Tijdelijke aanduiding voor tekst 3">
            <a:extLst>
              <a:ext uri="{FF2B5EF4-FFF2-40B4-BE49-F238E27FC236}">
                <a16:creationId xmlns:a16="http://schemas.microsoft.com/office/drawing/2014/main" id="{8A98C4B6-1A94-4159-9EB3-581D74066A8F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22673480" y="17557276"/>
            <a:ext cx="18310781" cy="2416918"/>
          </a:xfrm>
          <a:custGeom>
            <a:avLst/>
            <a:gdLst>
              <a:gd name="connsiteX0" fmla="*/ 0 w 6336000"/>
              <a:gd name="connsiteY0" fmla="*/ 34052 h 547200"/>
              <a:gd name="connsiteX1" fmla="*/ 34052 w 6336000"/>
              <a:gd name="connsiteY1" fmla="*/ 0 h 547200"/>
              <a:gd name="connsiteX2" fmla="*/ 6301948 w 6336000"/>
              <a:gd name="connsiteY2" fmla="*/ 0 h 547200"/>
              <a:gd name="connsiteX3" fmla="*/ 6336000 w 6336000"/>
              <a:gd name="connsiteY3" fmla="*/ 34052 h 547200"/>
              <a:gd name="connsiteX4" fmla="*/ 6336000 w 6336000"/>
              <a:gd name="connsiteY4" fmla="*/ 513148 h 547200"/>
              <a:gd name="connsiteX5" fmla="*/ 6301948 w 6336000"/>
              <a:gd name="connsiteY5" fmla="*/ 547200 h 547200"/>
              <a:gd name="connsiteX6" fmla="*/ 34052 w 6336000"/>
              <a:gd name="connsiteY6" fmla="*/ 547200 h 547200"/>
              <a:gd name="connsiteX7" fmla="*/ 0 w 6336000"/>
              <a:gd name="connsiteY7" fmla="*/ 513148 h 547200"/>
              <a:gd name="connsiteX8" fmla="*/ 0 w 6336000"/>
              <a:gd name="connsiteY8" fmla="*/ 34052 h 547200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0 w 6336000"/>
              <a:gd name="connsiteY0" fmla="*/ 44015 h 557163"/>
              <a:gd name="connsiteX1" fmla="*/ 4390 w 6336000"/>
              <a:gd name="connsiteY1" fmla="*/ 17721 h 557163"/>
              <a:gd name="connsiteX2" fmla="*/ 34052 w 6336000"/>
              <a:gd name="connsiteY2" fmla="*/ 9963 h 557163"/>
              <a:gd name="connsiteX3" fmla="*/ 6301948 w 6336000"/>
              <a:gd name="connsiteY3" fmla="*/ 9963 h 557163"/>
              <a:gd name="connsiteX4" fmla="*/ 6336000 w 6336000"/>
              <a:gd name="connsiteY4" fmla="*/ 44015 h 557163"/>
              <a:gd name="connsiteX5" fmla="*/ 6336000 w 6336000"/>
              <a:gd name="connsiteY5" fmla="*/ 523111 h 557163"/>
              <a:gd name="connsiteX6" fmla="*/ 6301948 w 6336000"/>
              <a:gd name="connsiteY6" fmla="*/ 557163 h 557163"/>
              <a:gd name="connsiteX7" fmla="*/ 34052 w 6336000"/>
              <a:gd name="connsiteY7" fmla="*/ 557163 h 557163"/>
              <a:gd name="connsiteX8" fmla="*/ 0 w 6336000"/>
              <a:gd name="connsiteY8" fmla="*/ 523111 h 557163"/>
              <a:gd name="connsiteX9" fmla="*/ 0 w 6336000"/>
              <a:gd name="connsiteY9" fmla="*/ 44015 h 557163"/>
              <a:gd name="connsiteX0" fmla="*/ 325 w 6336325"/>
              <a:gd name="connsiteY0" fmla="*/ 34265 h 547413"/>
              <a:gd name="connsiteX1" fmla="*/ 4715 w 6336325"/>
              <a:gd name="connsiteY1" fmla="*/ 7971 h 547413"/>
              <a:gd name="connsiteX2" fmla="*/ 34377 w 6336325"/>
              <a:gd name="connsiteY2" fmla="*/ 213 h 547413"/>
              <a:gd name="connsiteX3" fmla="*/ 6302273 w 6336325"/>
              <a:gd name="connsiteY3" fmla="*/ 213 h 547413"/>
              <a:gd name="connsiteX4" fmla="*/ 6336325 w 6336325"/>
              <a:gd name="connsiteY4" fmla="*/ 34265 h 547413"/>
              <a:gd name="connsiteX5" fmla="*/ 6336325 w 6336325"/>
              <a:gd name="connsiteY5" fmla="*/ 513361 h 547413"/>
              <a:gd name="connsiteX6" fmla="*/ 6302273 w 6336325"/>
              <a:gd name="connsiteY6" fmla="*/ 547413 h 547413"/>
              <a:gd name="connsiteX7" fmla="*/ 34377 w 6336325"/>
              <a:gd name="connsiteY7" fmla="*/ 547413 h 547413"/>
              <a:gd name="connsiteX8" fmla="*/ 325 w 6336325"/>
              <a:gd name="connsiteY8" fmla="*/ 513361 h 547413"/>
              <a:gd name="connsiteX9" fmla="*/ 325 w 6336325"/>
              <a:gd name="connsiteY9" fmla="*/ 34265 h 547413"/>
              <a:gd name="connsiteX0" fmla="*/ 2320 w 6338320"/>
              <a:gd name="connsiteY0" fmla="*/ 545788 h 579840"/>
              <a:gd name="connsiteX1" fmla="*/ 6710 w 6338320"/>
              <a:gd name="connsiteY1" fmla="*/ 40398 h 579840"/>
              <a:gd name="connsiteX2" fmla="*/ 36372 w 6338320"/>
              <a:gd name="connsiteY2" fmla="*/ 32640 h 579840"/>
              <a:gd name="connsiteX3" fmla="*/ 6304268 w 6338320"/>
              <a:gd name="connsiteY3" fmla="*/ 32640 h 579840"/>
              <a:gd name="connsiteX4" fmla="*/ 6338320 w 6338320"/>
              <a:gd name="connsiteY4" fmla="*/ 66692 h 579840"/>
              <a:gd name="connsiteX5" fmla="*/ 6338320 w 6338320"/>
              <a:gd name="connsiteY5" fmla="*/ 545788 h 579840"/>
              <a:gd name="connsiteX6" fmla="*/ 6304268 w 6338320"/>
              <a:gd name="connsiteY6" fmla="*/ 579840 h 579840"/>
              <a:gd name="connsiteX7" fmla="*/ 36372 w 6338320"/>
              <a:gd name="connsiteY7" fmla="*/ 579840 h 579840"/>
              <a:gd name="connsiteX8" fmla="*/ 2320 w 6338320"/>
              <a:gd name="connsiteY8" fmla="*/ 545788 h 579840"/>
              <a:gd name="connsiteX0" fmla="*/ 440580 w 6776580"/>
              <a:gd name="connsiteY0" fmla="*/ 545209 h 579261"/>
              <a:gd name="connsiteX1" fmla="*/ 440208 w 6776580"/>
              <a:gd name="connsiteY1" fmla="*/ 39819 h 579261"/>
              <a:gd name="connsiteX2" fmla="*/ 474632 w 6776580"/>
              <a:gd name="connsiteY2" fmla="*/ 32061 h 579261"/>
              <a:gd name="connsiteX3" fmla="*/ 6742528 w 6776580"/>
              <a:gd name="connsiteY3" fmla="*/ 32061 h 579261"/>
              <a:gd name="connsiteX4" fmla="*/ 6776580 w 6776580"/>
              <a:gd name="connsiteY4" fmla="*/ 66113 h 579261"/>
              <a:gd name="connsiteX5" fmla="*/ 6776580 w 6776580"/>
              <a:gd name="connsiteY5" fmla="*/ 545209 h 579261"/>
              <a:gd name="connsiteX6" fmla="*/ 6742528 w 6776580"/>
              <a:gd name="connsiteY6" fmla="*/ 579261 h 579261"/>
              <a:gd name="connsiteX7" fmla="*/ 474632 w 6776580"/>
              <a:gd name="connsiteY7" fmla="*/ 579261 h 579261"/>
              <a:gd name="connsiteX8" fmla="*/ 440580 w 6776580"/>
              <a:gd name="connsiteY8" fmla="*/ 545209 h 579261"/>
              <a:gd name="connsiteX0" fmla="*/ 4188 w 6340188"/>
              <a:gd name="connsiteY0" fmla="*/ 545788 h 579840"/>
              <a:gd name="connsiteX1" fmla="*/ 3816 w 6340188"/>
              <a:gd name="connsiteY1" fmla="*/ 40398 h 579840"/>
              <a:gd name="connsiteX2" fmla="*/ 38240 w 6340188"/>
              <a:gd name="connsiteY2" fmla="*/ 32640 h 579840"/>
              <a:gd name="connsiteX3" fmla="*/ 6306136 w 6340188"/>
              <a:gd name="connsiteY3" fmla="*/ 32640 h 579840"/>
              <a:gd name="connsiteX4" fmla="*/ 6340188 w 6340188"/>
              <a:gd name="connsiteY4" fmla="*/ 66692 h 579840"/>
              <a:gd name="connsiteX5" fmla="*/ 6340188 w 6340188"/>
              <a:gd name="connsiteY5" fmla="*/ 545788 h 579840"/>
              <a:gd name="connsiteX6" fmla="*/ 6306136 w 6340188"/>
              <a:gd name="connsiteY6" fmla="*/ 579840 h 579840"/>
              <a:gd name="connsiteX7" fmla="*/ 38240 w 6340188"/>
              <a:gd name="connsiteY7" fmla="*/ 579840 h 579840"/>
              <a:gd name="connsiteX8" fmla="*/ 4188 w 6340188"/>
              <a:gd name="connsiteY8" fmla="*/ 545788 h 579840"/>
              <a:gd name="connsiteX0" fmla="*/ 1984 w 6337984"/>
              <a:gd name="connsiteY0" fmla="*/ 513434 h 547486"/>
              <a:gd name="connsiteX1" fmla="*/ 1612 w 6337984"/>
              <a:gd name="connsiteY1" fmla="*/ 8044 h 547486"/>
              <a:gd name="connsiteX2" fmla="*/ 36036 w 6337984"/>
              <a:gd name="connsiteY2" fmla="*/ 286 h 547486"/>
              <a:gd name="connsiteX3" fmla="*/ 6303932 w 6337984"/>
              <a:gd name="connsiteY3" fmla="*/ 286 h 547486"/>
              <a:gd name="connsiteX4" fmla="*/ 6337984 w 6337984"/>
              <a:gd name="connsiteY4" fmla="*/ 34338 h 547486"/>
              <a:gd name="connsiteX5" fmla="*/ 6337984 w 6337984"/>
              <a:gd name="connsiteY5" fmla="*/ 513434 h 547486"/>
              <a:gd name="connsiteX6" fmla="*/ 6303932 w 6337984"/>
              <a:gd name="connsiteY6" fmla="*/ 547486 h 547486"/>
              <a:gd name="connsiteX7" fmla="*/ 36036 w 6337984"/>
              <a:gd name="connsiteY7" fmla="*/ 547486 h 547486"/>
              <a:gd name="connsiteX8" fmla="*/ 1984 w 6337984"/>
              <a:gd name="connsiteY8" fmla="*/ 513434 h 547486"/>
              <a:gd name="connsiteX0" fmla="*/ 443038 w 6779038"/>
              <a:gd name="connsiteY0" fmla="*/ 513148 h 547200"/>
              <a:gd name="connsiteX1" fmla="*/ 440285 w 6779038"/>
              <a:gd name="connsiteY1" fmla="*/ 7758 h 547200"/>
              <a:gd name="connsiteX2" fmla="*/ 477090 w 6779038"/>
              <a:gd name="connsiteY2" fmla="*/ 0 h 547200"/>
              <a:gd name="connsiteX3" fmla="*/ 6744986 w 6779038"/>
              <a:gd name="connsiteY3" fmla="*/ 0 h 547200"/>
              <a:gd name="connsiteX4" fmla="*/ 6779038 w 6779038"/>
              <a:gd name="connsiteY4" fmla="*/ 34052 h 547200"/>
              <a:gd name="connsiteX5" fmla="*/ 6779038 w 6779038"/>
              <a:gd name="connsiteY5" fmla="*/ 513148 h 547200"/>
              <a:gd name="connsiteX6" fmla="*/ 6744986 w 6779038"/>
              <a:gd name="connsiteY6" fmla="*/ 547200 h 547200"/>
              <a:gd name="connsiteX7" fmla="*/ 477090 w 6779038"/>
              <a:gd name="connsiteY7" fmla="*/ 547200 h 547200"/>
              <a:gd name="connsiteX8" fmla="*/ 443038 w 6779038"/>
              <a:gd name="connsiteY8" fmla="*/ 513148 h 547200"/>
              <a:gd name="connsiteX0" fmla="*/ 3229 w 6339229"/>
              <a:gd name="connsiteY0" fmla="*/ 513433 h 547485"/>
              <a:gd name="connsiteX1" fmla="*/ 476 w 6339229"/>
              <a:gd name="connsiteY1" fmla="*/ 8043 h 547485"/>
              <a:gd name="connsiteX2" fmla="*/ 37281 w 6339229"/>
              <a:gd name="connsiteY2" fmla="*/ 285 h 547485"/>
              <a:gd name="connsiteX3" fmla="*/ 6305177 w 6339229"/>
              <a:gd name="connsiteY3" fmla="*/ 285 h 547485"/>
              <a:gd name="connsiteX4" fmla="*/ 6339229 w 6339229"/>
              <a:gd name="connsiteY4" fmla="*/ 34337 h 547485"/>
              <a:gd name="connsiteX5" fmla="*/ 6339229 w 6339229"/>
              <a:gd name="connsiteY5" fmla="*/ 513433 h 547485"/>
              <a:gd name="connsiteX6" fmla="*/ 6305177 w 6339229"/>
              <a:gd name="connsiteY6" fmla="*/ 547485 h 547485"/>
              <a:gd name="connsiteX7" fmla="*/ 37281 w 6339229"/>
              <a:gd name="connsiteY7" fmla="*/ 547485 h 547485"/>
              <a:gd name="connsiteX8" fmla="*/ 3229 w 6339229"/>
              <a:gd name="connsiteY8" fmla="*/ 513433 h 547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339229" h="547485">
                <a:moveTo>
                  <a:pt x="3229" y="513433"/>
                </a:moveTo>
                <a:cubicBezTo>
                  <a:pt x="-1715" y="423526"/>
                  <a:pt x="1945" y="14987"/>
                  <a:pt x="476" y="8043"/>
                </a:cubicBezTo>
                <a:cubicBezTo>
                  <a:pt x="-993" y="1099"/>
                  <a:pt x="-1471" y="-803"/>
                  <a:pt x="37281" y="285"/>
                </a:cubicBezTo>
                <a:cubicBezTo>
                  <a:pt x="76033" y="1373"/>
                  <a:pt x="4215878" y="285"/>
                  <a:pt x="6305177" y="285"/>
                </a:cubicBezTo>
                <a:cubicBezTo>
                  <a:pt x="6323983" y="285"/>
                  <a:pt x="6339229" y="15531"/>
                  <a:pt x="6339229" y="34337"/>
                </a:cubicBezTo>
                <a:lnTo>
                  <a:pt x="6339229" y="513433"/>
                </a:lnTo>
                <a:cubicBezTo>
                  <a:pt x="6339229" y="532239"/>
                  <a:pt x="6323983" y="547485"/>
                  <a:pt x="6305177" y="547485"/>
                </a:cubicBezTo>
                <a:lnTo>
                  <a:pt x="37281" y="547485"/>
                </a:lnTo>
                <a:cubicBezTo>
                  <a:pt x="18475" y="547485"/>
                  <a:pt x="3229" y="532239"/>
                  <a:pt x="3229" y="513433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144000" tIns="144000" rIns="216000" bIns="216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54" name="Tijdelijke aanduiding voor tekst 3">
            <a:extLst>
              <a:ext uri="{FF2B5EF4-FFF2-40B4-BE49-F238E27FC236}">
                <a16:creationId xmlns:a16="http://schemas.microsoft.com/office/drawing/2014/main" id="{FD32AE00-24ED-4295-A98C-4052E811CA7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22673480" y="20380583"/>
            <a:ext cx="18310781" cy="2416918"/>
          </a:xfrm>
          <a:custGeom>
            <a:avLst/>
            <a:gdLst>
              <a:gd name="connsiteX0" fmla="*/ 0 w 6336000"/>
              <a:gd name="connsiteY0" fmla="*/ 34052 h 547200"/>
              <a:gd name="connsiteX1" fmla="*/ 34052 w 6336000"/>
              <a:gd name="connsiteY1" fmla="*/ 0 h 547200"/>
              <a:gd name="connsiteX2" fmla="*/ 6301948 w 6336000"/>
              <a:gd name="connsiteY2" fmla="*/ 0 h 547200"/>
              <a:gd name="connsiteX3" fmla="*/ 6336000 w 6336000"/>
              <a:gd name="connsiteY3" fmla="*/ 34052 h 547200"/>
              <a:gd name="connsiteX4" fmla="*/ 6336000 w 6336000"/>
              <a:gd name="connsiteY4" fmla="*/ 513148 h 547200"/>
              <a:gd name="connsiteX5" fmla="*/ 6301948 w 6336000"/>
              <a:gd name="connsiteY5" fmla="*/ 547200 h 547200"/>
              <a:gd name="connsiteX6" fmla="*/ 34052 w 6336000"/>
              <a:gd name="connsiteY6" fmla="*/ 547200 h 547200"/>
              <a:gd name="connsiteX7" fmla="*/ 0 w 6336000"/>
              <a:gd name="connsiteY7" fmla="*/ 513148 h 547200"/>
              <a:gd name="connsiteX8" fmla="*/ 0 w 6336000"/>
              <a:gd name="connsiteY8" fmla="*/ 34052 h 547200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0 w 6336000"/>
              <a:gd name="connsiteY0" fmla="*/ 44015 h 557163"/>
              <a:gd name="connsiteX1" fmla="*/ 4390 w 6336000"/>
              <a:gd name="connsiteY1" fmla="*/ 17721 h 557163"/>
              <a:gd name="connsiteX2" fmla="*/ 34052 w 6336000"/>
              <a:gd name="connsiteY2" fmla="*/ 9963 h 557163"/>
              <a:gd name="connsiteX3" fmla="*/ 6301948 w 6336000"/>
              <a:gd name="connsiteY3" fmla="*/ 9963 h 557163"/>
              <a:gd name="connsiteX4" fmla="*/ 6336000 w 6336000"/>
              <a:gd name="connsiteY4" fmla="*/ 44015 h 557163"/>
              <a:gd name="connsiteX5" fmla="*/ 6336000 w 6336000"/>
              <a:gd name="connsiteY5" fmla="*/ 523111 h 557163"/>
              <a:gd name="connsiteX6" fmla="*/ 6301948 w 6336000"/>
              <a:gd name="connsiteY6" fmla="*/ 557163 h 557163"/>
              <a:gd name="connsiteX7" fmla="*/ 34052 w 6336000"/>
              <a:gd name="connsiteY7" fmla="*/ 557163 h 557163"/>
              <a:gd name="connsiteX8" fmla="*/ 0 w 6336000"/>
              <a:gd name="connsiteY8" fmla="*/ 523111 h 557163"/>
              <a:gd name="connsiteX9" fmla="*/ 0 w 6336000"/>
              <a:gd name="connsiteY9" fmla="*/ 44015 h 557163"/>
              <a:gd name="connsiteX0" fmla="*/ 325 w 6336325"/>
              <a:gd name="connsiteY0" fmla="*/ 34265 h 547413"/>
              <a:gd name="connsiteX1" fmla="*/ 4715 w 6336325"/>
              <a:gd name="connsiteY1" fmla="*/ 7971 h 547413"/>
              <a:gd name="connsiteX2" fmla="*/ 34377 w 6336325"/>
              <a:gd name="connsiteY2" fmla="*/ 213 h 547413"/>
              <a:gd name="connsiteX3" fmla="*/ 6302273 w 6336325"/>
              <a:gd name="connsiteY3" fmla="*/ 213 h 547413"/>
              <a:gd name="connsiteX4" fmla="*/ 6336325 w 6336325"/>
              <a:gd name="connsiteY4" fmla="*/ 34265 h 547413"/>
              <a:gd name="connsiteX5" fmla="*/ 6336325 w 6336325"/>
              <a:gd name="connsiteY5" fmla="*/ 513361 h 547413"/>
              <a:gd name="connsiteX6" fmla="*/ 6302273 w 6336325"/>
              <a:gd name="connsiteY6" fmla="*/ 547413 h 547413"/>
              <a:gd name="connsiteX7" fmla="*/ 34377 w 6336325"/>
              <a:gd name="connsiteY7" fmla="*/ 547413 h 547413"/>
              <a:gd name="connsiteX8" fmla="*/ 325 w 6336325"/>
              <a:gd name="connsiteY8" fmla="*/ 513361 h 547413"/>
              <a:gd name="connsiteX9" fmla="*/ 325 w 6336325"/>
              <a:gd name="connsiteY9" fmla="*/ 34265 h 547413"/>
              <a:gd name="connsiteX0" fmla="*/ 2320 w 6338320"/>
              <a:gd name="connsiteY0" fmla="*/ 545788 h 579840"/>
              <a:gd name="connsiteX1" fmla="*/ 6710 w 6338320"/>
              <a:gd name="connsiteY1" fmla="*/ 40398 h 579840"/>
              <a:gd name="connsiteX2" fmla="*/ 36372 w 6338320"/>
              <a:gd name="connsiteY2" fmla="*/ 32640 h 579840"/>
              <a:gd name="connsiteX3" fmla="*/ 6304268 w 6338320"/>
              <a:gd name="connsiteY3" fmla="*/ 32640 h 579840"/>
              <a:gd name="connsiteX4" fmla="*/ 6338320 w 6338320"/>
              <a:gd name="connsiteY4" fmla="*/ 66692 h 579840"/>
              <a:gd name="connsiteX5" fmla="*/ 6338320 w 6338320"/>
              <a:gd name="connsiteY5" fmla="*/ 545788 h 579840"/>
              <a:gd name="connsiteX6" fmla="*/ 6304268 w 6338320"/>
              <a:gd name="connsiteY6" fmla="*/ 579840 h 579840"/>
              <a:gd name="connsiteX7" fmla="*/ 36372 w 6338320"/>
              <a:gd name="connsiteY7" fmla="*/ 579840 h 579840"/>
              <a:gd name="connsiteX8" fmla="*/ 2320 w 6338320"/>
              <a:gd name="connsiteY8" fmla="*/ 545788 h 579840"/>
              <a:gd name="connsiteX0" fmla="*/ 440580 w 6776580"/>
              <a:gd name="connsiteY0" fmla="*/ 545209 h 579261"/>
              <a:gd name="connsiteX1" fmla="*/ 440208 w 6776580"/>
              <a:gd name="connsiteY1" fmla="*/ 39819 h 579261"/>
              <a:gd name="connsiteX2" fmla="*/ 474632 w 6776580"/>
              <a:gd name="connsiteY2" fmla="*/ 32061 h 579261"/>
              <a:gd name="connsiteX3" fmla="*/ 6742528 w 6776580"/>
              <a:gd name="connsiteY3" fmla="*/ 32061 h 579261"/>
              <a:gd name="connsiteX4" fmla="*/ 6776580 w 6776580"/>
              <a:gd name="connsiteY4" fmla="*/ 66113 h 579261"/>
              <a:gd name="connsiteX5" fmla="*/ 6776580 w 6776580"/>
              <a:gd name="connsiteY5" fmla="*/ 545209 h 579261"/>
              <a:gd name="connsiteX6" fmla="*/ 6742528 w 6776580"/>
              <a:gd name="connsiteY6" fmla="*/ 579261 h 579261"/>
              <a:gd name="connsiteX7" fmla="*/ 474632 w 6776580"/>
              <a:gd name="connsiteY7" fmla="*/ 579261 h 579261"/>
              <a:gd name="connsiteX8" fmla="*/ 440580 w 6776580"/>
              <a:gd name="connsiteY8" fmla="*/ 545209 h 579261"/>
              <a:gd name="connsiteX0" fmla="*/ 4188 w 6340188"/>
              <a:gd name="connsiteY0" fmla="*/ 545788 h 579840"/>
              <a:gd name="connsiteX1" fmla="*/ 3816 w 6340188"/>
              <a:gd name="connsiteY1" fmla="*/ 40398 h 579840"/>
              <a:gd name="connsiteX2" fmla="*/ 38240 w 6340188"/>
              <a:gd name="connsiteY2" fmla="*/ 32640 h 579840"/>
              <a:gd name="connsiteX3" fmla="*/ 6306136 w 6340188"/>
              <a:gd name="connsiteY3" fmla="*/ 32640 h 579840"/>
              <a:gd name="connsiteX4" fmla="*/ 6340188 w 6340188"/>
              <a:gd name="connsiteY4" fmla="*/ 66692 h 579840"/>
              <a:gd name="connsiteX5" fmla="*/ 6340188 w 6340188"/>
              <a:gd name="connsiteY5" fmla="*/ 545788 h 579840"/>
              <a:gd name="connsiteX6" fmla="*/ 6306136 w 6340188"/>
              <a:gd name="connsiteY6" fmla="*/ 579840 h 579840"/>
              <a:gd name="connsiteX7" fmla="*/ 38240 w 6340188"/>
              <a:gd name="connsiteY7" fmla="*/ 579840 h 579840"/>
              <a:gd name="connsiteX8" fmla="*/ 4188 w 6340188"/>
              <a:gd name="connsiteY8" fmla="*/ 545788 h 579840"/>
              <a:gd name="connsiteX0" fmla="*/ 1984 w 6337984"/>
              <a:gd name="connsiteY0" fmla="*/ 513434 h 547486"/>
              <a:gd name="connsiteX1" fmla="*/ 1612 w 6337984"/>
              <a:gd name="connsiteY1" fmla="*/ 8044 h 547486"/>
              <a:gd name="connsiteX2" fmla="*/ 36036 w 6337984"/>
              <a:gd name="connsiteY2" fmla="*/ 286 h 547486"/>
              <a:gd name="connsiteX3" fmla="*/ 6303932 w 6337984"/>
              <a:gd name="connsiteY3" fmla="*/ 286 h 547486"/>
              <a:gd name="connsiteX4" fmla="*/ 6337984 w 6337984"/>
              <a:gd name="connsiteY4" fmla="*/ 34338 h 547486"/>
              <a:gd name="connsiteX5" fmla="*/ 6337984 w 6337984"/>
              <a:gd name="connsiteY5" fmla="*/ 513434 h 547486"/>
              <a:gd name="connsiteX6" fmla="*/ 6303932 w 6337984"/>
              <a:gd name="connsiteY6" fmla="*/ 547486 h 547486"/>
              <a:gd name="connsiteX7" fmla="*/ 36036 w 6337984"/>
              <a:gd name="connsiteY7" fmla="*/ 547486 h 547486"/>
              <a:gd name="connsiteX8" fmla="*/ 1984 w 6337984"/>
              <a:gd name="connsiteY8" fmla="*/ 513434 h 547486"/>
              <a:gd name="connsiteX0" fmla="*/ 443038 w 6779038"/>
              <a:gd name="connsiteY0" fmla="*/ 513148 h 547200"/>
              <a:gd name="connsiteX1" fmla="*/ 440285 w 6779038"/>
              <a:gd name="connsiteY1" fmla="*/ 7758 h 547200"/>
              <a:gd name="connsiteX2" fmla="*/ 477090 w 6779038"/>
              <a:gd name="connsiteY2" fmla="*/ 0 h 547200"/>
              <a:gd name="connsiteX3" fmla="*/ 6744986 w 6779038"/>
              <a:gd name="connsiteY3" fmla="*/ 0 h 547200"/>
              <a:gd name="connsiteX4" fmla="*/ 6779038 w 6779038"/>
              <a:gd name="connsiteY4" fmla="*/ 34052 h 547200"/>
              <a:gd name="connsiteX5" fmla="*/ 6779038 w 6779038"/>
              <a:gd name="connsiteY5" fmla="*/ 513148 h 547200"/>
              <a:gd name="connsiteX6" fmla="*/ 6744986 w 6779038"/>
              <a:gd name="connsiteY6" fmla="*/ 547200 h 547200"/>
              <a:gd name="connsiteX7" fmla="*/ 477090 w 6779038"/>
              <a:gd name="connsiteY7" fmla="*/ 547200 h 547200"/>
              <a:gd name="connsiteX8" fmla="*/ 443038 w 6779038"/>
              <a:gd name="connsiteY8" fmla="*/ 513148 h 547200"/>
              <a:gd name="connsiteX0" fmla="*/ 3229 w 6339229"/>
              <a:gd name="connsiteY0" fmla="*/ 513433 h 547485"/>
              <a:gd name="connsiteX1" fmla="*/ 476 w 6339229"/>
              <a:gd name="connsiteY1" fmla="*/ 8043 h 547485"/>
              <a:gd name="connsiteX2" fmla="*/ 37281 w 6339229"/>
              <a:gd name="connsiteY2" fmla="*/ 285 h 547485"/>
              <a:gd name="connsiteX3" fmla="*/ 6305177 w 6339229"/>
              <a:gd name="connsiteY3" fmla="*/ 285 h 547485"/>
              <a:gd name="connsiteX4" fmla="*/ 6339229 w 6339229"/>
              <a:gd name="connsiteY4" fmla="*/ 34337 h 547485"/>
              <a:gd name="connsiteX5" fmla="*/ 6339229 w 6339229"/>
              <a:gd name="connsiteY5" fmla="*/ 513433 h 547485"/>
              <a:gd name="connsiteX6" fmla="*/ 6305177 w 6339229"/>
              <a:gd name="connsiteY6" fmla="*/ 547485 h 547485"/>
              <a:gd name="connsiteX7" fmla="*/ 37281 w 6339229"/>
              <a:gd name="connsiteY7" fmla="*/ 547485 h 547485"/>
              <a:gd name="connsiteX8" fmla="*/ 3229 w 6339229"/>
              <a:gd name="connsiteY8" fmla="*/ 513433 h 547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339229" h="547485">
                <a:moveTo>
                  <a:pt x="3229" y="513433"/>
                </a:moveTo>
                <a:cubicBezTo>
                  <a:pt x="-1715" y="423526"/>
                  <a:pt x="1945" y="14987"/>
                  <a:pt x="476" y="8043"/>
                </a:cubicBezTo>
                <a:cubicBezTo>
                  <a:pt x="-993" y="1099"/>
                  <a:pt x="-1471" y="-803"/>
                  <a:pt x="37281" y="285"/>
                </a:cubicBezTo>
                <a:cubicBezTo>
                  <a:pt x="76033" y="1373"/>
                  <a:pt x="4215878" y="285"/>
                  <a:pt x="6305177" y="285"/>
                </a:cubicBezTo>
                <a:cubicBezTo>
                  <a:pt x="6323983" y="285"/>
                  <a:pt x="6339229" y="15531"/>
                  <a:pt x="6339229" y="34337"/>
                </a:cubicBezTo>
                <a:lnTo>
                  <a:pt x="6339229" y="513433"/>
                </a:lnTo>
                <a:cubicBezTo>
                  <a:pt x="6339229" y="532239"/>
                  <a:pt x="6323983" y="547485"/>
                  <a:pt x="6305177" y="547485"/>
                </a:cubicBezTo>
                <a:lnTo>
                  <a:pt x="37281" y="547485"/>
                </a:lnTo>
                <a:cubicBezTo>
                  <a:pt x="18475" y="547485"/>
                  <a:pt x="3229" y="532239"/>
                  <a:pt x="3229" y="513433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144000" tIns="144000" rIns="216000" bIns="216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55" name="Tijdelijke aanduiding voor tekst 3">
            <a:extLst>
              <a:ext uri="{FF2B5EF4-FFF2-40B4-BE49-F238E27FC236}">
                <a16:creationId xmlns:a16="http://schemas.microsoft.com/office/drawing/2014/main" id="{995A4DD9-A511-424A-A6EF-3EFF4DF1BE8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2673480" y="23203883"/>
            <a:ext cx="18310781" cy="2416918"/>
          </a:xfrm>
          <a:custGeom>
            <a:avLst/>
            <a:gdLst>
              <a:gd name="connsiteX0" fmla="*/ 0 w 6336000"/>
              <a:gd name="connsiteY0" fmla="*/ 34052 h 547200"/>
              <a:gd name="connsiteX1" fmla="*/ 34052 w 6336000"/>
              <a:gd name="connsiteY1" fmla="*/ 0 h 547200"/>
              <a:gd name="connsiteX2" fmla="*/ 6301948 w 6336000"/>
              <a:gd name="connsiteY2" fmla="*/ 0 h 547200"/>
              <a:gd name="connsiteX3" fmla="*/ 6336000 w 6336000"/>
              <a:gd name="connsiteY3" fmla="*/ 34052 h 547200"/>
              <a:gd name="connsiteX4" fmla="*/ 6336000 w 6336000"/>
              <a:gd name="connsiteY4" fmla="*/ 513148 h 547200"/>
              <a:gd name="connsiteX5" fmla="*/ 6301948 w 6336000"/>
              <a:gd name="connsiteY5" fmla="*/ 547200 h 547200"/>
              <a:gd name="connsiteX6" fmla="*/ 34052 w 6336000"/>
              <a:gd name="connsiteY6" fmla="*/ 547200 h 547200"/>
              <a:gd name="connsiteX7" fmla="*/ 0 w 6336000"/>
              <a:gd name="connsiteY7" fmla="*/ 513148 h 547200"/>
              <a:gd name="connsiteX8" fmla="*/ 0 w 6336000"/>
              <a:gd name="connsiteY8" fmla="*/ 34052 h 547200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0 w 6336000"/>
              <a:gd name="connsiteY0" fmla="*/ 44015 h 557163"/>
              <a:gd name="connsiteX1" fmla="*/ 4390 w 6336000"/>
              <a:gd name="connsiteY1" fmla="*/ 17721 h 557163"/>
              <a:gd name="connsiteX2" fmla="*/ 34052 w 6336000"/>
              <a:gd name="connsiteY2" fmla="*/ 9963 h 557163"/>
              <a:gd name="connsiteX3" fmla="*/ 6301948 w 6336000"/>
              <a:gd name="connsiteY3" fmla="*/ 9963 h 557163"/>
              <a:gd name="connsiteX4" fmla="*/ 6336000 w 6336000"/>
              <a:gd name="connsiteY4" fmla="*/ 44015 h 557163"/>
              <a:gd name="connsiteX5" fmla="*/ 6336000 w 6336000"/>
              <a:gd name="connsiteY5" fmla="*/ 523111 h 557163"/>
              <a:gd name="connsiteX6" fmla="*/ 6301948 w 6336000"/>
              <a:gd name="connsiteY6" fmla="*/ 557163 h 557163"/>
              <a:gd name="connsiteX7" fmla="*/ 34052 w 6336000"/>
              <a:gd name="connsiteY7" fmla="*/ 557163 h 557163"/>
              <a:gd name="connsiteX8" fmla="*/ 0 w 6336000"/>
              <a:gd name="connsiteY8" fmla="*/ 523111 h 557163"/>
              <a:gd name="connsiteX9" fmla="*/ 0 w 6336000"/>
              <a:gd name="connsiteY9" fmla="*/ 44015 h 557163"/>
              <a:gd name="connsiteX0" fmla="*/ 325 w 6336325"/>
              <a:gd name="connsiteY0" fmla="*/ 34265 h 547413"/>
              <a:gd name="connsiteX1" fmla="*/ 4715 w 6336325"/>
              <a:gd name="connsiteY1" fmla="*/ 7971 h 547413"/>
              <a:gd name="connsiteX2" fmla="*/ 34377 w 6336325"/>
              <a:gd name="connsiteY2" fmla="*/ 213 h 547413"/>
              <a:gd name="connsiteX3" fmla="*/ 6302273 w 6336325"/>
              <a:gd name="connsiteY3" fmla="*/ 213 h 547413"/>
              <a:gd name="connsiteX4" fmla="*/ 6336325 w 6336325"/>
              <a:gd name="connsiteY4" fmla="*/ 34265 h 547413"/>
              <a:gd name="connsiteX5" fmla="*/ 6336325 w 6336325"/>
              <a:gd name="connsiteY5" fmla="*/ 513361 h 547413"/>
              <a:gd name="connsiteX6" fmla="*/ 6302273 w 6336325"/>
              <a:gd name="connsiteY6" fmla="*/ 547413 h 547413"/>
              <a:gd name="connsiteX7" fmla="*/ 34377 w 6336325"/>
              <a:gd name="connsiteY7" fmla="*/ 547413 h 547413"/>
              <a:gd name="connsiteX8" fmla="*/ 325 w 6336325"/>
              <a:gd name="connsiteY8" fmla="*/ 513361 h 547413"/>
              <a:gd name="connsiteX9" fmla="*/ 325 w 6336325"/>
              <a:gd name="connsiteY9" fmla="*/ 34265 h 547413"/>
              <a:gd name="connsiteX0" fmla="*/ 2320 w 6338320"/>
              <a:gd name="connsiteY0" fmla="*/ 545788 h 579840"/>
              <a:gd name="connsiteX1" fmla="*/ 6710 w 6338320"/>
              <a:gd name="connsiteY1" fmla="*/ 40398 h 579840"/>
              <a:gd name="connsiteX2" fmla="*/ 36372 w 6338320"/>
              <a:gd name="connsiteY2" fmla="*/ 32640 h 579840"/>
              <a:gd name="connsiteX3" fmla="*/ 6304268 w 6338320"/>
              <a:gd name="connsiteY3" fmla="*/ 32640 h 579840"/>
              <a:gd name="connsiteX4" fmla="*/ 6338320 w 6338320"/>
              <a:gd name="connsiteY4" fmla="*/ 66692 h 579840"/>
              <a:gd name="connsiteX5" fmla="*/ 6338320 w 6338320"/>
              <a:gd name="connsiteY5" fmla="*/ 545788 h 579840"/>
              <a:gd name="connsiteX6" fmla="*/ 6304268 w 6338320"/>
              <a:gd name="connsiteY6" fmla="*/ 579840 h 579840"/>
              <a:gd name="connsiteX7" fmla="*/ 36372 w 6338320"/>
              <a:gd name="connsiteY7" fmla="*/ 579840 h 579840"/>
              <a:gd name="connsiteX8" fmla="*/ 2320 w 6338320"/>
              <a:gd name="connsiteY8" fmla="*/ 545788 h 579840"/>
              <a:gd name="connsiteX0" fmla="*/ 440580 w 6776580"/>
              <a:gd name="connsiteY0" fmla="*/ 545209 h 579261"/>
              <a:gd name="connsiteX1" fmla="*/ 440208 w 6776580"/>
              <a:gd name="connsiteY1" fmla="*/ 39819 h 579261"/>
              <a:gd name="connsiteX2" fmla="*/ 474632 w 6776580"/>
              <a:gd name="connsiteY2" fmla="*/ 32061 h 579261"/>
              <a:gd name="connsiteX3" fmla="*/ 6742528 w 6776580"/>
              <a:gd name="connsiteY3" fmla="*/ 32061 h 579261"/>
              <a:gd name="connsiteX4" fmla="*/ 6776580 w 6776580"/>
              <a:gd name="connsiteY4" fmla="*/ 66113 h 579261"/>
              <a:gd name="connsiteX5" fmla="*/ 6776580 w 6776580"/>
              <a:gd name="connsiteY5" fmla="*/ 545209 h 579261"/>
              <a:gd name="connsiteX6" fmla="*/ 6742528 w 6776580"/>
              <a:gd name="connsiteY6" fmla="*/ 579261 h 579261"/>
              <a:gd name="connsiteX7" fmla="*/ 474632 w 6776580"/>
              <a:gd name="connsiteY7" fmla="*/ 579261 h 579261"/>
              <a:gd name="connsiteX8" fmla="*/ 440580 w 6776580"/>
              <a:gd name="connsiteY8" fmla="*/ 545209 h 579261"/>
              <a:gd name="connsiteX0" fmla="*/ 4188 w 6340188"/>
              <a:gd name="connsiteY0" fmla="*/ 545788 h 579840"/>
              <a:gd name="connsiteX1" fmla="*/ 3816 w 6340188"/>
              <a:gd name="connsiteY1" fmla="*/ 40398 h 579840"/>
              <a:gd name="connsiteX2" fmla="*/ 38240 w 6340188"/>
              <a:gd name="connsiteY2" fmla="*/ 32640 h 579840"/>
              <a:gd name="connsiteX3" fmla="*/ 6306136 w 6340188"/>
              <a:gd name="connsiteY3" fmla="*/ 32640 h 579840"/>
              <a:gd name="connsiteX4" fmla="*/ 6340188 w 6340188"/>
              <a:gd name="connsiteY4" fmla="*/ 66692 h 579840"/>
              <a:gd name="connsiteX5" fmla="*/ 6340188 w 6340188"/>
              <a:gd name="connsiteY5" fmla="*/ 545788 h 579840"/>
              <a:gd name="connsiteX6" fmla="*/ 6306136 w 6340188"/>
              <a:gd name="connsiteY6" fmla="*/ 579840 h 579840"/>
              <a:gd name="connsiteX7" fmla="*/ 38240 w 6340188"/>
              <a:gd name="connsiteY7" fmla="*/ 579840 h 579840"/>
              <a:gd name="connsiteX8" fmla="*/ 4188 w 6340188"/>
              <a:gd name="connsiteY8" fmla="*/ 545788 h 579840"/>
              <a:gd name="connsiteX0" fmla="*/ 1984 w 6337984"/>
              <a:gd name="connsiteY0" fmla="*/ 513434 h 547486"/>
              <a:gd name="connsiteX1" fmla="*/ 1612 w 6337984"/>
              <a:gd name="connsiteY1" fmla="*/ 8044 h 547486"/>
              <a:gd name="connsiteX2" fmla="*/ 36036 w 6337984"/>
              <a:gd name="connsiteY2" fmla="*/ 286 h 547486"/>
              <a:gd name="connsiteX3" fmla="*/ 6303932 w 6337984"/>
              <a:gd name="connsiteY3" fmla="*/ 286 h 547486"/>
              <a:gd name="connsiteX4" fmla="*/ 6337984 w 6337984"/>
              <a:gd name="connsiteY4" fmla="*/ 34338 h 547486"/>
              <a:gd name="connsiteX5" fmla="*/ 6337984 w 6337984"/>
              <a:gd name="connsiteY5" fmla="*/ 513434 h 547486"/>
              <a:gd name="connsiteX6" fmla="*/ 6303932 w 6337984"/>
              <a:gd name="connsiteY6" fmla="*/ 547486 h 547486"/>
              <a:gd name="connsiteX7" fmla="*/ 36036 w 6337984"/>
              <a:gd name="connsiteY7" fmla="*/ 547486 h 547486"/>
              <a:gd name="connsiteX8" fmla="*/ 1984 w 6337984"/>
              <a:gd name="connsiteY8" fmla="*/ 513434 h 547486"/>
              <a:gd name="connsiteX0" fmla="*/ 443038 w 6779038"/>
              <a:gd name="connsiteY0" fmla="*/ 513148 h 547200"/>
              <a:gd name="connsiteX1" fmla="*/ 440285 w 6779038"/>
              <a:gd name="connsiteY1" fmla="*/ 7758 h 547200"/>
              <a:gd name="connsiteX2" fmla="*/ 477090 w 6779038"/>
              <a:gd name="connsiteY2" fmla="*/ 0 h 547200"/>
              <a:gd name="connsiteX3" fmla="*/ 6744986 w 6779038"/>
              <a:gd name="connsiteY3" fmla="*/ 0 h 547200"/>
              <a:gd name="connsiteX4" fmla="*/ 6779038 w 6779038"/>
              <a:gd name="connsiteY4" fmla="*/ 34052 h 547200"/>
              <a:gd name="connsiteX5" fmla="*/ 6779038 w 6779038"/>
              <a:gd name="connsiteY5" fmla="*/ 513148 h 547200"/>
              <a:gd name="connsiteX6" fmla="*/ 6744986 w 6779038"/>
              <a:gd name="connsiteY6" fmla="*/ 547200 h 547200"/>
              <a:gd name="connsiteX7" fmla="*/ 477090 w 6779038"/>
              <a:gd name="connsiteY7" fmla="*/ 547200 h 547200"/>
              <a:gd name="connsiteX8" fmla="*/ 443038 w 6779038"/>
              <a:gd name="connsiteY8" fmla="*/ 513148 h 547200"/>
              <a:gd name="connsiteX0" fmla="*/ 3229 w 6339229"/>
              <a:gd name="connsiteY0" fmla="*/ 513433 h 547485"/>
              <a:gd name="connsiteX1" fmla="*/ 476 w 6339229"/>
              <a:gd name="connsiteY1" fmla="*/ 8043 h 547485"/>
              <a:gd name="connsiteX2" fmla="*/ 37281 w 6339229"/>
              <a:gd name="connsiteY2" fmla="*/ 285 h 547485"/>
              <a:gd name="connsiteX3" fmla="*/ 6305177 w 6339229"/>
              <a:gd name="connsiteY3" fmla="*/ 285 h 547485"/>
              <a:gd name="connsiteX4" fmla="*/ 6339229 w 6339229"/>
              <a:gd name="connsiteY4" fmla="*/ 34337 h 547485"/>
              <a:gd name="connsiteX5" fmla="*/ 6339229 w 6339229"/>
              <a:gd name="connsiteY5" fmla="*/ 513433 h 547485"/>
              <a:gd name="connsiteX6" fmla="*/ 6305177 w 6339229"/>
              <a:gd name="connsiteY6" fmla="*/ 547485 h 547485"/>
              <a:gd name="connsiteX7" fmla="*/ 37281 w 6339229"/>
              <a:gd name="connsiteY7" fmla="*/ 547485 h 547485"/>
              <a:gd name="connsiteX8" fmla="*/ 3229 w 6339229"/>
              <a:gd name="connsiteY8" fmla="*/ 513433 h 547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339229" h="547485">
                <a:moveTo>
                  <a:pt x="3229" y="513433"/>
                </a:moveTo>
                <a:cubicBezTo>
                  <a:pt x="-1715" y="423526"/>
                  <a:pt x="1945" y="14987"/>
                  <a:pt x="476" y="8043"/>
                </a:cubicBezTo>
                <a:cubicBezTo>
                  <a:pt x="-993" y="1099"/>
                  <a:pt x="-1471" y="-803"/>
                  <a:pt x="37281" y="285"/>
                </a:cubicBezTo>
                <a:cubicBezTo>
                  <a:pt x="76033" y="1373"/>
                  <a:pt x="4215878" y="285"/>
                  <a:pt x="6305177" y="285"/>
                </a:cubicBezTo>
                <a:cubicBezTo>
                  <a:pt x="6323983" y="285"/>
                  <a:pt x="6339229" y="15531"/>
                  <a:pt x="6339229" y="34337"/>
                </a:cubicBezTo>
                <a:lnTo>
                  <a:pt x="6339229" y="513433"/>
                </a:lnTo>
                <a:cubicBezTo>
                  <a:pt x="6339229" y="532239"/>
                  <a:pt x="6323983" y="547485"/>
                  <a:pt x="6305177" y="547485"/>
                </a:cubicBezTo>
                <a:lnTo>
                  <a:pt x="37281" y="547485"/>
                </a:lnTo>
                <a:cubicBezTo>
                  <a:pt x="18475" y="547485"/>
                  <a:pt x="3229" y="532239"/>
                  <a:pt x="3229" y="513433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144000" tIns="144000" rIns="216000" bIns="216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pic>
        <p:nvPicPr>
          <p:cNvPr id="71" name="Afbeelding 70">
            <a:extLst>
              <a:ext uri="{FF2B5EF4-FFF2-40B4-BE49-F238E27FC236}">
                <a16:creationId xmlns:a16="http://schemas.microsoft.com/office/drawing/2014/main" id="{EBAD7435-810D-4257-965C-E74C034C95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9611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to 80%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-2" y="6476679"/>
            <a:ext cx="42710778" cy="23798534"/>
          </a:xfrm>
          <a:solidFill>
            <a:schemeClr val="bg1">
              <a:lumMod val="95000"/>
            </a:schemeClr>
          </a:solidFill>
        </p:spPr>
        <p:txBody>
          <a:bodyPr tIns="1080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0" name="Tijdelijke aanduiding voor voettekst 4">
            <a:extLst>
              <a:ext uri="{FF2B5EF4-FFF2-40B4-BE49-F238E27FC236}">
                <a16:creationId xmlns:a16="http://schemas.microsoft.com/office/drawing/2014/main" id="{1DA20FBD-9D0F-4EAB-B12C-126591D8B7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6644E39-2AF2-4EA0-9C3F-28C89D5A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7" y="27329718"/>
            <a:ext cx="938238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7" name="Tijdelijke aanduiding voor tekst 14">
            <a:extLst>
              <a:ext uri="{FF2B5EF4-FFF2-40B4-BE49-F238E27FC236}">
                <a16:creationId xmlns:a16="http://schemas.microsoft.com/office/drawing/2014/main" id="{A6BF4B27-7FC5-4896-80CE-3BA6119B83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15" name="Tijdelijke aanduiding voor datum 3">
            <a:extLst>
              <a:ext uri="{FF2B5EF4-FFF2-40B4-BE49-F238E27FC236}">
                <a16:creationId xmlns:a16="http://schemas.microsoft.com/office/drawing/2014/main" id="{B4AED1A4-683A-4021-8F91-6EB13C2447C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A659124-FA22-4DE2-958C-6848B49C8891}" type="datetime1">
              <a:rPr lang="nl-NL" noProof="0" smtClean="0"/>
              <a:t>26-6-2023</a:t>
            </a:fld>
            <a:endParaRPr lang="nl-NL" noProof="0"/>
          </a:p>
        </p:txBody>
      </p:sp>
      <p:grpSp>
        <p:nvGrpSpPr>
          <p:cNvPr id="153" name="Groep 258">
            <a:extLst>
              <a:ext uri="{FF2B5EF4-FFF2-40B4-BE49-F238E27FC236}">
                <a16:creationId xmlns:a16="http://schemas.microsoft.com/office/drawing/2014/main" id="{DA1D9589-42C5-473C-B14F-9E4339BBCFCA}"/>
              </a:ext>
            </a:extLst>
          </p:cNvPr>
          <p:cNvGrpSpPr/>
          <p:nvPr userDrawn="1"/>
        </p:nvGrpSpPr>
        <p:grpSpPr>
          <a:xfrm>
            <a:off x="43467416" y="5"/>
            <a:ext cx="11167745" cy="23084356"/>
            <a:chOff x="12391601" y="0"/>
            <a:chExt cx="3183678" cy="5229113"/>
          </a:xfrm>
        </p:grpSpPr>
        <p:grpSp>
          <p:nvGrpSpPr>
            <p:cNvPr id="154" name="Meer informatie">
              <a:extLst>
                <a:ext uri="{FF2B5EF4-FFF2-40B4-BE49-F238E27FC236}">
                  <a16:creationId xmlns:a16="http://schemas.microsoft.com/office/drawing/2014/main" id="{C44F933F-DCEE-4D3F-BF26-8EBF393D3EA5}"/>
                </a:ext>
              </a:extLst>
            </p:cNvPr>
            <p:cNvGrpSpPr/>
            <p:nvPr userDrawn="1"/>
          </p:nvGrpSpPr>
          <p:grpSpPr>
            <a:xfrm>
              <a:off x="12396764" y="4445840"/>
              <a:ext cx="3178515" cy="783273"/>
              <a:chOff x="-3741486" y="3386444"/>
              <a:chExt cx="3178515" cy="783273"/>
            </a:xfrm>
          </p:grpSpPr>
          <p:sp>
            <p:nvSpPr>
              <p:cNvPr id="200" name="Freeform 101">
                <a:extLst>
                  <a:ext uri="{FF2B5EF4-FFF2-40B4-BE49-F238E27FC236}">
                    <a16:creationId xmlns:a16="http://schemas.microsoft.com/office/drawing/2014/main" id="{E0680B05-28BD-4311-8AD4-830F2662FBB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201" name="Rechthoek 306">
                <a:extLst>
                  <a:ext uri="{FF2B5EF4-FFF2-40B4-BE49-F238E27FC236}">
                    <a16:creationId xmlns:a16="http://schemas.microsoft.com/office/drawing/2014/main" id="{5C5EE0C1-0229-4D49-885B-AB366CBDA71D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02" name="Rechte verbindingslijn 307">
                <a:extLst>
                  <a:ext uri="{FF2B5EF4-FFF2-40B4-BE49-F238E27FC236}">
                    <a16:creationId xmlns:a16="http://schemas.microsoft.com/office/drawing/2014/main" id="{15573BEF-5FCB-406C-978A-8717772AAF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5" name="Rechthoek 260">
              <a:extLst>
                <a:ext uri="{FF2B5EF4-FFF2-40B4-BE49-F238E27FC236}">
                  <a16:creationId xmlns:a16="http://schemas.microsoft.com/office/drawing/2014/main" id="{D80855EE-5D78-48AE-AFCD-97EA44C62C9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156" name="Ovaal 261">
              <a:extLst>
                <a:ext uri="{FF2B5EF4-FFF2-40B4-BE49-F238E27FC236}">
                  <a16:creationId xmlns:a16="http://schemas.microsoft.com/office/drawing/2014/main" id="{E2DF79CB-32C3-460F-997E-20B73C07E958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7" name="Rechte verbindingslijn 262">
              <a:extLst>
                <a:ext uri="{FF2B5EF4-FFF2-40B4-BE49-F238E27FC236}">
                  <a16:creationId xmlns:a16="http://schemas.microsoft.com/office/drawing/2014/main" id="{E0DEC3E8-C497-4A23-BA89-B65A4D285A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58" name="Rechte verbindingslijn 263">
              <a:extLst>
                <a:ext uri="{FF2B5EF4-FFF2-40B4-BE49-F238E27FC236}">
                  <a16:creationId xmlns:a16="http://schemas.microsoft.com/office/drawing/2014/main" id="{636DE5FF-E15E-44A3-982E-93DB9003197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9" name="Rechthoek 264">
              <a:extLst>
                <a:ext uri="{FF2B5EF4-FFF2-40B4-BE49-F238E27FC236}">
                  <a16:creationId xmlns:a16="http://schemas.microsoft.com/office/drawing/2014/main" id="{ABA7E3C3-36A7-43D0-AB18-7BB62CE6C32B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oor deze te selecteren en op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om een nieuwe afbeelding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60" name="Rechte verbindingslijn 265">
              <a:extLst>
                <a:ext uri="{FF2B5EF4-FFF2-40B4-BE49-F238E27FC236}">
                  <a16:creationId xmlns:a16="http://schemas.microsoft.com/office/drawing/2014/main" id="{E6CEC6AE-ED76-4367-B1B9-FC5B957FACE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4327957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1" name="Ovaal 266">
              <a:extLst>
                <a:ext uri="{FF2B5EF4-FFF2-40B4-BE49-F238E27FC236}">
                  <a16:creationId xmlns:a16="http://schemas.microsoft.com/office/drawing/2014/main" id="{E056C88D-6140-4DAC-9BBE-E7B428A9D97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62" name="Rechthoek 267">
              <a:extLst>
                <a:ext uri="{FF2B5EF4-FFF2-40B4-BE49-F238E27FC236}">
                  <a16:creationId xmlns:a16="http://schemas.microsoft.com/office/drawing/2014/main" id="{32E164EC-77FD-4FC1-9761-36792135480A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63" name="Groep 268">
              <a:extLst>
                <a:ext uri="{FF2B5EF4-FFF2-40B4-BE49-F238E27FC236}">
                  <a16:creationId xmlns:a16="http://schemas.microsoft.com/office/drawing/2014/main" id="{66A970B5-0C0C-487F-A79A-3858C90E2330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97" name="Rechthoek 302">
                <a:extLst>
                  <a:ext uri="{FF2B5EF4-FFF2-40B4-BE49-F238E27FC236}">
                    <a16:creationId xmlns:a16="http://schemas.microsoft.com/office/drawing/2014/main" id="{A96DAE96-85E8-4F85-B1EB-312E5FD7F723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198" name="Rechte verbindingslijn 303">
                <a:extLst>
                  <a:ext uri="{FF2B5EF4-FFF2-40B4-BE49-F238E27FC236}">
                    <a16:creationId xmlns:a16="http://schemas.microsoft.com/office/drawing/2014/main" id="{4CF5C91E-4661-4756-AB3E-8A36CCED7C0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99" name="Gelijkbenige driehoek 304">
                <a:extLst>
                  <a:ext uri="{FF2B5EF4-FFF2-40B4-BE49-F238E27FC236}">
                    <a16:creationId xmlns:a16="http://schemas.microsoft.com/office/drawing/2014/main" id="{3B90813B-784B-4DFE-92D2-FD85D98D1F05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64" name="Groep 269">
              <a:extLst>
                <a:ext uri="{FF2B5EF4-FFF2-40B4-BE49-F238E27FC236}">
                  <a16:creationId xmlns:a16="http://schemas.microsoft.com/office/drawing/2014/main" id="{7B852B1E-CE1B-46C6-B5D7-D38D38202C16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191" name="Rechthoek 296">
                <a:extLst>
                  <a:ext uri="{FF2B5EF4-FFF2-40B4-BE49-F238E27FC236}">
                    <a16:creationId xmlns:a16="http://schemas.microsoft.com/office/drawing/2014/main" id="{E31C9AB7-98E4-4194-BBB6-44F7032E2EA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2" name="Ovaal 297">
                <a:extLst>
                  <a:ext uri="{FF2B5EF4-FFF2-40B4-BE49-F238E27FC236}">
                    <a16:creationId xmlns:a16="http://schemas.microsoft.com/office/drawing/2014/main" id="{A3D4D748-52E1-44BD-A4E2-839A6CFCB2DA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3" name="Vrije vorm: vorm 298">
                <a:extLst>
                  <a:ext uri="{FF2B5EF4-FFF2-40B4-BE49-F238E27FC236}">
                    <a16:creationId xmlns:a16="http://schemas.microsoft.com/office/drawing/2014/main" id="{7A57264A-23B7-4221-BCC0-78742143AE7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4" name="Rechthoek: afgeronde hoeken 299">
                <a:extLst>
                  <a:ext uri="{FF2B5EF4-FFF2-40B4-BE49-F238E27FC236}">
                    <a16:creationId xmlns:a16="http://schemas.microsoft.com/office/drawing/2014/main" id="{EFE133AF-8CEB-4497-8616-583F4E51C12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95" name="Rechte verbindingslijn 300">
                <a:extLst>
                  <a:ext uri="{FF2B5EF4-FFF2-40B4-BE49-F238E27FC236}">
                    <a16:creationId xmlns:a16="http://schemas.microsoft.com/office/drawing/2014/main" id="{26563C41-B812-44E0-8096-A355745352C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96" name="Rechte verbindingslijn 301">
                <a:extLst>
                  <a:ext uri="{FF2B5EF4-FFF2-40B4-BE49-F238E27FC236}">
                    <a16:creationId xmlns:a16="http://schemas.microsoft.com/office/drawing/2014/main" id="{A7DB654B-B206-4180-A352-57C1FFA1F26D}"/>
                  </a:ext>
                </a:extLst>
              </p:cNvPr>
              <p:cNvCxnSpPr>
                <a:cxnSpLocks/>
                <a:stCxn id="19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65" name="Ovaal 270">
              <a:extLst>
                <a:ext uri="{FF2B5EF4-FFF2-40B4-BE49-F238E27FC236}">
                  <a16:creationId xmlns:a16="http://schemas.microsoft.com/office/drawing/2014/main" id="{B8F12F58-5EEA-402B-8334-FC93673E8D8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6" name="Rechthoek 271">
              <a:extLst>
                <a:ext uri="{FF2B5EF4-FFF2-40B4-BE49-F238E27FC236}">
                  <a16:creationId xmlns:a16="http://schemas.microsoft.com/office/drawing/2014/main" id="{34D6239F-5BAB-43CA-A786-31E13E7F1970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43320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aan de linker kant van het scherm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67" name="Rechte verbindingslijn 272">
              <a:extLst>
                <a:ext uri="{FF2B5EF4-FFF2-40B4-BE49-F238E27FC236}">
                  <a16:creationId xmlns:a16="http://schemas.microsoft.com/office/drawing/2014/main" id="{D376FBCD-AB4C-47FD-BE76-BF4D7048193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8" name="Rechthoek 273">
              <a:extLst>
                <a:ext uri="{FF2B5EF4-FFF2-40B4-BE49-F238E27FC236}">
                  <a16:creationId xmlns:a16="http://schemas.microsoft.com/office/drawing/2014/main" id="{4FDEA777-4601-4BAB-9E85-7443A5A30D79}"/>
                </a:ext>
              </a:extLst>
            </p:cNvPr>
            <p:cNvSpPr/>
            <p:nvPr userDrawn="1"/>
          </p:nvSpPr>
          <p:spPr>
            <a:xfrm>
              <a:off x="12654153" y="3238910"/>
              <a:ext cx="1624926" cy="805220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3509" b="0" i="1" noProof="0">
                <a:solidFill>
                  <a:schemeClr val="tx1"/>
                </a:solidFill>
              </a:endParaRPr>
            </a:p>
          </p:txBody>
        </p:sp>
        <p:grpSp>
          <p:nvGrpSpPr>
            <p:cNvPr id="169" name="Groep 274">
              <a:extLst>
                <a:ext uri="{FF2B5EF4-FFF2-40B4-BE49-F238E27FC236}">
                  <a16:creationId xmlns:a16="http://schemas.microsoft.com/office/drawing/2014/main" id="{25263BD1-BA41-40BD-A5CA-5553E4533937}"/>
                </a:ext>
              </a:extLst>
            </p:cNvPr>
            <p:cNvGrpSpPr/>
            <p:nvPr userDrawn="1"/>
          </p:nvGrpSpPr>
          <p:grpSpPr>
            <a:xfrm>
              <a:off x="13614067" y="3535184"/>
              <a:ext cx="1195438" cy="678267"/>
              <a:chOff x="12757284" y="3224292"/>
              <a:chExt cx="1195438" cy="678267"/>
            </a:xfrm>
          </p:grpSpPr>
          <p:sp>
            <p:nvSpPr>
              <p:cNvPr id="170" name="Rechthoek 275">
                <a:extLst>
                  <a:ext uri="{FF2B5EF4-FFF2-40B4-BE49-F238E27FC236}">
                    <a16:creationId xmlns:a16="http://schemas.microsoft.com/office/drawing/2014/main" id="{BACB4A4D-B220-4C85-866E-EF5D3C9F2E77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1" name="Rechthoek 276">
                <a:extLst>
                  <a:ext uri="{FF2B5EF4-FFF2-40B4-BE49-F238E27FC236}">
                    <a16:creationId xmlns:a16="http://schemas.microsoft.com/office/drawing/2014/main" id="{025FD7B2-79C8-42F3-BF6C-D6CCD81B3842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2" name="Groep 277">
                <a:extLst>
                  <a:ext uri="{FF2B5EF4-FFF2-40B4-BE49-F238E27FC236}">
                    <a16:creationId xmlns:a16="http://schemas.microsoft.com/office/drawing/2014/main" id="{81F9F757-146D-44C8-ADB6-3734949FA9EE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85" name="Rechthoek: afgeronde hoeken 290">
                  <a:extLst>
                    <a:ext uri="{FF2B5EF4-FFF2-40B4-BE49-F238E27FC236}">
                      <a16:creationId xmlns:a16="http://schemas.microsoft.com/office/drawing/2014/main" id="{16731A77-6ECF-4493-A5A4-C3451A8329DC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endPara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86" name="Rechthoek 291">
                  <a:extLst>
                    <a:ext uri="{FF2B5EF4-FFF2-40B4-BE49-F238E27FC236}">
                      <a16:creationId xmlns:a16="http://schemas.microsoft.com/office/drawing/2014/main" id="{F229AB88-426F-4CBB-956D-EF2316183A62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7" name="Rechthoek 292">
                  <a:extLst>
                    <a:ext uri="{FF2B5EF4-FFF2-40B4-BE49-F238E27FC236}">
                      <a16:creationId xmlns:a16="http://schemas.microsoft.com/office/drawing/2014/main" id="{256D338F-6030-465B-976E-83CADA93F170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8" name="Rechthoek 293">
                  <a:extLst>
                    <a:ext uri="{FF2B5EF4-FFF2-40B4-BE49-F238E27FC236}">
                      <a16:creationId xmlns:a16="http://schemas.microsoft.com/office/drawing/2014/main" id="{C50D365A-AE0D-4735-AD40-8DAF2FD67F53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9" name="Rechthoek 294">
                  <a:extLst>
                    <a:ext uri="{FF2B5EF4-FFF2-40B4-BE49-F238E27FC236}">
                      <a16:creationId xmlns:a16="http://schemas.microsoft.com/office/drawing/2014/main" id="{2378150C-3C77-4907-8A1F-865347958F38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0" name="Rechthoek 295">
                  <a:extLst>
                    <a:ext uri="{FF2B5EF4-FFF2-40B4-BE49-F238E27FC236}">
                      <a16:creationId xmlns:a16="http://schemas.microsoft.com/office/drawing/2014/main" id="{6CCC5F73-EBC0-47E3-B939-A9BD1B5FCCFA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73" name="Groep 278">
                <a:extLst>
                  <a:ext uri="{FF2B5EF4-FFF2-40B4-BE49-F238E27FC236}">
                    <a16:creationId xmlns:a16="http://schemas.microsoft.com/office/drawing/2014/main" id="{AE95217F-96A2-4ACB-BDDE-FE168E1D915C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77" name="Groep 282">
                  <a:extLst>
                    <a:ext uri="{FF2B5EF4-FFF2-40B4-BE49-F238E27FC236}">
                      <a16:creationId xmlns:a16="http://schemas.microsoft.com/office/drawing/2014/main" id="{61DC68D2-8FF2-40B0-8103-5D96C0E50E6D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79" name="Rechthoek: afgeronde hoeken 284">
                    <a:extLst>
                      <a:ext uri="{FF2B5EF4-FFF2-40B4-BE49-F238E27FC236}">
                        <a16:creationId xmlns:a16="http://schemas.microsoft.com/office/drawing/2014/main" id="{CDFBC008-32A0-4F0D-9C0A-0133F32E72B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2105"/>
                      </a:spcBef>
                      <a:spcAft>
                        <a:spcPts val="2105"/>
                      </a:spcAft>
                    </a:pPr>
                    <a:endParaRPr lang="nl-NL" sz="280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80" name="Rechthoek 285">
                    <a:extLst>
                      <a:ext uri="{FF2B5EF4-FFF2-40B4-BE49-F238E27FC236}">
                        <a16:creationId xmlns:a16="http://schemas.microsoft.com/office/drawing/2014/main" id="{613EB2D4-E5DB-477E-BFC3-2DA9AF3AE78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1" name="Rechthoek 286">
                    <a:extLst>
                      <a:ext uri="{FF2B5EF4-FFF2-40B4-BE49-F238E27FC236}">
                        <a16:creationId xmlns:a16="http://schemas.microsoft.com/office/drawing/2014/main" id="{AD0883A3-B67A-4B95-991E-E8B093C4E23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2" name="Rechthoek 287">
                    <a:extLst>
                      <a:ext uri="{FF2B5EF4-FFF2-40B4-BE49-F238E27FC236}">
                        <a16:creationId xmlns:a16="http://schemas.microsoft.com/office/drawing/2014/main" id="{667615A5-4510-4FA9-B455-09F6E4B0500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3" name="Rechthoek 288">
                    <a:extLst>
                      <a:ext uri="{FF2B5EF4-FFF2-40B4-BE49-F238E27FC236}">
                        <a16:creationId xmlns:a16="http://schemas.microsoft.com/office/drawing/2014/main" id="{CA41F919-456A-4336-823B-20BCA38C70C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4" name="Rechthoek 289">
                    <a:extLst>
                      <a:ext uri="{FF2B5EF4-FFF2-40B4-BE49-F238E27FC236}">
                        <a16:creationId xmlns:a16="http://schemas.microsoft.com/office/drawing/2014/main" id="{FC58C8E1-0D5B-4880-8053-DBBD4E93AEF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178" name="Boog 283">
                  <a:extLst>
                    <a:ext uri="{FF2B5EF4-FFF2-40B4-BE49-F238E27FC236}">
                      <a16:creationId xmlns:a16="http://schemas.microsoft.com/office/drawing/2014/main" id="{BE1B5382-341F-4AE3-960B-D162EA44B5E1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</p:grpSp>
          <p:sp>
            <p:nvSpPr>
              <p:cNvPr id="174" name="Tekstvak 279">
                <a:extLst>
                  <a:ext uri="{FF2B5EF4-FFF2-40B4-BE49-F238E27FC236}">
                    <a16:creationId xmlns:a16="http://schemas.microsoft.com/office/drawing/2014/main" id="{56CB79DD-AE4C-48D0-9775-6446EEC6116D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75" name="Tekstvak 280">
                <a:extLst>
                  <a:ext uri="{FF2B5EF4-FFF2-40B4-BE49-F238E27FC236}">
                    <a16:creationId xmlns:a16="http://schemas.microsoft.com/office/drawing/2014/main" id="{EFF76582-2E3D-4CFF-A588-BE3C0453870F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76" name="Picture 3">
                <a:extLst>
                  <a:ext uri="{FF2B5EF4-FFF2-40B4-BE49-F238E27FC236}">
                    <a16:creationId xmlns:a16="http://schemas.microsoft.com/office/drawing/2014/main" id="{F374CB61-58A4-4672-80A2-1B90D7B212AD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810206" y="3671228"/>
                <a:ext cx="14251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pic>
        <p:nvPicPr>
          <p:cNvPr id="59" name="Afbeelding 58">
            <a:extLst>
              <a:ext uri="{FF2B5EF4-FFF2-40B4-BE49-F238E27FC236}">
                <a16:creationId xmlns:a16="http://schemas.microsoft.com/office/drawing/2014/main" id="{CD829B4D-4013-4C29-80CF-C4F2F14098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5755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to + tekstvlak 8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-5567" y="6476684"/>
            <a:ext cx="42767257" cy="23798534"/>
          </a:xfrm>
          <a:solidFill>
            <a:schemeClr val="bg1">
              <a:lumMod val="95000"/>
            </a:schemeClr>
          </a:solidFill>
        </p:spPr>
        <p:txBody>
          <a:bodyPr tIns="3024000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tabLst>
                <a:tab pos="32381162" algn="l"/>
              </a:tabLst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0" name="Tijdelijke aanduiding voor voettekst 4">
            <a:extLst>
              <a:ext uri="{FF2B5EF4-FFF2-40B4-BE49-F238E27FC236}">
                <a16:creationId xmlns:a16="http://schemas.microsoft.com/office/drawing/2014/main" id="{1DA20FBD-9D0F-4EAB-B12C-126591D8B7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6644E39-2AF2-4EA0-9C3F-28C89D5A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7" y="27329718"/>
            <a:ext cx="828942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7" name="Tijdelijke aanduiding voor tekst 14">
            <a:extLst>
              <a:ext uri="{FF2B5EF4-FFF2-40B4-BE49-F238E27FC236}">
                <a16:creationId xmlns:a16="http://schemas.microsoft.com/office/drawing/2014/main" id="{A6BF4B27-7FC5-4896-80CE-3BA6119B83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28641602-EFC5-4A31-A66E-7D18FE4BC0D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7317714" y="18836413"/>
            <a:ext cx="13821939" cy="7118065"/>
          </a:xfrm>
          <a:custGeom>
            <a:avLst/>
            <a:gdLst>
              <a:gd name="connsiteX0" fmla="*/ 0 w 3938778"/>
              <a:gd name="connsiteY0" fmla="*/ 84049 h 1609202"/>
              <a:gd name="connsiteX1" fmla="*/ 84049 w 3938778"/>
              <a:gd name="connsiteY1" fmla="*/ 0 h 1609202"/>
              <a:gd name="connsiteX2" fmla="*/ 3854729 w 3938778"/>
              <a:gd name="connsiteY2" fmla="*/ 0 h 1609202"/>
              <a:gd name="connsiteX3" fmla="*/ 3938778 w 3938778"/>
              <a:gd name="connsiteY3" fmla="*/ 84049 h 1609202"/>
              <a:gd name="connsiteX4" fmla="*/ 3938778 w 3938778"/>
              <a:gd name="connsiteY4" fmla="*/ 1525153 h 1609202"/>
              <a:gd name="connsiteX5" fmla="*/ 3854729 w 3938778"/>
              <a:gd name="connsiteY5" fmla="*/ 1609202 h 1609202"/>
              <a:gd name="connsiteX6" fmla="*/ 84049 w 3938778"/>
              <a:gd name="connsiteY6" fmla="*/ 1609202 h 1609202"/>
              <a:gd name="connsiteX7" fmla="*/ 0 w 3938778"/>
              <a:gd name="connsiteY7" fmla="*/ 1525153 h 1609202"/>
              <a:gd name="connsiteX8" fmla="*/ 0 w 3938778"/>
              <a:gd name="connsiteY8" fmla="*/ 84049 h 1609202"/>
              <a:gd name="connsiteX0" fmla="*/ 212359 w 4151137"/>
              <a:gd name="connsiteY0" fmla="*/ 126307 h 1651460"/>
              <a:gd name="connsiteX1" fmla="*/ 237486 w 4151137"/>
              <a:gd name="connsiteY1" fmla="*/ 63809 h 1651460"/>
              <a:gd name="connsiteX2" fmla="*/ 296408 w 4151137"/>
              <a:gd name="connsiteY2" fmla="*/ 42258 h 1651460"/>
              <a:gd name="connsiteX3" fmla="*/ 4067088 w 4151137"/>
              <a:gd name="connsiteY3" fmla="*/ 42258 h 1651460"/>
              <a:gd name="connsiteX4" fmla="*/ 4151137 w 4151137"/>
              <a:gd name="connsiteY4" fmla="*/ 126307 h 1651460"/>
              <a:gd name="connsiteX5" fmla="*/ 4151137 w 4151137"/>
              <a:gd name="connsiteY5" fmla="*/ 1567411 h 1651460"/>
              <a:gd name="connsiteX6" fmla="*/ 4067088 w 4151137"/>
              <a:gd name="connsiteY6" fmla="*/ 1651460 h 1651460"/>
              <a:gd name="connsiteX7" fmla="*/ 296408 w 4151137"/>
              <a:gd name="connsiteY7" fmla="*/ 1651460 h 1651460"/>
              <a:gd name="connsiteX8" fmla="*/ 212359 w 4151137"/>
              <a:gd name="connsiteY8" fmla="*/ 1567411 h 1651460"/>
              <a:gd name="connsiteX9" fmla="*/ 212359 w 4151137"/>
              <a:gd name="connsiteY9" fmla="*/ 126307 h 1651460"/>
              <a:gd name="connsiteX0" fmla="*/ 212359 w 4151137"/>
              <a:gd name="connsiteY0" fmla="*/ 84049 h 1609202"/>
              <a:gd name="connsiteX1" fmla="*/ 237486 w 4151137"/>
              <a:gd name="connsiteY1" fmla="*/ 21551 h 1609202"/>
              <a:gd name="connsiteX2" fmla="*/ 296408 w 4151137"/>
              <a:gd name="connsiteY2" fmla="*/ 0 h 1609202"/>
              <a:gd name="connsiteX3" fmla="*/ 4067088 w 4151137"/>
              <a:gd name="connsiteY3" fmla="*/ 0 h 1609202"/>
              <a:gd name="connsiteX4" fmla="*/ 4151137 w 4151137"/>
              <a:gd name="connsiteY4" fmla="*/ 84049 h 1609202"/>
              <a:gd name="connsiteX5" fmla="*/ 4151137 w 4151137"/>
              <a:gd name="connsiteY5" fmla="*/ 1525153 h 1609202"/>
              <a:gd name="connsiteX6" fmla="*/ 4067088 w 4151137"/>
              <a:gd name="connsiteY6" fmla="*/ 1609202 h 1609202"/>
              <a:gd name="connsiteX7" fmla="*/ 296408 w 4151137"/>
              <a:gd name="connsiteY7" fmla="*/ 1609202 h 1609202"/>
              <a:gd name="connsiteX8" fmla="*/ 212359 w 4151137"/>
              <a:gd name="connsiteY8" fmla="*/ 1525153 h 1609202"/>
              <a:gd name="connsiteX9" fmla="*/ 212359 w 4151137"/>
              <a:gd name="connsiteY9" fmla="*/ 84049 h 1609202"/>
              <a:gd name="connsiteX0" fmla="*/ 21 w 3938799"/>
              <a:gd name="connsiteY0" fmla="*/ 85645 h 1610798"/>
              <a:gd name="connsiteX1" fmla="*/ 25148 w 3938799"/>
              <a:gd name="connsiteY1" fmla="*/ 23147 h 1610798"/>
              <a:gd name="connsiteX2" fmla="*/ 84070 w 3938799"/>
              <a:gd name="connsiteY2" fmla="*/ 1596 h 1610798"/>
              <a:gd name="connsiteX3" fmla="*/ 3854750 w 3938799"/>
              <a:gd name="connsiteY3" fmla="*/ 1596 h 1610798"/>
              <a:gd name="connsiteX4" fmla="*/ 3938799 w 3938799"/>
              <a:gd name="connsiteY4" fmla="*/ 85645 h 1610798"/>
              <a:gd name="connsiteX5" fmla="*/ 3938799 w 3938799"/>
              <a:gd name="connsiteY5" fmla="*/ 1526749 h 1610798"/>
              <a:gd name="connsiteX6" fmla="*/ 3854750 w 3938799"/>
              <a:gd name="connsiteY6" fmla="*/ 1610798 h 1610798"/>
              <a:gd name="connsiteX7" fmla="*/ 84070 w 3938799"/>
              <a:gd name="connsiteY7" fmla="*/ 1610798 h 1610798"/>
              <a:gd name="connsiteX8" fmla="*/ 21 w 3938799"/>
              <a:gd name="connsiteY8" fmla="*/ 1526749 h 1610798"/>
              <a:gd name="connsiteX9" fmla="*/ 21 w 3938799"/>
              <a:gd name="connsiteY9" fmla="*/ 85645 h 1610798"/>
              <a:gd name="connsiteX0" fmla="*/ 221900 w 4160678"/>
              <a:gd name="connsiteY0" fmla="*/ 126307 h 1651460"/>
              <a:gd name="connsiteX1" fmla="*/ 220833 w 4160678"/>
              <a:gd name="connsiteY1" fmla="*/ 63809 h 1651460"/>
              <a:gd name="connsiteX2" fmla="*/ 305949 w 4160678"/>
              <a:gd name="connsiteY2" fmla="*/ 42258 h 1651460"/>
              <a:gd name="connsiteX3" fmla="*/ 4076629 w 4160678"/>
              <a:gd name="connsiteY3" fmla="*/ 42258 h 1651460"/>
              <a:gd name="connsiteX4" fmla="*/ 4160678 w 4160678"/>
              <a:gd name="connsiteY4" fmla="*/ 126307 h 1651460"/>
              <a:gd name="connsiteX5" fmla="*/ 4160678 w 4160678"/>
              <a:gd name="connsiteY5" fmla="*/ 1567411 h 1651460"/>
              <a:gd name="connsiteX6" fmla="*/ 4076629 w 4160678"/>
              <a:gd name="connsiteY6" fmla="*/ 1651460 h 1651460"/>
              <a:gd name="connsiteX7" fmla="*/ 305949 w 4160678"/>
              <a:gd name="connsiteY7" fmla="*/ 1651460 h 1651460"/>
              <a:gd name="connsiteX8" fmla="*/ 221900 w 4160678"/>
              <a:gd name="connsiteY8" fmla="*/ 1567411 h 1651460"/>
              <a:gd name="connsiteX9" fmla="*/ 221900 w 4160678"/>
              <a:gd name="connsiteY9" fmla="*/ 126307 h 1651460"/>
              <a:gd name="connsiteX0" fmla="*/ 222785 w 4161563"/>
              <a:gd name="connsiteY0" fmla="*/ 132298 h 1657451"/>
              <a:gd name="connsiteX1" fmla="*/ 219337 w 4161563"/>
              <a:gd name="connsiteY1" fmla="*/ 55513 h 1657451"/>
              <a:gd name="connsiteX2" fmla="*/ 306834 w 4161563"/>
              <a:gd name="connsiteY2" fmla="*/ 48249 h 1657451"/>
              <a:gd name="connsiteX3" fmla="*/ 4077514 w 4161563"/>
              <a:gd name="connsiteY3" fmla="*/ 48249 h 1657451"/>
              <a:gd name="connsiteX4" fmla="*/ 4161563 w 4161563"/>
              <a:gd name="connsiteY4" fmla="*/ 132298 h 1657451"/>
              <a:gd name="connsiteX5" fmla="*/ 4161563 w 4161563"/>
              <a:gd name="connsiteY5" fmla="*/ 1573402 h 1657451"/>
              <a:gd name="connsiteX6" fmla="*/ 4077514 w 4161563"/>
              <a:gd name="connsiteY6" fmla="*/ 1657451 h 1657451"/>
              <a:gd name="connsiteX7" fmla="*/ 306834 w 4161563"/>
              <a:gd name="connsiteY7" fmla="*/ 1657451 h 1657451"/>
              <a:gd name="connsiteX8" fmla="*/ 222785 w 4161563"/>
              <a:gd name="connsiteY8" fmla="*/ 1573402 h 1657451"/>
              <a:gd name="connsiteX9" fmla="*/ 222785 w 4161563"/>
              <a:gd name="connsiteY9" fmla="*/ 132298 h 1657451"/>
              <a:gd name="connsiteX0" fmla="*/ 8993 w 3947771"/>
              <a:gd name="connsiteY0" fmla="*/ 132298 h 1657451"/>
              <a:gd name="connsiteX1" fmla="*/ 5545 w 3947771"/>
              <a:gd name="connsiteY1" fmla="*/ 55513 h 1657451"/>
              <a:gd name="connsiteX2" fmla="*/ 93042 w 3947771"/>
              <a:gd name="connsiteY2" fmla="*/ 48249 h 1657451"/>
              <a:gd name="connsiteX3" fmla="*/ 3863722 w 3947771"/>
              <a:gd name="connsiteY3" fmla="*/ 48249 h 1657451"/>
              <a:gd name="connsiteX4" fmla="*/ 3947771 w 3947771"/>
              <a:gd name="connsiteY4" fmla="*/ 132298 h 1657451"/>
              <a:gd name="connsiteX5" fmla="*/ 3947771 w 3947771"/>
              <a:gd name="connsiteY5" fmla="*/ 1573402 h 1657451"/>
              <a:gd name="connsiteX6" fmla="*/ 3863722 w 3947771"/>
              <a:gd name="connsiteY6" fmla="*/ 1657451 h 1657451"/>
              <a:gd name="connsiteX7" fmla="*/ 93042 w 3947771"/>
              <a:gd name="connsiteY7" fmla="*/ 1657451 h 1657451"/>
              <a:gd name="connsiteX8" fmla="*/ 8993 w 3947771"/>
              <a:gd name="connsiteY8" fmla="*/ 1573402 h 1657451"/>
              <a:gd name="connsiteX9" fmla="*/ 8993 w 3947771"/>
              <a:gd name="connsiteY9" fmla="*/ 132298 h 1657451"/>
              <a:gd name="connsiteX0" fmla="*/ 9451 w 3948229"/>
              <a:gd name="connsiteY0" fmla="*/ 85220 h 1610373"/>
              <a:gd name="connsiteX1" fmla="*/ 6003 w 3948229"/>
              <a:gd name="connsiteY1" fmla="*/ 8435 h 1610373"/>
              <a:gd name="connsiteX2" fmla="*/ 93500 w 3948229"/>
              <a:gd name="connsiteY2" fmla="*/ 1171 h 1610373"/>
              <a:gd name="connsiteX3" fmla="*/ 3864180 w 3948229"/>
              <a:gd name="connsiteY3" fmla="*/ 1171 h 1610373"/>
              <a:gd name="connsiteX4" fmla="*/ 3948229 w 3948229"/>
              <a:gd name="connsiteY4" fmla="*/ 85220 h 1610373"/>
              <a:gd name="connsiteX5" fmla="*/ 3948229 w 3948229"/>
              <a:gd name="connsiteY5" fmla="*/ 1526324 h 1610373"/>
              <a:gd name="connsiteX6" fmla="*/ 3864180 w 3948229"/>
              <a:gd name="connsiteY6" fmla="*/ 1610373 h 1610373"/>
              <a:gd name="connsiteX7" fmla="*/ 93500 w 3948229"/>
              <a:gd name="connsiteY7" fmla="*/ 1610373 h 1610373"/>
              <a:gd name="connsiteX8" fmla="*/ 9451 w 3948229"/>
              <a:gd name="connsiteY8" fmla="*/ 1526324 h 1610373"/>
              <a:gd name="connsiteX9" fmla="*/ 9451 w 3948229"/>
              <a:gd name="connsiteY9" fmla="*/ 85220 h 1610373"/>
              <a:gd name="connsiteX0" fmla="*/ 9451 w 3948229"/>
              <a:gd name="connsiteY0" fmla="*/ 85220 h 1610373"/>
              <a:gd name="connsiteX1" fmla="*/ 6003 w 3948229"/>
              <a:gd name="connsiteY1" fmla="*/ 8435 h 1610373"/>
              <a:gd name="connsiteX2" fmla="*/ 93500 w 3948229"/>
              <a:gd name="connsiteY2" fmla="*/ 1171 h 1610373"/>
              <a:gd name="connsiteX3" fmla="*/ 3864180 w 3948229"/>
              <a:gd name="connsiteY3" fmla="*/ 1171 h 1610373"/>
              <a:gd name="connsiteX4" fmla="*/ 3948229 w 3948229"/>
              <a:gd name="connsiteY4" fmla="*/ 85220 h 1610373"/>
              <a:gd name="connsiteX5" fmla="*/ 3948229 w 3948229"/>
              <a:gd name="connsiteY5" fmla="*/ 1526324 h 1610373"/>
              <a:gd name="connsiteX6" fmla="*/ 3864180 w 3948229"/>
              <a:gd name="connsiteY6" fmla="*/ 1610373 h 1610373"/>
              <a:gd name="connsiteX7" fmla="*/ 93500 w 3948229"/>
              <a:gd name="connsiteY7" fmla="*/ 1610373 h 1610373"/>
              <a:gd name="connsiteX8" fmla="*/ 9451 w 3948229"/>
              <a:gd name="connsiteY8" fmla="*/ 1526324 h 1610373"/>
              <a:gd name="connsiteX9" fmla="*/ 9451 w 3948229"/>
              <a:gd name="connsiteY9" fmla="*/ 85220 h 1610373"/>
              <a:gd name="connsiteX0" fmla="*/ 12575 w 3951353"/>
              <a:gd name="connsiteY0" fmla="*/ 1632501 h 1716550"/>
              <a:gd name="connsiteX1" fmla="*/ 9127 w 3951353"/>
              <a:gd name="connsiteY1" fmla="*/ 114612 h 1716550"/>
              <a:gd name="connsiteX2" fmla="*/ 96624 w 3951353"/>
              <a:gd name="connsiteY2" fmla="*/ 107348 h 1716550"/>
              <a:gd name="connsiteX3" fmla="*/ 3867304 w 3951353"/>
              <a:gd name="connsiteY3" fmla="*/ 107348 h 1716550"/>
              <a:gd name="connsiteX4" fmla="*/ 3951353 w 3951353"/>
              <a:gd name="connsiteY4" fmla="*/ 191397 h 1716550"/>
              <a:gd name="connsiteX5" fmla="*/ 3951353 w 3951353"/>
              <a:gd name="connsiteY5" fmla="*/ 1632501 h 1716550"/>
              <a:gd name="connsiteX6" fmla="*/ 3867304 w 3951353"/>
              <a:gd name="connsiteY6" fmla="*/ 1716550 h 1716550"/>
              <a:gd name="connsiteX7" fmla="*/ 96624 w 3951353"/>
              <a:gd name="connsiteY7" fmla="*/ 1716550 h 1716550"/>
              <a:gd name="connsiteX8" fmla="*/ 12575 w 3951353"/>
              <a:gd name="connsiteY8" fmla="*/ 1632501 h 1716550"/>
              <a:gd name="connsiteX0" fmla="*/ 9770 w 3948548"/>
              <a:gd name="connsiteY0" fmla="*/ 1632631 h 1716680"/>
              <a:gd name="connsiteX1" fmla="*/ 6322 w 3948548"/>
              <a:gd name="connsiteY1" fmla="*/ 114742 h 1716680"/>
              <a:gd name="connsiteX2" fmla="*/ 93819 w 3948548"/>
              <a:gd name="connsiteY2" fmla="*/ 107478 h 1716680"/>
              <a:gd name="connsiteX3" fmla="*/ 3864499 w 3948548"/>
              <a:gd name="connsiteY3" fmla="*/ 107478 h 1716680"/>
              <a:gd name="connsiteX4" fmla="*/ 3948548 w 3948548"/>
              <a:gd name="connsiteY4" fmla="*/ 191527 h 1716680"/>
              <a:gd name="connsiteX5" fmla="*/ 3948548 w 3948548"/>
              <a:gd name="connsiteY5" fmla="*/ 1632631 h 1716680"/>
              <a:gd name="connsiteX6" fmla="*/ 3864499 w 3948548"/>
              <a:gd name="connsiteY6" fmla="*/ 1716680 h 1716680"/>
              <a:gd name="connsiteX7" fmla="*/ 93819 w 3948548"/>
              <a:gd name="connsiteY7" fmla="*/ 1716680 h 1716680"/>
              <a:gd name="connsiteX8" fmla="*/ 9770 w 3948548"/>
              <a:gd name="connsiteY8" fmla="*/ 1632631 h 1716680"/>
              <a:gd name="connsiteX0" fmla="*/ 6731 w 3945509"/>
              <a:gd name="connsiteY0" fmla="*/ 1632631 h 1780851"/>
              <a:gd name="connsiteX1" fmla="*/ 3283 w 3945509"/>
              <a:gd name="connsiteY1" fmla="*/ 114742 h 1780851"/>
              <a:gd name="connsiteX2" fmla="*/ 90780 w 3945509"/>
              <a:gd name="connsiteY2" fmla="*/ 107478 h 1780851"/>
              <a:gd name="connsiteX3" fmla="*/ 3861460 w 3945509"/>
              <a:gd name="connsiteY3" fmla="*/ 107478 h 1780851"/>
              <a:gd name="connsiteX4" fmla="*/ 3945509 w 3945509"/>
              <a:gd name="connsiteY4" fmla="*/ 191527 h 1780851"/>
              <a:gd name="connsiteX5" fmla="*/ 3945509 w 3945509"/>
              <a:gd name="connsiteY5" fmla="*/ 1632631 h 1780851"/>
              <a:gd name="connsiteX6" fmla="*/ 3861460 w 3945509"/>
              <a:gd name="connsiteY6" fmla="*/ 1716680 h 1780851"/>
              <a:gd name="connsiteX7" fmla="*/ 90780 w 3945509"/>
              <a:gd name="connsiteY7" fmla="*/ 1716680 h 1780851"/>
              <a:gd name="connsiteX8" fmla="*/ 6731 w 3945509"/>
              <a:gd name="connsiteY8" fmla="*/ 1632631 h 1780851"/>
              <a:gd name="connsiteX0" fmla="*/ 5635 w 3944413"/>
              <a:gd name="connsiteY0" fmla="*/ 1632631 h 1730124"/>
              <a:gd name="connsiteX1" fmla="*/ 2187 w 3944413"/>
              <a:gd name="connsiteY1" fmla="*/ 114742 h 1730124"/>
              <a:gd name="connsiteX2" fmla="*/ 89684 w 3944413"/>
              <a:gd name="connsiteY2" fmla="*/ 107478 h 1730124"/>
              <a:gd name="connsiteX3" fmla="*/ 3860364 w 3944413"/>
              <a:gd name="connsiteY3" fmla="*/ 107478 h 1730124"/>
              <a:gd name="connsiteX4" fmla="*/ 3944413 w 3944413"/>
              <a:gd name="connsiteY4" fmla="*/ 191527 h 1730124"/>
              <a:gd name="connsiteX5" fmla="*/ 3944413 w 3944413"/>
              <a:gd name="connsiteY5" fmla="*/ 1632631 h 1730124"/>
              <a:gd name="connsiteX6" fmla="*/ 3860364 w 3944413"/>
              <a:gd name="connsiteY6" fmla="*/ 1716680 h 1730124"/>
              <a:gd name="connsiteX7" fmla="*/ 89684 w 3944413"/>
              <a:gd name="connsiteY7" fmla="*/ 1716680 h 1730124"/>
              <a:gd name="connsiteX8" fmla="*/ 5635 w 3944413"/>
              <a:gd name="connsiteY8" fmla="*/ 1632631 h 1730124"/>
              <a:gd name="connsiteX0" fmla="*/ 6730 w 3945508"/>
              <a:gd name="connsiteY0" fmla="*/ 1632631 h 1718001"/>
              <a:gd name="connsiteX1" fmla="*/ 3282 w 3945508"/>
              <a:gd name="connsiteY1" fmla="*/ 114742 h 1718001"/>
              <a:gd name="connsiteX2" fmla="*/ 90779 w 3945508"/>
              <a:gd name="connsiteY2" fmla="*/ 107478 h 1718001"/>
              <a:gd name="connsiteX3" fmla="*/ 3861459 w 3945508"/>
              <a:gd name="connsiteY3" fmla="*/ 107478 h 1718001"/>
              <a:gd name="connsiteX4" fmla="*/ 3945508 w 3945508"/>
              <a:gd name="connsiteY4" fmla="*/ 191527 h 1718001"/>
              <a:gd name="connsiteX5" fmla="*/ 3945508 w 3945508"/>
              <a:gd name="connsiteY5" fmla="*/ 1632631 h 1718001"/>
              <a:gd name="connsiteX6" fmla="*/ 3861459 w 3945508"/>
              <a:gd name="connsiteY6" fmla="*/ 1716680 h 1718001"/>
              <a:gd name="connsiteX7" fmla="*/ 90779 w 3945508"/>
              <a:gd name="connsiteY7" fmla="*/ 1716680 h 1718001"/>
              <a:gd name="connsiteX8" fmla="*/ 6730 w 3945508"/>
              <a:gd name="connsiteY8" fmla="*/ 1632631 h 1718001"/>
              <a:gd name="connsiteX0" fmla="*/ 5541 w 3944319"/>
              <a:gd name="connsiteY0" fmla="*/ 1632631 h 1716680"/>
              <a:gd name="connsiteX1" fmla="*/ 2093 w 3944319"/>
              <a:gd name="connsiteY1" fmla="*/ 114742 h 1716680"/>
              <a:gd name="connsiteX2" fmla="*/ 89590 w 3944319"/>
              <a:gd name="connsiteY2" fmla="*/ 107478 h 1716680"/>
              <a:gd name="connsiteX3" fmla="*/ 3860270 w 3944319"/>
              <a:gd name="connsiteY3" fmla="*/ 107478 h 1716680"/>
              <a:gd name="connsiteX4" fmla="*/ 3944319 w 3944319"/>
              <a:gd name="connsiteY4" fmla="*/ 191527 h 1716680"/>
              <a:gd name="connsiteX5" fmla="*/ 3944319 w 3944319"/>
              <a:gd name="connsiteY5" fmla="*/ 1632631 h 1716680"/>
              <a:gd name="connsiteX6" fmla="*/ 3860270 w 3944319"/>
              <a:gd name="connsiteY6" fmla="*/ 1716680 h 1716680"/>
              <a:gd name="connsiteX7" fmla="*/ 89590 w 3944319"/>
              <a:gd name="connsiteY7" fmla="*/ 1716680 h 1716680"/>
              <a:gd name="connsiteX8" fmla="*/ 5541 w 3944319"/>
              <a:gd name="connsiteY8" fmla="*/ 1632631 h 1716680"/>
              <a:gd name="connsiteX0" fmla="*/ 4066 w 3942844"/>
              <a:gd name="connsiteY0" fmla="*/ 1541301 h 1625350"/>
              <a:gd name="connsiteX1" fmla="*/ 618 w 3942844"/>
              <a:gd name="connsiteY1" fmla="*/ 23412 h 1625350"/>
              <a:gd name="connsiteX2" fmla="*/ 88115 w 3942844"/>
              <a:gd name="connsiteY2" fmla="*/ 16148 h 1625350"/>
              <a:gd name="connsiteX3" fmla="*/ 3858795 w 3942844"/>
              <a:gd name="connsiteY3" fmla="*/ 16148 h 1625350"/>
              <a:gd name="connsiteX4" fmla="*/ 3942844 w 3942844"/>
              <a:gd name="connsiteY4" fmla="*/ 100197 h 1625350"/>
              <a:gd name="connsiteX5" fmla="*/ 3942844 w 3942844"/>
              <a:gd name="connsiteY5" fmla="*/ 1541301 h 1625350"/>
              <a:gd name="connsiteX6" fmla="*/ 3858795 w 3942844"/>
              <a:gd name="connsiteY6" fmla="*/ 1625350 h 1625350"/>
              <a:gd name="connsiteX7" fmla="*/ 88115 w 3942844"/>
              <a:gd name="connsiteY7" fmla="*/ 1625350 h 1625350"/>
              <a:gd name="connsiteX8" fmla="*/ 4066 w 3942844"/>
              <a:gd name="connsiteY8" fmla="*/ 1541301 h 1625350"/>
              <a:gd name="connsiteX0" fmla="*/ 4276 w 3943054"/>
              <a:gd name="connsiteY0" fmla="*/ 1541301 h 1625350"/>
              <a:gd name="connsiteX1" fmla="*/ 828 w 3943054"/>
              <a:gd name="connsiteY1" fmla="*/ 23412 h 1625350"/>
              <a:gd name="connsiteX2" fmla="*/ 88325 w 3943054"/>
              <a:gd name="connsiteY2" fmla="*/ 16148 h 1625350"/>
              <a:gd name="connsiteX3" fmla="*/ 3859005 w 3943054"/>
              <a:gd name="connsiteY3" fmla="*/ 16148 h 1625350"/>
              <a:gd name="connsiteX4" fmla="*/ 3943054 w 3943054"/>
              <a:gd name="connsiteY4" fmla="*/ 100197 h 1625350"/>
              <a:gd name="connsiteX5" fmla="*/ 3943054 w 3943054"/>
              <a:gd name="connsiteY5" fmla="*/ 1541301 h 1625350"/>
              <a:gd name="connsiteX6" fmla="*/ 3859005 w 3943054"/>
              <a:gd name="connsiteY6" fmla="*/ 1625350 h 1625350"/>
              <a:gd name="connsiteX7" fmla="*/ 88325 w 3943054"/>
              <a:gd name="connsiteY7" fmla="*/ 1625350 h 1625350"/>
              <a:gd name="connsiteX8" fmla="*/ 4276 w 3943054"/>
              <a:gd name="connsiteY8" fmla="*/ 1541301 h 1625350"/>
              <a:gd name="connsiteX0" fmla="*/ 3584 w 3942362"/>
              <a:gd name="connsiteY0" fmla="*/ 1541301 h 1625350"/>
              <a:gd name="connsiteX1" fmla="*/ 136 w 3942362"/>
              <a:gd name="connsiteY1" fmla="*/ 23412 h 1625350"/>
              <a:gd name="connsiteX2" fmla="*/ 87633 w 3942362"/>
              <a:gd name="connsiteY2" fmla="*/ 16148 h 1625350"/>
              <a:gd name="connsiteX3" fmla="*/ 3858313 w 3942362"/>
              <a:gd name="connsiteY3" fmla="*/ 16148 h 1625350"/>
              <a:gd name="connsiteX4" fmla="*/ 3942362 w 3942362"/>
              <a:gd name="connsiteY4" fmla="*/ 100197 h 1625350"/>
              <a:gd name="connsiteX5" fmla="*/ 3942362 w 3942362"/>
              <a:gd name="connsiteY5" fmla="*/ 1541301 h 1625350"/>
              <a:gd name="connsiteX6" fmla="*/ 3858313 w 3942362"/>
              <a:gd name="connsiteY6" fmla="*/ 1625350 h 1625350"/>
              <a:gd name="connsiteX7" fmla="*/ 87633 w 3942362"/>
              <a:gd name="connsiteY7" fmla="*/ 1625350 h 1625350"/>
              <a:gd name="connsiteX8" fmla="*/ 3584 w 3942362"/>
              <a:gd name="connsiteY8" fmla="*/ 1541301 h 1625350"/>
              <a:gd name="connsiteX0" fmla="*/ 4276 w 3943054"/>
              <a:gd name="connsiteY0" fmla="*/ 1525692 h 1609741"/>
              <a:gd name="connsiteX1" fmla="*/ 828 w 3943054"/>
              <a:gd name="connsiteY1" fmla="*/ 7803 h 1609741"/>
              <a:gd name="connsiteX2" fmla="*/ 88325 w 3943054"/>
              <a:gd name="connsiteY2" fmla="*/ 539 h 1609741"/>
              <a:gd name="connsiteX3" fmla="*/ 3859005 w 3943054"/>
              <a:gd name="connsiteY3" fmla="*/ 539 h 1609741"/>
              <a:gd name="connsiteX4" fmla="*/ 3943054 w 3943054"/>
              <a:gd name="connsiteY4" fmla="*/ 84588 h 1609741"/>
              <a:gd name="connsiteX5" fmla="*/ 3943054 w 3943054"/>
              <a:gd name="connsiteY5" fmla="*/ 1525692 h 1609741"/>
              <a:gd name="connsiteX6" fmla="*/ 3859005 w 3943054"/>
              <a:gd name="connsiteY6" fmla="*/ 1609741 h 1609741"/>
              <a:gd name="connsiteX7" fmla="*/ 88325 w 3943054"/>
              <a:gd name="connsiteY7" fmla="*/ 1609741 h 1609741"/>
              <a:gd name="connsiteX8" fmla="*/ 4276 w 3943054"/>
              <a:gd name="connsiteY8" fmla="*/ 1525692 h 1609741"/>
              <a:gd name="connsiteX0" fmla="*/ 3584 w 3942362"/>
              <a:gd name="connsiteY0" fmla="*/ 1525692 h 1609741"/>
              <a:gd name="connsiteX1" fmla="*/ 136 w 3942362"/>
              <a:gd name="connsiteY1" fmla="*/ 7803 h 1609741"/>
              <a:gd name="connsiteX2" fmla="*/ 87633 w 3942362"/>
              <a:gd name="connsiteY2" fmla="*/ 539 h 1609741"/>
              <a:gd name="connsiteX3" fmla="*/ 3858313 w 3942362"/>
              <a:gd name="connsiteY3" fmla="*/ 539 h 1609741"/>
              <a:gd name="connsiteX4" fmla="*/ 3942362 w 3942362"/>
              <a:gd name="connsiteY4" fmla="*/ 84588 h 1609741"/>
              <a:gd name="connsiteX5" fmla="*/ 3942362 w 3942362"/>
              <a:gd name="connsiteY5" fmla="*/ 1525692 h 1609741"/>
              <a:gd name="connsiteX6" fmla="*/ 3858313 w 3942362"/>
              <a:gd name="connsiteY6" fmla="*/ 1609741 h 1609741"/>
              <a:gd name="connsiteX7" fmla="*/ 87633 w 3942362"/>
              <a:gd name="connsiteY7" fmla="*/ 1609741 h 1609741"/>
              <a:gd name="connsiteX8" fmla="*/ 3584 w 3942362"/>
              <a:gd name="connsiteY8" fmla="*/ 1525692 h 1609741"/>
              <a:gd name="connsiteX0" fmla="*/ 3644 w 3942422"/>
              <a:gd name="connsiteY0" fmla="*/ 1525692 h 1609741"/>
              <a:gd name="connsiteX1" fmla="*/ 196 w 3942422"/>
              <a:gd name="connsiteY1" fmla="*/ 7803 h 1609741"/>
              <a:gd name="connsiteX2" fmla="*/ 87693 w 3942422"/>
              <a:gd name="connsiteY2" fmla="*/ 539 h 1609741"/>
              <a:gd name="connsiteX3" fmla="*/ 3858373 w 3942422"/>
              <a:gd name="connsiteY3" fmla="*/ 539 h 1609741"/>
              <a:gd name="connsiteX4" fmla="*/ 3942422 w 3942422"/>
              <a:gd name="connsiteY4" fmla="*/ 84588 h 1609741"/>
              <a:gd name="connsiteX5" fmla="*/ 3942422 w 3942422"/>
              <a:gd name="connsiteY5" fmla="*/ 1525692 h 1609741"/>
              <a:gd name="connsiteX6" fmla="*/ 3858373 w 3942422"/>
              <a:gd name="connsiteY6" fmla="*/ 1609741 h 1609741"/>
              <a:gd name="connsiteX7" fmla="*/ 87693 w 3942422"/>
              <a:gd name="connsiteY7" fmla="*/ 1609741 h 1609741"/>
              <a:gd name="connsiteX8" fmla="*/ 3644 w 3942422"/>
              <a:gd name="connsiteY8" fmla="*/ 1525692 h 1609741"/>
              <a:gd name="connsiteX0" fmla="*/ 225140 w 4163918"/>
              <a:gd name="connsiteY0" fmla="*/ 1528731 h 1674428"/>
              <a:gd name="connsiteX1" fmla="*/ 224074 w 4163918"/>
              <a:gd name="connsiteY1" fmla="*/ 3699 h 1674428"/>
              <a:gd name="connsiteX2" fmla="*/ 309189 w 4163918"/>
              <a:gd name="connsiteY2" fmla="*/ 3578 h 1674428"/>
              <a:gd name="connsiteX3" fmla="*/ 4079869 w 4163918"/>
              <a:gd name="connsiteY3" fmla="*/ 3578 h 1674428"/>
              <a:gd name="connsiteX4" fmla="*/ 4163918 w 4163918"/>
              <a:gd name="connsiteY4" fmla="*/ 87627 h 1674428"/>
              <a:gd name="connsiteX5" fmla="*/ 4163918 w 4163918"/>
              <a:gd name="connsiteY5" fmla="*/ 1528731 h 1674428"/>
              <a:gd name="connsiteX6" fmla="*/ 4079869 w 4163918"/>
              <a:gd name="connsiteY6" fmla="*/ 1612780 h 1674428"/>
              <a:gd name="connsiteX7" fmla="*/ 309189 w 4163918"/>
              <a:gd name="connsiteY7" fmla="*/ 1612780 h 1674428"/>
              <a:gd name="connsiteX8" fmla="*/ 225140 w 4163918"/>
              <a:gd name="connsiteY8" fmla="*/ 1528731 h 1674428"/>
              <a:gd name="connsiteX0" fmla="*/ 6880 w 3945658"/>
              <a:gd name="connsiteY0" fmla="*/ 1528731 h 1674428"/>
              <a:gd name="connsiteX1" fmla="*/ 5814 w 3945658"/>
              <a:gd name="connsiteY1" fmla="*/ 3699 h 1674428"/>
              <a:gd name="connsiteX2" fmla="*/ 90929 w 3945658"/>
              <a:gd name="connsiteY2" fmla="*/ 3578 h 1674428"/>
              <a:gd name="connsiteX3" fmla="*/ 3861609 w 3945658"/>
              <a:gd name="connsiteY3" fmla="*/ 3578 h 1674428"/>
              <a:gd name="connsiteX4" fmla="*/ 3945658 w 3945658"/>
              <a:gd name="connsiteY4" fmla="*/ 87627 h 1674428"/>
              <a:gd name="connsiteX5" fmla="*/ 3945658 w 3945658"/>
              <a:gd name="connsiteY5" fmla="*/ 1528731 h 1674428"/>
              <a:gd name="connsiteX6" fmla="*/ 3861609 w 3945658"/>
              <a:gd name="connsiteY6" fmla="*/ 1612780 h 1674428"/>
              <a:gd name="connsiteX7" fmla="*/ 90929 w 3945658"/>
              <a:gd name="connsiteY7" fmla="*/ 1612780 h 1674428"/>
              <a:gd name="connsiteX8" fmla="*/ 6880 w 3945658"/>
              <a:gd name="connsiteY8" fmla="*/ 1528731 h 1674428"/>
              <a:gd name="connsiteX0" fmla="*/ 225140 w 4163918"/>
              <a:gd name="connsiteY0" fmla="*/ 1526452 h 1671925"/>
              <a:gd name="connsiteX1" fmla="*/ 224074 w 4163918"/>
              <a:gd name="connsiteY1" fmla="*/ 4595 h 1671925"/>
              <a:gd name="connsiteX2" fmla="*/ 309189 w 4163918"/>
              <a:gd name="connsiteY2" fmla="*/ 1299 h 1671925"/>
              <a:gd name="connsiteX3" fmla="*/ 4079869 w 4163918"/>
              <a:gd name="connsiteY3" fmla="*/ 1299 h 1671925"/>
              <a:gd name="connsiteX4" fmla="*/ 4163918 w 4163918"/>
              <a:gd name="connsiteY4" fmla="*/ 85348 h 1671925"/>
              <a:gd name="connsiteX5" fmla="*/ 4163918 w 4163918"/>
              <a:gd name="connsiteY5" fmla="*/ 1526452 h 1671925"/>
              <a:gd name="connsiteX6" fmla="*/ 4079869 w 4163918"/>
              <a:gd name="connsiteY6" fmla="*/ 1610501 h 1671925"/>
              <a:gd name="connsiteX7" fmla="*/ 309189 w 4163918"/>
              <a:gd name="connsiteY7" fmla="*/ 1610501 h 1671925"/>
              <a:gd name="connsiteX8" fmla="*/ 225140 w 4163918"/>
              <a:gd name="connsiteY8" fmla="*/ 1526452 h 1671925"/>
              <a:gd name="connsiteX0" fmla="*/ 6880 w 3945658"/>
              <a:gd name="connsiteY0" fmla="*/ 1527596 h 1673069"/>
              <a:gd name="connsiteX1" fmla="*/ 5814 w 3945658"/>
              <a:gd name="connsiteY1" fmla="*/ 5739 h 1673069"/>
              <a:gd name="connsiteX2" fmla="*/ 90929 w 3945658"/>
              <a:gd name="connsiteY2" fmla="*/ 2443 h 1673069"/>
              <a:gd name="connsiteX3" fmla="*/ 3861609 w 3945658"/>
              <a:gd name="connsiteY3" fmla="*/ 2443 h 1673069"/>
              <a:gd name="connsiteX4" fmla="*/ 3945658 w 3945658"/>
              <a:gd name="connsiteY4" fmla="*/ 86492 h 1673069"/>
              <a:gd name="connsiteX5" fmla="*/ 3945658 w 3945658"/>
              <a:gd name="connsiteY5" fmla="*/ 1527596 h 1673069"/>
              <a:gd name="connsiteX6" fmla="*/ 3861609 w 3945658"/>
              <a:gd name="connsiteY6" fmla="*/ 1611645 h 1673069"/>
              <a:gd name="connsiteX7" fmla="*/ 90929 w 3945658"/>
              <a:gd name="connsiteY7" fmla="*/ 1611645 h 1673069"/>
              <a:gd name="connsiteX8" fmla="*/ 6880 w 3945658"/>
              <a:gd name="connsiteY8" fmla="*/ 1527596 h 1673069"/>
              <a:gd name="connsiteX0" fmla="*/ 4095 w 3942873"/>
              <a:gd name="connsiteY0" fmla="*/ 1527596 h 1611653"/>
              <a:gd name="connsiteX1" fmla="*/ 3029 w 3942873"/>
              <a:gd name="connsiteY1" fmla="*/ 5739 h 1611653"/>
              <a:gd name="connsiteX2" fmla="*/ 88144 w 3942873"/>
              <a:gd name="connsiteY2" fmla="*/ 2443 h 1611653"/>
              <a:gd name="connsiteX3" fmla="*/ 3858824 w 3942873"/>
              <a:gd name="connsiteY3" fmla="*/ 2443 h 1611653"/>
              <a:gd name="connsiteX4" fmla="*/ 3942873 w 3942873"/>
              <a:gd name="connsiteY4" fmla="*/ 86492 h 1611653"/>
              <a:gd name="connsiteX5" fmla="*/ 3942873 w 3942873"/>
              <a:gd name="connsiteY5" fmla="*/ 1527596 h 1611653"/>
              <a:gd name="connsiteX6" fmla="*/ 3858824 w 3942873"/>
              <a:gd name="connsiteY6" fmla="*/ 1611645 h 1611653"/>
              <a:gd name="connsiteX7" fmla="*/ 88144 w 3942873"/>
              <a:gd name="connsiteY7" fmla="*/ 1611645 h 1611653"/>
              <a:gd name="connsiteX8" fmla="*/ 4095 w 3942873"/>
              <a:gd name="connsiteY8" fmla="*/ 1527596 h 1611653"/>
              <a:gd name="connsiteX0" fmla="*/ 9512 w 3948290"/>
              <a:gd name="connsiteY0" fmla="*/ 1527596 h 1673069"/>
              <a:gd name="connsiteX1" fmla="*/ 8446 w 3948290"/>
              <a:gd name="connsiteY1" fmla="*/ 5739 h 1673069"/>
              <a:gd name="connsiteX2" fmla="*/ 93561 w 3948290"/>
              <a:gd name="connsiteY2" fmla="*/ 2443 h 1673069"/>
              <a:gd name="connsiteX3" fmla="*/ 3864241 w 3948290"/>
              <a:gd name="connsiteY3" fmla="*/ 2443 h 1673069"/>
              <a:gd name="connsiteX4" fmla="*/ 3948290 w 3948290"/>
              <a:gd name="connsiteY4" fmla="*/ 86492 h 1673069"/>
              <a:gd name="connsiteX5" fmla="*/ 3948290 w 3948290"/>
              <a:gd name="connsiteY5" fmla="*/ 1527596 h 1673069"/>
              <a:gd name="connsiteX6" fmla="*/ 3864241 w 3948290"/>
              <a:gd name="connsiteY6" fmla="*/ 1611645 h 1673069"/>
              <a:gd name="connsiteX7" fmla="*/ 129280 w 3948290"/>
              <a:gd name="connsiteY7" fmla="*/ 1611645 h 1673069"/>
              <a:gd name="connsiteX8" fmla="*/ 9512 w 3948290"/>
              <a:gd name="connsiteY8" fmla="*/ 1527596 h 1673069"/>
              <a:gd name="connsiteX0" fmla="*/ 3242 w 3942020"/>
              <a:gd name="connsiteY0" fmla="*/ 1527596 h 1614938"/>
              <a:gd name="connsiteX1" fmla="*/ 2176 w 3942020"/>
              <a:gd name="connsiteY1" fmla="*/ 5739 h 1614938"/>
              <a:gd name="connsiteX2" fmla="*/ 87291 w 3942020"/>
              <a:gd name="connsiteY2" fmla="*/ 2443 h 1614938"/>
              <a:gd name="connsiteX3" fmla="*/ 3857971 w 3942020"/>
              <a:gd name="connsiteY3" fmla="*/ 2443 h 1614938"/>
              <a:gd name="connsiteX4" fmla="*/ 3942020 w 3942020"/>
              <a:gd name="connsiteY4" fmla="*/ 86492 h 1614938"/>
              <a:gd name="connsiteX5" fmla="*/ 3942020 w 3942020"/>
              <a:gd name="connsiteY5" fmla="*/ 1527596 h 1614938"/>
              <a:gd name="connsiteX6" fmla="*/ 3857971 w 3942020"/>
              <a:gd name="connsiteY6" fmla="*/ 1611645 h 1614938"/>
              <a:gd name="connsiteX7" fmla="*/ 123010 w 3942020"/>
              <a:gd name="connsiteY7" fmla="*/ 1611645 h 1614938"/>
              <a:gd name="connsiteX8" fmla="*/ 3242 w 3942020"/>
              <a:gd name="connsiteY8" fmla="*/ 1527596 h 1614938"/>
              <a:gd name="connsiteX0" fmla="*/ 1552 w 3940330"/>
              <a:gd name="connsiteY0" fmla="*/ 1527596 h 1612398"/>
              <a:gd name="connsiteX1" fmla="*/ 486 w 3940330"/>
              <a:gd name="connsiteY1" fmla="*/ 5739 h 1612398"/>
              <a:gd name="connsiteX2" fmla="*/ 85601 w 3940330"/>
              <a:gd name="connsiteY2" fmla="*/ 2443 h 1612398"/>
              <a:gd name="connsiteX3" fmla="*/ 3856281 w 3940330"/>
              <a:gd name="connsiteY3" fmla="*/ 2443 h 1612398"/>
              <a:gd name="connsiteX4" fmla="*/ 3940330 w 3940330"/>
              <a:gd name="connsiteY4" fmla="*/ 86492 h 1612398"/>
              <a:gd name="connsiteX5" fmla="*/ 3940330 w 3940330"/>
              <a:gd name="connsiteY5" fmla="*/ 1527596 h 1612398"/>
              <a:gd name="connsiteX6" fmla="*/ 3856281 w 3940330"/>
              <a:gd name="connsiteY6" fmla="*/ 1611645 h 1612398"/>
              <a:gd name="connsiteX7" fmla="*/ 121320 w 3940330"/>
              <a:gd name="connsiteY7" fmla="*/ 1611645 h 1612398"/>
              <a:gd name="connsiteX8" fmla="*/ 1552 w 3940330"/>
              <a:gd name="connsiteY8" fmla="*/ 1527596 h 1612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40330" h="1612398">
                <a:moveTo>
                  <a:pt x="1552" y="1527596"/>
                </a:moveTo>
                <a:cubicBezTo>
                  <a:pt x="463" y="1429014"/>
                  <a:pt x="-671" y="14002"/>
                  <a:pt x="486" y="5739"/>
                </a:cubicBezTo>
                <a:cubicBezTo>
                  <a:pt x="1643" y="-2524"/>
                  <a:pt x="8119" y="-183"/>
                  <a:pt x="85601" y="2443"/>
                </a:cubicBezTo>
                <a:cubicBezTo>
                  <a:pt x="163083" y="5069"/>
                  <a:pt x="2599388" y="2443"/>
                  <a:pt x="3856281" y="2443"/>
                </a:cubicBezTo>
                <a:cubicBezTo>
                  <a:pt x="3902700" y="2443"/>
                  <a:pt x="3940330" y="40073"/>
                  <a:pt x="3940330" y="86492"/>
                </a:cubicBezTo>
                <a:lnTo>
                  <a:pt x="3940330" y="1527596"/>
                </a:lnTo>
                <a:cubicBezTo>
                  <a:pt x="3940330" y="1574015"/>
                  <a:pt x="3902700" y="1611645"/>
                  <a:pt x="3856281" y="1611645"/>
                </a:cubicBezTo>
                <a:lnTo>
                  <a:pt x="121320" y="1611645"/>
                </a:lnTo>
                <a:cubicBezTo>
                  <a:pt x="74901" y="1611645"/>
                  <a:pt x="2641" y="1626178"/>
                  <a:pt x="1552" y="1527596"/>
                </a:cubicBezTo>
                <a:close/>
              </a:path>
            </a:pathLst>
          </a:custGeom>
          <a:solidFill>
            <a:schemeClr val="bg2">
              <a:alpha val="85000"/>
            </a:schemeClr>
          </a:solidFill>
        </p:spPr>
        <p:txBody>
          <a:bodyPr vert="horz" lIns="360000" tIns="252000" rIns="360000" bIns="360000" rtlCol="0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nl-NL" sz="8419" b="0" dirty="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70000"/>
              </a:lnSpc>
              <a:defRPr lang="nl-NL" dirty="0">
                <a:solidFill>
                  <a:schemeClr val="bg1"/>
                </a:solidFill>
                <a:latin typeface="+mj-lt"/>
              </a:defRPr>
            </a:lvl2pPr>
            <a:lvl3pPr>
              <a:lnSpc>
                <a:spcPct val="70000"/>
              </a:lnSpc>
              <a:defRPr lang="nl-NL" dirty="0">
                <a:solidFill>
                  <a:schemeClr val="bg1"/>
                </a:solidFill>
                <a:latin typeface="+mj-lt"/>
              </a:defRPr>
            </a:lvl3pPr>
            <a:lvl4pPr>
              <a:lnSpc>
                <a:spcPct val="70000"/>
              </a:lnSpc>
              <a:defRPr lang="nl-NL" sz="8419" dirty="0">
                <a:solidFill>
                  <a:schemeClr val="bg1"/>
                </a:solidFill>
                <a:latin typeface="+mj-lt"/>
              </a:defRPr>
            </a:lvl4pPr>
            <a:lvl5pPr>
              <a:lnSpc>
                <a:spcPct val="70000"/>
              </a:lnSpc>
              <a:defRPr lang="nl-NL" b="0" dirty="0">
                <a:solidFill>
                  <a:schemeClr val="bg1"/>
                </a:solidFill>
              </a:defRPr>
            </a:lvl5pPr>
            <a:lvl6pPr>
              <a:lnSpc>
                <a:spcPct val="70000"/>
              </a:lnSpc>
              <a:defRPr lang="nl-NL" dirty="0"/>
            </a:lvl6pPr>
          </a:lstStyle>
          <a:p>
            <a:pPr lvl="0"/>
            <a:r>
              <a:rPr lang="nl-NL" noProof="0"/>
              <a:t>Klik om tekst in te voegen</a:t>
            </a:r>
          </a:p>
        </p:txBody>
      </p:sp>
      <p:sp>
        <p:nvSpPr>
          <p:cNvPr id="18" name="Tijdelijke aanduiding voor datum 3">
            <a:extLst>
              <a:ext uri="{FF2B5EF4-FFF2-40B4-BE49-F238E27FC236}">
                <a16:creationId xmlns:a16="http://schemas.microsoft.com/office/drawing/2014/main" id="{272E1BA3-CCCF-465D-9A0D-4F665A96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00A5A8C-9EFD-4AD5-BD15-C5E0C8E9E405}" type="datetime1">
              <a:rPr lang="nl-NL" noProof="0" smtClean="0"/>
              <a:t>26-6-2023</a:t>
            </a:fld>
            <a:endParaRPr lang="nl-NL" noProof="0"/>
          </a:p>
        </p:txBody>
      </p:sp>
      <p:grpSp>
        <p:nvGrpSpPr>
          <p:cNvPr id="180" name="Groep 258">
            <a:extLst>
              <a:ext uri="{FF2B5EF4-FFF2-40B4-BE49-F238E27FC236}">
                <a16:creationId xmlns:a16="http://schemas.microsoft.com/office/drawing/2014/main" id="{85EF3D0B-59E7-4AC4-9317-4F0D3F91CFF8}"/>
              </a:ext>
            </a:extLst>
          </p:cNvPr>
          <p:cNvGrpSpPr/>
          <p:nvPr userDrawn="1"/>
        </p:nvGrpSpPr>
        <p:grpSpPr>
          <a:xfrm>
            <a:off x="43467416" y="5"/>
            <a:ext cx="11167745" cy="23084356"/>
            <a:chOff x="12391601" y="0"/>
            <a:chExt cx="3183678" cy="5229113"/>
          </a:xfrm>
        </p:grpSpPr>
        <p:grpSp>
          <p:nvGrpSpPr>
            <p:cNvPr id="181" name="Meer informatie">
              <a:extLst>
                <a:ext uri="{FF2B5EF4-FFF2-40B4-BE49-F238E27FC236}">
                  <a16:creationId xmlns:a16="http://schemas.microsoft.com/office/drawing/2014/main" id="{094442AC-DEFB-4FBC-A6FC-D9B17099600B}"/>
                </a:ext>
              </a:extLst>
            </p:cNvPr>
            <p:cNvGrpSpPr/>
            <p:nvPr userDrawn="1"/>
          </p:nvGrpSpPr>
          <p:grpSpPr>
            <a:xfrm>
              <a:off x="12396764" y="4445840"/>
              <a:ext cx="3178515" cy="783273"/>
              <a:chOff x="-3741486" y="3386444"/>
              <a:chExt cx="3178515" cy="783273"/>
            </a:xfrm>
          </p:grpSpPr>
          <p:sp>
            <p:nvSpPr>
              <p:cNvPr id="237" name="Freeform 101">
                <a:extLst>
                  <a:ext uri="{FF2B5EF4-FFF2-40B4-BE49-F238E27FC236}">
                    <a16:creationId xmlns:a16="http://schemas.microsoft.com/office/drawing/2014/main" id="{2DA43AFA-A195-42A8-AD29-8D5D18AB3A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238" name="Rechthoek 306">
                <a:extLst>
                  <a:ext uri="{FF2B5EF4-FFF2-40B4-BE49-F238E27FC236}">
                    <a16:creationId xmlns:a16="http://schemas.microsoft.com/office/drawing/2014/main" id="{C0480B14-11BC-41F5-9E35-C261D6C9061F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39" name="Rechte verbindingslijn 307">
                <a:extLst>
                  <a:ext uri="{FF2B5EF4-FFF2-40B4-BE49-F238E27FC236}">
                    <a16:creationId xmlns:a16="http://schemas.microsoft.com/office/drawing/2014/main" id="{9C2E1315-CAB9-498D-B138-9A53CF072D0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82" name="Rechthoek 260">
              <a:extLst>
                <a:ext uri="{FF2B5EF4-FFF2-40B4-BE49-F238E27FC236}">
                  <a16:creationId xmlns:a16="http://schemas.microsoft.com/office/drawing/2014/main" id="{7AF07C0D-E7A5-430C-B291-F3E1DE1C18C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183" name="Ovaal 261">
              <a:extLst>
                <a:ext uri="{FF2B5EF4-FFF2-40B4-BE49-F238E27FC236}">
                  <a16:creationId xmlns:a16="http://schemas.microsoft.com/office/drawing/2014/main" id="{C1D04F3B-93B9-4EFB-B64C-A5F9D8302D86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84" name="Rechte verbindingslijn 262">
              <a:extLst>
                <a:ext uri="{FF2B5EF4-FFF2-40B4-BE49-F238E27FC236}">
                  <a16:creationId xmlns:a16="http://schemas.microsoft.com/office/drawing/2014/main" id="{B4DAF6EA-68D1-43DA-B525-76E18B573F2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5" name="Rechte verbindingslijn 263">
              <a:extLst>
                <a:ext uri="{FF2B5EF4-FFF2-40B4-BE49-F238E27FC236}">
                  <a16:creationId xmlns:a16="http://schemas.microsoft.com/office/drawing/2014/main" id="{AB8C44A2-00F9-43D3-B0B5-16EBFA7C65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86" name="Rechthoek 264">
              <a:extLst>
                <a:ext uri="{FF2B5EF4-FFF2-40B4-BE49-F238E27FC236}">
                  <a16:creationId xmlns:a16="http://schemas.microsoft.com/office/drawing/2014/main" id="{F1627388-9FBE-433F-9A3C-540958DBD4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oor deze te selecteren en op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om een nieuwe afbeelding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87" name="Rechte verbindingslijn 265">
              <a:extLst>
                <a:ext uri="{FF2B5EF4-FFF2-40B4-BE49-F238E27FC236}">
                  <a16:creationId xmlns:a16="http://schemas.microsoft.com/office/drawing/2014/main" id="{BD2560AB-E4B1-4FB9-981B-3DEC3D57964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4327957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88" name="Ovaal 266">
              <a:extLst>
                <a:ext uri="{FF2B5EF4-FFF2-40B4-BE49-F238E27FC236}">
                  <a16:creationId xmlns:a16="http://schemas.microsoft.com/office/drawing/2014/main" id="{7C416F0E-0568-4E3F-8ADB-8E61AD2BBB8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89" name="Rechthoek 267">
              <a:extLst>
                <a:ext uri="{FF2B5EF4-FFF2-40B4-BE49-F238E27FC236}">
                  <a16:creationId xmlns:a16="http://schemas.microsoft.com/office/drawing/2014/main" id="{A292EE0D-C7E6-4B85-8288-EC2F31433C3A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90" name="Groep 268">
              <a:extLst>
                <a:ext uri="{FF2B5EF4-FFF2-40B4-BE49-F238E27FC236}">
                  <a16:creationId xmlns:a16="http://schemas.microsoft.com/office/drawing/2014/main" id="{9E9A9367-EC6B-4197-8FA0-96E1F9E5F9D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34" name="Rechthoek 302">
                <a:extLst>
                  <a:ext uri="{FF2B5EF4-FFF2-40B4-BE49-F238E27FC236}">
                    <a16:creationId xmlns:a16="http://schemas.microsoft.com/office/drawing/2014/main" id="{4D54B517-306E-4291-9C4F-81FF2A0113CC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235" name="Rechte verbindingslijn 303">
                <a:extLst>
                  <a:ext uri="{FF2B5EF4-FFF2-40B4-BE49-F238E27FC236}">
                    <a16:creationId xmlns:a16="http://schemas.microsoft.com/office/drawing/2014/main" id="{30203F76-9A47-4493-AEF3-C40FBF3A4F0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36" name="Gelijkbenige driehoek 304">
                <a:extLst>
                  <a:ext uri="{FF2B5EF4-FFF2-40B4-BE49-F238E27FC236}">
                    <a16:creationId xmlns:a16="http://schemas.microsoft.com/office/drawing/2014/main" id="{E9B5BAF1-5630-47EC-9E69-1D5ED2112EC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91" name="Groep 269">
              <a:extLst>
                <a:ext uri="{FF2B5EF4-FFF2-40B4-BE49-F238E27FC236}">
                  <a16:creationId xmlns:a16="http://schemas.microsoft.com/office/drawing/2014/main" id="{D4C40DF4-2EAE-4FA7-9410-36EF66286AF8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228" name="Rechthoek 296">
                <a:extLst>
                  <a:ext uri="{FF2B5EF4-FFF2-40B4-BE49-F238E27FC236}">
                    <a16:creationId xmlns:a16="http://schemas.microsoft.com/office/drawing/2014/main" id="{E1281EFA-DE5E-440E-AEB4-A0490FBC2D7C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9" name="Ovaal 297">
                <a:extLst>
                  <a:ext uri="{FF2B5EF4-FFF2-40B4-BE49-F238E27FC236}">
                    <a16:creationId xmlns:a16="http://schemas.microsoft.com/office/drawing/2014/main" id="{D3DB4830-3508-45C6-BCCA-955F55428B9A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30" name="Vrije vorm: vorm 298">
                <a:extLst>
                  <a:ext uri="{FF2B5EF4-FFF2-40B4-BE49-F238E27FC236}">
                    <a16:creationId xmlns:a16="http://schemas.microsoft.com/office/drawing/2014/main" id="{89D30EF8-3A2D-4463-85F4-2CBF0D46C74E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31" name="Rechthoek: afgeronde hoeken 299">
                <a:extLst>
                  <a:ext uri="{FF2B5EF4-FFF2-40B4-BE49-F238E27FC236}">
                    <a16:creationId xmlns:a16="http://schemas.microsoft.com/office/drawing/2014/main" id="{7A73EC4B-5214-4DEC-AC2F-BCB91590585E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232" name="Rechte verbindingslijn 300">
                <a:extLst>
                  <a:ext uri="{FF2B5EF4-FFF2-40B4-BE49-F238E27FC236}">
                    <a16:creationId xmlns:a16="http://schemas.microsoft.com/office/drawing/2014/main" id="{F4AFDC55-B06C-409E-A49C-EB62D8188EC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33" name="Rechte verbindingslijn 301">
                <a:extLst>
                  <a:ext uri="{FF2B5EF4-FFF2-40B4-BE49-F238E27FC236}">
                    <a16:creationId xmlns:a16="http://schemas.microsoft.com/office/drawing/2014/main" id="{0A1A0432-1DE3-4078-B7F3-CDD89C48551C}"/>
                  </a:ext>
                </a:extLst>
              </p:cNvPr>
              <p:cNvCxnSpPr>
                <a:cxnSpLocks/>
                <a:stCxn id="23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92" name="Ovaal 270">
              <a:extLst>
                <a:ext uri="{FF2B5EF4-FFF2-40B4-BE49-F238E27FC236}">
                  <a16:creationId xmlns:a16="http://schemas.microsoft.com/office/drawing/2014/main" id="{F5E4CE74-BC6B-42D9-BDEB-33BB16E7B23A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93" name="Rechthoek 271">
              <a:extLst>
                <a:ext uri="{FF2B5EF4-FFF2-40B4-BE49-F238E27FC236}">
                  <a16:creationId xmlns:a16="http://schemas.microsoft.com/office/drawing/2014/main" id="{AD1B83CB-D7B9-4260-8F3A-EE29E5ACAEC1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43320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aan de linker kant van het scherm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94" name="Rechte verbindingslijn 272">
              <a:extLst>
                <a:ext uri="{FF2B5EF4-FFF2-40B4-BE49-F238E27FC236}">
                  <a16:creationId xmlns:a16="http://schemas.microsoft.com/office/drawing/2014/main" id="{7B5D5B99-21DA-48B1-8DF4-253EF8E61C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95" name="Rechthoek 273">
              <a:extLst>
                <a:ext uri="{FF2B5EF4-FFF2-40B4-BE49-F238E27FC236}">
                  <a16:creationId xmlns:a16="http://schemas.microsoft.com/office/drawing/2014/main" id="{B25F762E-81F0-466F-81CB-4B14AA19F0AD}"/>
                </a:ext>
              </a:extLst>
            </p:cNvPr>
            <p:cNvSpPr/>
            <p:nvPr userDrawn="1"/>
          </p:nvSpPr>
          <p:spPr>
            <a:xfrm>
              <a:off x="12654153" y="3238910"/>
              <a:ext cx="1624926" cy="805220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3509" b="0" i="1" noProof="0">
                <a:solidFill>
                  <a:schemeClr val="tx1"/>
                </a:solidFill>
              </a:endParaRPr>
            </a:p>
          </p:txBody>
        </p:sp>
        <p:grpSp>
          <p:nvGrpSpPr>
            <p:cNvPr id="196" name="Groep 274">
              <a:extLst>
                <a:ext uri="{FF2B5EF4-FFF2-40B4-BE49-F238E27FC236}">
                  <a16:creationId xmlns:a16="http://schemas.microsoft.com/office/drawing/2014/main" id="{38715314-EC12-4872-85F5-DC48D0434C73}"/>
                </a:ext>
              </a:extLst>
            </p:cNvPr>
            <p:cNvGrpSpPr/>
            <p:nvPr userDrawn="1"/>
          </p:nvGrpSpPr>
          <p:grpSpPr>
            <a:xfrm>
              <a:off x="13614067" y="3535184"/>
              <a:ext cx="1195438" cy="678267"/>
              <a:chOff x="12757284" y="3224292"/>
              <a:chExt cx="1195438" cy="678267"/>
            </a:xfrm>
          </p:grpSpPr>
          <p:sp>
            <p:nvSpPr>
              <p:cNvPr id="197" name="Rechthoek 275">
                <a:extLst>
                  <a:ext uri="{FF2B5EF4-FFF2-40B4-BE49-F238E27FC236}">
                    <a16:creationId xmlns:a16="http://schemas.microsoft.com/office/drawing/2014/main" id="{6E8BB704-40C6-478D-B37E-A6BA473827BF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8" name="Rechthoek 276">
                <a:extLst>
                  <a:ext uri="{FF2B5EF4-FFF2-40B4-BE49-F238E27FC236}">
                    <a16:creationId xmlns:a16="http://schemas.microsoft.com/office/drawing/2014/main" id="{E8EE5A6A-267B-4CDF-AEB4-071D93D5BDAF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99" name="Groep 277">
                <a:extLst>
                  <a:ext uri="{FF2B5EF4-FFF2-40B4-BE49-F238E27FC236}">
                    <a16:creationId xmlns:a16="http://schemas.microsoft.com/office/drawing/2014/main" id="{12B5F916-2745-4DFA-B42C-7DECFBCDDF6A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212" name="Rechthoek: afgeronde hoeken 290">
                  <a:extLst>
                    <a:ext uri="{FF2B5EF4-FFF2-40B4-BE49-F238E27FC236}">
                      <a16:creationId xmlns:a16="http://schemas.microsoft.com/office/drawing/2014/main" id="{C4F0991F-8969-46A5-8299-C281E112BCC2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endPara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3" name="Rechthoek 291">
                  <a:extLst>
                    <a:ext uri="{FF2B5EF4-FFF2-40B4-BE49-F238E27FC236}">
                      <a16:creationId xmlns:a16="http://schemas.microsoft.com/office/drawing/2014/main" id="{BAD4FCAD-85E5-47C8-B0D6-AF159002D671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4" name="Rechthoek 292">
                  <a:extLst>
                    <a:ext uri="{FF2B5EF4-FFF2-40B4-BE49-F238E27FC236}">
                      <a16:creationId xmlns:a16="http://schemas.microsoft.com/office/drawing/2014/main" id="{DF8003A9-7C16-443C-9218-30B8D63A2977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5" name="Rechthoek 293">
                  <a:extLst>
                    <a:ext uri="{FF2B5EF4-FFF2-40B4-BE49-F238E27FC236}">
                      <a16:creationId xmlns:a16="http://schemas.microsoft.com/office/drawing/2014/main" id="{BEEB4E54-3D33-4D16-87E2-1170DECB06D2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6" name="Rechthoek 294">
                  <a:extLst>
                    <a:ext uri="{FF2B5EF4-FFF2-40B4-BE49-F238E27FC236}">
                      <a16:creationId xmlns:a16="http://schemas.microsoft.com/office/drawing/2014/main" id="{F9EEE1F0-8B23-4C7B-AE93-E83209BF8757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7" name="Rechthoek 295">
                  <a:extLst>
                    <a:ext uri="{FF2B5EF4-FFF2-40B4-BE49-F238E27FC236}">
                      <a16:creationId xmlns:a16="http://schemas.microsoft.com/office/drawing/2014/main" id="{6CCAE864-0170-472F-B125-677A87BBBD84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200" name="Groep 278">
                <a:extLst>
                  <a:ext uri="{FF2B5EF4-FFF2-40B4-BE49-F238E27FC236}">
                    <a16:creationId xmlns:a16="http://schemas.microsoft.com/office/drawing/2014/main" id="{56741DF2-7BA3-4325-A837-64B6FFAE3D26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204" name="Groep 282">
                  <a:extLst>
                    <a:ext uri="{FF2B5EF4-FFF2-40B4-BE49-F238E27FC236}">
                      <a16:creationId xmlns:a16="http://schemas.microsoft.com/office/drawing/2014/main" id="{FEDC01BC-36E6-4C21-810B-9897256EFBEB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206" name="Rechthoek: afgeronde hoeken 284">
                    <a:extLst>
                      <a:ext uri="{FF2B5EF4-FFF2-40B4-BE49-F238E27FC236}">
                        <a16:creationId xmlns:a16="http://schemas.microsoft.com/office/drawing/2014/main" id="{16578572-7E06-4290-949B-61109C8A2FE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2105"/>
                      </a:spcBef>
                      <a:spcAft>
                        <a:spcPts val="2105"/>
                      </a:spcAft>
                    </a:pPr>
                    <a:endParaRPr lang="nl-NL" sz="280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07" name="Rechthoek 285">
                    <a:extLst>
                      <a:ext uri="{FF2B5EF4-FFF2-40B4-BE49-F238E27FC236}">
                        <a16:creationId xmlns:a16="http://schemas.microsoft.com/office/drawing/2014/main" id="{6410265C-9D29-47DF-87A6-E033C3F610E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8" name="Rechthoek 286">
                    <a:extLst>
                      <a:ext uri="{FF2B5EF4-FFF2-40B4-BE49-F238E27FC236}">
                        <a16:creationId xmlns:a16="http://schemas.microsoft.com/office/drawing/2014/main" id="{6F0FEA28-254F-4A16-92A2-29867CCCBB7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9" name="Rechthoek 287">
                    <a:extLst>
                      <a:ext uri="{FF2B5EF4-FFF2-40B4-BE49-F238E27FC236}">
                        <a16:creationId xmlns:a16="http://schemas.microsoft.com/office/drawing/2014/main" id="{E2177107-446F-40BA-B2A8-FF6B4D886D5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0" name="Rechthoek 288">
                    <a:extLst>
                      <a:ext uri="{FF2B5EF4-FFF2-40B4-BE49-F238E27FC236}">
                        <a16:creationId xmlns:a16="http://schemas.microsoft.com/office/drawing/2014/main" id="{4DE5D972-03E6-4AF7-8893-7D492261D0F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1" name="Rechthoek 289">
                    <a:extLst>
                      <a:ext uri="{FF2B5EF4-FFF2-40B4-BE49-F238E27FC236}">
                        <a16:creationId xmlns:a16="http://schemas.microsoft.com/office/drawing/2014/main" id="{1C842460-5630-4292-8F0C-73C8F82F52E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205" name="Boog 283">
                  <a:extLst>
                    <a:ext uri="{FF2B5EF4-FFF2-40B4-BE49-F238E27FC236}">
                      <a16:creationId xmlns:a16="http://schemas.microsoft.com/office/drawing/2014/main" id="{27C64B2C-2F70-4C27-82DA-A52F19F38C0E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</p:grpSp>
          <p:sp>
            <p:nvSpPr>
              <p:cNvPr id="201" name="Tekstvak 279">
                <a:extLst>
                  <a:ext uri="{FF2B5EF4-FFF2-40B4-BE49-F238E27FC236}">
                    <a16:creationId xmlns:a16="http://schemas.microsoft.com/office/drawing/2014/main" id="{CD7E2612-2AEF-4C1D-8C44-62DE8A136EAD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202" name="Tekstvak 280">
                <a:extLst>
                  <a:ext uri="{FF2B5EF4-FFF2-40B4-BE49-F238E27FC236}">
                    <a16:creationId xmlns:a16="http://schemas.microsoft.com/office/drawing/2014/main" id="{0E7A3664-C29E-4F66-B81B-9C375EF647E3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203" name="Picture 3">
                <a:extLst>
                  <a:ext uri="{FF2B5EF4-FFF2-40B4-BE49-F238E27FC236}">
                    <a16:creationId xmlns:a16="http://schemas.microsoft.com/office/drawing/2014/main" id="{610BCC81-F8D1-4CD3-9B57-33536D7ED87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810206" y="3671228"/>
                <a:ext cx="14251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grpSp>
        <p:nvGrpSpPr>
          <p:cNvPr id="76" name="Instructie">
            <a:extLst>
              <a:ext uri="{FF2B5EF4-FFF2-40B4-BE49-F238E27FC236}">
                <a16:creationId xmlns:a16="http://schemas.microsoft.com/office/drawing/2014/main" id="{4603085B-E399-4832-BCA3-76BCA627EC71}"/>
              </a:ext>
            </a:extLst>
          </p:cNvPr>
          <p:cNvGrpSpPr/>
          <p:nvPr userDrawn="1"/>
        </p:nvGrpSpPr>
        <p:grpSpPr>
          <a:xfrm>
            <a:off x="-11761540" y="0"/>
            <a:ext cx="11164508" cy="11743958"/>
            <a:chOff x="-3426088" y="4512342"/>
            <a:chExt cx="3182755" cy="2660264"/>
          </a:xfrm>
        </p:grpSpPr>
        <p:sp>
          <p:nvSpPr>
            <p:cNvPr id="77" name="Rechthoek 127">
              <a:extLst>
                <a:ext uri="{FF2B5EF4-FFF2-40B4-BE49-F238E27FC236}">
                  <a16:creationId xmlns:a16="http://schemas.microsoft.com/office/drawing/2014/main" id="{BFF4F3EC-F7CC-4926-BA67-59424C7E9E81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78" name="Rechte verbindingslijn 128">
              <a:extLst>
                <a:ext uri="{FF2B5EF4-FFF2-40B4-BE49-F238E27FC236}">
                  <a16:creationId xmlns:a16="http://schemas.microsoft.com/office/drawing/2014/main" id="{358CBB5E-9BA0-4D4A-98F7-43DBDCD5E0B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79" name="Rechthoek 130">
              <a:extLst>
                <a:ext uri="{FF2B5EF4-FFF2-40B4-BE49-F238E27FC236}">
                  <a16:creationId xmlns:a16="http://schemas.microsoft.com/office/drawing/2014/main" id="{E340B0A1-85BF-4C01-B9EB-3B2C78ECB25B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80" name="Rechthoek 133">
              <a:extLst>
                <a:ext uri="{FF2B5EF4-FFF2-40B4-BE49-F238E27FC236}">
                  <a16:creationId xmlns:a16="http://schemas.microsoft.com/office/drawing/2014/main" id="{2CBCD737-B2C3-4FF2-9C2B-260B623D367D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1" name="Rechthoek 136">
              <a:extLst>
                <a:ext uri="{FF2B5EF4-FFF2-40B4-BE49-F238E27FC236}">
                  <a16:creationId xmlns:a16="http://schemas.microsoft.com/office/drawing/2014/main" id="{592CF995-A6E6-4755-95C6-53ECB501F2E7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2" name="Rechthoek 139">
              <a:extLst>
                <a:ext uri="{FF2B5EF4-FFF2-40B4-BE49-F238E27FC236}">
                  <a16:creationId xmlns:a16="http://schemas.microsoft.com/office/drawing/2014/main" id="{79B706D0-8D58-40F3-8D42-6BF01C3F95ED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83" name="Rechte verbindingslijn 140">
              <a:extLst>
                <a:ext uri="{FF2B5EF4-FFF2-40B4-BE49-F238E27FC236}">
                  <a16:creationId xmlns:a16="http://schemas.microsoft.com/office/drawing/2014/main" id="{7E4623E2-3B20-49B9-8388-C465BE6F0EB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C7F23BAD-09D9-4D71-9A55-ADE82665CE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7984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kst 100%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1742374" y="6476677"/>
            <a:ext cx="39282480" cy="19046186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 marL="1269631" indent="-634816">
              <a:buFont typeface="Arial" panose="020B0604020202020204" pitchFamily="34" charset="0"/>
              <a:buChar char="•"/>
              <a:defRPr sz="4911" baseline="0">
                <a:latin typeface="+mj-lt"/>
              </a:defRPr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D493E421-713B-4AD0-8E5B-41C84D6EBA53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2" y="27329718"/>
            <a:ext cx="857527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grpSp>
        <p:nvGrpSpPr>
          <p:cNvPr id="90" name="Groep 101">
            <a:extLst>
              <a:ext uri="{FF2B5EF4-FFF2-40B4-BE49-F238E27FC236}">
                <a16:creationId xmlns:a16="http://schemas.microsoft.com/office/drawing/2014/main" id="{7D9D6E6F-BF3A-44DC-88FE-CF4E8F628DDE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91" name="Rechthoek 102">
              <a:extLst>
                <a:ext uri="{FF2B5EF4-FFF2-40B4-BE49-F238E27FC236}">
                  <a16:creationId xmlns:a16="http://schemas.microsoft.com/office/drawing/2014/main" id="{37CA0D0F-12A5-4201-976F-06942DBCFFFA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92" name="Ovaal 103">
              <a:extLst>
                <a:ext uri="{FF2B5EF4-FFF2-40B4-BE49-F238E27FC236}">
                  <a16:creationId xmlns:a16="http://schemas.microsoft.com/office/drawing/2014/main" id="{0646EDFD-6373-4F6F-8E31-14F73E60EA1E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3" name="Rechte verbindingslijn 104">
              <a:extLst>
                <a:ext uri="{FF2B5EF4-FFF2-40B4-BE49-F238E27FC236}">
                  <a16:creationId xmlns:a16="http://schemas.microsoft.com/office/drawing/2014/main" id="{0E087D4F-B08D-4F9A-B39E-332FC4922B1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94" name="Groep 105">
              <a:extLst>
                <a:ext uri="{FF2B5EF4-FFF2-40B4-BE49-F238E27FC236}">
                  <a16:creationId xmlns:a16="http://schemas.microsoft.com/office/drawing/2014/main" id="{7F6F8995-7C86-430C-BD63-9B055553949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00" name="Rechthoek 130">
                <a:extLst>
                  <a:ext uri="{FF2B5EF4-FFF2-40B4-BE49-F238E27FC236}">
                    <a16:creationId xmlns:a16="http://schemas.microsoft.com/office/drawing/2014/main" id="{4B74CFD1-5C3C-4C56-A9B9-94F691BF4391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201" name="Rechte verbindingslijn 131">
                <a:extLst>
                  <a:ext uri="{FF2B5EF4-FFF2-40B4-BE49-F238E27FC236}">
                    <a16:creationId xmlns:a16="http://schemas.microsoft.com/office/drawing/2014/main" id="{76DEC1FA-47A6-47A9-B779-81092037771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2" name="Rechte verbindingslijn 132">
                <a:extLst>
                  <a:ext uri="{FF2B5EF4-FFF2-40B4-BE49-F238E27FC236}">
                    <a16:creationId xmlns:a16="http://schemas.microsoft.com/office/drawing/2014/main" id="{85D77F55-989B-4AC7-B452-73FC8199E20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03" name="Rechthoek 133">
                <a:extLst>
                  <a:ext uri="{FF2B5EF4-FFF2-40B4-BE49-F238E27FC236}">
                    <a16:creationId xmlns:a16="http://schemas.microsoft.com/office/drawing/2014/main" id="{A39CBC68-AB8A-4992-A0D2-E9BC4FF7109D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04" name="Groep 134">
                <a:extLst>
                  <a:ext uri="{FF2B5EF4-FFF2-40B4-BE49-F238E27FC236}">
                    <a16:creationId xmlns:a16="http://schemas.microsoft.com/office/drawing/2014/main" id="{7BB51017-C6F1-44ED-96D2-951EBF69CADD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43" name="Groep 175">
                  <a:extLst>
                    <a:ext uri="{FF2B5EF4-FFF2-40B4-BE49-F238E27FC236}">
                      <a16:creationId xmlns:a16="http://schemas.microsoft.com/office/drawing/2014/main" id="{1953400F-9E56-491B-B43A-09778411514B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47" name="Rechte verbindingslijn 179">
                    <a:extLst>
                      <a:ext uri="{FF2B5EF4-FFF2-40B4-BE49-F238E27FC236}">
                        <a16:creationId xmlns:a16="http://schemas.microsoft.com/office/drawing/2014/main" id="{D0810279-FF56-4F22-95BF-5E9E9B896F6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8" name="Rechte verbindingslijn 180">
                    <a:extLst>
                      <a:ext uri="{FF2B5EF4-FFF2-40B4-BE49-F238E27FC236}">
                        <a16:creationId xmlns:a16="http://schemas.microsoft.com/office/drawing/2014/main" id="{14CB314A-88CC-4861-8B93-1E3B2B3DEDA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9" name="Rechte verbindingslijn 181">
                    <a:extLst>
                      <a:ext uri="{FF2B5EF4-FFF2-40B4-BE49-F238E27FC236}">
                        <a16:creationId xmlns:a16="http://schemas.microsoft.com/office/drawing/2014/main" id="{B7E55AE2-3AFA-40F5-AFBB-D5547CF731B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0" name="Rechte verbindingslijn 182">
                    <a:extLst>
                      <a:ext uri="{FF2B5EF4-FFF2-40B4-BE49-F238E27FC236}">
                        <a16:creationId xmlns:a16="http://schemas.microsoft.com/office/drawing/2014/main" id="{5B11E2AD-0A4F-4F26-82F1-27B9EF0EF11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1" name="Rechte verbindingslijn 183">
                    <a:extLst>
                      <a:ext uri="{FF2B5EF4-FFF2-40B4-BE49-F238E27FC236}">
                        <a16:creationId xmlns:a16="http://schemas.microsoft.com/office/drawing/2014/main" id="{4303D616-939B-4FE8-BF77-0D97FD15CB0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4" name="Groep 176">
                  <a:extLst>
                    <a:ext uri="{FF2B5EF4-FFF2-40B4-BE49-F238E27FC236}">
                      <a16:creationId xmlns:a16="http://schemas.microsoft.com/office/drawing/2014/main" id="{1ADDFCFD-6575-449A-A687-DCDC5E86E65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45" name="Rechthoek 177">
                    <a:extLst>
                      <a:ext uri="{FF2B5EF4-FFF2-40B4-BE49-F238E27FC236}">
                        <a16:creationId xmlns:a16="http://schemas.microsoft.com/office/drawing/2014/main" id="{3BDF6D58-83EC-4BB0-BEB8-C430AAEF44A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46" name="Pijl: punthaak 178">
                    <a:extLst>
                      <a:ext uri="{FF2B5EF4-FFF2-40B4-BE49-F238E27FC236}">
                        <a16:creationId xmlns:a16="http://schemas.microsoft.com/office/drawing/2014/main" id="{68141BD0-EC99-4FE3-A1B7-69F1A2DCC6F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05" name="Groep 135">
                <a:extLst>
                  <a:ext uri="{FF2B5EF4-FFF2-40B4-BE49-F238E27FC236}">
                    <a16:creationId xmlns:a16="http://schemas.microsoft.com/office/drawing/2014/main" id="{8706C9C8-B566-483E-8002-435BEACCE63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34" name="Groep 166">
                  <a:extLst>
                    <a:ext uri="{FF2B5EF4-FFF2-40B4-BE49-F238E27FC236}">
                      <a16:creationId xmlns:a16="http://schemas.microsoft.com/office/drawing/2014/main" id="{9297A6C5-5392-4349-A2E4-C0C563C91354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38" name="Rechte verbindingslijn 170">
                    <a:extLst>
                      <a:ext uri="{FF2B5EF4-FFF2-40B4-BE49-F238E27FC236}">
                        <a16:creationId xmlns:a16="http://schemas.microsoft.com/office/drawing/2014/main" id="{ADB6CEB5-72F6-4771-BA16-322D2E559E8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9" name="Rechte verbindingslijn 171">
                    <a:extLst>
                      <a:ext uri="{FF2B5EF4-FFF2-40B4-BE49-F238E27FC236}">
                        <a16:creationId xmlns:a16="http://schemas.microsoft.com/office/drawing/2014/main" id="{0D11CCD3-62E7-4777-9F29-563AA2BE268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0" name="Rechte verbindingslijn 172">
                    <a:extLst>
                      <a:ext uri="{FF2B5EF4-FFF2-40B4-BE49-F238E27FC236}">
                        <a16:creationId xmlns:a16="http://schemas.microsoft.com/office/drawing/2014/main" id="{DE0A8448-2EB9-43E1-9726-9F3C33A0734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1" name="Rechte verbindingslijn 173">
                    <a:extLst>
                      <a:ext uri="{FF2B5EF4-FFF2-40B4-BE49-F238E27FC236}">
                        <a16:creationId xmlns:a16="http://schemas.microsoft.com/office/drawing/2014/main" id="{4D0C8DE6-6462-49C9-9BF6-60F1DA0518E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2" name="Rechte verbindingslijn 174">
                    <a:extLst>
                      <a:ext uri="{FF2B5EF4-FFF2-40B4-BE49-F238E27FC236}">
                        <a16:creationId xmlns:a16="http://schemas.microsoft.com/office/drawing/2014/main" id="{C9706186-5410-47AB-9DA4-388F29E96E2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35" name="Groep 167">
                  <a:extLst>
                    <a:ext uri="{FF2B5EF4-FFF2-40B4-BE49-F238E27FC236}">
                      <a16:creationId xmlns:a16="http://schemas.microsoft.com/office/drawing/2014/main" id="{B60952FD-B219-4DF7-AF41-1C75876F83BF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36" name="Rechthoek 168">
                    <a:extLst>
                      <a:ext uri="{FF2B5EF4-FFF2-40B4-BE49-F238E27FC236}">
                        <a16:creationId xmlns:a16="http://schemas.microsoft.com/office/drawing/2014/main" id="{08019ECC-11EB-43DC-AFCD-DF3199F0D4E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7" name="Pijl: punthaak 169">
                    <a:extLst>
                      <a:ext uri="{FF2B5EF4-FFF2-40B4-BE49-F238E27FC236}">
                        <a16:creationId xmlns:a16="http://schemas.microsoft.com/office/drawing/2014/main" id="{02328CFC-DD90-403D-BC10-5270E3C2230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06" name="Rechte verbindingslijn 136">
                <a:extLst>
                  <a:ext uri="{FF2B5EF4-FFF2-40B4-BE49-F238E27FC236}">
                    <a16:creationId xmlns:a16="http://schemas.microsoft.com/office/drawing/2014/main" id="{A7B7677D-36AA-4199-AF03-12CBF827734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07" name="Rechte verbindingslijn 137">
                <a:extLst>
                  <a:ext uri="{FF2B5EF4-FFF2-40B4-BE49-F238E27FC236}">
                    <a16:creationId xmlns:a16="http://schemas.microsoft.com/office/drawing/2014/main" id="{03F1E014-F753-4665-BC0E-C427E567ED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08" name="Groep 138">
                <a:extLst>
                  <a:ext uri="{FF2B5EF4-FFF2-40B4-BE49-F238E27FC236}">
                    <a16:creationId xmlns:a16="http://schemas.microsoft.com/office/drawing/2014/main" id="{37C75C16-9D37-4E0A-9D4E-21533047CC79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23" name="Rechthoek 155">
                  <a:extLst>
                    <a:ext uri="{FF2B5EF4-FFF2-40B4-BE49-F238E27FC236}">
                      <a16:creationId xmlns:a16="http://schemas.microsoft.com/office/drawing/2014/main" id="{52C858E4-FE31-4CD4-ADDA-136162DD82F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24" name="Groep 156">
                  <a:extLst>
                    <a:ext uri="{FF2B5EF4-FFF2-40B4-BE49-F238E27FC236}">
                      <a16:creationId xmlns:a16="http://schemas.microsoft.com/office/drawing/2014/main" id="{035E6949-6E16-4EF3-B780-EBD4E4BE9AB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25" name="Groep 157">
                    <a:extLst>
                      <a:ext uri="{FF2B5EF4-FFF2-40B4-BE49-F238E27FC236}">
                        <a16:creationId xmlns:a16="http://schemas.microsoft.com/office/drawing/2014/main" id="{1FE1CF85-D831-4AC9-ABF0-34F2DD8731F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29" name="Rechte verbindingslijn 161">
                      <a:extLst>
                        <a:ext uri="{FF2B5EF4-FFF2-40B4-BE49-F238E27FC236}">
                          <a16:creationId xmlns:a16="http://schemas.microsoft.com/office/drawing/2014/main" id="{B1B3F67C-30BE-403B-9B24-5B41CE1A4AA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0" name="Rechte verbindingslijn 162">
                      <a:extLst>
                        <a:ext uri="{FF2B5EF4-FFF2-40B4-BE49-F238E27FC236}">
                          <a16:creationId xmlns:a16="http://schemas.microsoft.com/office/drawing/2014/main" id="{0DE943F8-99ED-4D38-A644-354A5460941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1" name="Rechte verbindingslijn 163">
                      <a:extLst>
                        <a:ext uri="{FF2B5EF4-FFF2-40B4-BE49-F238E27FC236}">
                          <a16:creationId xmlns:a16="http://schemas.microsoft.com/office/drawing/2014/main" id="{9AB9DF86-CAE4-4DF1-B828-A7297CE082E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2" name="Rechte verbindingslijn 164">
                      <a:extLst>
                        <a:ext uri="{FF2B5EF4-FFF2-40B4-BE49-F238E27FC236}">
                          <a16:creationId xmlns:a16="http://schemas.microsoft.com/office/drawing/2014/main" id="{561AF589-D0BA-4A9B-B5ED-ABD1D97E67A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3" name="Rechte verbindingslijn 165">
                      <a:extLst>
                        <a:ext uri="{FF2B5EF4-FFF2-40B4-BE49-F238E27FC236}">
                          <a16:creationId xmlns:a16="http://schemas.microsoft.com/office/drawing/2014/main" id="{6BB8F131-26BF-4F0C-952D-C8A88BA140A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26" name="Groep 158">
                    <a:extLst>
                      <a:ext uri="{FF2B5EF4-FFF2-40B4-BE49-F238E27FC236}">
                        <a16:creationId xmlns:a16="http://schemas.microsoft.com/office/drawing/2014/main" id="{9E47C545-2484-454B-8A96-9662D4C7369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27" name="Rechthoek 159">
                      <a:extLst>
                        <a:ext uri="{FF2B5EF4-FFF2-40B4-BE49-F238E27FC236}">
                          <a16:creationId xmlns:a16="http://schemas.microsoft.com/office/drawing/2014/main" id="{9EF16859-1D76-45EA-95D5-1C84EE80F69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28" name="Pijl: punthaak 160">
                      <a:extLst>
                        <a:ext uri="{FF2B5EF4-FFF2-40B4-BE49-F238E27FC236}">
                          <a16:creationId xmlns:a16="http://schemas.microsoft.com/office/drawing/2014/main" id="{7799C6AF-48D4-4D2D-8EB0-99D9E282F8D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09" name="Groep 139">
                <a:extLst>
                  <a:ext uri="{FF2B5EF4-FFF2-40B4-BE49-F238E27FC236}">
                    <a16:creationId xmlns:a16="http://schemas.microsoft.com/office/drawing/2014/main" id="{57FFFA81-2EC7-43ED-81BD-20CC83FDD94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12" name="Rechthoek 142">
                  <a:extLst>
                    <a:ext uri="{FF2B5EF4-FFF2-40B4-BE49-F238E27FC236}">
                      <a16:creationId xmlns:a16="http://schemas.microsoft.com/office/drawing/2014/main" id="{38C31DCD-60DE-4271-B7F6-40150A353702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13" name="Groep 143">
                  <a:extLst>
                    <a:ext uri="{FF2B5EF4-FFF2-40B4-BE49-F238E27FC236}">
                      <a16:creationId xmlns:a16="http://schemas.microsoft.com/office/drawing/2014/main" id="{EB5D3051-FFA7-4B9A-AAB2-C9107AD33F7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14" name="Groep 144">
                    <a:extLst>
                      <a:ext uri="{FF2B5EF4-FFF2-40B4-BE49-F238E27FC236}">
                        <a16:creationId xmlns:a16="http://schemas.microsoft.com/office/drawing/2014/main" id="{D7C30D4B-9D74-474A-B9E5-3A3CB6098E1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18" name="Rechte verbindingslijn 150">
                      <a:extLst>
                        <a:ext uri="{FF2B5EF4-FFF2-40B4-BE49-F238E27FC236}">
                          <a16:creationId xmlns:a16="http://schemas.microsoft.com/office/drawing/2014/main" id="{5201577B-759A-49DB-9B95-9176C0FA2F9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9" name="Rechte verbindingslijn 151">
                      <a:extLst>
                        <a:ext uri="{FF2B5EF4-FFF2-40B4-BE49-F238E27FC236}">
                          <a16:creationId xmlns:a16="http://schemas.microsoft.com/office/drawing/2014/main" id="{A22F2502-D9F9-4F1C-8F3D-F42C1AF5532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0" name="Rechte verbindingslijn 152">
                      <a:extLst>
                        <a:ext uri="{FF2B5EF4-FFF2-40B4-BE49-F238E27FC236}">
                          <a16:creationId xmlns:a16="http://schemas.microsoft.com/office/drawing/2014/main" id="{2129D23D-5963-4821-86A0-9CF0D9CB0D7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1" name="Rechte verbindingslijn 153">
                      <a:extLst>
                        <a:ext uri="{FF2B5EF4-FFF2-40B4-BE49-F238E27FC236}">
                          <a16:creationId xmlns:a16="http://schemas.microsoft.com/office/drawing/2014/main" id="{A20AA3D3-04E8-492A-B6D8-8BE729286AC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2" name="Rechte verbindingslijn 154">
                      <a:extLst>
                        <a:ext uri="{FF2B5EF4-FFF2-40B4-BE49-F238E27FC236}">
                          <a16:creationId xmlns:a16="http://schemas.microsoft.com/office/drawing/2014/main" id="{E20EBDDC-D8AA-460A-85F4-5817E445CBC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5" name="Groep 147">
                    <a:extLst>
                      <a:ext uri="{FF2B5EF4-FFF2-40B4-BE49-F238E27FC236}">
                        <a16:creationId xmlns:a16="http://schemas.microsoft.com/office/drawing/2014/main" id="{A8D2A786-C025-4816-B13F-7A73A1161D98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6" name="Rechthoek 148">
                      <a:extLst>
                        <a:ext uri="{FF2B5EF4-FFF2-40B4-BE49-F238E27FC236}">
                          <a16:creationId xmlns:a16="http://schemas.microsoft.com/office/drawing/2014/main" id="{EB018AC6-7E0F-478B-9049-05A4AB1CCE1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17" name="Pijl: punthaak 149">
                      <a:extLst>
                        <a:ext uri="{FF2B5EF4-FFF2-40B4-BE49-F238E27FC236}">
                          <a16:creationId xmlns:a16="http://schemas.microsoft.com/office/drawing/2014/main" id="{FBB6F124-B31B-444C-A6B9-55BDD7C6B60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10" name="Rechthoek 140">
                <a:extLst>
                  <a:ext uri="{FF2B5EF4-FFF2-40B4-BE49-F238E27FC236}">
                    <a16:creationId xmlns:a16="http://schemas.microsoft.com/office/drawing/2014/main" id="{C253A169-87E9-4E85-833C-4DA4CC89A103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211" name="Rechthoek 141">
                <a:extLst>
                  <a:ext uri="{FF2B5EF4-FFF2-40B4-BE49-F238E27FC236}">
                    <a16:creationId xmlns:a16="http://schemas.microsoft.com/office/drawing/2014/main" id="{B58B4BB1-2A82-4A05-AAA8-F7CDE955FBCC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95" name="Rechte verbindingslijn 106">
              <a:extLst>
                <a:ext uri="{FF2B5EF4-FFF2-40B4-BE49-F238E27FC236}">
                  <a16:creationId xmlns:a16="http://schemas.microsoft.com/office/drawing/2014/main" id="{CFFBA893-7635-4373-8FE1-1E4FFA41D88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6" name="Rechthoek 107">
              <a:extLst>
                <a:ext uri="{FF2B5EF4-FFF2-40B4-BE49-F238E27FC236}">
                  <a16:creationId xmlns:a16="http://schemas.microsoft.com/office/drawing/2014/main" id="{3C2E566F-715E-46C0-B6EC-4591D7FC1F80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97" name="Ovaal 108">
              <a:extLst>
                <a:ext uri="{FF2B5EF4-FFF2-40B4-BE49-F238E27FC236}">
                  <a16:creationId xmlns:a16="http://schemas.microsoft.com/office/drawing/2014/main" id="{7F707FFA-F730-458D-B71B-1D92EC1DDEF1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98" name="Rechthoek 109">
              <a:extLst>
                <a:ext uri="{FF2B5EF4-FFF2-40B4-BE49-F238E27FC236}">
                  <a16:creationId xmlns:a16="http://schemas.microsoft.com/office/drawing/2014/main" id="{21A190AA-481C-447D-A4CA-9FF7079BAFA1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99" name="Ovaal 110">
              <a:extLst>
                <a:ext uri="{FF2B5EF4-FFF2-40B4-BE49-F238E27FC236}">
                  <a16:creationId xmlns:a16="http://schemas.microsoft.com/office/drawing/2014/main" id="{89FDB587-7218-4128-ADA6-D0B10655E3CD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0" name="Rechthoek 111">
              <a:extLst>
                <a:ext uri="{FF2B5EF4-FFF2-40B4-BE49-F238E27FC236}">
                  <a16:creationId xmlns:a16="http://schemas.microsoft.com/office/drawing/2014/main" id="{40F1166A-B49F-4EEA-8405-7244D5C3AEB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1" name="Ovaal 112">
              <a:extLst>
                <a:ext uri="{FF2B5EF4-FFF2-40B4-BE49-F238E27FC236}">
                  <a16:creationId xmlns:a16="http://schemas.microsoft.com/office/drawing/2014/main" id="{0548718A-613A-4319-948B-72344DB6EA6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113">
              <a:extLst>
                <a:ext uri="{FF2B5EF4-FFF2-40B4-BE49-F238E27FC236}">
                  <a16:creationId xmlns:a16="http://schemas.microsoft.com/office/drawing/2014/main" id="{828F1095-7690-43DE-9F4E-6E30B3C174A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147" name="Ovaal 114">
              <a:extLst>
                <a:ext uri="{FF2B5EF4-FFF2-40B4-BE49-F238E27FC236}">
                  <a16:creationId xmlns:a16="http://schemas.microsoft.com/office/drawing/2014/main" id="{E9ACD3E2-0EEA-4F06-8DF2-2EDF08322D0C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5" name="Rechthoek 115">
              <a:extLst>
                <a:ext uri="{FF2B5EF4-FFF2-40B4-BE49-F238E27FC236}">
                  <a16:creationId xmlns:a16="http://schemas.microsoft.com/office/drawing/2014/main" id="{AC41B43D-08F1-4304-BD38-C8343E5AD754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186" name="Rechte verbindingslijn 116">
              <a:extLst>
                <a:ext uri="{FF2B5EF4-FFF2-40B4-BE49-F238E27FC236}">
                  <a16:creationId xmlns:a16="http://schemas.microsoft.com/office/drawing/2014/main" id="{E5DDCEC0-8EED-4BAC-8B9E-352EEB83970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87" name="Meer informatie">
              <a:extLst>
                <a:ext uri="{FF2B5EF4-FFF2-40B4-BE49-F238E27FC236}">
                  <a16:creationId xmlns:a16="http://schemas.microsoft.com/office/drawing/2014/main" id="{758C865C-C19A-4EFD-893A-027B25014C39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197" name="Freeform 101">
                <a:extLst>
                  <a:ext uri="{FF2B5EF4-FFF2-40B4-BE49-F238E27FC236}">
                    <a16:creationId xmlns:a16="http://schemas.microsoft.com/office/drawing/2014/main" id="{7858FFFD-E549-4B3D-812A-5D7DFD8CB26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198" name="Rechthoek 128">
                <a:extLst>
                  <a:ext uri="{FF2B5EF4-FFF2-40B4-BE49-F238E27FC236}">
                    <a16:creationId xmlns:a16="http://schemas.microsoft.com/office/drawing/2014/main" id="{B0FD782D-F60C-4F03-AC89-7906BFAE3D05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99" name="Rechte verbindingslijn 129">
                <a:extLst>
                  <a:ext uri="{FF2B5EF4-FFF2-40B4-BE49-F238E27FC236}">
                    <a16:creationId xmlns:a16="http://schemas.microsoft.com/office/drawing/2014/main" id="{D0EA2925-AC2F-4560-921B-B62DFF70FBC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88" name="Rechthoek 118">
              <a:extLst>
                <a:ext uri="{FF2B5EF4-FFF2-40B4-BE49-F238E27FC236}">
                  <a16:creationId xmlns:a16="http://schemas.microsoft.com/office/drawing/2014/main" id="{D78844F8-83C2-46CF-96EA-53630A7C6CE3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189" name="Ovaal 119">
              <a:extLst>
                <a:ext uri="{FF2B5EF4-FFF2-40B4-BE49-F238E27FC236}">
                  <a16:creationId xmlns:a16="http://schemas.microsoft.com/office/drawing/2014/main" id="{6822EA46-03B6-432E-99DA-AC78FD55D026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90" name="Rechthoek 120">
              <a:extLst>
                <a:ext uri="{FF2B5EF4-FFF2-40B4-BE49-F238E27FC236}">
                  <a16:creationId xmlns:a16="http://schemas.microsoft.com/office/drawing/2014/main" id="{E52BFE46-0522-4503-8782-CF4ACFB81D20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91" name="Ovaal 121">
              <a:extLst>
                <a:ext uri="{FF2B5EF4-FFF2-40B4-BE49-F238E27FC236}">
                  <a16:creationId xmlns:a16="http://schemas.microsoft.com/office/drawing/2014/main" id="{16194C3D-32D0-4012-BE6F-F6A86344525D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92" name="Rechthoek 122">
              <a:extLst>
                <a:ext uri="{FF2B5EF4-FFF2-40B4-BE49-F238E27FC236}">
                  <a16:creationId xmlns:a16="http://schemas.microsoft.com/office/drawing/2014/main" id="{8F07DAB8-6EB9-488A-A442-F71E57DCFE1A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193" name="Ovaal 123">
              <a:extLst>
                <a:ext uri="{FF2B5EF4-FFF2-40B4-BE49-F238E27FC236}">
                  <a16:creationId xmlns:a16="http://schemas.microsoft.com/office/drawing/2014/main" id="{16D7BF4A-5B99-4627-9634-FC27EE9F0BFD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94" name="Rechthoek 124">
              <a:extLst>
                <a:ext uri="{FF2B5EF4-FFF2-40B4-BE49-F238E27FC236}">
                  <a16:creationId xmlns:a16="http://schemas.microsoft.com/office/drawing/2014/main" id="{8DEE18EE-0F6F-41E2-BC47-3856B49496C7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95" name="Rechthoek 125">
              <a:extLst>
                <a:ext uri="{FF2B5EF4-FFF2-40B4-BE49-F238E27FC236}">
                  <a16:creationId xmlns:a16="http://schemas.microsoft.com/office/drawing/2014/main" id="{8A7506A1-81B2-4033-95DC-64483E8E9EC8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196" name="Ovaal 126">
              <a:extLst>
                <a:ext uri="{FF2B5EF4-FFF2-40B4-BE49-F238E27FC236}">
                  <a16:creationId xmlns:a16="http://schemas.microsoft.com/office/drawing/2014/main" id="{ADE05DBE-5B97-472C-8812-37EA03C7CD71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  <p:pic>
        <p:nvPicPr>
          <p:cNvPr id="103" name="Afbeelding 102">
            <a:extLst>
              <a:ext uri="{FF2B5EF4-FFF2-40B4-BE49-F238E27FC236}">
                <a16:creationId xmlns:a16="http://schemas.microsoft.com/office/drawing/2014/main" id="{8E048147-F86F-41C9-80AF-EAB545EEC3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7203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to + Balk 10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-5567" y="-31537"/>
            <a:ext cx="42767257" cy="30306755"/>
          </a:xfrm>
          <a:solidFill>
            <a:schemeClr val="bg1">
              <a:lumMod val="95000"/>
            </a:schemeClr>
          </a:solidFill>
        </p:spPr>
        <p:txBody>
          <a:bodyPr tIns="1440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3" name="Tijdelijke aanduiding voor voettekst 4">
            <a:extLst>
              <a:ext uri="{FF2B5EF4-FFF2-40B4-BE49-F238E27FC236}">
                <a16:creationId xmlns:a16="http://schemas.microsoft.com/office/drawing/2014/main" id="{3FD2C40F-5ED0-4573-8F6F-31F0DA9D46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4" name="Tijdelijke aanduiding voor dianummer 5">
            <a:extLst>
              <a:ext uri="{FF2B5EF4-FFF2-40B4-BE49-F238E27FC236}">
                <a16:creationId xmlns:a16="http://schemas.microsoft.com/office/drawing/2014/main" id="{FDCACBC6-40CE-484B-AC87-549D0BAA4F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7" y="27329718"/>
            <a:ext cx="851960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4" name="Tijdelijke aanduiding voor verticale tekst 2">
            <a:extLst>
              <a:ext uri="{FF2B5EF4-FFF2-40B4-BE49-F238E27FC236}">
                <a16:creationId xmlns:a16="http://schemas.microsoft.com/office/drawing/2014/main" id="{1D71B8A2-5FF8-4862-BD63-087FD3B538C2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-11124" y="5946784"/>
            <a:ext cx="42778377" cy="6438767"/>
          </a:xfrm>
          <a:solidFill>
            <a:schemeClr val="tx2">
              <a:alpha val="82000"/>
            </a:schemeClr>
          </a:solidFill>
        </p:spPr>
        <p:txBody>
          <a:bodyPr vert="horz" lIns="216000" tIns="180000" rIns="216000" bIns="180000" rtlCol="0" anchor="ctr">
            <a:normAutofit/>
          </a:bodyPr>
          <a:lstStyle>
            <a:lvl1pPr marL="0" indent="0" algn="ctr">
              <a:buFontTx/>
              <a:buNone/>
              <a:defRPr lang="en-US" sz="12628" b="0" baseline="0" noProof="0" dirty="0">
                <a:solidFill>
                  <a:schemeClr val="bg1"/>
                </a:solidFill>
              </a:defRPr>
            </a:lvl1pPr>
            <a:lvl2pPr>
              <a:defRPr lang="en-US" noProof="0" dirty="0">
                <a:solidFill>
                  <a:schemeClr val="bg1"/>
                </a:solidFill>
              </a:defRPr>
            </a:lvl2pPr>
            <a:lvl3pPr>
              <a:defRPr lang="en-US" noProof="0" dirty="0">
                <a:solidFill>
                  <a:schemeClr val="bg1"/>
                </a:solidFill>
              </a:defRPr>
            </a:lvl3pPr>
            <a:lvl4pPr>
              <a:defRPr lang="en-US" noProof="0" dirty="0">
                <a:solidFill>
                  <a:schemeClr val="bg1"/>
                </a:solidFill>
              </a:defRPr>
            </a:lvl4pPr>
            <a:lvl5pPr algn="ctr">
              <a:defRPr lang="en-US" sz="12628" b="0" noProof="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/>
              <a:t>Klik om tekst in te voegen</a:t>
            </a:r>
          </a:p>
        </p:txBody>
      </p:sp>
      <p:sp>
        <p:nvSpPr>
          <p:cNvPr id="15" name="Tijdelijke aanduiding voor datum 3">
            <a:extLst>
              <a:ext uri="{FF2B5EF4-FFF2-40B4-BE49-F238E27FC236}">
                <a16:creationId xmlns:a16="http://schemas.microsoft.com/office/drawing/2014/main" id="{C4AEE98B-5CA5-411B-9688-928C7F70CAA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49D2A1-BCAF-464A-ADBC-F90E2254D093}" type="datetime1">
              <a:rPr lang="nl-NL" noProof="0" smtClean="0"/>
              <a:t>26-6-2023</a:t>
            </a:fld>
            <a:endParaRPr lang="nl-NL" noProof="0"/>
          </a:p>
        </p:txBody>
      </p:sp>
      <p:grpSp>
        <p:nvGrpSpPr>
          <p:cNvPr id="173" name="Groep 258">
            <a:extLst>
              <a:ext uri="{FF2B5EF4-FFF2-40B4-BE49-F238E27FC236}">
                <a16:creationId xmlns:a16="http://schemas.microsoft.com/office/drawing/2014/main" id="{C1EFFC3F-9638-4D57-9C97-534AB7CEBD23}"/>
              </a:ext>
            </a:extLst>
          </p:cNvPr>
          <p:cNvGrpSpPr/>
          <p:nvPr userDrawn="1"/>
        </p:nvGrpSpPr>
        <p:grpSpPr>
          <a:xfrm>
            <a:off x="43467416" y="5"/>
            <a:ext cx="11167745" cy="23084356"/>
            <a:chOff x="12391601" y="0"/>
            <a:chExt cx="3183678" cy="5229113"/>
          </a:xfrm>
        </p:grpSpPr>
        <p:grpSp>
          <p:nvGrpSpPr>
            <p:cNvPr id="174" name="Meer informatie">
              <a:extLst>
                <a:ext uri="{FF2B5EF4-FFF2-40B4-BE49-F238E27FC236}">
                  <a16:creationId xmlns:a16="http://schemas.microsoft.com/office/drawing/2014/main" id="{F667BF30-8018-47FD-B527-F0FE71A71227}"/>
                </a:ext>
              </a:extLst>
            </p:cNvPr>
            <p:cNvGrpSpPr/>
            <p:nvPr userDrawn="1"/>
          </p:nvGrpSpPr>
          <p:grpSpPr>
            <a:xfrm>
              <a:off x="12396764" y="4445840"/>
              <a:ext cx="3178515" cy="783273"/>
              <a:chOff x="-3741486" y="3386444"/>
              <a:chExt cx="3178515" cy="783273"/>
            </a:xfrm>
          </p:grpSpPr>
          <p:sp>
            <p:nvSpPr>
              <p:cNvPr id="235" name="Freeform 101">
                <a:extLst>
                  <a:ext uri="{FF2B5EF4-FFF2-40B4-BE49-F238E27FC236}">
                    <a16:creationId xmlns:a16="http://schemas.microsoft.com/office/drawing/2014/main" id="{5E80BC63-2A63-4FDA-B5CD-A7CA400F38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236" name="Rechthoek 306">
                <a:extLst>
                  <a:ext uri="{FF2B5EF4-FFF2-40B4-BE49-F238E27FC236}">
                    <a16:creationId xmlns:a16="http://schemas.microsoft.com/office/drawing/2014/main" id="{689FF9A8-43C3-4406-964F-81D4CAFDCBF0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37" name="Rechte verbindingslijn 307">
                <a:extLst>
                  <a:ext uri="{FF2B5EF4-FFF2-40B4-BE49-F238E27FC236}">
                    <a16:creationId xmlns:a16="http://schemas.microsoft.com/office/drawing/2014/main" id="{5E7D8531-F4E6-425D-A8F2-F9DA26D72C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75" name="Rechthoek 260">
              <a:extLst>
                <a:ext uri="{FF2B5EF4-FFF2-40B4-BE49-F238E27FC236}">
                  <a16:creationId xmlns:a16="http://schemas.microsoft.com/office/drawing/2014/main" id="{6187B742-9185-4FF6-BFAF-312EA12DAABA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176" name="Ovaal 261">
              <a:extLst>
                <a:ext uri="{FF2B5EF4-FFF2-40B4-BE49-F238E27FC236}">
                  <a16:creationId xmlns:a16="http://schemas.microsoft.com/office/drawing/2014/main" id="{F9F2AA75-2B84-4090-AE72-4842E63CAD8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7" name="Rechte verbindingslijn 262">
              <a:extLst>
                <a:ext uri="{FF2B5EF4-FFF2-40B4-BE49-F238E27FC236}">
                  <a16:creationId xmlns:a16="http://schemas.microsoft.com/office/drawing/2014/main" id="{C5B814DC-E462-4AC7-82DD-1D050B7067A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78" name="Rechte verbindingslijn 263">
              <a:extLst>
                <a:ext uri="{FF2B5EF4-FFF2-40B4-BE49-F238E27FC236}">
                  <a16:creationId xmlns:a16="http://schemas.microsoft.com/office/drawing/2014/main" id="{358FFB8B-DB58-4B39-B451-3B230B33A0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9" name="Rechthoek 264">
              <a:extLst>
                <a:ext uri="{FF2B5EF4-FFF2-40B4-BE49-F238E27FC236}">
                  <a16:creationId xmlns:a16="http://schemas.microsoft.com/office/drawing/2014/main" id="{1E0186EA-B3F4-4977-B6C8-B0A55C82EC4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oor deze te selecteren en op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om een nieuwe afbeelding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80" name="Rechte verbindingslijn 265">
              <a:extLst>
                <a:ext uri="{FF2B5EF4-FFF2-40B4-BE49-F238E27FC236}">
                  <a16:creationId xmlns:a16="http://schemas.microsoft.com/office/drawing/2014/main" id="{4CB86C25-16AF-4D7F-876C-0206DA81457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4327957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81" name="Ovaal 266">
              <a:extLst>
                <a:ext uri="{FF2B5EF4-FFF2-40B4-BE49-F238E27FC236}">
                  <a16:creationId xmlns:a16="http://schemas.microsoft.com/office/drawing/2014/main" id="{CDCA5228-950F-4E97-9AB0-CA9BFBCCE7C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82" name="Rechthoek 267">
              <a:extLst>
                <a:ext uri="{FF2B5EF4-FFF2-40B4-BE49-F238E27FC236}">
                  <a16:creationId xmlns:a16="http://schemas.microsoft.com/office/drawing/2014/main" id="{8DAF3E25-27A2-423C-B2AB-29B3EDDBA21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83" name="Groep 268">
              <a:extLst>
                <a:ext uri="{FF2B5EF4-FFF2-40B4-BE49-F238E27FC236}">
                  <a16:creationId xmlns:a16="http://schemas.microsoft.com/office/drawing/2014/main" id="{542482A0-99B6-4164-AE39-A958DBA72BAA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32" name="Rechthoek 302">
                <a:extLst>
                  <a:ext uri="{FF2B5EF4-FFF2-40B4-BE49-F238E27FC236}">
                    <a16:creationId xmlns:a16="http://schemas.microsoft.com/office/drawing/2014/main" id="{F39F8540-2F4A-4394-8149-273296238E71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233" name="Rechte verbindingslijn 303">
                <a:extLst>
                  <a:ext uri="{FF2B5EF4-FFF2-40B4-BE49-F238E27FC236}">
                    <a16:creationId xmlns:a16="http://schemas.microsoft.com/office/drawing/2014/main" id="{06501535-42A3-4EC8-BB29-B9FC044BCC7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34" name="Gelijkbenige driehoek 304">
                <a:extLst>
                  <a:ext uri="{FF2B5EF4-FFF2-40B4-BE49-F238E27FC236}">
                    <a16:creationId xmlns:a16="http://schemas.microsoft.com/office/drawing/2014/main" id="{78A54C8A-AF82-4A15-A3AD-D1ED60EEA7F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84" name="Groep 269">
              <a:extLst>
                <a:ext uri="{FF2B5EF4-FFF2-40B4-BE49-F238E27FC236}">
                  <a16:creationId xmlns:a16="http://schemas.microsoft.com/office/drawing/2014/main" id="{D9F68751-1A39-4A61-A83E-32B1CAABBB9D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211" name="Rechthoek 296">
                <a:extLst>
                  <a:ext uri="{FF2B5EF4-FFF2-40B4-BE49-F238E27FC236}">
                    <a16:creationId xmlns:a16="http://schemas.microsoft.com/office/drawing/2014/main" id="{CE0D5B93-8739-4DFE-94DA-00BC260366E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12" name="Ovaal 297">
                <a:extLst>
                  <a:ext uri="{FF2B5EF4-FFF2-40B4-BE49-F238E27FC236}">
                    <a16:creationId xmlns:a16="http://schemas.microsoft.com/office/drawing/2014/main" id="{CBBBA1E1-9D01-44E3-9225-86D943A0EE3E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Vrije vorm: vorm 298">
                <a:extLst>
                  <a:ext uri="{FF2B5EF4-FFF2-40B4-BE49-F238E27FC236}">
                    <a16:creationId xmlns:a16="http://schemas.microsoft.com/office/drawing/2014/main" id="{DBFDBB89-30E8-4B1A-B33A-1B3138E6E526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9" name="Rechthoek: afgeronde hoeken 299">
                <a:extLst>
                  <a:ext uri="{FF2B5EF4-FFF2-40B4-BE49-F238E27FC236}">
                    <a16:creationId xmlns:a16="http://schemas.microsoft.com/office/drawing/2014/main" id="{999AB046-2619-452F-ACDF-ADC6E68C5425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230" name="Rechte verbindingslijn 300">
                <a:extLst>
                  <a:ext uri="{FF2B5EF4-FFF2-40B4-BE49-F238E27FC236}">
                    <a16:creationId xmlns:a16="http://schemas.microsoft.com/office/drawing/2014/main" id="{A4DB2D6E-8CF7-4684-B700-DF7E7C581C3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31" name="Rechte verbindingslijn 301">
                <a:extLst>
                  <a:ext uri="{FF2B5EF4-FFF2-40B4-BE49-F238E27FC236}">
                    <a16:creationId xmlns:a16="http://schemas.microsoft.com/office/drawing/2014/main" id="{9D4D3B63-E337-4385-BD0C-951DDE56002B}"/>
                  </a:ext>
                </a:extLst>
              </p:cNvPr>
              <p:cNvCxnSpPr>
                <a:cxnSpLocks/>
                <a:stCxn id="229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85" name="Ovaal 270">
              <a:extLst>
                <a:ext uri="{FF2B5EF4-FFF2-40B4-BE49-F238E27FC236}">
                  <a16:creationId xmlns:a16="http://schemas.microsoft.com/office/drawing/2014/main" id="{58C9ED72-D2A8-4EEA-9864-3A615C92B164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86" name="Rechthoek 271">
              <a:extLst>
                <a:ext uri="{FF2B5EF4-FFF2-40B4-BE49-F238E27FC236}">
                  <a16:creationId xmlns:a16="http://schemas.microsoft.com/office/drawing/2014/main" id="{8A432441-0DAA-4B9B-8AA0-D71133FEE396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43320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aan de linker kant van het scherm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87" name="Rechte verbindingslijn 272">
              <a:extLst>
                <a:ext uri="{FF2B5EF4-FFF2-40B4-BE49-F238E27FC236}">
                  <a16:creationId xmlns:a16="http://schemas.microsoft.com/office/drawing/2014/main" id="{8506943D-D6E6-441D-8984-6581D048C39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88" name="Rechthoek 273">
              <a:extLst>
                <a:ext uri="{FF2B5EF4-FFF2-40B4-BE49-F238E27FC236}">
                  <a16:creationId xmlns:a16="http://schemas.microsoft.com/office/drawing/2014/main" id="{3E57D89B-0E56-4A4C-8059-4FB4603F6AF3}"/>
                </a:ext>
              </a:extLst>
            </p:cNvPr>
            <p:cNvSpPr/>
            <p:nvPr userDrawn="1"/>
          </p:nvSpPr>
          <p:spPr>
            <a:xfrm>
              <a:off x="12654153" y="3238910"/>
              <a:ext cx="1624926" cy="805220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3509" b="0" i="1" noProof="0">
                <a:solidFill>
                  <a:schemeClr val="tx1"/>
                </a:solidFill>
              </a:endParaRPr>
            </a:p>
          </p:txBody>
        </p:sp>
        <p:grpSp>
          <p:nvGrpSpPr>
            <p:cNvPr id="189" name="Groep 274">
              <a:extLst>
                <a:ext uri="{FF2B5EF4-FFF2-40B4-BE49-F238E27FC236}">
                  <a16:creationId xmlns:a16="http://schemas.microsoft.com/office/drawing/2014/main" id="{482FCCB4-698B-4EEE-A2B4-18D0CC8FE29F}"/>
                </a:ext>
              </a:extLst>
            </p:cNvPr>
            <p:cNvGrpSpPr/>
            <p:nvPr userDrawn="1"/>
          </p:nvGrpSpPr>
          <p:grpSpPr>
            <a:xfrm>
              <a:off x="13614067" y="3535184"/>
              <a:ext cx="1195438" cy="678267"/>
              <a:chOff x="12757284" y="3224292"/>
              <a:chExt cx="1195438" cy="678267"/>
            </a:xfrm>
          </p:grpSpPr>
          <p:sp>
            <p:nvSpPr>
              <p:cNvPr id="190" name="Rechthoek 275">
                <a:extLst>
                  <a:ext uri="{FF2B5EF4-FFF2-40B4-BE49-F238E27FC236}">
                    <a16:creationId xmlns:a16="http://schemas.microsoft.com/office/drawing/2014/main" id="{AA27D55B-E2DA-4324-BEFF-288A1F1CB785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1" name="Rechthoek 276">
                <a:extLst>
                  <a:ext uri="{FF2B5EF4-FFF2-40B4-BE49-F238E27FC236}">
                    <a16:creationId xmlns:a16="http://schemas.microsoft.com/office/drawing/2014/main" id="{8D0500E3-6A5F-47CD-AB65-8005E13AF02E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92" name="Groep 277">
                <a:extLst>
                  <a:ext uri="{FF2B5EF4-FFF2-40B4-BE49-F238E27FC236}">
                    <a16:creationId xmlns:a16="http://schemas.microsoft.com/office/drawing/2014/main" id="{36B44A3F-F910-4425-A31E-AA256BDD0022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205" name="Rechthoek: afgeronde hoeken 290">
                  <a:extLst>
                    <a:ext uri="{FF2B5EF4-FFF2-40B4-BE49-F238E27FC236}">
                      <a16:creationId xmlns:a16="http://schemas.microsoft.com/office/drawing/2014/main" id="{25CE5A8F-57DF-44FE-92B2-3F6EC4F03327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endPara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6" name="Rechthoek 291">
                  <a:extLst>
                    <a:ext uri="{FF2B5EF4-FFF2-40B4-BE49-F238E27FC236}">
                      <a16:creationId xmlns:a16="http://schemas.microsoft.com/office/drawing/2014/main" id="{F85F14FA-B63C-4308-84D4-DCDFFBB989C2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7" name="Rechthoek 292">
                  <a:extLst>
                    <a:ext uri="{FF2B5EF4-FFF2-40B4-BE49-F238E27FC236}">
                      <a16:creationId xmlns:a16="http://schemas.microsoft.com/office/drawing/2014/main" id="{7D99B6F2-6B94-44D2-ABF7-D5C7E28C86DE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8" name="Rechthoek 293">
                  <a:extLst>
                    <a:ext uri="{FF2B5EF4-FFF2-40B4-BE49-F238E27FC236}">
                      <a16:creationId xmlns:a16="http://schemas.microsoft.com/office/drawing/2014/main" id="{C7C81D0D-F3F4-42E3-9221-5BF634CFA946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9" name="Rechthoek 294">
                  <a:extLst>
                    <a:ext uri="{FF2B5EF4-FFF2-40B4-BE49-F238E27FC236}">
                      <a16:creationId xmlns:a16="http://schemas.microsoft.com/office/drawing/2014/main" id="{1F578291-743C-4720-B3C4-394FA4C40EEB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0" name="Rechthoek 295">
                  <a:extLst>
                    <a:ext uri="{FF2B5EF4-FFF2-40B4-BE49-F238E27FC236}">
                      <a16:creationId xmlns:a16="http://schemas.microsoft.com/office/drawing/2014/main" id="{0C2FC51D-3763-459B-A846-3ED2A9C59AC6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93" name="Groep 278">
                <a:extLst>
                  <a:ext uri="{FF2B5EF4-FFF2-40B4-BE49-F238E27FC236}">
                    <a16:creationId xmlns:a16="http://schemas.microsoft.com/office/drawing/2014/main" id="{26C56313-4505-41C2-BCDF-534F1814EBE9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97" name="Groep 282">
                  <a:extLst>
                    <a:ext uri="{FF2B5EF4-FFF2-40B4-BE49-F238E27FC236}">
                      <a16:creationId xmlns:a16="http://schemas.microsoft.com/office/drawing/2014/main" id="{31F525E5-1974-459F-BD76-F8579F5C2160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99" name="Rechthoek: afgeronde hoeken 284">
                    <a:extLst>
                      <a:ext uri="{FF2B5EF4-FFF2-40B4-BE49-F238E27FC236}">
                        <a16:creationId xmlns:a16="http://schemas.microsoft.com/office/drawing/2014/main" id="{937C8BB9-EFC8-4FB9-A1A2-73C6B77BA941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2105"/>
                      </a:spcBef>
                      <a:spcAft>
                        <a:spcPts val="2105"/>
                      </a:spcAft>
                    </a:pPr>
                    <a:endParaRPr lang="nl-NL" sz="280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00" name="Rechthoek 285">
                    <a:extLst>
                      <a:ext uri="{FF2B5EF4-FFF2-40B4-BE49-F238E27FC236}">
                        <a16:creationId xmlns:a16="http://schemas.microsoft.com/office/drawing/2014/main" id="{00A4B283-B36E-40D3-9C40-8CDB564A0B6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1" name="Rechthoek 286">
                    <a:extLst>
                      <a:ext uri="{FF2B5EF4-FFF2-40B4-BE49-F238E27FC236}">
                        <a16:creationId xmlns:a16="http://schemas.microsoft.com/office/drawing/2014/main" id="{1796BF20-C5B1-4048-9640-69158F3976A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2" name="Rechthoek 287">
                    <a:extLst>
                      <a:ext uri="{FF2B5EF4-FFF2-40B4-BE49-F238E27FC236}">
                        <a16:creationId xmlns:a16="http://schemas.microsoft.com/office/drawing/2014/main" id="{398189E4-06D1-4CBA-8E0E-C87B5C3EA77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3" name="Rechthoek 288">
                    <a:extLst>
                      <a:ext uri="{FF2B5EF4-FFF2-40B4-BE49-F238E27FC236}">
                        <a16:creationId xmlns:a16="http://schemas.microsoft.com/office/drawing/2014/main" id="{531440A8-DB35-40F4-B3C5-15FB670147A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4" name="Rechthoek 289">
                    <a:extLst>
                      <a:ext uri="{FF2B5EF4-FFF2-40B4-BE49-F238E27FC236}">
                        <a16:creationId xmlns:a16="http://schemas.microsoft.com/office/drawing/2014/main" id="{6FD5851A-6E2D-4AD2-AD0F-D95A0B19DA7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198" name="Boog 283">
                  <a:extLst>
                    <a:ext uri="{FF2B5EF4-FFF2-40B4-BE49-F238E27FC236}">
                      <a16:creationId xmlns:a16="http://schemas.microsoft.com/office/drawing/2014/main" id="{1AAF39A5-D9FF-4585-8646-A2EEA9E70D51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</p:grpSp>
          <p:sp>
            <p:nvSpPr>
              <p:cNvPr id="194" name="Tekstvak 279">
                <a:extLst>
                  <a:ext uri="{FF2B5EF4-FFF2-40B4-BE49-F238E27FC236}">
                    <a16:creationId xmlns:a16="http://schemas.microsoft.com/office/drawing/2014/main" id="{17DEFD0A-EFFC-4148-9E20-78CE2DD83BCD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95" name="Tekstvak 280">
                <a:extLst>
                  <a:ext uri="{FF2B5EF4-FFF2-40B4-BE49-F238E27FC236}">
                    <a16:creationId xmlns:a16="http://schemas.microsoft.com/office/drawing/2014/main" id="{DCC7AB1A-3EFC-4533-ACBF-051274587770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96" name="Picture 3">
                <a:extLst>
                  <a:ext uri="{FF2B5EF4-FFF2-40B4-BE49-F238E27FC236}">
                    <a16:creationId xmlns:a16="http://schemas.microsoft.com/office/drawing/2014/main" id="{6CDE7AA1-A80F-4A1C-BB2C-0D6173D5D24D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810206" y="3671228"/>
                <a:ext cx="14251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grpSp>
        <p:nvGrpSpPr>
          <p:cNvPr id="74" name="Instructie">
            <a:extLst>
              <a:ext uri="{FF2B5EF4-FFF2-40B4-BE49-F238E27FC236}">
                <a16:creationId xmlns:a16="http://schemas.microsoft.com/office/drawing/2014/main" id="{5E0F10CF-AB59-49C0-AB85-BF6D3157CDE7}"/>
              </a:ext>
            </a:extLst>
          </p:cNvPr>
          <p:cNvGrpSpPr/>
          <p:nvPr userDrawn="1"/>
        </p:nvGrpSpPr>
        <p:grpSpPr>
          <a:xfrm>
            <a:off x="-11761540" y="0"/>
            <a:ext cx="11164508" cy="11743958"/>
            <a:chOff x="-3426088" y="4512342"/>
            <a:chExt cx="3182755" cy="2660264"/>
          </a:xfrm>
        </p:grpSpPr>
        <p:sp>
          <p:nvSpPr>
            <p:cNvPr id="75" name="Rechthoek 127">
              <a:extLst>
                <a:ext uri="{FF2B5EF4-FFF2-40B4-BE49-F238E27FC236}">
                  <a16:creationId xmlns:a16="http://schemas.microsoft.com/office/drawing/2014/main" id="{5D38BD5B-23F8-41FE-8027-8E44F7F22116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76" name="Rechte verbindingslijn 128">
              <a:extLst>
                <a:ext uri="{FF2B5EF4-FFF2-40B4-BE49-F238E27FC236}">
                  <a16:creationId xmlns:a16="http://schemas.microsoft.com/office/drawing/2014/main" id="{00AAA963-7906-4ECE-8A89-9139ABC167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77" name="Rechthoek 130">
              <a:extLst>
                <a:ext uri="{FF2B5EF4-FFF2-40B4-BE49-F238E27FC236}">
                  <a16:creationId xmlns:a16="http://schemas.microsoft.com/office/drawing/2014/main" id="{548F0181-E434-48B0-B0FE-D94F047CF0F0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78" name="Rechthoek 133">
              <a:extLst>
                <a:ext uri="{FF2B5EF4-FFF2-40B4-BE49-F238E27FC236}">
                  <a16:creationId xmlns:a16="http://schemas.microsoft.com/office/drawing/2014/main" id="{5CC572EB-9A94-4CBF-A5FB-0E1D50EDAEBE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79" name="Rechthoek 136">
              <a:extLst>
                <a:ext uri="{FF2B5EF4-FFF2-40B4-BE49-F238E27FC236}">
                  <a16:creationId xmlns:a16="http://schemas.microsoft.com/office/drawing/2014/main" id="{A209D926-B538-4C9F-92FA-C20CCCEC907B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0" name="Rechthoek 139">
              <a:extLst>
                <a:ext uri="{FF2B5EF4-FFF2-40B4-BE49-F238E27FC236}">
                  <a16:creationId xmlns:a16="http://schemas.microsoft.com/office/drawing/2014/main" id="{422F0FA3-6D89-46D2-A941-C54A720EE31F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81" name="Rechte verbindingslijn 140">
              <a:extLst>
                <a:ext uri="{FF2B5EF4-FFF2-40B4-BE49-F238E27FC236}">
                  <a16:creationId xmlns:a16="http://schemas.microsoft.com/office/drawing/2014/main" id="{0918C9FA-DDF6-4164-B347-0AB0B07FB61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66" name="Tijdelijke aanduiding voor tekst 3">
            <a:extLst>
              <a:ext uri="{FF2B5EF4-FFF2-40B4-BE49-F238E27FC236}">
                <a16:creationId xmlns:a16="http://schemas.microsoft.com/office/drawing/2014/main" id="{A4956C2C-95FD-447A-BD1F-81754DAF602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504415" y="1449454"/>
            <a:ext cx="6635238" cy="3534585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51"/>
            </a:lvl1pPr>
          </a:lstStyle>
          <a:p>
            <a:pPr lvl="0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73615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4250" fill="hold"/>
                                        <p:tgtEl>
                                          <p:spTgt spid="10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4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22C8233F-3E7B-49DC-AC22-FB28BF26342E}"/>
              </a:ext>
            </a:extLst>
          </p:cNvPr>
          <p:cNvSpPr>
            <a:spLocks noGrp="1"/>
          </p:cNvSpPr>
          <p:nvPr userDrawn="1">
            <p:ph type="pic" sz="quarter" idx="35" hasCustomPrompt="1"/>
          </p:nvPr>
        </p:nvSpPr>
        <p:spPr>
          <a:xfrm>
            <a:off x="-5566" y="2543961"/>
            <a:ext cx="38729979" cy="22727432"/>
          </a:xfrm>
          <a:solidFill>
            <a:schemeClr val="bg1">
              <a:lumMod val="95000"/>
            </a:schemeClr>
          </a:solidFill>
        </p:spPr>
        <p:txBody>
          <a:bodyPr vert="horz" lIns="0" tIns="2880000" rIns="0" bIns="0" rtlCol="0">
            <a:normAutofit/>
          </a:bodyPr>
          <a:lstStyle>
            <a:lvl1pPr marL="801872" indent="-801872" algn="ctr">
              <a:spcBef>
                <a:spcPts val="0"/>
              </a:spcBef>
              <a:spcAft>
                <a:spcPts val="0"/>
              </a:spcAft>
              <a:buFont typeface="+mj-lt"/>
              <a:buNone/>
              <a:defRPr lang="nl-NL"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801872" lvl="0" indent="-801872" algn="ctr"/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815D2346-2389-418D-A441-59E88FFEBE24}"/>
              </a:ext>
            </a:extLst>
          </p:cNvPr>
          <p:cNvSpPr>
            <a:spLocks noGrp="1"/>
          </p:cNvSpPr>
          <p:nvPr userDrawn="1">
            <p:ph type="body" sz="quarter" idx="31"/>
          </p:nvPr>
        </p:nvSpPr>
        <p:spPr>
          <a:xfrm>
            <a:off x="-3408" y="0"/>
            <a:ext cx="42770656" cy="25428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351">
                <a:solidFill>
                  <a:schemeClr val="bg1"/>
                </a:solidFill>
              </a:defRPr>
            </a:lvl1pPr>
          </a:lstStyle>
          <a:p>
            <a:pPr lvl="0"/>
            <a:endParaRPr lang="nl-NL" noProof="0"/>
          </a:p>
        </p:txBody>
      </p:sp>
      <p:sp>
        <p:nvSpPr>
          <p:cNvPr id="28" name="Tijdelijke aanduiding voor tekst 2">
            <a:extLst>
              <a:ext uri="{FF2B5EF4-FFF2-40B4-BE49-F238E27FC236}">
                <a16:creationId xmlns:a16="http://schemas.microsoft.com/office/drawing/2014/main" id="{7BDE5674-83BE-4E1D-873D-42FE9FEB8D5C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38726250" y="0"/>
            <a:ext cx="4041000" cy="30306998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351">
                <a:solidFill>
                  <a:schemeClr val="bg1"/>
                </a:solidFill>
              </a:defRPr>
            </a:lvl1pPr>
          </a:lstStyle>
          <a:p>
            <a:pPr lvl="0"/>
            <a:endParaRPr lang="nl-NL" noProof="0"/>
          </a:p>
        </p:txBody>
      </p:sp>
      <p:sp>
        <p:nvSpPr>
          <p:cNvPr id="30" name="Tijdelijke aanduiding voor tekst 2">
            <a:extLst>
              <a:ext uri="{FF2B5EF4-FFF2-40B4-BE49-F238E27FC236}">
                <a16:creationId xmlns:a16="http://schemas.microsoft.com/office/drawing/2014/main" id="{ED88654C-2F09-42A2-8633-BAD63AF9F763}"/>
              </a:ext>
            </a:extLst>
          </p:cNvPr>
          <p:cNvSpPr>
            <a:spLocks noGrp="1"/>
          </p:cNvSpPr>
          <p:nvPr userDrawn="1">
            <p:ph type="body" sz="quarter" idx="33"/>
          </p:nvPr>
        </p:nvSpPr>
        <p:spPr>
          <a:xfrm rot="16200000">
            <a:off x="18842930" y="6346683"/>
            <a:ext cx="5085600" cy="42771459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351">
                <a:solidFill>
                  <a:schemeClr val="bg1"/>
                </a:solidFill>
              </a:defRPr>
            </a:lvl1pPr>
          </a:lstStyle>
          <a:p>
            <a:pPr lvl="0"/>
            <a:endParaRPr lang="nl-NL" noProof="0"/>
          </a:p>
        </p:txBody>
      </p:sp>
      <p:sp>
        <p:nvSpPr>
          <p:cNvPr id="17" name="Tijdelijke aanduiding voor tekst 15">
            <a:extLst>
              <a:ext uri="{FF2B5EF4-FFF2-40B4-BE49-F238E27FC236}">
                <a16:creationId xmlns:a16="http://schemas.microsoft.com/office/drawing/2014/main" id="{7D35ADBF-F5AF-4BEF-A048-07416BC1D671}"/>
              </a:ext>
            </a:extLst>
          </p:cNvPr>
          <p:cNvSpPr>
            <a:spLocks noGrp="1"/>
          </p:cNvSpPr>
          <p:nvPr userDrawn="1">
            <p:ph type="body" sz="quarter" idx="43" hasCustomPrompt="1"/>
          </p:nvPr>
        </p:nvSpPr>
        <p:spPr>
          <a:xfrm>
            <a:off x="2596218" y="4421477"/>
            <a:ext cx="15869579" cy="8579805"/>
          </a:xfrm>
          <a:custGeom>
            <a:avLst/>
            <a:gdLst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4067 w 4524067"/>
              <a:gd name="connsiteY3" fmla="*/ 1604261 h 1943514"/>
              <a:gd name="connsiteX4" fmla="*/ 374342 w 4524067"/>
              <a:gd name="connsiteY4" fmla="*/ 1604261 h 1943514"/>
              <a:gd name="connsiteX5" fmla="*/ 374342 w 4524067"/>
              <a:gd name="connsiteY5" fmla="*/ 1604495 h 1943514"/>
              <a:gd name="connsiteX6" fmla="*/ 372031 w 4524067"/>
              <a:gd name="connsiteY6" fmla="*/ 1604262 h 1943514"/>
              <a:gd name="connsiteX7" fmla="*/ 7555 w 4524067"/>
              <a:gd name="connsiteY7" fmla="*/ 1901319 h 1943514"/>
              <a:gd name="connsiteX8" fmla="*/ 3301 w 4524067"/>
              <a:gd name="connsiteY8" fmla="*/ 1943514 h 1943514"/>
              <a:gd name="connsiteX9" fmla="*/ 0 w 4524067"/>
              <a:gd name="connsiteY9" fmla="*/ 1935545 h 1943514"/>
              <a:gd name="connsiteX10" fmla="*/ 0 w 4524067"/>
              <a:gd name="connsiteY10" fmla="*/ 71054 h 1943514"/>
              <a:gd name="connsiteX11" fmla="*/ 71054 w 4524067"/>
              <a:gd name="connsiteY11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524067 w 4524067"/>
              <a:gd name="connsiteY4" fmla="*/ 160426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524067 w 4524067"/>
              <a:gd name="connsiteY4" fmla="*/ 1604261 h 1943514"/>
              <a:gd name="connsiteX5" fmla="*/ 4481998 w 4524067"/>
              <a:gd name="connsiteY5" fmla="*/ 1606550 h 1943514"/>
              <a:gd name="connsiteX6" fmla="*/ 374342 w 4524067"/>
              <a:gd name="connsiteY6" fmla="*/ 1604261 h 1943514"/>
              <a:gd name="connsiteX7" fmla="*/ 374342 w 4524067"/>
              <a:gd name="connsiteY7" fmla="*/ 1604495 h 1943514"/>
              <a:gd name="connsiteX8" fmla="*/ 372031 w 4524067"/>
              <a:gd name="connsiteY8" fmla="*/ 1604262 h 1943514"/>
              <a:gd name="connsiteX9" fmla="*/ 7555 w 4524067"/>
              <a:gd name="connsiteY9" fmla="*/ 1901319 h 1943514"/>
              <a:gd name="connsiteX10" fmla="*/ 3301 w 4524067"/>
              <a:gd name="connsiteY10" fmla="*/ 1943514 h 1943514"/>
              <a:gd name="connsiteX11" fmla="*/ 0 w 4524067"/>
              <a:gd name="connsiteY11" fmla="*/ 1935545 h 1943514"/>
              <a:gd name="connsiteX12" fmla="*/ 0 w 4524067"/>
              <a:gd name="connsiteY12" fmla="*/ 71054 h 1943514"/>
              <a:gd name="connsiteX13" fmla="*/ 71054 w 4524067"/>
              <a:gd name="connsiteY13" fmla="*/ 0 h 1943514"/>
              <a:gd name="connsiteX0" fmla="*/ 71054 w 4799095"/>
              <a:gd name="connsiteY0" fmla="*/ 0 h 1943514"/>
              <a:gd name="connsiteX1" fmla="*/ 4453013 w 4799095"/>
              <a:gd name="connsiteY1" fmla="*/ 0 h 1943514"/>
              <a:gd name="connsiteX2" fmla="*/ 4524067 w 4799095"/>
              <a:gd name="connsiteY2" fmla="*/ 71054 h 1943514"/>
              <a:gd name="connsiteX3" fmla="*/ 4522480 w 4799095"/>
              <a:gd name="connsiteY3" fmla="*/ 1547019 h 1943514"/>
              <a:gd name="connsiteX4" fmla="*/ 4524067 w 4799095"/>
              <a:gd name="connsiteY4" fmla="*/ 1604261 h 1943514"/>
              <a:gd name="connsiteX5" fmla="*/ 4481998 w 4799095"/>
              <a:gd name="connsiteY5" fmla="*/ 1606550 h 1943514"/>
              <a:gd name="connsiteX6" fmla="*/ 374342 w 4799095"/>
              <a:gd name="connsiteY6" fmla="*/ 1604261 h 1943514"/>
              <a:gd name="connsiteX7" fmla="*/ 374342 w 4799095"/>
              <a:gd name="connsiteY7" fmla="*/ 1604495 h 1943514"/>
              <a:gd name="connsiteX8" fmla="*/ 372031 w 4799095"/>
              <a:gd name="connsiteY8" fmla="*/ 1604262 h 1943514"/>
              <a:gd name="connsiteX9" fmla="*/ 7555 w 4799095"/>
              <a:gd name="connsiteY9" fmla="*/ 1901319 h 1943514"/>
              <a:gd name="connsiteX10" fmla="*/ 3301 w 4799095"/>
              <a:gd name="connsiteY10" fmla="*/ 1943514 h 1943514"/>
              <a:gd name="connsiteX11" fmla="*/ 0 w 4799095"/>
              <a:gd name="connsiteY11" fmla="*/ 1935545 h 1943514"/>
              <a:gd name="connsiteX12" fmla="*/ 0 w 4799095"/>
              <a:gd name="connsiteY12" fmla="*/ 71054 h 1943514"/>
              <a:gd name="connsiteX13" fmla="*/ 71054 w 4799095"/>
              <a:gd name="connsiteY13" fmla="*/ 0 h 1943514"/>
              <a:gd name="connsiteX0" fmla="*/ 71054 w 4798479"/>
              <a:gd name="connsiteY0" fmla="*/ 0 h 1943514"/>
              <a:gd name="connsiteX1" fmla="*/ 4453013 w 4798479"/>
              <a:gd name="connsiteY1" fmla="*/ 0 h 1943514"/>
              <a:gd name="connsiteX2" fmla="*/ 4524067 w 4798479"/>
              <a:gd name="connsiteY2" fmla="*/ 71054 h 1943514"/>
              <a:gd name="connsiteX3" fmla="*/ 4522480 w 4798479"/>
              <a:gd name="connsiteY3" fmla="*/ 1547019 h 1943514"/>
              <a:gd name="connsiteX4" fmla="*/ 4481998 w 4798479"/>
              <a:gd name="connsiteY4" fmla="*/ 1606550 h 1943514"/>
              <a:gd name="connsiteX5" fmla="*/ 374342 w 4798479"/>
              <a:gd name="connsiteY5" fmla="*/ 1604261 h 1943514"/>
              <a:gd name="connsiteX6" fmla="*/ 374342 w 4798479"/>
              <a:gd name="connsiteY6" fmla="*/ 1604495 h 1943514"/>
              <a:gd name="connsiteX7" fmla="*/ 372031 w 4798479"/>
              <a:gd name="connsiteY7" fmla="*/ 1604262 h 1943514"/>
              <a:gd name="connsiteX8" fmla="*/ 7555 w 4798479"/>
              <a:gd name="connsiteY8" fmla="*/ 1901319 h 1943514"/>
              <a:gd name="connsiteX9" fmla="*/ 3301 w 4798479"/>
              <a:gd name="connsiteY9" fmla="*/ 1943514 h 1943514"/>
              <a:gd name="connsiteX10" fmla="*/ 0 w 4798479"/>
              <a:gd name="connsiteY10" fmla="*/ 1935545 h 1943514"/>
              <a:gd name="connsiteX11" fmla="*/ 0 w 4798479"/>
              <a:gd name="connsiteY11" fmla="*/ 71054 h 1943514"/>
              <a:gd name="connsiteX12" fmla="*/ 71054 w 4798479"/>
              <a:gd name="connsiteY12" fmla="*/ 0 h 1943514"/>
              <a:gd name="connsiteX0" fmla="*/ 71054 w 4801282"/>
              <a:gd name="connsiteY0" fmla="*/ 0 h 1943514"/>
              <a:gd name="connsiteX1" fmla="*/ 4453013 w 4801282"/>
              <a:gd name="connsiteY1" fmla="*/ 0 h 1943514"/>
              <a:gd name="connsiteX2" fmla="*/ 4524067 w 4801282"/>
              <a:gd name="connsiteY2" fmla="*/ 71054 h 1943514"/>
              <a:gd name="connsiteX3" fmla="*/ 4522480 w 4801282"/>
              <a:gd name="connsiteY3" fmla="*/ 1547019 h 1943514"/>
              <a:gd name="connsiteX4" fmla="*/ 4481998 w 4801282"/>
              <a:gd name="connsiteY4" fmla="*/ 1606550 h 1943514"/>
              <a:gd name="connsiteX5" fmla="*/ 374342 w 4801282"/>
              <a:gd name="connsiteY5" fmla="*/ 1604261 h 1943514"/>
              <a:gd name="connsiteX6" fmla="*/ 374342 w 4801282"/>
              <a:gd name="connsiteY6" fmla="*/ 1604495 h 1943514"/>
              <a:gd name="connsiteX7" fmla="*/ 372031 w 4801282"/>
              <a:gd name="connsiteY7" fmla="*/ 1604262 h 1943514"/>
              <a:gd name="connsiteX8" fmla="*/ 7555 w 4801282"/>
              <a:gd name="connsiteY8" fmla="*/ 1901319 h 1943514"/>
              <a:gd name="connsiteX9" fmla="*/ 3301 w 4801282"/>
              <a:gd name="connsiteY9" fmla="*/ 1943514 h 1943514"/>
              <a:gd name="connsiteX10" fmla="*/ 0 w 4801282"/>
              <a:gd name="connsiteY10" fmla="*/ 1935545 h 1943514"/>
              <a:gd name="connsiteX11" fmla="*/ 0 w 4801282"/>
              <a:gd name="connsiteY11" fmla="*/ 71054 h 1943514"/>
              <a:gd name="connsiteX12" fmla="*/ 71054 w 4801282"/>
              <a:gd name="connsiteY12" fmla="*/ 0 h 1943514"/>
              <a:gd name="connsiteX0" fmla="*/ 71054 w 4527104"/>
              <a:gd name="connsiteY0" fmla="*/ 0 h 1943514"/>
              <a:gd name="connsiteX1" fmla="*/ 4453013 w 4527104"/>
              <a:gd name="connsiteY1" fmla="*/ 0 h 1943514"/>
              <a:gd name="connsiteX2" fmla="*/ 4524067 w 4527104"/>
              <a:gd name="connsiteY2" fmla="*/ 71054 h 1943514"/>
              <a:gd name="connsiteX3" fmla="*/ 4522480 w 4527104"/>
              <a:gd name="connsiteY3" fmla="*/ 1547019 h 1943514"/>
              <a:gd name="connsiteX4" fmla="*/ 4481998 w 4527104"/>
              <a:gd name="connsiteY4" fmla="*/ 1606550 h 1943514"/>
              <a:gd name="connsiteX5" fmla="*/ 374342 w 4527104"/>
              <a:gd name="connsiteY5" fmla="*/ 1604261 h 1943514"/>
              <a:gd name="connsiteX6" fmla="*/ 374342 w 4527104"/>
              <a:gd name="connsiteY6" fmla="*/ 1604495 h 1943514"/>
              <a:gd name="connsiteX7" fmla="*/ 372031 w 4527104"/>
              <a:gd name="connsiteY7" fmla="*/ 1604262 h 1943514"/>
              <a:gd name="connsiteX8" fmla="*/ 7555 w 4527104"/>
              <a:gd name="connsiteY8" fmla="*/ 1901319 h 1943514"/>
              <a:gd name="connsiteX9" fmla="*/ 3301 w 4527104"/>
              <a:gd name="connsiteY9" fmla="*/ 1943514 h 1943514"/>
              <a:gd name="connsiteX10" fmla="*/ 0 w 4527104"/>
              <a:gd name="connsiteY10" fmla="*/ 1935545 h 1943514"/>
              <a:gd name="connsiteX11" fmla="*/ 0 w 4527104"/>
              <a:gd name="connsiteY11" fmla="*/ 71054 h 1943514"/>
              <a:gd name="connsiteX12" fmla="*/ 71054 w 4527104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81998 w 4524067"/>
              <a:gd name="connsiteY4" fmla="*/ 1606550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81998 w 4524067"/>
              <a:gd name="connsiteY4" fmla="*/ 1606550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81998 w 4524067"/>
              <a:gd name="connsiteY4" fmla="*/ 1606550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16062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16062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16062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524067" h="1943514">
                <a:moveTo>
                  <a:pt x="71054" y="0"/>
                </a:moveTo>
                <a:lnTo>
                  <a:pt x="4453013" y="0"/>
                </a:lnTo>
                <a:cubicBezTo>
                  <a:pt x="4492255" y="0"/>
                  <a:pt x="4524067" y="31812"/>
                  <a:pt x="4524067" y="71054"/>
                </a:cubicBezTo>
                <a:cubicBezTo>
                  <a:pt x="4523538" y="552723"/>
                  <a:pt x="4522346" y="1479221"/>
                  <a:pt x="4522480" y="1516062"/>
                </a:cubicBezTo>
                <a:cubicBezTo>
                  <a:pt x="4522614" y="1552903"/>
                  <a:pt x="4525654" y="1606535"/>
                  <a:pt x="4458185" y="1608931"/>
                </a:cubicBezTo>
                <a:cubicBezTo>
                  <a:pt x="4390716" y="1611327"/>
                  <a:pt x="1735623" y="1605818"/>
                  <a:pt x="374342" y="1604261"/>
                </a:cubicBezTo>
                <a:lnTo>
                  <a:pt x="374342" y="1604495"/>
                </a:lnTo>
                <a:lnTo>
                  <a:pt x="372031" y="1604262"/>
                </a:lnTo>
                <a:cubicBezTo>
                  <a:pt x="192246" y="1604262"/>
                  <a:pt x="42246" y="1731789"/>
                  <a:pt x="7555" y="1901319"/>
                </a:cubicBezTo>
                <a:lnTo>
                  <a:pt x="3301" y="1943514"/>
                </a:lnTo>
                <a:lnTo>
                  <a:pt x="0" y="1935545"/>
                </a:lnTo>
                <a:lnTo>
                  <a:pt x="0" y="71054"/>
                </a:lnTo>
                <a:cubicBezTo>
                  <a:pt x="0" y="31812"/>
                  <a:pt x="31812" y="0"/>
                  <a:pt x="71054" y="0"/>
                </a:cubicBezTo>
                <a:close/>
              </a:path>
            </a:pathLst>
          </a:custGeom>
          <a:solidFill>
            <a:schemeClr val="bg2">
              <a:alpha val="85000"/>
            </a:schemeClr>
          </a:solidFill>
        </p:spPr>
        <p:txBody>
          <a:bodyPr wrap="square" lIns="360000" tIns="144000" rIns="360000" bIns="180000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31" b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8419" b="0">
                <a:solidFill>
                  <a:schemeClr val="bg1"/>
                </a:solidFill>
              </a:defRPr>
            </a:lvl5pPr>
            <a:lvl9pPr>
              <a:defRPr sz="12628">
                <a:solidFill>
                  <a:schemeClr val="bg1"/>
                </a:solidFill>
              </a:defRPr>
            </a:lvl9pPr>
          </a:lstStyle>
          <a:p>
            <a:pPr lvl="0"/>
            <a:r>
              <a:rPr lang="nl-NL" noProof="0"/>
              <a:t>Klik om tekst in te voegen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B5843EA3-8D9E-4442-9E97-1352961F62DC}"/>
              </a:ext>
            </a:extLst>
          </p:cNvPr>
          <p:cNvSpPr>
            <a:spLocks noGrp="1"/>
          </p:cNvSpPr>
          <p:nvPr userDrawn="1">
            <p:ph type="body" sz="quarter" idx="44" hasCustomPrompt="1"/>
          </p:nvPr>
        </p:nvSpPr>
        <p:spPr>
          <a:xfrm>
            <a:off x="3903630" y="26698989"/>
            <a:ext cx="14562168" cy="905995"/>
          </a:xfrm>
        </p:spPr>
        <p:txBody>
          <a:bodyPr/>
          <a:lstStyle>
            <a:lvl1pPr marL="0" indent="0">
              <a:buFontTx/>
              <a:buNone/>
              <a:defRPr sz="4209" b="0">
                <a:solidFill>
                  <a:schemeClr val="tx2"/>
                </a:solidFill>
              </a:defRPr>
            </a:lvl1pPr>
          </a:lstStyle>
          <a:p>
            <a:r>
              <a:rPr lang="nl-NL"/>
              <a:t>Naam   l   Afdeling   l   Datum</a:t>
            </a:r>
          </a:p>
          <a:p>
            <a:endParaRPr lang="nl-NL"/>
          </a:p>
        </p:txBody>
      </p:sp>
      <p:sp>
        <p:nvSpPr>
          <p:cNvPr id="93" name="Tijdelijke aanduiding voor tekst 3">
            <a:extLst>
              <a:ext uri="{FF2B5EF4-FFF2-40B4-BE49-F238E27FC236}">
                <a16:creationId xmlns:a16="http://schemas.microsoft.com/office/drawing/2014/main" id="{ABD8BE62-C6E3-4AF1-BB04-29678FB69637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34060473" y="24070399"/>
            <a:ext cx="6635238" cy="3534585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51"/>
            </a:lvl1pPr>
          </a:lstStyle>
          <a:p>
            <a:pPr lvl="0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396188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/Inhou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7FC8C1DB-5A16-4DC5-BE9E-D1DB67A9F5BF}"/>
              </a:ext>
            </a:extLst>
          </p:cNvPr>
          <p:cNvSpPr/>
          <p:nvPr userDrawn="1"/>
        </p:nvSpPr>
        <p:spPr>
          <a:xfrm>
            <a:off x="-5567" y="22482154"/>
            <a:ext cx="42767250" cy="78246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78844" tIns="378844" rIns="378844" bIns="378844" rtlCol="0" anchor="ctr"/>
          <a:lstStyle/>
          <a:p>
            <a:pPr algn="ctr"/>
            <a:endParaRPr lang="nl-NL" sz="4911" noProof="0"/>
          </a:p>
        </p:txBody>
      </p:sp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-5567" y="-31537"/>
            <a:ext cx="42767257" cy="30306755"/>
          </a:xfrm>
          <a:solidFill>
            <a:schemeClr val="bg1">
              <a:lumMod val="95000"/>
            </a:schemeClr>
          </a:solidFill>
        </p:spPr>
        <p:txBody>
          <a:bodyPr tIns="100800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209" b="0" i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B0FACCAB-FC4B-4AA0-B92F-53F1DD2A892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685526" y="1766054"/>
            <a:ext cx="11962419" cy="22233608"/>
          </a:xfrm>
          <a:custGeom>
            <a:avLst/>
            <a:gdLst>
              <a:gd name="connsiteX0" fmla="*/ 0 w 3384000"/>
              <a:gd name="connsiteY0" fmla="*/ 122061 h 5036400"/>
              <a:gd name="connsiteX1" fmla="*/ 122061 w 3384000"/>
              <a:gd name="connsiteY1" fmla="*/ 0 h 5036400"/>
              <a:gd name="connsiteX2" fmla="*/ 3261939 w 3384000"/>
              <a:gd name="connsiteY2" fmla="*/ 0 h 5036400"/>
              <a:gd name="connsiteX3" fmla="*/ 3384000 w 3384000"/>
              <a:gd name="connsiteY3" fmla="*/ 122061 h 5036400"/>
              <a:gd name="connsiteX4" fmla="*/ 3384000 w 3384000"/>
              <a:gd name="connsiteY4" fmla="*/ 4914339 h 5036400"/>
              <a:gd name="connsiteX5" fmla="*/ 3261939 w 3384000"/>
              <a:gd name="connsiteY5" fmla="*/ 5036400 h 5036400"/>
              <a:gd name="connsiteX6" fmla="*/ 122061 w 3384000"/>
              <a:gd name="connsiteY6" fmla="*/ 5036400 h 5036400"/>
              <a:gd name="connsiteX7" fmla="*/ 0 w 3384000"/>
              <a:gd name="connsiteY7" fmla="*/ 4914339 h 5036400"/>
              <a:gd name="connsiteX8" fmla="*/ 0 w 3384000"/>
              <a:gd name="connsiteY8" fmla="*/ 122061 h 5036400"/>
              <a:gd name="connsiteX0" fmla="*/ 139014 w 3523014"/>
              <a:gd name="connsiteY0" fmla="*/ 381655 h 5295994"/>
              <a:gd name="connsiteX1" fmla="*/ 167589 w 3523014"/>
              <a:gd name="connsiteY1" fmla="*/ 291344 h 5295994"/>
              <a:gd name="connsiteX2" fmla="*/ 261075 w 3523014"/>
              <a:gd name="connsiteY2" fmla="*/ 259594 h 5295994"/>
              <a:gd name="connsiteX3" fmla="*/ 3400953 w 3523014"/>
              <a:gd name="connsiteY3" fmla="*/ 259594 h 5295994"/>
              <a:gd name="connsiteX4" fmla="*/ 3523014 w 3523014"/>
              <a:gd name="connsiteY4" fmla="*/ 381655 h 5295994"/>
              <a:gd name="connsiteX5" fmla="*/ 3523014 w 3523014"/>
              <a:gd name="connsiteY5" fmla="*/ 5173933 h 5295994"/>
              <a:gd name="connsiteX6" fmla="*/ 3400953 w 3523014"/>
              <a:gd name="connsiteY6" fmla="*/ 5295994 h 5295994"/>
              <a:gd name="connsiteX7" fmla="*/ 261075 w 3523014"/>
              <a:gd name="connsiteY7" fmla="*/ 5295994 h 5295994"/>
              <a:gd name="connsiteX8" fmla="*/ 139014 w 3523014"/>
              <a:gd name="connsiteY8" fmla="*/ 5173933 h 5295994"/>
              <a:gd name="connsiteX9" fmla="*/ 139014 w 3523014"/>
              <a:gd name="connsiteY9" fmla="*/ 381655 h 5295994"/>
              <a:gd name="connsiteX0" fmla="*/ 139014 w 3523014"/>
              <a:gd name="connsiteY0" fmla="*/ 381655 h 5295994"/>
              <a:gd name="connsiteX1" fmla="*/ 167589 w 3523014"/>
              <a:gd name="connsiteY1" fmla="*/ 291344 h 5295994"/>
              <a:gd name="connsiteX2" fmla="*/ 261075 w 3523014"/>
              <a:gd name="connsiteY2" fmla="*/ 259594 h 5295994"/>
              <a:gd name="connsiteX3" fmla="*/ 3400953 w 3523014"/>
              <a:gd name="connsiteY3" fmla="*/ 259594 h 5295994"/>
              <a:gd name="connsiteX4" fmla="*/ 3523014 w 3523014"/>
              <a:gd name="connsiteY4" fmla="*/ 381655 h 5295994"/>
              <a:gd name="connsiteX5" fmla="*/ 3523014 w 3523014"/>
              <a:gd name="connsiteY5" fmla="*/ 5173933 h 5295994"/>
              <a:gd name="connsiteX6" fmla="*/ 3400953 w 3523014"/>
              <a:gd name="connsiteY6" fmla="*/ 5295994 h 5295994"/>
              <a:gd name="connsiteX7" fmla="*/ 261075 w 3523014"/>
              <a:gd name="connsiteY7" fmla="*/ 5295994 h 5295994"/>
              <a:gd name="connsiteX8" fmla="*/ 139014 w 3523014"/>
              <a:gd name="connsiteY8" fmla="*/ 5173933 h 5295994"/>
              <a:gd name="connsiteX9" fmla="*/ 139014 w 3523014"/>
              <a:gd name="connsiteY9" fmla="*/ 381655 h 5295994"/>
              <a:gd name="connsiteX0" fmla="*/ 148137 w 3532137"/>
              <a:gd name="connsiteY0" fmla="*/ 390093 h 5304432"/>
              <a:gd name="connsiteX1" fmla="*/ 148137 w 3532137"/>
              <a:gd name="connsiteY1" fmla="*/ 271207 h 5304432"/>
              <a:gd name="connsiteX2" fmla="*/ 270198 w 3532137"/>
              <a:gd name="connsiteY2" fmla="*/ 268032 h 5304432"/>
              <a:gd name="connsiteX3" fmla="*/ 3410076 w 3532137"/>
              <a:gd name="connsiteY3" fmla="*/ 268032 h 5304432"/>
              <a:gd name="connsiteX4" fmla="*/ 3532137 w 3532137"/>
              <a:gd name="connsiteY4" fmla="*/ 390093 h 5304432"/>
              <a:gd name="connsiteX5" fmla="*/ 3532137 w 3532137"/>
              <a:gd name="connsiteY5" fmla="*/ 5182371 h 5304432"/>
              <a:gd name="connsiteX6" fmla="*/ 3410076 w 3532137"/>
              <a:gd name="connsiteY6" fmla="*/ 5304432 h 5304432"/>
              <a:gd name="connsiteX7" fmla="*/ 270198 w 3532137"/>
              <a:gd name="connsiteY7" fmla="*/ 5304432 h 5304432"/>
              <a:gd name="connsiteX8" fmla="*/ 148137 w 3532137"/>
              <a:gd name="connsiteY8" fmla="*/ 5182371 h 5304432"/>
              <a:gd name="connsiteX9" fmla="*/ 148137 w 3532137"/>
              <a:gd name="connsiteY9" fmla="*/ 390093 h 5304432"/>
              <a:gd name="connsiteX0" fmla="*/ 8072 w 3392072"/>
              <a:gd name="connsiteY0" fmla="*/ 390093 h 5304432"/>
              <a:gd name="connsiteX1" fmla="*/ 8072 w 3392072"/>
              <a:gd name="connsiteY1" fmla="*/ 271207 h 5304432"/>
              <a:gd name="connsiteX2" fmla="*/ 130133 w 3392072"/>
              <a:gd name="connsiteY2" fmla="*/ 268032 h 5304432"/>
              <a:gd name="connsiteX3" fmla="*/ 3270011 w 3392072"/>
              <a:gd name="connsiteY3" fmla="*/ 268032 h 5304432"/>
              <a:gd name="connsiteX4" fmla="*/ 3392072 w 3392072"/>
              <a:gd name="connsiteY4" fmla="*/ 390093 h 5304432"/>
              <a:gd name="connsiteX5" fmla="*/ 3392072 w 3392072"/>
              <a:gd name="connsiteY5" fmla="*/ 5182371 h 5304432"/>
              <a:gd name="connsiteX6" fmla="*/ 3270011 w 3392072"/>
              <a:gd name="connsiteY6" fmla="*/ 5304432 h 5304432"/>
              <a:gd name="connsiteX7" fmla="*/ 130133 w 3392072"/>
              <a:gd name="connsiteY7" fmla="*/ 5304432 h 5304432"/>
              <a:gd name="connsiteX8" fmla="*/ 8072 w 3392072"/>
              <a:gd name="connsiteY8" fmla="*/ 5182371 h 5304432"/>
              <a:gd name="connsiteX9" fmla="*/ 8072 w 3392072"/>
              <a:gd name="connsiteY9" fmla="*/ 390093 h 5304432"/>
              <a:gd name="connsiteX0" fmla="*/ 8072 w 3392072"/>
              <a:gd name="connsiteY0" fmla="*/ 129113 h 5043452"/>
              <a:gd name="connsiteX1" fmla="*/ 8072 w 3392072"/>
              <a:gd name="connsiteY1" fmla="*/ 10227 h 5043452"/>
              <a:gd name="connsiteX2" fmla="*/ 130133 w 3392072"/>
              <a:gd name="connsiteY2" fmla="*/ 7052 h 5043452"/>
              <a:gd name="connsiteX3" fmla="*/ 3270011 w 3392072"/>
              <a:gd name="connsiteY3" fmla="*/ 7052 h 5043452"/>
              <a:gd name="connsiteX4" fmla="*/ 3392072 w 3392072"/>
              <a:gd name="connsiteY4" fmla="*/ 129113 h 5043452"/>
              <a:gd name="connsiteX5" fmla="*/ 3392072 w 3392072"/>
              <a:gd name="connsiteY5" fmla="*/ 4921391 h 5043452"/>
              <a:gd name="connsiteX6" fmla="*/ 3270011 w 3392072"/>
              <a:gd name="connsiteY6" fmla="*/ 5043452 h 5043452"/>
              <a:gd name="connsiteX7" fmla="*/ 130133 w 3392072"/>
              <a:gd name="connsiteY7" fmla="*/ 5043452 h 5043452"/>
              <a:gd name="connsiteX8" fmla="*/ 8072 w 3392072"/>
              <a:gd name="connsiteY8" fmla="*/ 4921391 h 5043452"/>
              <a:gd name="connsiteX9" fmla="*/ 8072 w 3392072"/>
              <a:gd name="connsiteY9" fmla="*/ 129113 h 5043452"/>
              <a:gd name="connsiteX0" fmla="*/ 7649 w 3391649"/>
              <a:gd name="connsiteY0" fmla="*/ 129113 h 5043452"/>
              <a:gd name="connsiteX1" fmla="*/ 7649 w 3391649"/>
              <a:gd name="connsiteY1" fmla="*/ 10227 h 5043452"/>
              <a:gd name="connsiteX2" fmla="*/ 129710 w 3391649"/>
              <a:gd name="connsiteY2" fmla="*/ 7052 h 5043452"/>
              <a:gd name="connsiteX3" fmla="*/ 3269588 w 3391649"/>
              <a:gd name="connsiteY3" fmla="*/ 7052 h 5043452"/>
              <a:gd name="connsiteX4" fmla="*/ 3391649 w 3391649"/>
              <a:gd name="connsiteY4" fmla="*/ 129113 h 5043452"/>
              <a:gd name="connsiteX5" fmla="*/ 3391649 w 3391649"/>
              <a:gd name="connsiteY5" fmla="*/ 4921391 h 5043452"/>
              <a:gd name="connsiteX6" fmla="*/ 3269588 w 3391649"/>
              <a:gd name="connsiteY6" fmla="*/ 5043452 h 5043452"/>
              <a:gd name="connsiteX7" fmla="*/ 129710 w 3391649"/>
              <a:gd name="connsiteY7" fmla="*/ 5043452 h 5043452"/>
              <a:gd name="connsiteX8" fmla="*/ 7649 w 3391649"/>
              <a:gd name="connsiteY8" fmla="*/ 4921391 h 5043452"/>
              <a:gd name="connsiteX9" fmla="*/ 7649 w 3391649"/>
              <a:gd name="connsiteY9" fmla="*/ 129113 h 5043452"/>
              <a:gd name="connsiteX0" fmla="*/ 7649 w 3391649"/>
              <a:gd name="connsiteY0" fmla="*/ 122287 h 5036626"/>
              <a:gd name="connsiteX1" fmla="*/ 7649 w 3391649"/>
              <a:gd name="connsiteY1" fmla="*/ 3401 h 5036626"/>
              <a:gd name="connsiteX2" fmla="*/ 129710 w 3391649"/>
              <a:gd name="connsiteY2" fmla="*/ 226 h 5036626"/>
              <a:gd name="connsiteX3" fmla="*/ 3269588 w 3391649"/>
              <a:gd name="connsiteY3" fmla="*/ 226 h 5036626"/>
              <a:gd name="connsiteX4" fmla="*/ 3391649 w 3391649"/>
              <a:gd name="connsiteY4" fmla="*/ 122287 h 5036626"/>
              <a:gd name="connsiteX5" fmla="*/ 3391649 w 3391649"/>
              <a:gd name="connsiteY5" fmla="*/ 4914565 h 5036626"/>
              <a:gd name="connsiteX6" fmla="*/ 3269588 w 3391649"/>
              <a:gd name="connsiteY6" fmla="*/ 5036626 h 5036626"/>
              <a:gd name="connsiteX7" fmla="*/ 129710 w 3391649"/>
              <a:gd name="connsiteY7" fmla="*/ 5036626 h 5036626"/>
              <a:gd name="connsiteX8" fmla="*/ 7649 w 3391649"/>
              <a:gd name="connsiteY8" fmla="*/ 4914565 h 5036626"/>
              <a:gd name="connsiteX9" fmla="*/ 7649 w 3391649"/>
              <a:gd name="connsiteY9" fmla="*/ 122287 h 5036626"/>
              <a:gd name="connsiteX0" fmla="*/ 7649 w 3391649"/>
              <a:gd name="connsiteY0" fmla="*/ 127836 h 5042175"/>
              <a:gd name="connsiteX1" fmla="*/ 7649 w 3391649"/>
              <a:gd name="connsiteY1" fmla="*/ 8950 h 5042175"/>
              <a:gd name="connsiteX2" fmla="*/ 129710 w 3391649"/>
              <a:gd name="connsiteY2" fmla="*/ 5775 h 5042175"/>
              <a:gd name="connsiteX3" fmla="*/ 3269588 w 3391649"/>
              <a:gd name="connsiteY3" fmla="*/ 5775 h 5042175"/>
              <a:gd name="connsiteX4" fmla="*/ 3391649 w 3391649"/>
              <a:gd name="connsiteY4" fmla="*/ 127836 h 5042175"/>
              <a:gd name="connsiteX5" fmla="*/ 3391649 w 3391649"/>
              <a:gd name="connsiteY5" fmla="*/ 4920114 h 5042175"/>
              <a:gd name="connsiteX6" fmla="*/ 3269588 w 3391649"/>
              <a:gd name="connsiteY6" fmla="*/ 5042175 h 5042175"/>
              <a:gd name="connsiteX7" fmla="*/ 129710 w 3391649"/>
              <a:gd name="connsiteY7" fmla="*/ 5042175 h 5042175"/>
              <a:gd name="connsiteX8" fmla="*/ 7649 w 3391649"/>
              <a:gd name="connsiteY8" fmla="*/ 4920114 h 5042175"/>
              <a:gd name="connsiteX9" fmla="*/ 7649 w 3391649"/>
              <a:gd name="connsiteY9" fmla="*/ 127836 h 5042175"/>
              <a:gd name="connsiteX0" fmla="*/ 7649 w 3391649"/>
              <a:gd name="connsiteY0" fmla="*/ 127836 h 5042175"/>
              <a:gd name="connsiteX1" fmla="*/ 7649 w 3391649"/>
              <a:gd name="connsiteY1" fmla="*/ 8950 h 5042175"/>
              <a:gd name="connsiteX2" fmla="*/ 129710 w 3391649"/>
              <a:gd name="connsiteY2" fmla="*/ 5775 h 5042175"/>
              <a:gd name="connsiteX3" fmla="*/ 3269588 w 3391649"/>
              <a:gd name="connsiteY3" fmla="*/ 5775 h 5042175"/>
              <a:gd name="connsiteX4" fmla="*/ 3391649 w 3391649"/>
              <a:gd name="connsiteY4" fmla="*/ 127836 h 5042175"/>
              <a:gd name="connsiteX5" fmla="*/ 3391649 w 3391649"/>
              <a:gd name="connsiteY5" fmla="*/ 4920114 h 5042175"/>
              <a:gd name="connsiteX6" fmla="*/ 3269588 w 3391649"/>
              <a:gd name="connsiteY6" fmla="*/ 5042175 h 5042175"/>
              <a:gd name="connsiteX7" fmla="*/ 129710 w 3391649"/>
              <a:gd name="connsiteY7" fmla="*/ 5042175 h 5042175"/>
              <a:gd name="connsiteX8" fmla="*/ 7649 w 3391649"/>
              <a:gd name="connsiteY8" fmla="*/ 4920114 h 5042175"/>
              <a:gd name="connsiteX9" fmla="*/ 7649 w 3391649"/>
              <a:gd name="connsiteY9" fmla="*/ 127836 h 5042175"/>
              <a:gd name="connsiteX0" fmla="*/ 15257 w 3399257"/>
              <a:gd name="connsiteY0" fmla="*/ 5276782 h 5398843"/>
              <a:gd name="connsiteX1" fmla="*/ 15257 w 3399257"/>
              <a:gd name="connsiteY1" fmla="*/ 365618 h 5398843"/>
              <a:gd name="connsiteX2" fmla="*/ 137318 w 3399257"/>
              <a:gd name="connsiteY2" fmla="*/ 362443 h 5398843"/>
              <a:gd name="connsiteX3" fmla="*/ 3277196 w 3399257"/>
              <a:gd name="connsiteY3" fmla="*/ 362443 h 5398843"/>
              <a:gd name="connsiteX4" fmla="*/ 3399257 w 3399257"/>
              <a:gd name="connsiteY4" fmla="*/ 484504 h 5398843"/>
              <a:gd name="connsiteX5" fmla="*/ 3399257 w 3399257"/>
              <a:gd name="connsiteY5" fmla="*/ 5276782 h 5398843"/>
              <a:gd name="connsiteX6" fmla="*/ 3277196 w 3399257"/>
              <a:gd name="connsiteY6" fmla="*/ 5398843 h 5398843"/>
              <a:gd name="connsiteX7" fmla="*/ 137318 w 3399257"/>
              <a:gd name="connsiteY7" fmla="*/ 5398843 h 5398843"/>
              <a:gd name="connsiteX8" fmla="*/ 15257 w 3399257"/>
              <a:gd name="connsiteY8" fmla="*/ 5276782 h 5398843"/>
              <a:gd name="connsiteX0" fmla="*/ 10990 w 3394990"/>
              <a:gd name="connsiteY0" fmla="*/ 5276782 h 5398843"/>
              <a:gd name="connsiteX1" fmla="*/ 10990 w 3394990"/>
              <a:gd name="connsiteY1" fmla="*/ 365618 h 5398843"/>
              <a:gd name="connsiteX2" fmla="*/ 133051 w 3394990"/>
              <a:gd name="connsiteY2" fmla="*/ 362443 h 5398843"/>
              <a:gd name="connsiteX3" fmla="*/ 3272929 w 3394990"/>
              <a:gd name="connsiteY3" fmla="*/ 362443 h 5398843"/>
              <a:gd name="connsiteX4" fmla="*/ 3394990 w 3394990"/>
              <a:gd name="connsiteY4" fmla="*/ 484504 h 5398843"/>
              <a:gd name="connsiteX5" fmla="*/ 3394990 w 3394990"/>
              <a:gd name="connsiteY5" fmla="*/ 5276782 h 5398843"/>
              <a:gd name="connsiteX6" fmla="*/ 3272929 w 3394990"/>
              <a:gd name="connsiteY6" fmla="*/ 5398843 h 5398843"/>
              <a:gd name="connsiteX7" fmla="*/ 133051 w 3394990"/>
              <a:gd name="connsiteY7" fmla="*/ 5398843 h 5398843"/>
              <a:gd name="connsiteX8" fmla="*/ 10990 w 3394990"/>
              <a:gd name="connsiteY8" fmla="*/ 5276782 h 5398843"/>
              <a:gd name="connsiteX0" fmla="*/ 10990 w 3394990"/>
              <a:gd name="connsiteY0" fmla="*/ 4918814 h 5040875"/>
              <a:gd name="connsiteX1" fmla="*/ 10990 w 3394990"/>
              <a:gd name="connsiteY1" fmla="*/ 7650 h 5040875"/>
              <a:gd name="connsiteX2" fmla="*/ 133051 w 3394990"/>
              <a:gd name="connsiteY2" fmla="*/ 4475 h 5040875"/>
              <a:gd name="connsiteX3" fmla="*/ 3272929 w 3394990"/>
              <a:gd name="connsiteY3" fmla="*/ 4475 h 5040875"/>
              <a:gd name="connsiteX4" fmla="*/ 3394990 w 3394990"/>
              <a:gd name="connsiteY4" fmla="*/ 126536 h 5040875"/>
              <a:gd name="connsiteX5" fmla="*/ 3394990 w 3394990"/>
              <a:gd name="connsiteY5" fmla="*/ 4918814 h 5040875"/>
              <a:gd name="connsiteX6" fmla="*/ 3272929 w 3394990"/>
              <a:gd name="connsiteY6" fmla="*/ 5040875 h 5040875"/>
              <a:gd name="connsiteX7" fmla="*/ 133051 w 3394990"/>
              <a:gd name="connsiteY7" fmla="*/ 5040875 h 5040875"/>
              <a:gd name="connsiteX8" fmla="*/ 10990 w 3394990"/>
              <a:gd name="connsiteY8" fmla="*/ 4918814 h 5040875"/>
              <a:gd name="connsiteX0" fmla="*/ 158635 w 3542635"/>
              <a:gd name="connsiteY0" fmla="*/ 4917578 h 5039639"/>
              <a:gd name="connsiteX1" fmla="*/ 146729 w 3542635"/>
              <a:gd name="connsiteY1" fmla="*/ 6414 h 5039639"/>
              <a:gd name="connsiteX2" fmla="*/ 280696 w 3542635"/>
              <a:gd name="connsiteY2" fmla="*/ 3239 h 5039639"/>
              <a:gd name="connsiteX3" fmla="*/ 3420574 w 3542635"/>
              <a:gd name="connsiteY3" fmla="*/ 3239 h 5039639"/>
              <a:gd name="connsiteX4" fmla="*/ 3542635 w 3542635"/>
              <a:gd name="connsiteY4" fmla="*/ 125300 h 5039639"/>
              <a:gd name="connsiteX5" fmla="*/ 3542635 w 3542635"/>
              <a:gd name="connsiteY5" fmla="*/ 4917578 h 5039639"/>
              <a:gd name="connsiteX6" fmla="*/ 3420574 w 3542635"/>
              <a:gd name="connsiteY6" fmla="*/ 5039639 h 5039639"/>
              <a:gd name="connsiteX7" fmla="*/ 280696 w 3542635"/>
              <a:gd name="connsiteY7" fmla="*/ 5039639 h 5039639"/>
              <a:gd name="connsiteX8" fmla="*/ 158635 w 3542635"/>
              <a:gd name="connsiteY8" fmla="*/ 4917578 h 5039639"/>
              <a:gd name="connsiteX0" fmla="*/ 160634 w 3544634"/>
              <a:gd name="connsiteY0" fmla="*/ 4917578 h 5039639"/>
              <a:gd name="connsiteX1" fmla="*/ 143965 w 3544634"/>
              <a:gd name="connsiteY1" fmla="*/ 6414 h 5039639"/>
              <a:gd name="connsiteX2" fmla="*/ 282695 w 3544634"/>
              <a:gd name="connsiteY2" fmla="*/ 3239 h 5039639"/>
              <a:gd name="connsiteX3" fmla="*/ 3422573 w 3544634"/>
              <a:gd name="connsiteY3" fmla="*/ 3239 h 5039639"/>
              <a:gd name="connsiteX4" fmla="*/ 3544634 w 3544634"/>
              <a:gd name="connsiteY4" fmla="*/ 125300 h 5039639"/>
              <a:gd name="connsiteX5" fmla="*/ 3544634 w 3544634"/>
              <a:gd name="connsiteY5" fmla="*/ 4917578 h 5039639"/>
              <a:gd name="connsiteX6" fmla="*/ 3422573 w 3544634"/>
              <a:gd name="connsiteY6" fmla="*/ 5039639 h 5039639"/>
              <a:gd name="connsiteX7" fmla="*/ 282695 w 3544634"/>
              <a:gd name="connsiteY7" fmla="*/ 5039639 h 5039639"/>
              <a:gd name="connsiteX8" fmla="*/ 160634 w 3544634"/>
              <a:gd name="connsiteY8" fmla="*/ 4917578 h 5039639"/>
              <a:gd name="connsiteX0" fmla="*/ 164685 w 3548685"/>
              <a:gd name="connsiteY0" fmla="*/ 4917578 h 5039639"/>
              <a:gd name="connsiteX1" fmla="*/ 138491 w 3548685"/>
              <a:gd name="connsiteY1" fmla="*/ 6414 h 5039639"/>
              <a:gd name="connsiteX2" fmla="*/ 286746 w 3548685"/>
              <a:gd name="connsiteY2" fmla="*/ 3239 h 5039639"/>
              <a:gd name="connsiteX3" fmla="*/ 3426624 w 3548685"/>
              <a:gd name="connsiteY3" fmla="*/ 3239 h 5039639"/>
              <a:gd name="connsiteX4" fmla="*/ 3548685 w 3548685"/>
              <a:gd name="connsiteY4" fmla="*/ 125300 h 5039639"/>
              <a:gd name="connsiteX5" fmla="*/ 3548685 w 3548685"/>
              <a:gd name="connsiteY5" fmla="*/ 4917578 h 5039639"/>
              <a:gd name="connsiteX6" fmla="*/ 3426624 w 3548685"/>
              <a:gd name="connsiteY6" fmla="*/ 5039639 h 5039639"/>
              <a:gd name="connsiteX7" fmla="*/ 286746 w 3548685"/>
              <a:gd name="connsiteY7" fmla="*/ 5039639 h 5039639"/>
              <a:gd name="connsiteX8" fmla="*/ 164685 w 3548685"/>
              <a:gd name="connsiteY8" fmla="*/ 4917578 h 5039639"/>
              <a:gd name="connsiteX0" fmla="*/ 163666 w 3547666"/>
              <a:gd name="connsiteY0" fmla="*/ 4917578 h 5039639"/>
              <a:gd name="connsiteX1" fmla="*/ 139854 w 3547666"/>
              <a:gd name="connsiteY1" fmla="*/ 6414 h 5039639"/>
              <a:gd name="connsiteX2" fmla="*/ 285727 w 3547666"/>
              <a:gd name="connsiteY2" fmla="*/ 3239 h 5039639"/>
              <a:gd name="connsiteX3" fmla="*/ 3425605 w 3547666"/>
              <a:gd name="connsiteY3" fmla="*/ 3239 h 5039639"/>
              <a:gd name="connsiteX4" fmla="*/ 3547666 w 3547666"/>
              <a:gd name="connsiteY4" fmla="*/ 125300 h 5039639"/>
              <a:gd name="connsiteX5" fmla="*/ 3547666 w 3547666"/>
              <a:gd name="connsiteY5" fmla="*/ 4917578 h 5039639"/>
              <a:gd name="connsiteX6" fmla="*/ 3425605 w 3547666"/>
              <a:gd name="connsiteY6" fmla="*/ 5039639 h 5039639"/>
              <a:gd name="connsiteX7" fmla="*/ 285727 w 3547666"/>
              <a:gd name="connsiteY7" fmla="*/ 5039639 h 5039639"/>
              <a:gd name="connsiteX8" fmla="*/ 163666 w 3547666"/>
              <a:gd name="connsiteY8" fmla="*/ 4917578 h 5039639"/>
              <a:gd name="connsiteX0" fmla="*/ 161641 w 3545641"/>
              <a:gd name="connsiteY0" fmla="*/ 4917578 h 5039639"/>
              <a:gd name="connsiteX1" fmla="*/ 142591 w 3545641"/>
              <a:gd name="connsiteY1" fmla="*/ 6414 h 5039639"/>
              <a:gd name="connsiteX2" fmla="*/ 283702 w 3545641"/>
              <a:gd name="connsiteY2" fmla="*/ 3239 h 5039639"/>
              <a:gd name="connsiteX3" fmla="*/ 3423580 w 3545641"/>
              <a:gd name="connsiteY3" fmla="*/ 3239 h 5039639"/>
              <a:gd name="connsiteX4" fmla="*/ 3545641 w 3545641"/>
              <a:gd name="connsiteY4" fmla="*/ 125300 h 5039639"/>
              <a:gd name="connsiteX5" fmla="*/ 3545641 w 3545641"/>
              <a:gd name="connsiteY5" fmla="*/ 4917578 h 5039639"/>
              <a:gd name="connsiteX6" fmla="*/ 3423580 w 3545641"/>
              <a:gd name="connsiteY6" fmla="*/ 5039639 h 5039639"/>
              <a:gd name="connsiteX7" fmla="*/ 283702 w 3545641"/>
              <a:gd name="connsiteY7" fmla="*/ 5039639 h 5039639"/>
              <a:gd name="connsiteX8" fmla="*/ 161641 w 3545641"/>
              <a:gd name="connsiteY8" fmla="*/ 4917578 h 5039639"/>
              <a:gd name="connsiteX0" fmla="*/ 158636 w 3542636"/>
              <a:gd name="connsiteY0" fmla="*/ 4917578 h 5039639"/>
              <a:gd name="connsiteX1" fmla="*/ 146730 w 3542636"/>
              <a:gd name="connsiteY1" fmla="*/ 6414 h 5039639"/>
              <a:gd name="connsiteX2" fmla="*/ 280697 w 3542636"/>
              <a:gd name="connsiteY2" fmla="*/ 3239 h 5039639"/>
              <a:gd name="connsiteX3" fmla="*/ 3420575 w 3542636"/>
              <a:gd name="connsiteY3" fmla="*/ 3239 h 5039639"/>
              <a:gd name="connsiteX4" fmla="*/ 3542636 w 3542636"/>
              <a:gd name="connsiteY4" fmla="*/ 125300 h 5039639"/>
              <a:gd name="connsiteX5" fmla="*/ 3542636 w 3542636"/>
              <a:gd name="connsiteY5" fmla="*/ 4917578 h 5039639"/>
              <a:gd name="connsiteX6" fmla="*/ 3420575 w 3542636"/>
              <a:gd name="connsiteY6" fmla="*/ 5039639 h 5039639"/>
              <a:gd name="connsiteX7" fmla="*/ 280697 w 3542636"/>
              <a:gd name="connsiteY7" fmla="*/ 5039639 h 5039639"/>
              <a:gd name="connsiteX8" fmla="*/ 158636 w 3542636"/>
              <a:gd name="connsiteY8" fmla="*/ 4917578 h 5039639"/>
              <a:gd name="connsiteX0" fmla="*/ 160634 w 3544634"/>
              <a:gd name="connsiteY0" fmla="*/ 4917578 h 5039639"/>
              <a:gd name="connsiteX1" fmla="*/ 143965 w 3544634"/>
              <a:gd name="connsiteY1" fmla="*/ 6414 h 5039639"/>
              <a:gd name="connsiteX2" fmla="*/ 282695 w 3544634"/>
              <a:gd name="connsiteY2" fmla="*/ 3239 h 5039639"/>
              <a:gd name="connsiteX3" fmla="*/ 3422573 w 3544634"/>
              <a:gd name="connsiteY3" fmla="*/ 3239 h 5039639"/>
              <a:gd name="connsiteX4" fmla="*/ 3544634 w 3544634"/>
              <a:gd name="connsiteY4" fmla="*/ 125300 h 5039639"/>
              <a:gd name="connsiteX5" fmla="*/ 3544634 w 3544634"/>
              <a:gd name="connsiteY5" fmla="*/ 4917578 h 5039639"/>
              <a:gd name="connsiteX6" fmla="*/ 3422573 w 3544634"/>
              <a:gd name="connsiteY6" fmla="*/ 5039639 h 5039639"/>
              <a:gd name="connsiteX7" fmla="*/ 282695 w 3544634"/>
              <a:gd name="connsiteY7" fmla="*/ 5039639 h 5039639"/>
              <a:gd name="connsiteX8" fmla="*/ 160634 w 3544634"/>
              <a:gd name="connsiteY8" fmla="*/ 4917578 h 5039639"/>
              <a:gd name="connsiteX0" fmla="*/ 162650 w 3546650"/>
              <a:gd name="connsiteY0" fmla="*/ 4917578 h 5039639"/>
              <a:gd name="connsiteX1" fmla="*/ 141219 w 3546650"/>
              <a:gd name="connsiteY1" fmla="*/ 6414 h 5039639"/>
              <a:gd name="connsiteX2" fmla="*/ 284711 w 3546650"/>
              <a:gd name="connsiteY2" fmla="*/ 3239 h 5039639"/>
              <a:gd name="connsiteX3" fmla="*/ 3424589 w 3546650"/>
              <a:gd name="connsiteY3" fmla="*/ 3239 h 5039639"/>
              <a:gd name="connsiteX4" fmla="*/ 3546650 w 3546650"/>
              <a:gd name="connsiteY4" fmla="*/ 125300 h 5039639"/>
              <a:gd name="connsiteX5" fmla="*/ 3546650 w 3546650"/>
              <a:gd name="connsiteY5" fmla="*/ 4917578 h 5039639"/>
              <a:gd name="connsiteX6" fmla="*/ 3424589 w 3546650"/>
              <a:gd name="connsiteY6" fmla="*/ 5039639 h 5039639"/>
              <a:gd name="connsiteX7" fmla="*/ 284711 w 3546650"/>
              <a:gd name="connsiteY7" fmla="*/ 5039639 h 5039639"/>
              <a:gd name="connsiteX8" fmla="*/ 162650 w 3546650"/>
              <a:gd name="connsiteY8" fmla="*/ 4917578 h 5039639"/>
              <a:gd name="connsiteX0" fmla="*/ 164685 w 3548685"/>
              <a:gd name="connsiteY0" fmla="*/ 4917578 h 5039639"/>
              <a:gd name="connsiteX1" fmla="*/ 138491 w 3548685"/>
              <a:gd name="connsiteY1" fmla="*/ 6414 h 5039639"/>
              <a:gd name="connsiteX2" fmla="*/ 286746 w 3548685"/>
              <a:gd name="connsiteY2" fmla="*/ 3239 h 5039639"/>
              <a:gd name="connsiteX3" fmla="*/ 3426624 w 3548685"/>
              <a:gd name="connsiteY3" fmla="*/ 3239 h 5039639"/>
              <a:gd name="connsiteX4" fmla="*/ 3548685 w 3548685"/>
              <a:gd name="connsiteY4" fmla="*/ 125300 h 5039639"/>
              <a:gd name="connsiteX5" fmla="*/ 3548685 w 3548685"/>
              <a:gd name="connsiteY5" fmla="*/ 4917578 h 5039639"/>
              <a:gd name="connsiteX6" fmla="*/ 3426624 w 3548685"/>
              <a:gd name="connsiteY6" fmla="*/ 5039639 h 5039639"/>
              <a:gd name="connsiteX7" fmla="*/ 286746 w 3548685"/>
              <a:gd name="connsiteY7" fmla="*/ 5039639 h 5039639"/>
              <a:gd name="connsiteX8" fmla="*/ 164685 w 3548685"/>
              <a:gd name="connsiteY8" fmla="*/ 4917578 h 5039639"/>
              <a:gd name="connsiteX0" fmla="*/ 162651 w 3546651"/>
              <a:gd name="connsiteY0" fmla="*/ 4917578 h 5039639"/>
              <a:gd name="connsiteX1" fmla="*/ 141220 w 3546651"/>
              <a:gd name="connsiteY1" fmla="*/ 6414 h 5039639"/>
              <a:gd name="connsiteX2" fmla="*/ 284712 w 3546651"/>
              <a:gd name="connsiteY2" fmla="*/ 3239 h 5039639"/>
              <a:gd name="connsiteX3" fmla="*/ 3424590 w 3546651"/>
              <a:gd name="connsiteY3" fmla="*/ 3239 h 5039639"/>
              <a:gd name="connsiteX4" fmla="*/ 3546651 w 3546651"/>
              <a:gd name="connsiteY4" fmla="*/ 125300 h 5039639"/>
              <a:gd name="connsiteX5" fmla="*/ 3546651 w 3546651"/>
              <a:gd name="connsiteY5" fmla="*/ 4917578 h 5039639"/>
              <a:gd name="connsiteX6" fmla="*/ 3424590 w 3546651"/>
              <a:gd name="connsiteY6" fmla="*/ 5039639 h 5039639"/>
              <a:gd name="connsiteX7" fmla="*/ 284712 w 3546651"/>
              <a:gd name="connsiteY7" fmla="*/ 5039639 h 5039639"/>
              <a:gd name="connsiteX8" fmla="*/ 162651 w 3546651"/>
              <a:gd name="connsiteY8" fmla="*/ 4917578 h 5039639"/>
              <a:gd name="connsiteX0" fmla="*/ 164685 w 3548685"/>
              <a:gd name="connsiteY0" fmla="*/ 4917578 h 5039639"/>
              <a:gd name="connsiteX1" fmla="*/ 138491 w 3548685"/>
              <a:gd name="connsiteY1" fmla="*/ 6414 h 5039639"/>
              <a:gd name="connsiteX2" fmla="*/ 286746 w 3548685"/>
              <a:gd name="connsiteY2" fmla="*/ 3239 h 5039639"/>
              <a:gd name="connsiteX3" fmla="*/ 3426624 w 3548685"/>
              <a:gd name="connsiteY3" fmla="*/ 3239 h 5039639"/>
              <a:gd name="connsiteX4" fmla="*/ 3548685 w 3548685"/>
              <a:gd name="connsiteY4" fmla="*/ 125300 h 5039639"/>
              <a:gd name="connsiteX5" fmla="*/ 3548685 w 3548685"/>
              <a:gd name="connsiteY5" fmla="*/ 4917578 h 5039639"/>
              <a:gd name="connsiteX6" fmla="*/ 3426624 w 3548685"/>
              <a:gd name="connsiteY6" fmla="*/ 5039639 h 5039639"/>
              <a:gd name="connsiteX7" fmla="*/ 286746 w 3548685"/>
              <a:gd name="connsiteY7" fmla="*/ 5039639 h 5039639"/>
              <a:gd name="connsiteX8" fmla="*/ 164685 w 3548685"/>
              <a:gd name="connsiteY8" fmla="*/ 4917578 h 5039639"/>
              <a:gd name="connsiteX0" fmla="*/ 28361 w 3412361"/>
              <a:gd name="connsiteY0" fmla="*/ 4917578 h 5039639"/>
              <a:gd name="connsiteX1" fmla="*/ 2167 w 3412361"/>
              <a:gd name="connsiteY1" fmla="*/ 6414 h 5039639"/>
              <a:gd name="connsiteX2" fmla="*/ 150422 w 3412361"/>
              <a:gd name="connsiteY2" fmla="*/ 3239 h 5039639"/>
              <a:gd name="connsiteX3" fmla="*/ 3290300 w 3412361"/>
              <a:gd name="connsiteY3" fmla="*/ 3239 h 5039639"/>
              <a:gd name="connsiteX4" fmla="*/ 3412361 w 3412361"/>
              <a:gd name="connsiteY4" fmla="*/ 125300 h 5039639"/>
              <a:gd name="connsiteX5" fmla="*/ 3412361 w 3412361"/>
              <a:gd name="connsiteY5" fmla="*/ 4917578 h 5039639"/>
              <a:gd name="connsiteX6" fmla="*/ 3290300 w 3412361"/>
              <a:gd name="connsiteY6" fmla="*/ 5039639 h 5039639"/>
              <a:gd name="connsiteX7" fmla="*/ 150422 w 3412361"/>
              <a:gd name="connsiteY7" fmla="*/ 5039639 h 5039639"/>
              <a:gd name="connsiteX8" fmla="*/ 28361 w 3412361"/>
              <a:gd name="connsiteY8" fmla="*/ 4917578 h 5039639"/>
              <a:gd name="connsiteX0" fmla="*/ 28361 w 3412361"/>
              <a:gd name="connsiteY0" fmla="*/ 4917578 h 5039639"/>
              <a:gd name="connsiteX1" fmla="*/ 2167 w 3412361"/>
              <a:gd name="connsiteY1" fmla="*/ 6414 h 5039639"/>
              <a:gd name="connsiteX2" fmla="*/ 150422 w 3412361"/>
              <a:gd name="connsiteY2" fmla="*/ 3239 h 5039639"/>
              <a:gd name="connsiteX3" fmla="*/ 3290300 w 3412361"/>
              <a:gd name="connsiteY3" fmla="*/ 3239 h 5039639"/>
              <a:gd name="connsiteX4" fmla="*/ 3412361 w 3412361"/>
              <a:gd name="connsiteY4" fmla="*/ 125300 h 5039639"/>
              <a:gd name="connsiteX5" fmla="*/ 3412361 w 3412361"/>
              <a:gd name="connsiteY5" fmla="*/ 4917578 h 5039639"/>
              <a:gd name="connsiteX6" fmla="*/ 3290300 w 3412361"/>
              <a:gd name="connsiteY6" fmla="*/ 5039639 h 5039639"/>
              <a:gd name="connsiteX7" fmla="*/ 150422 w 3412361"/>
              <a:gd name="connsiteY7" fmla="*/ 5039639 h 5039639"/>
              <a:gd name="connsiteX8" fmla="*/ 28361 w 3412361"/>
              <a:gd name="connsiteY8" fmla="*/ 4917578 h 5039639"/>
              <a:gd name="connsiteX0" fmla="*/ 33210 w 3417210"/>
              <a:gd name="connsiteY0" fmla="*/ 4916549 h 5038610"/>
              <a:gd name="connsiteX1" fmla="*/ 7016 w 3417210"/>
              <a:gd name="connsiteY1" fmla="*/ 5385 h 5038610"/>
              <a:gd name="connsiteX2" fmla="*/ 155271 w 3417210"/>
              <a:gd name="connsiteY2" fmla="*/ 2210 h 5038610"/>
              <a:gd name="connsiteX3" fmla="*/ 3295149 w 3417210"/>
              <a:gd name="connsiteY3" fmla="*/ 2210 h 5038610"/>
              <a:gd name="connsiteX4" fmla="*/ 3417210 w 3417210"/>
              <a:gd name="connsiteY4" fmla="*/ 124271 h 5038610"/>
              <a:gd name="connsiteX5" fmla="*/ 3417210 w 3417210"/>
              <a:gd name="connsiteY5" fmla="*/ 4916549 h 5038610"/>
              <a:gd name="connsiteX6" fmla="*/ 3295149 w 3417210"/>
              <a:gd name="connsiteY6" fmla="*/ 5038610 h 5038610"/>
              <a:gd name="connsiteX7" fmla="*/ 155271 w 3417210"/>
              <a:gd name="connsiteY7" fmla="*/ 5038610 h 5038610"/>
              <a:gd name="connsiteX8" fmla="*/ 33210 w 3417210"/>
              <a:gd name="connsiteY8" fmla="*/ 4916549 h 5038610"/>
              <a:gd name="connsiteX0" fmla="*/ 26222 w 3410222"/>
              <a:gd name="connsiteY0" fmla="*/ 4914339 h 5036400"/>
              <a:gd name="connsiteX1" fmla="*/ 28 w 3410222"/>
              <a:gd name="connsiteY1" fmla="*/ 3175 h 5036400"/>
              <a:gd name="connsiteX2" fmla="*/ 148283 w 3410222"/>
              <a:gd name="connsiteY2" fmla="*/ 0 h 5036400"/>
              <a:gd name="connsiteX3" fmla="*/ 3288161 w 3410222"/>
              <a:gd name="connsiteY3" fmla="*/ 0 h 5036400"/>
              <a:gd name="connsiteX4" fmla="*/ 3410222 w 3410222"/>
              <a:gd name="connsiteY4" fmla="*/ 122061 h 5036400"/>
              <a:gd name="connsiteX5" fmla="*/ 3410222 w 3410222"/>
              <a:gd name="connsiteY5" fmla="*/ 4914339 h 5036400"/>
              <a:gd name="connsiteX6" fmla="*/ 3288161 w 3410222"/>
              <a:gd name="connsiteY6" fmla="*/ 5036400 h 5036400"/>
              <a:gd name="connsiteX7" fmla="*/ 148283 w 3410222"/>
              <a:gd name="connsiteY7" fmla="*/ 5036400 h 5036400"/>
              <a:gd name="connsiteX8" fmla="*/ 26222 w 3410222"/>
              <a:gd name="connsiteY8" fmla="*/ 4914339 h 503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10222" h="5036400">
                <a:moveTo>
                  <a:pt x="26222" y="4914339"/>
                </a:moveTo>
                <a:cubicBezTo>
                  <a:pt x="5879" y="4075468"/>
                  <a:pt x="1910" y="6256"/>
                  <a:pt x="28" y="3175"/>
                </a:cubicBezTo>
                <a:cubicBezTo>
                  <a:pt x="-1854" y="94"/>
                  <a:pt x="93180" y="529"/>
                  <a:pt x="148283" y="0"/>
                </a:cubicBezTo>
                <a:lnTo>
                  <a:pt x="3288161" y="0"/>
                </a:lnTo>
                <a:cubicBezTo>
                  <a:pt x="3355573" y="0"/>
                  <a:pt x="3410222" y="54649"/>
                  <a:pt x="3410222" y="122061"/>
                </a:cubicBezTo>
                <a:lnTo>
                  <a:pt x="3410222" y="4914339"/>
                </a:lnTo>
                <a:cubicBezTo>
                  <a:pt x="3410222" y="4981751"/>
                  <a:pt x="3355573" y="5036400"/>
                  <a:pt x="3288161" y="5036400"/>
                </a:cubicBezTo>
                <a:lnTo>
                  <a:pt x="148283" y="5036400"/>
                </a:lnTo>
                <a:cubicBezTo>
                  <a:pt x="80871" y="5036400"/>
                  <a:pt x="26222" y="4981751"/>
                  <a:pt x="26222" y="4914339"/>
                </a:cubicBezTo>
                <a:close/>
              </a:path>
            </a:pathLst>
          </a:custGeom>
          <a:solidFill>
            <a:schemeClr val="bg1"/>
          </a:solidFill>
        </p:spPr>
        <p:txBody>
          <a:bodyPr lIns="576000" tIns="1224000" rIns="576000" bIns="576000"/>
          <a:lstStyle>
            <a:lvl1pPr marL="0" indent="0">
              <a:spcAft>
                <a:spcPts val="0"/>
              </a:spcAft>
              <a:buNone/>
              <a:defRPr sz="6314" b="0">
                <a:solidFill>
                  <a:schemeClr val="bg2"/>
                </a:solidFill>
              </a:defRPr>
            </a:lvl1pPr>
            <a:lvl2pPr marL="1275202" indent="-1275202">
              <a:spcAft>
                <a:spcPts val="0"/>
              </a:spcAft>
              <a:buClr>
                <a:schemeClr val="bg2"/>
              </a:buClr>
              <a:buFont typeface="+mj-lt"/>
              <a:buAutoNum type="arabicPeriod"/>
              <a:defRPr sz="6314">
                <a:solidFill>
                  <a:schemeClr val="bg2"/>
                </a:solidFill>
              </a:defRPr>
            </a:lvl2pPr>
            <a:lvl3pPr marL="1002340" indent="-1002340">
              <a:spcAft>
                <a:spcPts val="0"/>
              </a:spcAft>
              <a:buFont typeface="Arial" panose="020B0604020202020204" pitchFamily="34" charset="0"/>
              <a:buChar char="•"/>
              <a:defRPr sz="6314">
                <a:solidFill>
                  <a:schemeClr val="bg2"/>
                </a:solidFill>
              </a:defRPr>
            </a:lvl3pPr>
            <a:lvl4pPr marL="634816" indent="0">
              <a:spcAft>
                <a:spcPts val="0"/>
              </a:spcAft>
              <a:buNone/>
              <a:defRPr sz="6314">
                <a:solidFill>
                  <a:schemeClr val="tx2"/>
                </a:solidFill>
              </a:defRPr>
            </a:lvl4pPr>
            <a:lvl5pPr marL="0" indent="0">
              <a:spcBef>
                <a:spcPts val="2806"/>
              </a:spcBef>
              <a:spcAft>
                <a:spcPts val="0"/>
              </a:spcAft>
              <a:buNone/>
              <a:defRPr sz="12628" b="0">
                <a:solidFill>
                  <a:schemeClr val="tx2"/>
                </a:solidFill>
              </a:defRPr>
            </a:lvl5pPr>
          </a:lstStyle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145" name="Tijdelijke aanduiding voor verticale tekst 2">
            <a:extLst>
              <a:ext uri="{FF2B5EF4-FFF2-40B4-BE49-F238E27FC236}">
                <a16:creationId xmlns:a16="http://schemas.microsoft.com/office/drawing/2014/main" id="{9001FD48-79F0-4F0E-AB81-634459ED5BE7}"/>
              </a:ext>
            </a:extLst>
          </p:cNvPr>
          <p:cNvSpPr>
            <a:spLocks noGrp="1"/>
          </p:cNvSpPr>
          <p:nvPr>
            <p:ph type="body" orient="vert" idx="30" hasCustomPrompt="1"/>
          </p:nvPr>
        </p:nvSpPr>
        <p:spPr>
          <a:xfrm>
            <a:off x="3673386" y="4706259"/>
            <a:ext cx="6882851" cy="2325638"/>
          </a:xfrm>
        </p:spPr>
        <p:txBody>
          <a:bodyPr vert="horz" anchor="b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Tx/>
              <a:buNone/>
              <a:defRPr sz="12628" b="0" baseline="0">
                <a:solidFill>
                  <a:schemeClr val="tx2"/>
                </a:solidFill>
                <a:latin typeface="+mj-lt"/>
              </a:defRPr>
            </a:lvl1pPr>
            <a:lvl2pPr algn="r">
              <a:lnSpc>
                <a:spcPct val="100000"/>
              </a:lnSpc>
              <a:defRPr>
                <a:latin typeface="+mj-lt"/>
              </a:defRPr>
            </a:lvl2pPr>
            <a:lvl3pPr algn="r">
              <a:lnSpc>
                <a:spcPct val="100000"/>
              </a:lnSpc>
              <a:defRPr>
                <a:latin typeface="+mj-lt"/>
              </a:defRPr>
            </a:lvl3pPr>
            <a:lvl4pPr algn="r">
              <a:lnSpc>
                <a:spcPct val="100000"/>
              </a:lnSpc>
              <a:defRPr sz="16838">
                <a:solidFill>
                  <a:schemeClr val="tx2"/>
                </a:solidFill>
                <a:latin typeface="+mj-lt"/>
              </a:defRPr>
            </a:lvl4pPr>
            <a:lvl5pPr algn="r">
              <a:lnSpc>
                <a:spcPct val="100000"/>
              </a:lnSpc>
              <a:defRPr>
                <a:latin typeface="+mj-lt"/>
              </a:defRPr>
            </a:lvl5pPr>
          </a:lstStyle>
          <a:p>
            <a:pPr lvl="0"/>
            <a:r>
              <a:rPr lang="nl-NL" noProof="0"/>
              <a:t>Typ Titel</a:t>
            </a:r>
          </a:p>
        </p:txBody>
      </p:sp>
      <p:sp>
        <p:nvSpPr>
          <p:cNvPr id="256" name="Tijdelijke aanduiding voor tekst 3">
            <a:extLst>
              <a:ext uri="{FF2B5EF4-FFF2-40B4-BE49-F238E27FC236}">
                <a16:creationId xmlns:a16="http://schemas.microsoft.com/office/drawing/2014/main" id="{3CE98F57-4E31-4AA0-A992-55245B424F3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504415" y="1449454"/>
            <a:ext cx="6635238" cy="3534585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51"/>
            </a:lvl1pPr>
          </a:lstStyle>
          <a:p>
            <a:pPr lvl="0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37092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ofdstu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jdelijke aanduiding voor afbeelding 17">
            <a:extLst>
              <a:ext uri="{FF2B5EF4-FFF2-40B4-BE49-F238E27FC236}">
                <a16:creationId xmlns:a16="http://schemas.microsoft.com/office/drawing/2014/main" id="{FCE83ED8-1632-45C0-9776-66D7AE22C04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" y="-31537"/>
            <a:ext cx="29224288" cy="3030675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1116000" anchor="ctr">
            <a:noAutofit/>
          </a:bodyPr>
          <a:lstStyle>
            <a:lvl1pPr marL="801872" indent="-801872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801872" lvl="0" indent="-801872" algn="ctr"/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6" name="Tijdelijke aanduiding voor verticale tekst 2">
            <a:extLst>
              <a:ext uri="{FF2B5EF4-FFF2-40B4-BE49-F238E27FC236}">
                <a16:creationId xmlns:a16="http://schemas.microsoft.com/office/drawing/2014/main" id="{5A35BD7A-B3CF-4DC4-9F54-201CE6D20B37}"/>
              </a:ext>
            </a:extLst>
          </p:cNvPr>
          <p:cNvSpPr>
            <a:spLocks noGrp="1"/>
          </p:cNvSpPr>
          <p:nvPr>
            <p:ph type="body" orient="vert" idx="27" hasCustomPrompt="1"/>
          </p:nvPr>
        </p:nvSpPr>
        <p:spPr>
          <a:xfrm>
            <a:off x="31332216" y="18091585"/>
            <a:ext cx="8494785" cy="5513364"/>
          </a:xfrm>
        </p:spPr>
        <p:txBody>
          <a:bodyPr vert="horz" anchor="t"/>
          <a:lstStyle>
            <a:lvl1pPr marL="0" indent="0" algn="r">
              <a:buFontTx/>
              <a:buNone/>
              <a:defRPr sz="5612" b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  <a:lvl6pPr marL="0" indent="0" algn="r">
              <a:buFontTx/>
              <a:buNone/>
              <a:defRPr>
                <a:latin typeface="+mj-lt"/>
              </a:defRPr>
            </a:lvl6pPr>
          </a:lstStyle>
          <a:p>
            <a:pPr lvl="0"/>
            <a:r>
              <a:rPr lang="nl-NL" noProof="0"/>
              <a:t>Platte tekst</a:t>
            </a:r>
          </a:p>
        </p:txBody>
      </p:sp>
      <p:sp>
        <p:nvSpPr>
          <p:cNvPr id="30" name="Tijdelijke aanduiding voor voettekst 4">
            <a:extLst>
              <a:ext uri="{FF2B5EF4-FFF2-40B4-BE49-F238E27FC236}">
                <a16:creationId xmlns:a16="http://schemas.microsoft.com/office/drawing/2014/main" id="{88E1252C-995D-4324-9AF2-1F90A93410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22298DC-FFF2-4203-A156-2D5C52D8F1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8"/>
            <a:ext cx="707315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6" name="Tijdelijke aanduiding voor verticale tekst 2">
            <a:extLst>
              <a:ext uri="{FF2B5EF4-FFF2-40B4-BE49-F238E27FC236}">
                <a16:creationId xmlns:a16="http://schemas.microsoft.com/office/drawing/2014/main" id="{0C2BFF95-BE2F-4339-9C65-620ECC5A9CA8}"/>
              </a:ext>
            </a:extLst>
          </p:cNvPr>
          <p:cNvSpPr>
            <a:spLocks noGrp="1"/>
          </p:cNvSpPr>
          <p:nvPr>
            <p:ph type="body" orient="vert" idx="29" hasCustomPrompt="1"/>
          </p:nvPr>
        </p:nvSpPr>
        <p:spPr>
          <a:xfrm>
            <a:off x="31332216" y="12578224"/>
            <a:ext cx="8494785" cy="5513364"/>
          </a:xfrm>
        </p:spPr>
        <p:txBody>
          <a:bodyPr vert="horz" anchor="b"/>
          <a:lstStyle>
            <a:lvl1pPr marL="0" indent="0" algn="r">
              <a:lnSpc>
                <a:spcPct val="100000"/>
              </a:lnSpc>
              <a:buFontTx/>
              <a:buNone/>
              <a:defRPr sz="16838" b="0" baseline="0">
                <a:solidFill>
                  <a:schemeClr val="tx2"/>
                </a:solidFill>
                <a:latin typeface="+mj-lt"/>
              </a:defRPr>
            </a:lvl1pPr>
            <a:lvl2pPr algn="r">
              <a:lnSpc>
                <a:spcPct val="100000"/>
              </a:lnSpc>
              <a:defRPr>
                <a:latin typeface="+mj-lt"/>
              </a:defRPr>
            </a:lvl2pPr>
            <a:lvl3pPr algn="r">
              <a:lnSpc>
                <a:spcPct val="100000"/>
              </a:lnSpc>
              <a:defRPr>
                <a:latin typeface="+mj-lt"/>
              </a:defRPr>
            </a:lvl3pPr>
            <a:lvl4pPr algn="r">
              <a:lnSpc>
                <a:spcPct val="100000"/>
              </a:lnSpc>
              <a:defRPr sz="16838">
                <a:solidFill>
                  <a:schemeClr val="tx2"/>
                </a:solidFill>
                <a:latin typeface="+mj-lt"/>
              </a:defRPr>
            </a:lvl4pPr>
            <a:lvl5pPr algn="r">
              <a:lnSpc>
                <a:spcPct val="100000"/>
              </a:lnSpc>
              <a:defRPr>
                <a:latin typeface="+mj-lt"/>
              </a:defRPr>
            </a:lvl5pPr>
          </a:lstStyle>
          <a:p>
            <a:pPr lvl="0"/>
            <a:r>
              <a:rPr lang="nl-NL" noProof="0"/>
              <a:t>Typ titel</a:t>
            </a:r>
          </a:p>
        </p:txBody>
      </p:sp>
      <p:sp>
        <p:nvSpPr>
          <p:cNvPr id="28" name="Tijdelijke aanduiding voor tekst 2">
            <a:extLst>
              <a:ext uri="{FF2B5EF4-FFF2-40B4-BE49-F238E27FC236}">
                <a16:creationId xmlns:a16="http://schemas.microsoft.com/office/drawing/2014/main" id="{96BEB92E-F202-471F-B7E9-FE333D4C057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399513" y="17837431"/>
            <a:ext cx="15877931" cy="8554531"/>
          </a:xfrm>
          <a:custGeom>
            <a:avLst/>
            <a:gdLst>
              <a:gd name="connsiteX0" fmla="*/ 0 w 4524067"/>
              <a:gd name="connsiteY0" fmla="*/ 42969 h 1602140"/>
              <a:gd name="connsiteX1" fmla="*/ 42969 w 4524067"/>
              <a:gd name="connsiteY1" fmla="*/ 0 h 1602140"/>
              <a:gd name="connsiteX2" fmla="*/ 4481098 w 4524067"/>
              <a:gd name="connsiteY2" fmla="*/ 0 h 1602140"/>
              <a:gd name="connsiteX3" fmla="*/ 4524067 w 4524067"/>
              <a:gd name="connsiteY3" fmla="*/ 42969 h 1602140"/>
              <a:gd name="connsiteX4" fmla="*/ 4524067 w 4524067"/>
              <a:gd name="connsiteY4" fmla="*/ 1559171 h 1602140"/>
              <a:gd name="connsiteX5" fmla="*/ 4481098 w 4524067"/>
              <a:gd name="connsiteY5" fmla="*/ 1602140 h 1602140"/>
              <a:gd name="connsiteX6" fmla="*/ 42969 w 4524067"/>
              <a:gd name="connsiteY6" fmla="*/ 1602140 h 1602140"/>
              <a:gd name="connsiteX7" fmla="*/ 0 w 4524067"/>
              <a:gd name="connsiteY7" fmla="*/ 1559171 h 1602140"/>
              <a:gd name="connsiteX8" fmla="*/ 0 w 4524067"/>
              <a:gd name="connsiteY8" fmla="*/ 42969 h 1602140"/>
              <a:gd name="connsiteX0" fmla="*/ 0 w 4524067"/>
              <a:gd name="connsiteY0" fmla="*/ 43141 h 1602312"/>
              <a:gd name="connsiteX1" fmla="*/ 42969 w 4524067"/>
              <a:gd name="connsiteY1" fmla="*/ 172 h 1602312"/>
              <a:gd name="connsiteX2" fmla="*/ 4136478 w 4524067"/>
              <a:gd name="connsiteY2" fmla="*/ 0 h 1602312"/>
              <a:gd name="connsiteX3" fmla="*/ 4481098 w 4524067"/>
              <a:gd name="connsiteY3" fmla="*/ 172 h 1602312"/>
              <a:gd name="connsiteX4" fmla="*/ 4524067 w 4524067"/>
              <a:gd name="connsiteY4" fmla="*/ 43141 h 1602312"/>
              <a:gd name="connsiteX5" fmla="*/ 4524067 w 4524067"/>
              <a:gd name="connsiteY5" fmla="*/ 1559343 h 1602312"/>
              <a:gd name="connsiteX6" fmla="*/ 4481098 w 4524067"/>
              <a:gd name="connsiteY6" fmla="*/ 1602312 h 1602312"/>
              <a:gd name="connsiteX7" fmla="*/ 42969 w 4524067"/>
              <a:gd name="connsiteY7" fmla="*/ 1602312 h 1602312"/>
              <a:gd name="connsiteX8" fmla="*/ 0 w 4524067"/>
              <a:gd name="connsiteY8" fmla="*/ 1559343 h 1602312"/>
              <a:gd name="connsiteX9" fmla="*/ 0 w 4524067"/>
              <a:gd name="connsiteY9" fmla="*/ 43141 h 1602312"/>
              <a:gd name="connsiteX0" fmla="*/ 0 w 4524067"/>
              <a:gd name="connsiteY0" fmla="*/ 43141 h 1602312"/>
              <a:gd name="connsiteX1" fmla="*/ 42969 w 4524067"/>
              <a:gd name="connsiteY1" fmla="*/ 172 h 1602312"/>
              <a:gd name="connsiteX2" fmla="*/ 4136478 w 4524067"/>
              <a:gd name="connsiteY2" fmla="*/ 0 h 1602312"/>
              <a:gd name="connsiteX3" fmla="*/ 4524067 w 4524067"/>
              <a:gd name="connsiteY3" fmla="*/ 43141 h 1602312"/>
              <a:gd name="connsiteX4" fmla="*/ 4524067 w 4524067"/>
              <a:gd name="connsiteY4" fmla="*/ 1559343 h 1602312"/>
              <a:gd name="connsiteX5" fmla="*/ 4481098 w 4524067"/>
              <a:gd name="connsiteY5" fmla="*/ 1602312 h 1602312"/>
              <a:gd name="connsiteX6" fmla="*/ 42969 w 4524067"/>
              <a:gd name="connsiteY6" fmla="*/ 1602312 h 1602312"/>
              <a:gd name="connsiteX7" fmla="*/ 0 w 4524067"/>
              <a:gd name="connsiteY7" fmla="*/ 1559343 h 1602312"/>
              <a:gd name="connsiteX8" fmla="*/ 0 w 4524067"/>
              <a:gd name="connsiteY8" fmla="*/ 43141 h 1602312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680"/>
              <a:gd name="connsiteY0" fmla="*/ 376237 h 1935408"/>
              <a:gd name="connsiteX1" fmla="*/ 42969 w 4526680"/>
              <a:gd name="connsiteY1" fmla="*/ 333268 h 1935408"/>
              <a:gd name="connsiteX2" fmla="*/ 4136478 w 4526680"/>
              <a:gd name="connsiteY2" fmla="*/ 333096 h 1935408"/>
              <a:gd name="connsiteX3" fmla="*/ 4526448 w 4526680"/>
              <a:gd name="connsiteY3" fmla="*/ 0 h 1935408"/>
              <a:gd name="connsiteX4" fmla="*/ 4524067 w 4526680"/>
              <a:gd name="connsiteY4" fmla="*/ 1892439 h 1935408"/>
              <a:gd name="connsiteX5" fmla="*/ 4481098 w 4526680"/>
              <a:gd name="connsiteY5" fmla="*/ 1935408 h 1935408"/>
              <a:gd name="connsiteX6" fmla="*/ 42969 w 4526680"/>
              <a:gd name="connsiteY6" fmla="*/ 1935408 h 1935408"/>
              <a:gd name="connsiteX7" fmla="*/ 0 w 4526680"/>
              <a:gd name="connsiteY7" fmla="*/ 1892439 h 1935408"/>
              <a:gd name="connsiteX8" fmla="*/ 0 w 4526680"/>
              <a:gd name="connsiteY8" fmla="*/ 376237 h 1935408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448"/>
              <a:gd name="connsiteY0" fmla="*/ 378618 h 1937789"/>
              <a:gd name="connsiteX1" fmla="*/ 42969 w 4526448"/>
              <a:gd name="connsiteY1" fmla="*/ 335649 h 1937789"/>
              <a:gd name="connsiteX2" fmla="*/ 4136478 w 4526448"/>
              <a:gd name="connsiteY2" fmla="*/ 335477 h 1937789"/>
              <a:gd name="connsiteX3" fmla="*/ 4526448 w 4526448"/>
              <a:gd name="connsiteY3" fmla="*/ 0 h 1937789"/>
              <a:gd name="connsiteX4" fmla="*/ 4524067 w 4526448"/>
              <a:gd name="connsiteY4" fmla="*/ 1894820 h 1937789"/>
              <a:gd name="connsiteX5" fmla="*/ 4481098 w 4526448"/>
              <a:gd name="connsiteY5" fmla="*/ 1937789 h 1937789"/>
              <a:gd name="connsiteX6" fmla="*/ 42969 w 4526448"/>
              <a:gd name="connsiteY6" fmla="*/ 1937789 h 1937789"/>
              <a:gd name="connsiteX7" fmla="*/ 0 w 4526448"/>
              <a:gd name="connsiteY7" fmla="*/ 1894820 h 1937789"/>
              <a:gd name="connsiteX8" fmla="*/ 0 w 4526448"/>
              <a:gd name="connsiteY8" fmla="*/ 378618 h 1937789"/>
              <a:gd name="connsiteX0" fmla="*/ 0 w 4526448"/>
              <a:gd name="connsiteY0" fmla="*/ 378618 h 1937789"/>
              <a:gd name="connsiteX1" fmla="*/ 42969 w 4526448"/>
              <a:gd name="connsiteY1" fmla="*/ 335649 h 1937789"/>
              <a:gd name="connsiteX2" fmla="*/ 4136478 w 4526448"/>
              <a:gd name="connsiteY2" fmla="*/ 335477 h 1937789"/>
              <a:gd name="connsiteX3" fmla="*/ 4526448 w 4526448"/>
              <a:gd name="connsiteY3" fmla="*/ 0 h 1937789"/>
              <a:gd name="connsiteX4" fmla="*/ 4524067 w 4526448"/>
              <a:gd name="connsiteY4" fmla="*/ 1894820 h 1937789"/>
              <a:gd name="connsiteX5" fmla="*/ 4481098 w 4526448"/>
              <a:gd name="connsiteY5" fmla="*/ 1937789 h 1937789"/>
              <a:gd name="connsiteX6" fmla="*/ 42969 w 4526448"/>
              <a:gd name="connsiteY6" fmla="*/ 1937789 h 1937789"/>
              <a:gd name="connsiteX7" fmla="*/ 0 w 4526448"/>
              <a:gd name="connsiteY7" fmla="*/ 1894820 h 1937789"/>
              <a:gd name="connsiteX8" fmla="*/ 0 w 4526448"/>
              <a:gd name="connsiteY8" fmla="*/ 378618 h 1937789"/>
              <a:gd name="connsiteX0" fmla="*/ 0 w 4526448"/>
              <a:gd name="connsiteY0" fmla="*/ 378618 h 1937789"/>
              <a:gd name="connsiteX1" fmla="*/ 42969 w 4526448"/>
              <a:gd name="connsiteY1" fmla="*/ 335649 h 1937789"/>
              <a:gd name="connsiteX2" fmla="*/ 4136478 w 4526448"/>
              <a:gd name="connsiteY2" fmla="*/ 335477 h 1937789"/>
              <a:gd name="connsiteX3" fmla="*/ 4526448 w 4526448"/>
              <a:gd name="connsiteY3" fmla="*/ 0 h 1937789"/>
              <a:gd name="connsiteX4" fmla="*/ 4524067 w 4526448"/>
              <a:gd name="connsiteY4" fmla="*/ 1894820 h 1937789"/>
              <a:gd name="connsiteX5" fmla="*/ 4481098 w 4526448"/>
              <a:gd name="connsiteY5" fmla="*/ 1937789 h 1937789"/>
              <a:gd name="connsiteX6" fmla="*/ 42969 w 4526448"/>
              <a:gd name="connsiteY6" fmla="*/ 1937789 h 1937789"/>
              <a:gd name="connsiteX7" fmla="*/ 0 w 4526448"/>
              <a:gd name="connsiteY7" fmla="*/ 1894820 h 1937789"/>
              <a:gd name="connsiteX8" fmla="*/ 0 w 4526448"/>
              <a:gd name="connsiteY8" fmla="*/ 378618 h 1937789"/>
              <a:gd name="connsiteX0" fmla="*/ 0 w 4526448"/>
              <a:gd name="connsiteY0" fmla="*/ 378618 h 1937789"/>
              <a:gd name="connsiteX1" fmla="*/ 42969 w 4526448"/>
              <a:gd name="connsiteY1" fmla="*/ 335649 h 1937789"/>
              <a:gd name="connsiteX2" fmla="*/ 4136478 w 4526448"/>
              <a:gd name="connsiteY2" fmla="*/ 335477 h 1937789"/>
              <a:gd name="connsiteX3" fmla="*/ 4526448 w 4526448"/>
              <a:gd name="connsiteY3" fmla="*/ 0 h 1937789"/>
              <a:gd name="connsiteX4" fmla="*/ 4524067 w 4526448"/>
              <a:gd name="connsiteY4" fmla="*/ 1894820 h 1937789"/>
              <a:gd name="connsiteX5" fmla="*/ 4481098 w 4526448"/>
              <a:gd name="connsiteY5" fmla="*/ 1937789 h 1937789"/>
              <a:gd name="connsiteX6" fmla="*/ 42969 w 4526448"/>
              <a:gd name="connsiteY6" fmla="*/ 1937789 h 1937789"/>
              <a:gd name="connsiteX7" fmla="*/ 0 w 4526448"/>
              <a:gd name="connsiteY7" fmla="*/ 1894820 h 1937789"/>
              <a:gd name="connsiteX8" fmla="*/ 0 w 4526448"/>
              <a:gd name="connsiteY8" fmla="*/ 378618 h 1937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26448" h="1937789">
                <a:moveTo>
                  <a:pt x="0" y="378618"/>
                </a:moveTo>
                <a:cubicBezTo>
                  <a:pt x="0" y="354887"/>
                  <a:pt x="19238" y="335649"/>
                  <a:pt x="42969" y="335649"/>
                </a:cubicBezTo>
                <a:lnTo>
                  <a:pt x="4136478" y="335477"/>
                </a:lnTo>
                <a:cubicBezTo>
                  <a:pt x="4337111" y="333983"/>
                  <a:pt x="4486946" y="218189"/>
                  <a:pt x="4526448" y="0"/>
                </a:cubicBezTo>
                <a:cubicBezTo>
                  <a:pt x="4525654" y="630813"/>
                  <a:pt x="4524861" y="1264007"/>
                  <a:pt x="4524067" y="1894820"/>
                </a:cubicBezTo>
                <a:cubicBezTo>
                  <a:pt x="4524067" y="1918551"/>
                  <a:pt x="4504829" y="1937789"/>
                  <a:pt x="4481098" y="1937789"/>
                </a:cubicBezTo>
                <a:lnTo>
                  <a:pt x="42969" y="1937789"/>
                </a:lnTo>
                <a:cubicBezTo>
                  <a:pt x="19238" y="1937789"/>
                  <a:pt x="0" y="1918551"/>
                  <a:pt x="0" y="1894820"/>
                </a:cubicBezTo>
                <a:lnTo>
                  <a:pt x="0" y="378618"/>
                </a:lnTo>
                <a:close/>
              </a:path>
            </a:pathLst>
          </a:custGeom>
          <a:solidFill>
            <a:schemeClr val="bg2">
              <a:alpha val="85000"/>
            </a:schemeClr>
          </a:solidFill>
        </p:spPr>
        <p:txBody>
          <a:bodyPr vert="horz" wrap="square" lIns="360000" tIns="576000" rIns="576000" bIns="180000" rtlCol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lang="nl-NL" sz="8419" b="0" dirty="0">
                <a:solidFill>
                  <a:schemeClr val="bg1"/>
                </a:solidFill>
                <a:latin typeface="+mj-lt"/>
              </a:defRPr>
            </a:lvl1pPr>
            <a:lvl2pPr>
              <a:defRPr lang="nl-NL" dirty="0">
                <a:solidFill>
                  <a:schemeClr val="bg1"/>
                </a:solidFill>
                <a:latin typeface="+mj-lt"/>
              </a:defRPr>
            </a:lvl2pPr>
            <a:lvl3pPr>
              <a:defRPr lang="nl-NL" dirty="0">
                <a:solidFill>
                  <a:schemeClr val="bg1"/>
                </a:solidFill>
                <a:latin typeface="+mj-lt"/>
              </a:defRPr>
            </a:lvl3pPr>
            <a:lvl4pPr>
              <a:defRPr lang="nl-NL" dirty="0">
                <a:solidFill>
                  <a:schemeClr val="bg1"/>
                </a:solidFill>
                <a:latin typeface="+mj-lt"/>
              </a:defRPr>
            </a:lvl4pPr>
            <a:lvl5pPr>
              <a:lnSpc>
                <a:spcPct val="100000"/>
              </a:lnSpc>
              <a:defRPr lang="nl-NL" sz="8419" b="0" dirty="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nl-NL" noProof="0"/>
              <a:t>Klik om tekst in te voegen</a:t>
            </a:r>
          </a:p>
        </p:txBody>
      </p:sp>
      <p:sp>
        <p:nvSpPr>
          <p:cNvPr id="29" name="Tijdelijke aanduiding voor datum 3">
            <a:extLst>
              <a:ext uri="{FF2B5EF4-FFF2-40B4-BE49-F238E27FC236}">
                <a16:creationId xmlns:a16="http://schemas.microsoft.com/office/drawing/2014/main" id="{0C185B4F-039F-4078-960F-6ACF6F50FA8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845E9234-8709-4007-9880-8F50EB01A15C}" type="datetime1">
              <a:rPr lang="nl-NL" noProof="0" smtClean="0"/>
              <a:t>26-6-2023</a:t>
            </a:fld>
            <a:endParaRPr lang="nl-NL" noProof="0"/>
          </a:p>
        </p:txBody>
      </p:sp>
      <p:pic>
        <p:nvPicPr>
          <p:cNvPr id="69" name="Afbeelding 68">
            <a:extLst>
              <a:ext uri="{FF2B5EF4-FFF2-40B4-BE49-F238E27FC236}">
                <a16:creationId xmlns:a16="http://schemas.microsoft.com/office/drawing/2014/main" id="{01F347DF-1A12-48D1-89CE-4FB17CBFE6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5695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100%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1742374" y="6476677"/>
            <a:ext cx="39282480" cy="19046186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 marL="1269631" indent="-634816">
              <a:buFont typeface="Arial" panose="020B0604020202020204" pitchFamily="34" charset="0"/>
              <a:buChar char="•"/>
              <a:defRPr sz="4911" baseline="0">
                <a:latin typeface="+mj-lt"/>
              </a:defRPr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D493E421-713B-4AD0-8E5B-41C84D6EBA53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2" y="27329718"/>
            <a:ext cx="857527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pic>
        <p:nvPicPr>
          <p:cNvPr id="103" name="Afbeelding 102">
            <a:extLst>
              <a:ext uri="{FF2B5EF4-FFF2-40B4-BE49-F238E27FC236}">
                <a16:creationId xmlns:a16="http://schemas.microsoft.com/office/drawing/2014/main" id="{8E048147-F86F-41C9-80AF-EAB545EEC3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093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80%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6476681"/>
            <a:ext cx="42710776" cy="23798532"/>
          </a:xfrm>
          <a:solidFill>
            <a:schemeClr val="bg1">
              <a:lumMod val="95000"/>
            </a:schemeClr>
          </a:solidFill>
        </p:spPr>
        <p:txBody>
          <a:bodyPr tIns="1080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677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42378" y="1766065"/>
            <a:ext cx="32281087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0" name="Tijdelijke aanduiding voor voettekst 4">
            <a:extLst>
              <a:ext uri="{FF2B5EF4-FFF2-40B4-BE49-F238E27FC236}">
                <a16:creationId xmlns:a16="http://schemas.microsoft.com/office/drawing/2014/main" id="{1DA20FBD-9D0F-4EAB-B12C-126591D8B7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7" y="27345278"/>
            <a:ext cx="1802756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6644E39-2AF2-4EA0-9C3F-28C89D5A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3" y="27329717"/>
            <a:ext cx="938235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7" name="Tijdelijke aanduiding voor tekst 14">
            <a:extLst>
              <a:ext uri="{FF2B5EF4-FFF2-40B4-BE49-F238E27FC236}">
                <a16:creationId xmlns:a16="http://schemas.microsoft.com/office/drawing/2014/main" id="{A6BF4B27-7FC5-4896-80CE-3BA6119B83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78" y="3469430"/>
            <a:ext cx="32281087" cy="1195424"/>
          </a:xfrm>
        </p:spPr>
        <p:txBody>
          <a:bodyPr>
            <a:noAutofit/>
          </a:bodyPr>
          <a:lstStyle>
            <a:lvl1pPr marL="0" indent="0">
              <a:buNone/>
              <a:defRPr sz="2794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15" name="Tijdelijke aanduiding voor datum 3">
            <a:extLst>
              <a:ext uri="{FF2B5EF4-FFF2-40B4-BE49-F238E27FC236}">
                <a16:creationId xmlns:a16="http://schemas.microsoft.com/office/drawing/2014/main" id="{B4AED1A4-683A-4021-8F91-6EB13C2447C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50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A659124-FA22-4DE2-958C-6848B49C8891}" type="datetime1">
              <a:rPr lang="nl-NL" noProof="0" smtClean="0"/>
              <a:t>26-6-2023</a:t>
            </a:fld>
            <a:endParaRPr lang="nl-NL" noProof="0"/>
          </a:p>
        </p:txBody>
      </p:sp>
      <p:pic>
        <p:nvPicPr>
          <p:cNvPr id="59" name="Afbeelding 58">
            <a:extLst>
              <a:ext uri="{FF2B5EF4-FFF2-40B4-BE49-F238E27FC236}">
                <a16:creationId xmlns:a16="http://schemas.microsoft.com/office/drawing/2014/main" id="{CD829B4D-4013-4C29-80CF-C4F2F14098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5" y="831727"/>
            <a:ext cx="9249575" cy="4281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7575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100% Kolomm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">
            <a:extLst>
              <a:ext uri="{FF2B5EF4-FFF2-40B4-BE49-F238E27FC236}">
                <a16:creationId xmlns:a16="http://schemas.microsoft.com/office/drawing/2014/main" id="{1C9A417D-54A5-4A71-8B81-7526013FD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B97E484-7855-4B8D-9492-641CD9CF34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32" name="Tijdelijke aanduiding voor datum 3">
            <a:extLst>
              <a:ext uri="{FF2B5EF4-FFF2-40B4-BE49-F238E27FC236}">
                <a16:creationId xmlns:a16="http://schemas.microsoft.com/office/drawing/2014/main" id="{6354BF0C-BC33-44FF-BF92-624A7D6DA1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1EB8EFDF-A3EC-46A8-9B15-FE22A84EA0AA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33" name="Tijdelijke aanduiding voor voettekst 4">
            <a:extLst>
              <a:ext uri="{FF2B5EF4-FFF2-40B4-BE49-F238E27FC236}">
                <a16:creationId xmlns:a16="http://schemas.microsoft.com/office/drawing/2014/main" id="{20812B2F-B80B-4623-8A5A-F50D2B9A2D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4" name="Tijdelijke aanduiding voor dianummer 5">
            <a:extLst>
              <a:ext uri="{FF2B5EF4-FFF2-40B4-BE49-F238E27FC236}">
                <a16:creationId xmlns:a16="http://schemas.microsoft.com/office/drawing/2014/main" id="{DF970716-837B-4314-A35A-D69EAD1B74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9" y="27329718"/>
            <a:ext cx="899256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90" name="Tijdelijke aanduiding voor verticale tekst 2">
            <a:extLst>
              <a:ext uri="{FF2B5EF4-FFF2-40B4-BE49-F238E27FC236}">
                <a16:creationId xmlns:a16="http://schemas.microsoft.com/office/drawing/2014/main" id="{BDC964F3-713E-4B53-BB28-52B5ACE9F960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742374" y="6476677"/>
            <a:ext cx="39282480" cy="19046186"/>
          </a:xfrm>
        </p:spPr>
        <p:txBody>
          <a:bodyPr vert="horz" numCol="2" spcCol="576000"/>
          <a:lstStyle>
            <a:lvl1pPr>
              <a:defRPr sz="5612"/>
            </a:lvl1pPr>
            <a:lvl2pPr>
              <a:defRPr sz="4911"/>
            </a:lvl2pPr>
            <a:lvl3pPr>
              <a:defRPr sz="4911"/>
            </a:lvl3pPr>
            <a:lvl4pPr>
              <a:defRPr sz="4911"/>
            </a:lvl4pPr>
            <a:lvl5pPr>
              <a:defRPr sz="4911"/>
            </a:lvl5pPr>
            <a:lvl6pPr marL="1269631" indent="-634816">
              <a:buFont typeface="Arial" panose="020B0604020202020204" pitchFamily="34" charset="0"/>
              <a:buChar char="•"/>
              <a:defRPr sz="4209" baseline="0">
                <a:latin typeface="+mj-lt"/>
              </a:defRPr>
            </a:lvl6pPr>
            <a:lvl7pPr>
              <a:defRPr sz="4911"/>
            </a:lvl7pPr>
            <a:lvl8pPr>
              <a:defRPr sz="4209"/>
            </a:lvl8pPr>
            <a:lvl9pPr>
              <a:defRPr sz="8419"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pic>
        <p:nvPicPr>
          <p:cNvPr id="91" name="Afbeelding 90">
            <a:extLst>
              <a:ext uri="{FF2B5EF4-FFF2-40B4-BE49-F238E27FC236}">
                <a16:creationId xmlns:a16="http://schemas.microsoft.com/office/drawing/2014/main" id="{2BBB23CB-7F4B-419B-AEE2-1E578FE5BA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111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100% Kolommen + F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">
            <a:extLst>
              <a:ext uri="{FF2B5EF4-FFF2-40B4-BE49-F238E27FC236}">
                <a16:creationId xmlns:a16="http://schemas.microsoft.com/office/drawing/2014/main" id="{1C9A417D-54A5-4A71-8B81-7526013FD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B97E484-7855-4B8D-9492-641CD9CF34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32" name="Tijdelijke aanduiding voor datum 3">
            <a:extLst>
              <a:ext uri="{FF2B5EF4-FFF2-40B4-BE49-F238E27FC236}">
                <a16:creationId xmlns:a16="http://schemas.microsoft.com/office/drawing/2014/main" id="{6354BF0C-BC33-44FF-BF92-624A7D6DA1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F7D9B3A1-AD20-4AC8-A938-A3B5CD41AC74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33" name="Tijdelijke aanduiding voor voettekst 4">
            <a:extLst>
              <a:ext uri="{FF2B5EF4-FFF2-40B4-BE49-F238E27FC236}">
                <a16:creationId xmlns:a16="http://schemas.microsoft.com/office/drawing/2014/main" id="{20812B2F-B80B-4623-8A5A-F50D2B9A2D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4" name="Tijdelijke aanduiding voor dianummer 5">
            <a:extLst>
              <a:ext uri="{FF2B5EF4-FFF2-40B4-BE49-F238E27FC236}">
                <a16:creationId xmlns:a16="http://schemas.microsoft.com/office/drawing/2014/main" id="{DF970716-837B-4314-A35A-D69EAD1B74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9" y="27329718"/>
            <a:ext cx="966080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5" name="Tijdelijke aanduiding voor afbeelding 4">
            <a:extLst>
              <a:ext uri="{FF2B5EF4-FFF2-40B4-BE49-F238E27FC236}">
                <a16:creationId xmlns:a16="http://schemas.microsoft.com/office/drawing/2014/main" id="{4F177409-F5CC-48CA-85EE-1118845B542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2420194" y="16336005"/>
            <a:ext cx="18604073" cy="9215717"/>
          </a:xfrm>
          <a:solidFill>
            <a:schemeClr val="bg1">
              <a:lumMod val="95000"/>
            </a:schemeClr>
          </a:solidFill>
        </p:spPr>
        <p:txBody>
          <a:bodyPr vert="horz" lIns="0" tIns="1260000" rIns="0" bIns="0" rtlCol="0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lang="nl-NL" sz="4209" b="0" i="1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23677" lvl="0" indent="-623677" algn="ctr"/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178" name="Tijdelijke aanduiding voor verticale tekst 2">
            <a:extLst>
              <a:ext uri="{FF2B5EF4-FFF2-40B4-BE49-F238E27FC236}">
                <a16:creationId xmlns:a16="http://schemas.microsoft.com/office/drawing/2014/main" id="{D950F2B1-1C5A-4CAD-9B69-36EF3FB38C5C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742374" y="6476677"/>
            <a:ext cx="39282480" cy="19046186"/>
          </a:xfrm>
        </p:spPr>
        <p:txBody>
          <a:bodyPr vert="horz" numCol="2" spcCol="57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 marL="1269631" indent="-634816">
              <a:buFont typeface="Arial" panose="020B0604020202020204" pitchFamily="34" charset="0"/>
              <a:buChar char="•"/>
              <a:defRPr sz="4911" baseline="0">
                <a:latin typeface="+mj-lt"/>
              </a:defRPr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pic>
        <p:nvPicPr>
          <p:cNvPr id="354" name="Afbeelding 353">
            <a:extLst>
              <a:ext uri="{FF2B5EF4-FFF2-40B4-BE49-F238E27FC236}">
                <a16:creationId xmlns:a16="http://schemas.microsoft.com/office/drawing/2014/main" id="{C3DC9CDB-7D02-40BA-8347-E5436758DB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9161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Foto 75%/25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30018937" y="7"/>
            <a:ext cx="12746956" cy="30306751"/>
          </a:xfrm>
          <a:solidFill>
            <a:schemeClr val="bg1">
              <a:lumMod val="95000"/>
            </a:schemeClr>
          </a:solidFill>
        </p:spPr>
        <p:txBody>
          <a:bodyPr tIns="1260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3158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C8A40B12-7E26-4E64-9A7F-C7BE7CAB1C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3" name="Tijdelijke aanduiding voor tekst 14">
            <a:extLst>
              <a:ext uri="{FF2B5EF4-FFF2-40B4-BE49-F238E27FC236}">
                <a16:creationId xmlns:a16="http://schemas.microsoft.com/office/drawing/2014/main" id="{6083995C-1A50-4491-9307-7E1B659A0B1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45" name="Tijdelijke aanduiding voor voettekst 4">
            <a:extLst>
              <a:ext uri="{FF2B5EF4-FFF2-40B4-BE49-F238E27FC236}">
                <a16:creationId xmlns:a16="http://schemas.microsoft.com/office/drawing/2014/main" id="{080EFE03-7FB1-4D06-B653-B56500F8A1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46" name="Tijdelijke aanduiding voor dianummer 5">
            <a:extLst>
              <a:ext uri="{FF2B5EF4-FFF2-40B4-BE49-F238E27FC236}">
                <a16:creationId xmlns:a16="http://schemas.microsoft.com/office/drawing/2014/main" id="{56817633-365A-489C-84DC-22C53FE3A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2" y="27329718"/>
            <a:ext cx="857527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18" name="Tijdelijke aanduiding voor datum 3">
            <a:extLst>
              <a:ext uri="{FF2B5EF4-FFF2-40B4-BE49-F238E27FC236}">
                <a16:creationId xmlns:a16="http://schemas.microsoft.com/office/drawing/2014/main" id="{1660DECE-1BF4-424A-8565-9FDCA21100F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49184B4-41E6-4217-B4F7-E23A450628D2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142" name="Tijdelijke aanduiding voor tekst 4">
            <a:extLst>
              <a:ext uri="{FF2B5EF4-FFF2-40B4-BE49-F238E27FC236}">
                <a16:creationId xmlns:a16="http://schemas.microsoft.com/office/drawing/2014/main" id="{29CC1D89-6112-4688-A910-6E85CEC383E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742374" y="6476685"/>
            <a:ext cx="25012162" cy="1907433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sp>
        <p:nvSpPr>
          <p:cNvPr id="227" name="Tijdelijke aanduiding voor tekst 3">
            <a:extLst>
              <a:ext uri="{FF2B5EF4-FFF2-40B4-BE49-F238E27FC236}">
                <a16:creationId xmlns:a16="http://schemas.microsoft.com/office/drawing/2014/main" id="{56BE9A8B-2E1D-4B70-9784-41189D5E3CE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504415" y="1449454"/>
            <a:ext cx="6635238" cy="3534585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51"/>
            </a:lvl1pPr>
          </a:lstStyle>
          <a:p>
            <a:pPr lvl="0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82926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Foto 50%/5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jdelijke aanduiding voor afbeelding 9">
            <a:extLst>
              <a:ext uri="{FF2B5EF4-FFF2-40B4-BE49-F238E27FC236}">
                <a16:creationId xmlns:a16="http://schemas.microsoft.com/office/drawing/2014/main" id="{0ED34533-68FE-488A-8073-AE327759215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2852404" y="2"/>
            <a:ext cx="19913490" cy="30275209"/>
          </a:xfrm>
          <a:solidFill>
            <a:schemeClr val="bg1">
              <a:lumMod val="95000"/>
            </a:schemeClr>
          </a:solidFill>
        </p:spPr>
        <p:txBody>
          <a:bodyPr tIns="1260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9" name="Titel 1">
            <a:extLst>
              <a:ext uri="{FF2B5EF4-FFF2-40B4-BE49-F238E27FC236}">
                <a16:creationId xmlns:a16="http://schemas.microsoft.com/office/drawing/2014/main" id="{38F2616F-48F4-4AA7-A397-7CF72985B8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40" name="Tijdelijke aanduiding voor tekst 14">
            <a:extLst>
              <a:ext uri="{FF2B5EF4-FFF2-40B4-BE49-F238E27FC236}">
                <a16:creationId xmlns:a16="http://schemas.microsoft.com/office/drawing/2014/main" id="{628F315F-0014-4BC5-9D55-3D396FBDC96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56" name="Tijdelijke aanduiding voor voettekst 4">
            <a:extLst>
              <a:ext uri="{FF2B5EF4-FFF2-40B4-BE49-F238E27FC236}">
                <a16:creationId xmlns:a16="http://schemas.microsoft.com/office/drawing/2014/main" id="{338749D9-C675-4DFC-AD08-66934C14A8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57" name="Tijdelijke aanduiding voor dianummer 5">
            <a:extLst>
              <a:ext uri="{FF2B5EF4-FFF2-40B4-BE49-F238E27FC236}">
                <a16:creationId xmlns:a16="http://schemas.microsoft.com/office/drawing/2014/main" id="{0D5A18F8-364B-49D8-899A-40A6F3280B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2" y="27329718"/>
            <a:ext cx="857527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20" name="Tijdelijke aanduiding voor datum 3">
            <a:extLst>
              <a:ext uri="{FF2B5EF4-FFF2-40B4-BE49-F238E27FC236}">
                <a16:creationId xmlns:a16="http://schemas.microsoft.com/office/drawing/2014/main" id="{6AE598E2-80CE-413F-9F85-905285A7345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B0EAA18-3AFB-40A5-B0C9-9E669743B750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142" name="Tijdelijke aanduiding voor tekst 4">
            <a:extLst>
              <a:ext uri="{FF2B5EF4-FFF2-40B4-BE49-F238E27FC236}">
                <a16:creationId xmlns:a16="http://schemas.microsoft.com/office/drawing/2014/main" id="{979ACD1D-A6F7-422F-B2AC-978EE21FAD1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742373" y="6476685"/>
            <a:ext cx="18171872" cy="1907433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sp>
        <p:nvSpPr>
          <p:cNvPr id="228" name="Tijdelijke aanduiding voor tekst 3">
            <a:extLst>
              <a:ext uri="{FF2B5EF4-FFF2-40B4-BE49-F238E27FC236}">
                <a16:creationId xmlns:a16="http://schemas.microsoft.com/office/drawing/2014/main" id="{FFC2BDB8-507D-4930-A994-4A50B17D66B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504415" y="1449454"/>
            <a:ext cx="6635238" cy="3534585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51"/>
            </a:lvl1pPr>
          </a:lstStyle>
          <a:p>
            <a:pPr lvl="0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24574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Foto 25%/75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jdelijke aanduiding voor afbeelding 9">
            <a:extLst>
              <a:ext uri="{FF2B5EF4-FFF2-40B4-BE49-F238E27FC236}">
                <a16:creationId xmlns:a16="http://schemas.microsoft.com/office/drawing/2014/main" id="{9A5BC6B5-1D0E-4188-AFCB-6E3ED1DEF1F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7808958" y="7"/>
            <a:ext cx="24956939" cy="30306751"/>
          </a:xfrm>
          <a:solidFill>
            <a:schemeClr val="bg1">
              <a:lumMod val="95000"/>
            </a:schemeClr>
          </a:solidFill>
        </p:spPr>
        <p:txBody>
          <a:bodyPr tIns="1260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66B7AAC1-E359-4778-A0B1-A6417129C9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41" name="Tijdelijke aanduiding voor tekst 14">
            <a:extLst>
              <a:ext uri="{FF2B5EF4-FFF2-40B4-BE49-F238E27FC236}">
                <a16:creationId xmlns:a16="http://schemas.microsoft.com/office/drawing/2014/main" id="{E72B3531-34B4-4628-B8C4-9BDACE48A2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50" name="Tijdelijke aanduiding voor voettekst 4">
            <a:extLst>
              <a:ext uri="{FF2B5EF4-FFF2-40B4-BE49-F238E27FC236}">
                <a16:creationId xmlns:a16="http://schemas.microsoft.com/office/drawing/2014/main" id="{A09270D3-9B17-4316-B7B6-C7B06757C4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51" name="Tijdelijke aanduiding voor dianummer 5">
            <a:extLst>
              <a:ext uri="{FF2B5EF4-FFF2-40B4-BE49-F238E27FC236}">
                <a16:creationId xmlns:a16="http://schemas.microsoft.com/office/drawing/2014/main" id="{29AED214-F757-4754-B7D3-9AC75D03D5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2" y="27329718"/>
            <a:ext cx="857527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19" name="Tijdelijke aanduiding voor datum 3">
            <a:extLst>
              <a:ext uri="{FF2B5EF4-FFF2-40B4-BE49-F238E27FC236}">
                <a16:creationId xmlns:a16="http://schemas.microsoft.com/office/drawing/2014/main" id="{0AEE7348-CAF6-4BB8-9EF6-AA8E5C2958D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4B87A2C-4DDA-4D72-8940-56FC5F8DE267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142" name="Tijdelijke aanduiding voor tekst 4">
            <a:extLst>
              <a:ext uri="{FF2B5EF4-FFF2-40B4-BE49-F238E27FC236}">
                <a16:creationId xmlns:a16="http://schemas.microsoft.com/office/drawing/2014/main" id="{E67291DA-A1B8-4533-97BA-4D19DA14FDC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742374" y="6476685"/>
            <a:ext cx="13885872" cy="1907433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bullet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bullet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sp>
        <p:nvSpPr>
          <p:cNvPr id="228" name="Tijdelijke aanduiding voor tekst 3">
            <a:extLst>
              <a:ext uri="{FF2B5EF4-FFF2-40B4-BE49-F238E27FC236}">
                <a16:creationId xmlns:a16="http://schemas.microsoft.com/office/drawing/2014/main" id="{B4F78CBF-9872-475F-8C41-7E5DA6A65BC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504415" y="1449454"/>
            <a:ext cx="6635238" cy="3534585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51"/>
            </a:lvl1pPr>
          </a:lstStyle>
          <a:p>
            <a:pPr lvl="0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48181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hoekje 8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-5567" y="6476684"/>
            <a:ext cx="42767257" cy="23798534"/>
          </a:xfrm>
          <a:solidFill>
            <a:schemeClr val="bg1">
              <a:lumMod val="95000"/>
            </a:schemeClr>
          </a:solidFill>
        </p:spPr>
        <p:txBody>
          <a:bodyPr tIns="1044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0" name="Tijdelijke aanduiding voor voettekst 4">
            <a:extLst>
              <a:ext uri="{FF2B5EF4-FFF2-40B4-BE49-F238E27FC236}">
                <a16:creationId xmlns:a16="http://schemas.microsoft.com/office/drawing/2014/main" id="{1DA20FBD-9D0F-4EAB-B12C-126591D8B7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6644E39-2AF2-4EA0-9C3F-28C89D5A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2" y="27329718"/>
            <a:ext cx="828945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7" name="Tijdelijke aanduiding voor tekst 14">
            <a:extLst>
              <a:ext uri="{FF2B5EF4-FFF2-40B4-BE49-F238E27FC236}">
                <a16:creationId xmlns:a16="http://schemas.microsoft.com/office/drawing/2014/main" id="{A6BF4B27-7FC5-4896-80CE-3BA6119B83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15" name="Tijdelijke aanduiding voor datum 3">
            <a:extLst>
              <a:ext uri="{FF2B5EF4-FFF2-40B4-BE49-F238E27FC236}">
                <a16:creationId xmlns:a16="http://schemas.microsoft.com/office/drawing/2014/main" id="{B4AED1A4-683A-4021-8F91-6EB13C2447C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503FAE-A68E-49CA-B3F3-F3703A2361C4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26" name="Tijdelijke aanduiding voor tekst 3">
            <a:extLst>
              <a:ext uri="{FF2B5EF4-FFF2-40B4-BE49-F238E27FC236}">
                <a16:creationId xmlns:a16="http://schemas.microsoft.com/office/drawing/2014/main" id="{3A586398-8104-4AD7-A024-8ECF8764CDF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926337" y="8948021"/>
            <a:ext cx="1525800" cy="1913241"/>
          </a:xfrm>
          <a:custGeom>
            <a:avLst/>
            <a:gdLst>
              <a:gd name="connsiteX0" fmla="*/ 0 w 1174750"/>
              <a:gd name="connsiteY0" fmla="*/ 0 h 923925"/>
              <a:gd name="connsiteX1" fmla="*/ 1174750 w 1174750"/>
              <a:gd name="connsiteY1" fmla="*/ 0 h 923925"/>
              <a:gd name="connsiteX2" fmla="*/ 1174750 w 1174750"/>
              <a:gd name="connsiteY2" fmla="*/ 923925 h 923925"/>
              <a:gd name="connsiteX3" fmla="*/ 0 w 1174750"/>
              <a:gd name="connsiteY3" fmla="*/ 923925 h 923925"/>
              <a:gd name="connsiteX4" fmla="*/ 0 w 1174750"/>
              <a:gd name="connsiteY4" fmla="*/ 0 h 923925"/>
              <a:gd name="connsiteX0" fmla="*/ 1174750 w 1266190"/>
              <a:gd name="connsiteY0" fmla="*/ 923925 h 1015365"/>
              <a:gd name="connsiteX1" fmla="*/ 0 w 1266190"/>
              <a:gd name="connsiteY1" fmla="*/ 923925 h 1015365"/>
              <a:gd name="connsiteX2" fmla="*/ 0 w 1266190"/>
              <a:gd name="connsiteY2" fmla="*/ 0 h 1015365"/>
              <a:gd name="connsiteX3" fmla="*/ 1174750 w 1266190"/>
              <a:gd name="connsiteY3" fmla="*/ 0 h 1015365"/>
              <a:gd name="connsiteX4" fmla="*/ 1266190 w 1266190"/>
              <a:gd name="connsiteY4" fmla="*/ 1015365 h 1015365"/>
              <a:gd name="connsiteX0" fmla="*/ 1174750 w 1174750"/>
              <a:gd name="connsiteY0" fmla="*/ 923925 h 923925"/>
              <a:gd name="connsiteX1" fmla="*/ 0 w 1174750"/>
              <a:gd name="connsiteY1" fmla="*/ 923925 h 923925"/>
              <a:gd name="connsiteX2" fmla="*/ 0 w 1174750"/>
              <a:gd name="connsiteY2" fmla="*/ 0 h 923925"/>
              <a:gd name="connsiteX3" fmla="*/ 1174750 w 1174750"/>
              <a:gd name="connsiteY3" fmla="*/ 0 h 923925"/>
              <a:gd name="connsiteX0" fmla="*/ 0 w 1174750"/>
              <a:gd name="connsiteY0" fmla="*/ 923925 h 923925"/>
              <a:gd name="connsiteX1" fmla="*/ 0 w 1174750"/>
              <a:gd name="connsiteY1" fmla="*/ 0 h 923925"/>
              <a:gd name="connsiteX2" fmla="*/ 1174750 w 1174750"/>
              <a:gd name="connsiteY2" fmla="*/ 0 h 923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74750" h="923925">
                <a:moveTo>
                  <a:pt x="0" y="923925"/>
                </a:moveTo>
                <a:lnTo>
                  <a:pt x="0" y="0"/>
                </a:lnTo>
                <a:lnTo>
                  <a:pt x="1174750" y="0"/>
                </a:lnTo>
              </a:path>
            </a:pathLst>
          </a:custGeom>
          <a:ln w="190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  <a:alpha val="0"/>
                  </a:schemeClr>
                </a:solidFill>
              </a:defRPr>
            </a:lvl1pPr>
          </a:lstStyle>
          <a:p>
            <a:pPr lvl="0"/>
            <a:endParaRPr lang="nl-NL" noProof="0"/>
          </a:p>
        </p:txBody>
      </p:sp>
      <p:sp>
        <p:nvSpPr>
          <p:cNvPr id="27" name="Tijdelijke aanduiding voor tekst 4">
            <a:extLst>
              <a:ext uri="{FF2B5EF4-FFF2-40B4-BE49-F238E27FC236}">
                <a16:creationId xmlns:a16="http://schemas.microsoft.com/office/drawing/2014/main" id="{F6F978E4-0108-406E-AB96-5F885709DC6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890136" y="8914373"/>
            <a:ext cx="16488774" cy="7793064"/>
          </a:xfrm>
          <a:noFill/>
        </p:spPr>
        <p:txBody>
          <a:bodyPr lIns="360000" tIns="288000" rIns="360000" bIns="36000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419" b="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/>
              <a:t>Klik om tekst in te voegen</a:t>
            </a:r>
          </a:p>
        </p:txBody>
      </p:sp>
      <p:sp>
        <p:nvSpPr>
          <p:cNvPr id="32" name="Tijdelijke aanduiding voor tekst 5">
            <a:extLst>
              <a:ext uri="{FF2B5EF4-FFF2-40B4-BE49-F238E27FC236}">
                <a16:creationId xmlns:a16="http://schemas.microsoft.com/office/drawing/2014/main" id="{E42E3748-C94C-4A0F-BA64-33E6792422C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7833612" y="14745158"/>
            <a:ext cx="1511892" cy="1948270"/>
          </a:xfrm>
          <a:custGeom>
            <a:avLst/>
            <a:gdLst>
              <a:gd name="connsiteX0" fmla="*/ 0 w 1014412"/>
              <a:gd name="connsiteY0" fmla="*/ 196584 h 908050"/>
              <a:gd name="connsiteX1" fmla="*/ 196584 w 1014412"/>
              <a:gd name="connsiteY1" fmla="*/ 0 h 908050"/>
              <a:gd name="connsiteX2" fmla="*/ 817828 w 1014412"/>
              <a:gd name="connsiteY2" fmla="*/ 0 h 908050"/>
              <a:gd name="connsiteX3" fmla="*/ 1014412 w 1014412"/>
              <a:gd name="connsiteY3" fmla="*/ 196584 h 908050"/>
              <a:gd name="connsiteX4" fmla="*/ 1014412 w 1014412"/>
              <a:gd name="connsiteY4" fmla="*/ 711466 h 908050"/>
              <a:gd name="connsiteX5" fmla="*/ 817828 w 1014412"/>
              <a:gd name="connsiteY5" fmla="*/ 908050 h 908050"/>
              <a:gd name="connsiteX6" fmla="*/ 196584 w 1014412"/>
              <a:gd name="connsiteY6" fmla="*/ 908050 h 908050"/>
              <a:gd name="connsiteX7" fmla="*/ 0 w 1014412"/>
              <a:gd name="connsiteY7" fmla="*/ 711466 h 908050"/>
              <a:gd name="connsiteX8" fmla="*/ 0 w 1014412"/>
              <a:gd name="connsiteY8" fmla="*/ 196584 h 908050"/>
              <a:gd name="connsiteX0" fmla="*/ 1014412 w 1105852"/>
              <a:gd name="connsiteY0" fmla="*/ 196584 h 908050"/>
              <a:gd name="connsiteX1" fmla="*/ 1014412 w 1105852"/>
              <a:gd name="connsiteY1" fmla="*/ 711466 h 908050"/>
              <a:gd name="connsiteX2" fmla="*/ 817828 w 1105852"/>
              <a:gd name="connsiteY2" fmla="*/ 908050 h 908050"/>
              <a:gd name="connsiteX3" fmla="*/ 196584 w 1105852"/>
              <a:gd name="connsiteY3" fmla="*/ 908050 h 908050"/>
              <a:gd name="connsiteX4" fmla="*/ 0 w 1105852"/>
              <a:gd name="connsiteY4" fmla="*/ 711466 h 908050"/>
              <a:gd name="connsiteX5" fmla="*/ 0 w 1105852"/>
              <a:gd name="connsiteY5" fmla="*/ 196584 h 908050"/>
              <a:gd name="connsiteX6" fmla="*/ 196584 w 1105852"/>
              <a:gd name="connsiteY6" fmla="*/ 0 h 908050"/>
              <a:gd name="connsiteX7" fmla="*/ 817828 w 1105852"/>
              <a:gd name="connsiteY7" fmla="*/ 0 h 908050"/>
              <a:gd name="connsiteX8" fmla="*/ 1105852 w 1105852"/>
              <a:gd name="connsiteY8" fmla="*/ 288024 h 908050"/>
              <a:gd name="connsiteX0" fmla="*/ 1014412 w 1014412"/>
              <a:gd name="connsiteY0" fmla="*/ 196584 h 908050"/>
              <a:gd name="connsiteX1" fmla="*/ 1014412 w 1014412"/>
              <a:gd name="connsiteY1" fmla="*/ 711466 h 908050"/>
              <a:gd name="connsiteX2" fmla="*/ 817828 w 1014412"/>
              <a:gd name="connsiteY2" fmla="*/ 908050 h 908050"/>
              <a:gd name="connsiteX3" fmla="*/ 196584 w 1014412"/>
              <a:gd name="connsiteY3" fmla="*/ 908050 h 908050"/>
              <a:gd name="connsiteX4" fmla="*/ 0 w 1014412"/>
              <a:gd name="connsiteY4" fmla="*/ 711466 h 908050"/>
              <a:gd name="connsiteX5" fmla="*/ 0 w 1014412"/>
              <a:gd name="connsiteY5" fmla="*/ 196584 h 908050"/>
              <a:gd name="connsiteX6" fmla="*/ 196584 w 1014412"/>
              <a:gd name="connsiteY6" fmla="*/ 0 h 908050"/>
              <a:gd name="connsiteX7" fmla="*/ 817828 w 1014412"/>
              <a:gd name="connsiteY7" fmla="*/ 0 h 908050"/>
              <a:gd name="connsiteX0" fmla="*/ 1014412 w 1014412"/>
              <a:gd name="connsiteY0" fmla="*/ 196584 h 908050"/>
              <a:gd name="connsiteX1" fmla="*/ 1014412 w 1014412"/>
              <a:gd name="connsiteY1" fmla="*/ 711466 h 908050"/>
              <a:gd name="connsiteX2" fmla="*/ 817828 w 1014412"/>
              <a:gd name="connsiteY2" fmla="*/ 908050 h 908050"/>
              <a:gd name="connsiteX3" fmla="*/ 196584 w 1014412"/>
              <a:gd name="connsiteY3" fmla="*/ 908050 h 908050"/>
              <a:gd name="connsiteX4" fmla="*/ 0 w 1014412"/>
              <a:gd name="connsiteY4" fmla="*/ 711466 h 908050"/>
              <a:gd name="connsiteX5" fmla="*/ 0 w 1014412"/>
              <a:gd name="connsiteY5" fmla="*/ 196584 h 908050"/>
              <a:gd name="connsiteX6" fmla="*/ 196584 w 1014412"/>
              <a:gd name="connsiteY6" fmla="*/ 0 h 908050"/>
              <a:gd name="connsiteX0" fmla="*/ 1014412 w 1014412"/>
              <a:gd name="connsiteY0" fmla="*/ 0 h 711466"/>
              <a:gd name="connsiteX1" fmla="*/ 1014412 w 1014412"/>
              <a:gd name="connsiteY1" fmla="*/ 514882 h 711466"/>
              <a:gd name="connsiteX2" fmla="*/ 817828 w 1014412"/>
              <a:gd name="connsiteY2" fmla="*/ 711466 h 711466"/>
              <a:gd name="connsiteX3" fmla="*/ 196584 w 1014412"/>
              <a:gd name="connsiteY3" fmla="*/ 711466 h 711466"/>
              <a:gd name="connsiteX4" fmla="*/ 0 w 1014412"/>
              <a:gd name="connsiteY4" fmla="*/ 514882 h 711466"/>
              <a:gd name="connsiteX5" fmla="*/ 0 w 1014412"/>
              <a:gd name="connsiteY5" fmla="*/ 0 h 711466"/>
              <a:gd name="connsiteX0" fmla="*/ 1014412 w 1014412"/>
              <a:gd name="connsiteY0" fmla="*/ 0 h 711466"/>
              <a:gd name="connsiteX1" fmla="*/ 1014412 w 1014412"/>
              <a:gd name="connsiteY1" fmla="*/ 514882 h 711466"/>
              <a:gd name="connsiteX2" fmla="*/ 817828 w 1014412"/>
              <a:gd name="connsiteY2" fmla="*/ 711466 h 711466"/>
              <a:gd name="connsiteX3" fmla="*/ 196584 w 1014412"/>
              <a:gd name="connsiteY3" fmla="*/ 711466 h 711466"/>
              <a:gd name="connsiteX4" fmla="*/ 0 w 1014412"/>
              <a:gd name="connsiteY4" fmla="*/ 514882 h 711466"/>
              <a:gd name="connsiteX0" fmla="*/ 817828 w 817828"/>
              <a:gd name="connsiteY0" fmla="*/ 0 h 711466"/>
              <a:gd name="connsiteX1" fmla="*/ 817828 w 817828"/>
              <a:gd name="connsiteY1" fmla="*/ 514882 h 711466"/>
              <a:gd name="connsiteX2" fmla="*/ 621244 w 817828"/>
              <a:gd name="connsiteY2" fmla="*/ 711466 h 711466"/>
              <a:gd name="connsiteX3" fmla="*/ 0 w 817828"/>
              <a:gd name="connsiteY3" fmla="*/ 711466 h 711466"/>
              <a:gd name="connsiteX0" fmla="*/ 817828 w 817828"/>
              <a:gd name="connsiteY0" fmla="*/ 0 h 711466"/>
              <a:gd name="connsiteX1" fmla="*/ 815446 w 817828"/>
              <a:gd name="connsiteY1" fmla="*/ 270140 h 711466"/>
              <a:gd name="connsiteX2" fmla="*/ 817828 w 817828"/>
              <a:gd name="connsiteY2" fmla="*/ 514882 h 711466"/>
              <a:gd name="connsiteX3" fmla="*/ 621244 w 817828"/>
              <a:gd name="connsiteY3" fmla="*/ 711466 h 711466"/>
              <a:gd name="connsiteX4" fmla="*/ 0 w 817828"/>
              <a:gd name="connsiteY4" fmla="*/ 711466 h 711466"/>
              <a:gd name="connsiteX0" fmla="*/ 817828 w 817828"/>
              <a:gd name="connsiteY0" fmla="*/ 0 h 711466"/>
              <a:gd name="connsiteX1" fmla="*/ 815446 w 817828"/>
              <a:gd name="connsiteY1" fmla="*/ 270140 h 711466"/>
              <a:gd name="connsiteX2" fmla="*/ 817828 w 817828"/>
              <a:gd name="connsiteY2" fmla="*/ 514882 h 711466"/>
              <a:gd name="connsiteX3" fmla="*/ 621244 w 817828"/>
              <a:gd name="connsiteY3" fmla="*/ 711466 h 711466"/>
              <a:gd name="connsiteX4" fmla="*/ 386821 w 817828"/>
              <a:gd name="connsiteY4" fmla="*/ 708290 h 711466"/>
              <a:gd name="connsiteX5" fmla="*/ 0 w 817828"/>
              <a:gd name="connsiteY5" fmla="*/ 711466 h 711466"/>
              <a:gd name="connsiteX0" fmla="*/ 431007 w 431007"/>
              <a:gd name="connsiteY0" fmla="*/ 0 h 711466"/>
              <a:gd name="connsiteX1" fmla="*/ 428625 w 431007"/>
              <a:gd name="connsiteY1" fmla="*/ 270140 h 711466"/>
              <a:gd name="connsiteX2" fmla="*/ 431007 w 431007"/>
              <a:gd name="connsiteY2" fmla="*/ 514882 h 711466"/>
              <a:gd name="connsiteX3" fmla="*/ 234423 w 431007"/>
              <a:gd name="connsiteY3" fmla="*/ 711466 h 711466"/>
              <a:gd name="connsiteX4" fmla="*/ 0 w 431007"/>
              <a:gd name="connsiteY4" fmla="*/ 708290 h 711466"/>
              <a:gd name="connsiteX0" fmla="*/ 428625 w 431007"/>
              <a:gd name="connsiteY0" fmla="*/ 0 h 441326"/>
              <a:gd name="connsiteX1" fmla="*/ 431007 w 431007"/>
              <a:gd name="connsiteY1" fmla="*/ 244742 h 441326"/>
              <a:gd name="connsiteX2" fmla="*/ 234423 w 431007"/>
              <a:gd name="connsiteY2" fmla="*/ 441326 h 441326"/>
              <a:gd name="connsiteX3" fmla="*/ 0 w 431007"/>
              <a:gd name="connsiteY3" fmla="*/ 438150 h 441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007" h="441326">
                <a:moveTo>
                  <a:pt x="428625" y="0"/>
                </a:moveTo>
                <a:lnTo>
                  <a:pt x="431007" y="244742"/>
                </a:lnTo>
                <a:cubicBezTo>
                  <a:pt x="431007" y="353312"/>
                  <a:pt x="342993" y="441326"/>
                  <a:pt x="234423" y="441326"/>
                </a:cubicBezTo>
                <a:lnTo>
                  <a:pt x="0" y="438150"/>
                </a:lnTo>
              </a:path>
            </a:pathLst>
          </a:custGeom>
          <a:noFill/>
          <a:ln w="15875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  <a:alpha val="0"/>
                  </a:schemeClr>
                </a:solidFill>
              </a:defRPr>
            </a:lvl1pPr>
          </a:lstStyle>
          <a:p>
            <a:pPr lvl="0"/>
            <a:endParaRPr lang="nl-NL" noProof="0"/>
          </a:p>
        </p:txBody>
      </p:sp>
      <p:pic>
        <p:nvPicPr>
          <p:cNvPr id="228" name="Afbeelding 227">
            <a:extLst>
              <a:ext uri="{FF2B5EF4-FFF2-40B4-BE49-F238E27FC236}">
                <a16:creationId xmlns:a16="http://schemas.microsoft.com/office/drawing/2014/main" id="{424325DF-F4FE-41DA-8233-E1C830FB8F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224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Tekst horizontaal 50%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136292"/>
            <a:ext cx="42767250" cy="15138926"/>
          </a:xfrm>
          <a:solidFill>
            <a:schemeClr val="bg1">
              <a:lumMod val="95000"/>
            </a:schemeClr>
          </a:solidFill>
        </p:spPr>
        <p:txBody>
          <a:bodyPr tIns="1008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0" name="Tijdelijke aanduiding voor verticale tekst 2">
            <a:extLst>
              <a:ext uri="{FF2B5EF4-FFF2-40B4-BE49-F238E27FC236}">
                <a16:creationId xmlns:a16="http://schemas.microsoft.com/office/drawing/2014/main" id="{F8646127-FAA8-40B9-BA27-B65B55E1D214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731100" y="6455413"/>
            <a:ext cx="19652523" cy="6270810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 marL="623677" indent="-623677">
              <a:buFont typeface="Arial" panose="020B0604020202020204" pitchFamily="34" charset="0"/>
              <a:buChar char="•"/>
              <a:defRPr sz="5612">
                <a:latin typeface="+mj-lt"/>
              </a:defRPr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bullet #2</a:t>
            </a:r>
          </a:p>
          <a:p>
            <a:pPr lvl="3"/>
            <a:r>
              <a:rPr lang="nl-NL" noProof="0"/>
              <a:t>Platte tekst1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D9B5C8AD-E451-4910-BCD7-D1E346AA05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0" name="Tijdelijke aanduiding voor tekst 14">
            <a:extLst>
              <a:ext uri="{FF2B5EF4-FFF2-40B4-BE49-F238E27FC236}">
                <a16:creationId xmlns:a16="http://schemas.microsoft.com/office/drawing/2014/main" id="{9A64BF12-7DFA-4BAF-9073-5EB142A323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47" name="Tijdelijke aanduiding voor voettekst 4">
            <a:extLst>
              <a:ext uri="{FF2B5EF4-FFF2-40B4-BE49-F238E27FC236}">
                <a16:creationId xmlns:a16="http://schemas.microsoft.com/office/drawing/2014/main" id="{58C156A9-63A9-476C-A14C-D38512258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48" name="Tijdelijke aanduiding voor dianummer 5">
            <a:extLst>
              <a:ext uri="{FF2B5EF4-FFF2-40B4-BE49-F238E27FC236}">
                <a16:creationId xmlns:a16="http://schemas.microsoft.com/office/drawing/2014/main" id="{4873E8A5-4959-4902-84E2-A62C718138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7" y="27329718"/>
            <a:ext cx="857530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7" name="Tijdelijke aanduiding voor datum 3">
            <a:extLst>
              <a:ext uri="{FF2B5EF4-FFF2-40B4-BE49-F238E27FC236}">
                <a16:creationId xmlns:a16="http://schemas.microsoft.com/office/drawing/2014/main" id="{35B3F705-7563-46B4-AC7E-1ADE5F14C8B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9541AB-70E6-4E41-922C-2B951D28D1F5}" type="datetime1">
              <a:rPr lang="nl-NL" noProof="0" smtClean="0"/>
              <a:t>26-6-2023</a:t>
            </a:fld>
            <a:endParaRPr lang="nl-NL" noProof="0"/>
          </a:p>
        </p:txBody>
      </p:sp>
      <p:pic>
        <p:nvPicPr>
          <p:cNvPr id="222" name="Afbeelding 221">
            <a:extLst>
              <a:ext uri="{FF2B5EF4-FFF2-40B4-BE49-F238E27FC236}">
                <a16:creationId xmlns:a16="http://schemas.microsoft.com/office/drawing/2014/main" id="{602AF7D1-3DFC-492C-95E2-409993E4AC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6560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Wolk 100%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-5567" y="-31537"/>
            <a:ext cx="42767257" cy="30306755"/>
          </a:xfrm>
          <a:solidFill>
            <a:schemeClr val="bg1">
              <a:lumMod val="95000"/>
            </a:schemeClr>
          </a:solidFill>
        </p:spPr>
        <p:txBody>
          <a:bodyPr tIns="1044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3" name="Tijdelijke aanduiding voor voettekst 4">
            <a:extLst>
              <a:ext uri="{FF2B5EF4-FFF2-40B4-BE49-F238E27FC236}">
                <a16:creationId xmlns:a16="http://schemas.microsoft.com/office/drawing/2014/main" id="{3FD2C40F-5ED0-4573-8F6F-31F0DA9D46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4" name="Tijdelijke aanduiding voor dianummer 5">
            <a:extLst>
              <a:ext uri="{FF2B5EF4-FFF2-40B4-BE49-F238E27FC236}">
                <a16:creationId xmlns:a16="http://schemas.microsoft.com/office/drawing/2014/main" id="{FDCACBC6-40CE-484B-AC87-549D0BAA4F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7" y="27329718"/>
            <a:ext cx="828942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D78D1FB9-F46F-4739-84B5-17E9644E515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1062563" y="6639726"/>
            <a:ext cx="15869579" cy="8579805"/>
          </a:xfrm>
          <a:custGeom>
            <a:avLst/>
            <a:gdLst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4067 w 4524067"/>
              <a:gd name="connsiteY3" fmla="*/ 1604261 h 1943514"/>
              <a:gd name="connsiteX4" fmla="*/ 374342 w 4524067"/>
              <a:gd name="connsiteY4" fmla="*/ 1604261 h 1943514"/>
              <a:gd name="connsiteX5" fmla="*/ 374342 w 4524067"/>
              <a:gd name="connsiteY5" fmla="*/ 1604495 h 1943514"/>
              <a:gd name="connsiteX6" fmla="*/ 372031 w 4524067"/>
              <a:gd name="connsiteY6" fmla="*/ 1604262 h 1943514"/>
              <a:gd name="connsiteX7" fmla="*/ 7555 w 4524067"/>
              <a:gd name="connsiteY7" fmla="*/ 1901319 h 1943514"/>
              <a:gd name="connsiteX8" fmla="*/ 3301 w 4524067"/>
              <a:gd name="connsiteY8" fmla="*/ 1943514 h 1943514"/>
              <a:gd name="connsiteX9" fmla="*/ 0 w 4524067"/>
              <a:gd name="connsiteY9" fmla="*/ 1935545 h 1943514"/>
              <a:gd name="connsiteX10" fmla="*/ 0 w 4524067"/>
              <a:gd name="connsiteY10" fmla="*/ 71054 h 1943514"/>
              <a:gd name="connsiteX11" fmla="*/ 71054 w 4524067"/>
              <a:gd name="connsiteY11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524067 w 4524067"/>
              <a:gd name="connsiteY4" fmla="*/ 160426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524067 w 4524067"/>
              <a:gd name="connsiteY4" fmla="*/ 1604261 h 1943514"/>
              <a:gd name="connsiteX5" fmla="*/ 4481998 w 4524067"/>
              <a:gd name="connsiteY5" fmla="*/ 1606550 h 1943514"/>
              <a:gd name="connsiteX6" fmla="*/ 374342 w 4524067"/>
              <a:gd name="connsiteY6" fmla="*/ 1604261 h 1943514"/>
              <a:gd name="connsiteX7" fmla="*/ 374342 w 4524067"/>
              <a:gd name="connsiteY7" fmla="*/ 1604495 h 1943514"/>
              <a:gd name="connsiteX8" fmla="*/ 372031 w 4524067"/>
              <a:gd name="connsiteY8" fmla="*/ 1604262 h 1943514"/>
              <a:gd name="connsiteX9" fmla="*/ 7555 w 4524067"/>
              <a:gd name="connsiteY9" fmla="*/ 1901319 h 1943514"/>
              <a:gd name="connsiteX10" fmla="*/ 3301 w 4524067"/>
              <a:gd name="connsiteY10" fmla="*/ 1943514 h 1943514"/>
              <a:gd name="connsiteX11" fmla="*/ 0 w 4524067"/>
              <a:gd name="connsiteY11" fmla="*/ 1935545 h 1943514"/>
              <a:gd name="connsiteX12" fmla="*/ 0 w 4524067"/>
              <a:gd name="connsiteY12" fmla="*/ 71054 h 1943514"/>
              <a:gd name="connsiteX13" fmla="*/ 71054 w 4524067"/>
              <a:gd name="connsiteY13" fmla="*/ 0 h 1943514"/>
              <a:gd name="connsiteX0" fmla="*/ 71054 w 4799095"/>
              <a:gd name="connsiteY0" fmla="*/ 0 h 1943514"/>
              <a:gd name="connsiteX1" fmla="*/ 4453013 w 4799095"/>
              <a:gd name="connsiteY1" fmla="*/ 0 h 1943514"/>
              <a:gd name="connsiteX2" fmla="*/ 4524067 w 4799095"/>
              <a:gd name="connsiteY2" fmla="*/ 71054 h 1943514"/>
              <a:gd name="connsiteX3" fmla="*/ 4522480 w 4799095"/>
              <a:gd name="connsiteY3" fmla="*/ 1547019 h 1943514"/>
              <a:gd name="connsiteX4" fmla="*/ 4524067 w 4799095"/>
              <a:gd name="connsiteY4" fmla="*/ 1604261 h 1943514"/>
              <a:gd name="connsiteX5" fmla="*/ 4481998 w 4799095"/>
              <a:gd name="connsiteY5" fmla="*/ 1606550 h 1943514"/>
              <a:gd name="connsiteX6" fmla="*/ 374342 w 4799095"/>
              <a:gd name="connsiteY6" fmla="*/ 1604261 h 1943514"/>
              <a:gd name="connsiteX7" fmla="*/ 374342 w 4799095"/>
              <a:gd name="connsiteY7" fmla="*/ 1604495 h 1943514"/>
              <a:gd name="connsiteX8" fmla="*/ 372031 w 4799095"/>
              <a:gd name="connsiteY8" fmla="*/ 1604262 h 1943514"/>
              <a:gd name="connsiteX9" fmla="*/ 7555 w 4799095"/>
              <a:gd name="connsiteY9" fmla="*/ 1901319 h 1943514"/>
              <a:gd name="connsiteX10" fmla="*/ 3301 w 4799095"/>
              <a:gd name="connsiteY10" fmla="*/ 1943514 h 1943514"/>
              <a:gd name="connsiteX11" fmla="*/ 0 w 4799095"/>
              <a:gd name="connsiteY11" fmla="*/ 1935545 h 1943514"/>
              <a:gd name="connsiteX12" fmla="*/ 0 w 4799095"/>
              <a:gd name="connsiteY12" fmla="*/ 71054 h 1943514"/>
              <a:gd name="connsiteX13" fmla="*/ 71054 w 4799095"/>
              <a:gd name="connsiteY13" fmla="*/ 0 h 1943514"/>
              <a:gd name="connsiteX0" fmla="*/ 71054 w 4798479"/>
              <a:gd name="connsiteY0" fmla="*/ 0 h 1943514"/>
              <a:gd name="connsiteX1" fmla="*/ 4453013 w 4798479"/>
              <a:gd name="connsiteY1" fmla="*/ 0 h 1943514"/>
              <a:gd name="connsiteX2" fmla="*/ 4524067 w 4798479"/>
              <a:gd name="connsiteY2" fmla="*/ 71054 h 1943514"/>
              <a:gd name="connsiteX3" fmla="*/ 4522480 w 4798479"/>
              <a:gd name="connsiteY3" fmla="*/ 1547019 h 1943514"/>
              <a:gd name="connsiteX4" fmla="*/ 4481998 w 4798479"/>
              <a:gd name="connsiteY4" fmla="*/ 1606550 h 1943514"/>
              <a:gd name="connsiteX5" fmla="*/ 374342 w 4798479"/>
              <a:gd name="connsiteY5" fmla="*/ 1604261 h 1943514"/>
              <a:gd name="connsiteX6" fmla="*/ 374342 w 4798479"/>
              <a:gd name="connsiteY6" fmla="*/ 1604495 h 1943514"/>
              <a:gd name="connsiteX7" fmla="*/ 372031 w 4798479"/>
              <a:gd name="connsiteY7" fmla="*/ 1604262 h 1943514"/>
              <a:gd name="connsiteX8" fmla="*/ 7555 w 4798479"/>
              <a:gd name="connsiteY8" fmla="*/ 1901319 h 1943514"/>
              <a:gd name="connsiteX9" fmla="*/ 3301 w 4798479"/>
              <a:gd name="connsiteY9" fmla="*/ 1943514 h 1943514"/>
              <a:gd name="connsiteX10" fmla="*/ 0 w 4798479"/>
              <a:gd name="connsiteY10" fmla="*/ 1935545 h 1943514"/>
              <a:gd name="connsiteX11" fmla="*/ 0 w 4798479"/>
              <a:gd name="connsiteY11" fmla="*/ 71054 h 1943514"/>
              <a:gd name="connsiteX12" fmla="*/ 71054 w 4798479"/>
              <a:gd name="connsiteY12" fmla="*/ 0 h 1943514"/>
              <a:gd name="connsiteX0" fmla="*/ 71054 w 4801282"/>
              <a:gd name="connsiteY0" fmla="*/ 0 h 1943514"/>
              <a:gd name="connsiteX1" fmla="*/ 4453013 w 4801282"/>
              <a:gd name="connsiteY1" fmla="*/ 0 h 1943514"/>
              <a:gd name="connsiteX2" fmla="*/ 4524067 w 4801282"/>
              <a:gd name="connsiteY2" fmla="*/ 71054 h 1943514"/>
              <a:gd name="connsiteX3" fmla="*/ 4522480 w 4801282"/>
              <a:gd name="connsiteY3" fmla="*/ 1547019 h 1943514"/>
              <a:gd name="connsiteX4" fmla="*/ 4481998 w 4801282"/>
              <a:gd name="connsiteY4" fmla="*/ 1606550 h 1943514"/>
              <a:gd name="connsiteX5" fmla="*/ 374342 w 4801282"/>
              <a:gd name="connsiteY5" fmla="*/ 1604261 h 1943514"/>
              <a:gd name="connsiteX6" fmla="*/ 374342 w 4801282"/>
              <a:gd name="connsiteY6" fmla="*/ 1604495 h 1943514"/>
              <a:gd name="connsiteX7" fmla="*/ 372031 w 4801282"/>
              <a:gd name="connsiteY7" fmla="*/ 1604262 h 1943514"/>
              <a:gd name="connsiteX8" fmla="*/ 7555 w 4801282"/>
              <a:gd name="connsiteY8" fmla="*/ 1901319 h 1943514"/>
              <a:gd name="connsiteX9" fmla="*/ 3301 w 4801282"/>
              <a:gd name="connsiteY9" fmla="*/ 1943514 h 1943514"/>
              <a:gd name="connsiteX10" fmla="*/ 0 w 4801282"/>
              <a:gd name="connsiteY10" fmla="*/ 1935545 h 1943514"/>
              <a:gd name="connsiteX11" fmla="*/ 0 w 4801282"/>
              <a:gd name="connsiteY11" fmla="*/ 71054 h 1943514"/>
              <a:gd name="connsiteX12" fmla="*/ 71054 w 4801282"/>
              <a:gd name="connsiteY12" fmla="*/ 0 h 1943514"/>
              <a:gd name="connsiteX0" fmla="*/ 71054 w 4527104"/>
              <a:gd name="connsiteY0" fmla="*/ 0 h 1943514"/>
              <a:gd name="connsiteX1" fmla="*/ 4453013 w 4527104"/>
              <a:gd name="connsiteY1" fmla="*/ 0 h 1943514"/>
              <a:gd name="connsiteX2" fmla="*/ 4524067 w 4527104"/>
              <a:gd name="connsiteY2" fmla="*/ 71054 h 1943514"/>
              <a:gd name="connsiteX3" fmla="*/ 4522480 w 4527104"/>
              <a:gd name="connsiteY3" fmla="*/ 1547019 h 1943514"/>
              <a:gd name="connsiteX4" fmla="*/ 4481998 w 4527104"/>
              <a:gd name="connsiteY4" fmla="*/ 1606550 h 1943514"/>
              <a:gd name="connsiteX5" fmla="*/ 374342 w 4527104"/>
              <a:gd name="connsiteY5" fmla="*/ 1604261 h 1943514"/>
              <a:gd name="connsiteX6" fmla="*/ 374342 w 4527104"/>
              <a:gd name="connsiteY6" fmla="*/ 1604495 h 1943514"/>
              <a:gd name="connsiteX7" fmla="*/ 372031 w 4527104"/>
              <a:gd name="connsiteY7" fmla="*/ 1604262 h 1943514"/>
              <a:gd name="connsiteX8" fmla="*/ 7555 w 4527104"/>
              <a:gd name="connsiteY8" fmla="*/ 1901319 h 1943514"/>
              <a:gd name="connsiteX9" fmla="*/ 3301 w 4527104"/>
              <a:gd name="connsiteY9" fmla="*/ 1943514 h 1943514"/>
              <a:gd name="connsiteX10" fmla="*/ 0 w 4527104"/>
              <a:gd name="connsiteY10" fmla="*/ 1935545 h 1943514"/>
              <a:gd name="connsiteX11" fmla="*/ 0 w 4527104"/>
              <a:gd name="connsiteY11" fmla="*/ 71054 h 1943514"/>
              <a:gd name="connsiteX12" fmla="*/ 71054 w 4527104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81998 w 4524067"/>
              <a:gd name="connsiteY4" fmla="*/ 1606550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81998 w 4524067"/>
              <a:gd name="connsiteY4" fmla="*/ 1606550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81998 w 4524067"/>
              <a:gd name="connsiteY4" fmla="*/ 1606550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16062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16062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16062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524067" h="1943514">
                <a:moveTo>
                  <a:pt x="71054" y="0"/>
                </a:moveTo>
                <a:lnTo>
                  <a:pt x="4453013" y="0"/>
                </a:lnTo>
                <a:cubicBezTo>
                  <a:pt x="4492255" y="0"/>
                  <a:pt x="4524067" y="31812"/>
                  <a:pt x="4524067" y="71054"/>
                </a:cubicBezTo>
                <a:cubicBezTo>
                  <a:pt x="4523538" y="552723"/>
                  <a:pt x="4522346" y="1479221"/>
                  <a:pt x="4522480" y="1516062"/>
                </a:cubicBezTo>
                <a:cubicBezTo>
                  <a:pt x="4522614" y="1552903"/>
                  <a:pt x="4525654" y="1606535"/>
                  <a:pt x="4458185" y="1608931"/>
                </a:cubicBezTo>
                <a:cubicBezTo>
                  <a:pt x="4390716" y="1611327"/>
                  <a:pt x="1735623" y="1605818"/>
                  <a:pt x="374342" y="1604261"/>
                </a:cubicBezTo>
                <a:lnTo>
                  <a:pt x="374342" y="1604495"/>
                </a:lnTo>
                <a:lnTo>
                  <a:pt x="372031" y="1604262"/>
                </a:lnTo>
                <a:cubicBezTo>
                  <a:pt x="192246" y="1604262"/>
                  <a:pt x="42246" y="1731789"/>
                  <a:pt x="7555" y="1901319"/>
                </a:cubicBezTo>
                <a:lnTo>
                  <a:pt x="3301" y="1943514"/>
                </a:lnTo>
                <a:lnTo>
                  <a:pt x="0" y="1935545"/>
                </a:lnTo>
                <a:lnTo>
                  <a:pt x="0" y="71054"/>
                </a:lnTo>
                <a:cubicBezTo>
                  <a:pt x="0" y="31812"/>
                  <a:pt x="31812" y="0"/>
                  <a:pt x="71054" y="0"/>
                </a:cubicBezTo>
                <a:close/>
              </a:path>
            </a:pathLst>
          </a:custGeom>
          <a:solidFill>
            <a:schemeClr val="tx2">
              <a:alpha val="85000"/>
            </a:schemeClr>
          </a:solidFill>
        </p:spPr>
        <p:txBody>
          <a:bodyPr wrap="square" lIns="360000" tIns="180000" rIns="576000" bIns="180000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419" b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8419" b="0"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/>
              <a:t>Klik om tekst in te voegen</a:t>
            </a:r>
          </a:p>
        </p:txBody>
      </p:sp>
      <p:sp>
        <p:nvSpPr>
          <p:cNvPr id="14" name="Tijdelijke aanduiding voor datum 3">
            <a:extLst>
              <a:ext uri="{FF2B5EF4-FFF2-40B4-BE49-F238E27FC236}">
                <a16:creationId xmlns:a16="http://schemas.microsoft.com/office/drawing/2014/main" id="{6C5C6C08-DDA7-4CC4-B473-244AE8EBA70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B70BE4-B49B-4495-86FF-21BC09262938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66" name="Tijdelijke aanduiding voor tekst 3">
            <a:extLst>
              <a:ext uri="{FF2B5EF4-FFF2-40B4-BE49-F238E27FC236}">
                <a16:creationId xmlns:a16="http://schemas.microsoft.com/office/drawing/2014/main" id="{04EB488E-1D5D-4652-9678-D82AC0E2590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504415" y="1449454"/>
            <a:ext cx="6635238" cy="3534585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51"/>
            </a:lvl1pPr>
          </a:lstStyle>
          <a:p>
            <a:pPr lvl="0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81334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Balk 10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-5567" y="-31537"/>
            <a:ext cx="42767257" cy="30306755"/>
          </a:xfrm>
          <a:solidFill>
            <a:schemeClr val="bg1">
              <a:lumMod val="95000"/>
            </a:schemeClr>
          </a:solidFill>
        </p:spPr>
        <p:txBody>
          <a:bodyPr tIns="1440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3" name="Tijdelijke aanduiding voor voettekst 4">
            <a:extLst>
              <a:ext uri="{FF2B5EF4-FFF2-40B4-BE49-F238E27FC236}">
                <a16:creationId xmlns:a16="http://schemas.microsoft.com/office/drawing/2014/main" id="{3FD2C40F-5ED0-4573-8F6F-31F0DA9D46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4" name="Tijdelijke aanduiding voor dianummer 5">
            <a:extLst>
              <a:ext uri="{FF2B5EF4-FFF2-40B4-BE49-F238E27FC236}">
                <a16:creationId xmlns:a16="http://schemas.microsoft.com/office/drawing/2014/main" id="{FDCACBC6-40CE-484B-AC87-549D0BAA4F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7" y="27329718"/>
            <a:ext cx="851960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4" name="Tijdelijke aanduiding voor verticale tekst 2">
            <a:extLst>
              <a:ext uri="{FF2B5EF4-FFF2-40B4-BE49-F238E27FC236}">
                <a16:creationId xmlns:a16="http://schemas.microsoft.com/office/drawing/2014/main" id="{1D71B8A2-5FF8-4862-BD63-087FD3B538C2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-11124" y="5946784"/>
            <a:ext cx="42778377" cy="6438767"/>
          </a:xfrm>
          <a:solidFill>
            <a:schemeClr val="tx2">
              <a:alpha val="82000"/>
            </a:schemeClr>
          </a:solidFill>
        </p:spPr>
        <p:txBody>
          <a:bodyPr vert="horz" lIns="216000" tIns="180000" rIns="216000" bIns="180000" rtlCol="0" anchor="ctr">
            <a:normAutofit/>
          </a:bodyPr>
          <a:lstStyle>
            <a:lvl1pPr marL="0" indent="0" algn="ctr">
              <a:buFontTx/>
              <a:buNone/>
              <a:defRPr lang="en-US" sz="12628" b="0" baseline="0" noProof="0" dirty="0">
                <a:solidFill>
                  <a:schemeClr val="bg1"/>
                </a:solidFill>
              </a:defRPr>
            </a:lvl1pPr>
            <a:lvl2pPr>
              <a:defRPr lang="en-US" noProof="0" dirty="0">
                <a:solidFill>
                  <a:schemeClr val="bg1"/>
                </a:solidFill>
              </a:defRPr>
            </a:lvl2pPr>
            <a:lvl3pPr>
              <a:defRPr lang="en-US" noProof="0" dirty="0">
                <a:solidFill>
                  <a:schemeClr val="bg1"/>
                </a:solidFill>
              </a:defRPr>
            </a:lvl3pPr>
            <a:lvl4pPr>
              <a:defRPr lang="en-US" noProof="0" dirty="0">
                <a:solidFill>
                  <a:schemeClr val="bg1"/>
                </a:solidFill>
              </a:defRPr>
            </a:lvl4pPr>
            <a:lvl5pPr algn="ctr">
              <a:defRPr lang="en-US" sz="12628" b="0" noProof="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/>
              <a:t>Klik om tekst in te voegen</a:t>
            </a:r>
          </a:p>
        </p:txBody>
      </p:sp>
      <p:sp>
        <p:nvSpPr>
          <p:cNvPr id="15" name="Tijdelijke aanduiding voor datum 3">
            <a:extLst>
              <a:ext uri="{FF2B5EF4-FFF2-40B4-BE49-F238E27FC236}">
                <a16:creationId xmlns:a16="http://schemas.microsoft.com/office/drawing/2014/main" id="{C4AEE98B-5CA5-411B-9688-928C7F70CAA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49D2A1-BCAF-464A-ADBC-F90E2254D093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66" name="Tijdelijke aanduiding voor tekst 3">
            <a:extLst>
              <a:ext uri="{FF2B5EF4-FFF2-40B4-BE49-F238E27FC236}">
                <a16:creationId xmlns:a16="http://schemas.microsoft.com/office/drawing/2014/main" id="{A4956C2C-95FD-447A-BD1F-81754DAF602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504415" y="1449454"/>
            <a:ext cx="6635238" cy="3534585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51"/>
            </a:lvl1pPr>
          </a:lstStyle>
          <a:p>
            <a:pPr lvl="0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23918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80%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-2" y="6476679"/>
            <a:ext cx="42710778" cy="23798534"/>
          </a:xfrm>
          <a:solidFill>
            <a:schemeClr val="bg1">
              <a:lumMod val="95000"/>
            </a:schemeClr>
          </a:solidFill>
        </p:spPr>
        <p:txBody>
          <a:bodyPr tIns="1080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0" name="Tijdelijke aanduiding voor voettekst 4">
            <a:extLst>
              <a:ext uri="{FF2B5EF4-FFF2-40B4-BE49-F238E27FC236}">
                <a16:creationId xmlns:a16="http://schemas.microsoft.com/office/drawing/2014/main" id="{1DA20FBD-9D0F-4EAB-B12C-126591D8B7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6644E39-2AF2-4EA0-9C3F-28C89D5A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7" y="27329718"/>
            <a:ext cx="938238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7" name="Tijdelijke aanduiding voor tekst 14">
            <a:extLst>
              <a:ext uri="{FF2B5EF4-FFF2-40B4-BE49-F238E27FC236}">
                <a16:creationId xmlns:a16="http://schemas.microsoft.com/office/drawing/2014/main" id="{A6BF4B27-7FC5-4896-80CE-3BA6119B83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15" name="Tijdelijke aanduiding voor datum 3">
            <a:extLst>
              <a:ext uri="{FF2B5EF4-FFF2-40B4-BE49-F238E27FC236}">
                <a16:creationId xmlns:a16="http://schemas.microsoft.com/office/drawing/2014/main" id="{B4AED1A4-683A-4021-8F91-6EB13C2447C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A659124-FA22-4DE2-958C-6848B49C8891}" type="datetime1">
              <a:rPr lang="nl-NL" noProof="0" smtClean="0"/>
              <a:t>26-6-2023</a:t>
            </a:fld>
            <a:endParaRPr lang="nl-NL" noProof="0"/>
          </a:p>
        </p:txBody>
      </p:sp>
      <p:pic>
        <p:nvPicPr>
          <p:cNvPr id="59" name="Afbeelding 58">
            <a:extLst>
              <a:ext uri="{FF2B5EF4-FFF2-40B4-BE49-F238E27FC236}">
                <a16:creationId xmlns:a16="http://schemas.microsoft.com/office/drawing/2014/main" id="{CD829B4D-4013-4C29-80CF-C4F2F14098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5889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tekstvlak 8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-5562" y="6476689"/>
            <a:ext cx="42767255" cy="23798532"/>
          </a:xfrm>
          <a:solidFill>
            <a:schemeClr val="bg1">
              <a:lumMod val="95000"/>
            </a:schemeClr>
          </a:solidFill>
        </p:spPr>
        <p:txBody>
          <a:bodyPr tIns="3024000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tabLst>
                <a:tab pos="12894124" algn="l"/>
              </a:tabLst>
              <a:defRPr sz="1677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42378" y="1766065"/>
            <a:ext cx="32281087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0" name="Tijdelijke aanduiding voor voettekst 4">
            <a:extLst>
              <a:ext uri="{FF2B5EF4-FFF2-40B4-BE49-F238E27FC236}">
                <a16:creationId xmlns:a16="http://schemas.microsoft.com/office/drawing/2014/main" id="{1DA20FBD-9D0F-4EAB-B12C-126591D8B7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7" y="27345278"/>
            <a:ext cx="1802756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6644E39-2AF2-4EA0-9C3F-28C89D5A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7" y="27329717"/>
            <a:ext cx="828942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7" name="Tijdelijke aanduiding voor tekst 14">
            <a:extLst>
              <a:ext uri="{FF2B5EF4-FFF2-40B4-BE49-F238E27FC236}">
                <a16:creationId xmlns:a16="http://schemas.microsoft.com/office/drawing/2014/main" id="{A6BF4B27-7FC5-4896-80CE-3BA6119B83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78" y="3469430"/>
            <a:ext cx="32281087" cy="1195424"/>
          </a:xfrm>
        </p:spPr>
        <p:txBody>
          <a:bodyPr>
            <a:noAutofit/>
          </a:bodyPr>
          <a:lstStyle>
            <a:lvl1pPr marL="0" indent="0">
              <a:buNone/>
              <a:defRPr sz="2794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28641602-EFC5-4A31-A66E-7D18FE4BC0D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7317718" y="18836419"/>
            <a:ext cx="13821941" cy="7118065"/>
          </a:xfrm>
          <a:custGeom>
            <a:avLst/>
            <a:gdLst>
              <a:gd name="connsiteX0" fmla="*/ 0 w 3938778"/>
              <a:gd name="connsiteY0" fmla="*/ 84049 h 1609202"/>
              <a:gd name="connsiteX1" fmla="*/ 84049 w 3938778"/>
              <a:gd name="connsiteY1" fmla="*/ 0 h 1609202"/>
              <a:gd name="connsiteX2" fmla="*/ 3854729 w 3938778"/>
              <a:gd name="connsiteY2" fmla="*/ 0 h 1609202"/>
              <a:gd name="connsiteX3" fmla="*/ 3938778 w 3938778"/>
              <a:gd name="connsiteY3" fmla="*/ 84049 h 1609202"/>
              <a:gd name="connsiteX4" fmla="*/ 3938778 w 3938778"/>
              <a:gd name="connsiteY4" fmla="*/ 1525153 h 1609202"/>
              <a:gd name="connsiteX5" fmla="*/ 3854729 w 3938778"/>
              <a:gd name="connsiteY5" fmla="*/ 1609202 h 1609202"/>
              <a:gd name="connsiteX6" fmla="*/ 84049 w 3938778"/>
              <a:gd name="connsiteY6" fmla="*/ 1609202 h 1609202"/>
              <a:gd name="connsiteX7" fmla="*/ 0 w 3938778"/>
              <a:gd name="connsiteY7" fmla="*/ 1525153 h 1609202"/>
              <a:gd name="connsiteX8" fmla="*/ 0 w 3938778"/>
              <a:gd name="connsiteY8" fmla="*/ 84049 h 1609202"/>
              <a:gd name="connsiteX0" fmla="*/ 212359 w 4151137"/>
              <a:gd name="connsiteY0" fmla="*/ 126307 h 1651460"/>
              <a:gd name="connsiteX1" fmla="*/ 237486 w 4151137"/>
              <a:gd name="connsiteY1" fmla="*/ 63809 h 1651460"/>
              <a:gd name="connsiteX2" fmla="*/ 296408 w 4151137"/>
              <a:gd name="connsiteY2" fmla="*/ 42258 h 1651460"/>
              <a:gd name="connsiteX3" fmla="*/ 4067088 w 4151137"/>
              <a:gd name="connsiteY3" fmla="*/ 42258 h 1651460"/>
              <a:gd name="connsiteX4" fmla="*/ 4151137 w 4151137"/>
              <a:gd name="connsiteY4" fmla="*/ 126307 h 1651460"/>
              <a:gd name="connsiteX5" fmla="*/ 4151137 w 4151137"/>
              <a:gd name="connsiteY5" fmla="*/ 1567411 h 1651460"/>
              <a:gd name="connsiteX6" fmla="*/ 4067088 w 4151137"/>
              <a:gd name="connsiteY6" fmla="*/ 1651460 h 1651460"/>
              <a:gd name="connsiteX7" fmla="*/ 296408 w 4151137"/>
              <a:gd name="connsiteY7" fmla="*/ 1651460 h 1651460"/>
              <a:gd name="connsiteX8" fmla="*/ 212359 w 4151137"/>
              <a:gd name="connsiteY8" fmla="*/ 1567411 h 1651460"/>
              <a:gd name="connsiteX9" fmla="*/ 212359 w 4151137"/>
              <a:gd name="connsiteY9" fmla="*/ 126307 h 1651460"/>
              <a:gd name="connsiteX0" fmla="*/ 212359 w 4151137"/>
              <a:gd name="connsiteY0" fmla="*/ 84049 h 1609202"/>
              <a:gd name="connsiteX1" fmla="*/ 237486 w 4151137"/>
              <a:gd name="connsiteY1" fmla="*/ 21551 h 1609202"/>
              <a:gd name="connsiteX2" fmla="*/ 296408 w 4151137"/>
              <a:gd name="connsiteY2" fmla="*/ 0 h 1609202"/>
              <a:gd name="connsiteX3" fmla="*/ 4067088 w 4151137"/>
              <a:gd name="connsiteY3" fmla="*/ 0 h 1609202"/>
              <a:gd name="connsiteX4" fmla="*/ 4151137 w 4151137"/>
              <a:gd name="connsiteY4" fmla="*/ 84049 h 1609202"/>
              <a:gd name="connsiteX5" fmla="*/ 4151137 w 4151137"/>
              <a:gd name="connsiteY5" fmla="*/ 1525153 h 1609202"/>
              <a:gd name="connsiteX6" fmla="*/ 4067088 w 4151137"/>
              <a:gd name="connsiteY6" fmla="*/ 1609202 h 1609202"/>
              <a:gd name="connsiteX7" fmla="*/ 296408 w 4151137"/>
              <a:gd name="connsiteY7" fmla="*/ 1609202 h 1609202"/>
              <a:gd name="connsiteX8" fmla="*/ 212359 w 4151137"/>
              <a:gd name="connsiteY8" fmla="*/ 1525153 h 1609202"/>
              <a:gd name="connsiteX9" fmla="*/ 212359 w 4151137"/>
              <a:gd name="connsiteY9" fmla="*/ 84049 h 1609202"/>
              <a:gd name="connsiteX0" fmla="*/ 21 w 3938799"/>
              <a:gd name="connsiteY0" fmla="*/ 85645 h 1610798"/>
              <a:gd name="connsiteX1" fmla="*/ 25148 w 3938799"/>
              <a:gd name="connsiteY1" fmla="*/ 23147 h 1610798"/>
              <a:gd name="connsiteX2" fmla="*/ 84070 w 3938799"/>
              <a:gd name="connsiteY2" fmla="*/ 1596 h 1610798"/>
              <a:gd name="connsiteX3" fmla="*/ 3854750 w 3938799"/>
              <a:gd name="connsiteY3" fmla="*/ 1596 h 1610798"/>
              <a:gd name="connsiteX4" fmla="*/ 3938799 w 3938799"/>
              <a:gd name="connsiteY4" fmla="*/ 85645 h 1610798"/>
              <a:gd name="connsiteX5" fmla="*/ 3938799 w 3938799"/>
              <a:gd name="connsiteY5" fmla="*/ 1526749 h 1610798"/>
              <a:gd name="connsiteX6" fmla="*/ 3854750 w 3938799"/>
              <a:gd name="connsiteY6" fmla="*/ 1610798 h 1610798"/>
              <a:gd name="connsiteX7" fmla="*/ 84070 w 3938799"/>
              <a:gd name="connsiteY7" fmla="*/ 1610798 h 1610798"/>
              <a:gd name="connsiteX8" fmla="*/ 21 w 3938799"/>
              <a:gd name="connsiteY8" fmla="*/ 1526749 h 1610798"/>
              <a:gd name="connsiteX9" fmla="*/ 21 w 3938799"/>
              <a:gd name="connsiteY9" fmla="*/ 85645 h 1610798"/>
              <a:gd name="connsiteX0" fmla="*/ 221900 w 4160678"/>
              <a:gd name="connsiteY0" fmla="*/ 126307 h 1651460"/>
              <a:gd name="connsiteX1" fmla="*/ 220833 w 4160678"/>
              <a:gd name="connsiteY1" fmla="*/ 63809 h 1651460"/>
              <a:gd name="connsiteX2" fmla="*/ 305949 w 4160678"/>
              <a:gd name="connsiteY2" fmla="*/ 42258 h 1651460"/>
              <a:gd name="connsiteX3" fmla="*/ 4076629 w 4160678"/>
              <a:gd name="connsiteY3" fmla="*/ 42258 h 1651460"/>
              <a:gd name="connsiteX4" fmla="*/ 4160678 w 4160678"/>
              <a:gd name="connsiteY4" fmla="*/ 126307 h 1651460"/>
              <a:gd name="connsiteX5" fmla="*/ 4160678 w 4160678"/>
              <a:gd name="connsiteY5" fmla="*/ 1567411 h 1651460"/>
              <a:gd name="connsiteX6" fmla="*/ 4076629 w 4160678"/>
              <a:gd name="connsiteY6" fmla="*/ 1651460 h 1651460"/>
              <a:gd name="connsiteX7" fmla="*/ 305949 w 4160678"/>
              <a:gd name="connsiteY7" fmla="*/ 1651460 h 1651460"/>
              <a:gd name="connsiteX8" fmla="*/ 221900 w 4160678"/>
              <a:gd name="connsiteY8" fmla="*/ 1567411 h 1651460"/>
              <a:gd name="connsiteX9" fmla="*/ 221900 w 4160678"/>
              <a:gd name="connsiteY9" fmla="*/ 126307 h 1651460"/>
              <a:gd name="connsiteX0" fmla="*/ 222785 w 4161563"/>
              <a:gd name="connsiteY0" fmla="*/ 132298 h 1657451"/>
              <a:gd name="connsiteX1" fmla="*/ 219337 w 4161563"/>
              <a:gd name="connsiteY1" fmla="*/ 55513 h 1657451"/>
              <a:gd name="connsiteX2" fmla="*/ 306834 w 4161563"/>
              <a:gd name="connsiteY2" fmla="*/ 48249 h 1657451"/>
              <a:gd name="connsiteX3" fmla="*/ 4077514 w 4161563"/>
              <a:gd name="connsiteY3" fmla="*/ 48249 h 1657451"/>
              <a:gd name="connsiteX4" fmla="*/ 4161563 w 4161563"/>
              <a:gd name="connsiteY4" fmla="*/ 132298 h 1657451"/>
              <a:gd name="connsiteX5" fmla="*/ 4161563 w 4161563"/>
              <a:gd name="connsiteY5" fmla="*/ 1573402 h 1657451"/>
              <a:gd name="connsiteX6" fmla="*/ 4077514 w 4161563"/>
              <a:gd name="connsiteY6" fmla="*/ 1657451 h 1657451"/>
              <a:gd name="connsiteX7" fmla="*/ 306834 w 4161563"/>
              <a:gd name="connsiteY7" fmla="*/ 1657451 h 1657451"/>
              <a:gd name="connsiteX8" fmla="*/ 222785 w 4161563"/>
              <a:gd name="connsiteY8" fmla="*/ 1573402 h 1657451"/>
              <a:gd name="connsiteX9" fmla="*/ 222785 w 4161563"/>
              <a:gd name="connsiteY9" fmla="*/ 132298 h 1657451"/>
              <a:gd name="connsiteX0" fmla="*/ 8993 w 3947771"/>
              <a:gd name="connsiteY0" fmla="*/ 132298 h 1657451"/>
              <a:gd name="connsiteX1" fmla="*/ 5545 w 3947771"/>
              <a:gd name="connsiteY1" fmla="*/ 55513 h 1657451"/>
              <a:gd name="connsiteX2" fmla="*/ 93042 w 3947771"/>
              <a:gd name="connsiteY2" fmla="*/ 48249 h 1657451"/>
              <a:gd name="connsiteX3" fmla="*/ 3863722 w 3947771"/>
              <a:gd name="connsiteY3" fmla="*/ 48249 h 1657451"/>
              <a:gd name="connsiteX4" fmla="*/ 3947771 w 3947771"/>
              <a:gd name="connsiteY4" fmla="*/ 132298 h 1657451"/>
              <a:gd name="connsiteX5" fmla="*/ 3947771 w 3947771"/>
              <a:gd name="connsiteY5" fmla="*/ 1573402 h 1657451"/>
              <a:gd name="connsiteX6" fmla="*/ 3863722 w 3947771"/>
              <a:gd name="connsiteY6" fmla="*/ 1657451 h 1657451"/>
              <a:gd name="connsiteX7" fmla="*/ 93042 w 3947771"/>
              <a:gd name="connsiteY7" fmla="*/ 1657451 h 1657451"/>
              <a:gd name="connsiteX8" fmla="*/ 8993 w 3947771"/>
              <a:gd name="connsiteY8" fmla="*/ 1573402 h 1657451"/>
              <a:gd name="connsiteX9" fmla="*/ 8993 w 3947771"/>
              <a:gd name="connsiteY9" fmla="*/ 132298 h 1657451"/>
              <a:gd name="connsiteX0" fmla="*/ 9451 w 3948229"/>
              <a:gd name="connsiteY0" fmla="*/ 85220 h 1610373"/>
              <a:gd name="connsiteX1" fmla="*/ 6003 w 3948229"/>
              <a:gd name="connsiteY1" fmla="*/ 8435 h 1610373"/>
              <a:gd name="connsiteX2" fmla="*/ 93500 w 3948229"/>
              <a:gd name="connsiteY2" fmla="*/ 1171 h 1610373"/>
              <a:gd name="connsiteX3" fmla="*/ 3864180 w 3948229"/>
              <a:gd name="connsiteY3" fmla="*/ 1171 h 1610373"/>
              <a:gd name="connsiteX4" fmla="*/ 3948229 w 3948229"/>
              <a:gd name="connsiteY4" fmla="*/ 85220 h 1610373"/>
              <a:gd name="connsiteX5" fmla="*/ 3948229 w 3948229"/>
              <a:gd name="connsiteY5" fmla="*/ 1526324 h 1610373"/>
              <a:gd name="connsiteX6" fmla="*/ 3864180 w 3948229"/>
              <a:gd name="connsiteY6" fmla="*/ 1610373 h 1610373"/>
              <a:gd name="connsiteX7" fmla="*/ 93500 w 3948229"/>
              <a:gd name="connsiteY7" fmla="*/ 1610373 h 1610373"/>
              <a:gd name="connsiteX8" fmla="*/ 9451 w 3948229"/>
              <a:gd name="connsiteY8" fmla="*/ 1526324 h 1610373"/>
              <a:gd name="connsiteX9" fmla="*/ 9451 w 3948229"/>
              <a:gd name="connsiteY9" fmla="*/ 85220 h 1610373"/>
              <a:gd name="connsiteX0" fmla="*/ 9451 w 3948229"/>
              <a:gd name="connsiteY0" fmla="*/ 85220 h 1610373"/>
              <a:gd name="connsiteX1" fmla="*/ 6003 w 3948229"/>
              <a:gd name="connsiteY1" fmla="*/ 8435 h 1610373"/>
              <a:gd name="connsiteX2" fmla="*/ 93500 w 3948229"/>
              <a:gd name="connsiteY2" fmla="*/ 1171 h 1610373"/>
              <a:gd name="connsiteX3" fmla="*/ 3864180 w 3948229"/>
              <a:gd name="connsiteY3" fmla="*/ 1171 h 1610373"/>
              <a:gd name="connsiteX4" fmla="*/ 3948229 w 3948229"/>
              <a:gd name="connsiteY4" fmla="*/ 85220 h 1610373"/>
              <a:gd name="connsiteX5" fmla="*/ 3948229 w 3948229"/>
              <a:gd name="connsiteY5" fmla="*/ 1526324 h 1610373"/>
              <a:gd name="connsiteX6" fmla="*/ 3864180 w 3948229"/>
              <a:gd name="connsiteY6" fmla="*/ 1610373 h 1610373"/>
              <a:gd name="connsiteX7" fmla="*/ 93500 w 3948229"/>
              <a:gd name="connsiteY7" fmla="*/ 1610373 h 1610373"/>
              <a:gd name="connsiteX8" fmla="*/ 9451 w 3948229"/>
              <a:gd name="connsiteY8" fmla="*/ 1526324 h 1610373"/>
              <a:gd name="connsiteX9" fmla="*/ 9451 w 3948229"/>
              <a:gd name="connsiteY9" fmla="*/ 85220 h 1610373"/>
              <a:gd name="connsiteX0" fmla="*/ 12575 w 3951353"/>
              <a:gd name="connsiteY0" fmla="*/ 1632501 h 1716550"/>
              <a:gd name="connsiteX1" fmla="*/ 9127 w 3951353"/>
              <a:gd name="connsiteY1" fmla="*/ 114612 h 1716550"/>
              <a:gd name="connsiteX2" fmla="*/ 96624 w 3951353"/>
              <a:gd name="connsiteY2" fmla="*/ 107348 h 1716550"/>
              <a:gd name="connsiteX3" fmla="*/ 3867304 w 3951353"/>
              <a:gd name="connsiteY3" fmla="*/ 107348 h 1716550"/>
              <a:gd name="connsiteX4" fmla="*/ 3951353 w 3951353"/>
              <a:gd name="connsiteY4" fmla="*/ 191397 h 1716550"/>
              <a:gd name="connsiteX5" fmla="*/ 3951353 w 3951353"/>
              <a:gd name="connsiteY5" fmla="*/ 1632501 h 1716550"/>
              <a:gd name="connsiteX6" fmla="*/ 3867304 w 3951353"/>
              <a:gd name="connsiteY6" fmla="*/ 1716550 h 1716550"/>
              <a:gd name="connsiteX7" fmla="*/ 96624 w 3951353"/>
              <a:gd name="connsiteY7" fmla="*/ 1716550 h 1716550"/>
              <a:gd name="connsiteX8" fmla="*/ 12575 w 3951353"/>
              <a:gd name="connsiteY8" fmla="*/ 1632501 h 1716550"/>
              <a:gd name="connsiteX0" fmla="*/ 9770 w 3948548"/>
              <a:gd name="connsiteY0" fmla="*/ 1632631 h 1716680"/>
              <a:gd name="connsiteX1" fmla="*/ 6322 w 3948548"/>
              <a:gd name="connsiteY1" fmla="*/ 114742 h 1716680"/>
              <a:gd name="connsiteX2" fmla="*/ 93819 w 3948548"/>
              <a:gd name="connsiteY2" fmla="*/ 107478 h 1716680"/>
              <a:gd name="connsiteX3" fmla="*/ 3864499 w 3948548"/>
              <a:gd name="connsiteY3" fmla="*/ 107478 h 1716680"/>
              <a:gd name="connsiteX4" fmla="*/ 3948548 w 3948548"/>
              <a:gd name="connsiteY4" fmla="*/ 191527 h 1716680"/>
              <a:gd name="connsiteX5" fmla="*/ 3948548 w 3948548"/>
              <a:gd name="connsiteY5" fmla="*/ 1632631 h 1716680"/>
              <a:gd name="connsiteX6" fmla="*/ 3864499 w 3948548"/>
              <a:gd name="connsiteY6" fmla="*/ 1716680 h 1716680"/>
              <a:gd name="connsiteX7" fmla="*/ 93819 w 3948548"/>
              <a:gd name="connsiteY7" fmla="*/ 1716680 h 1716680"/>
              <a:gd name="connsiteX8" fmla="*/ 9770 w 3948548"/>
              <a:gd name="connsiteY8" fmla="*/ 1632631 h 1716680"/>
              <a:gd name="connsiteX0" fmla="*/ 6731 w 3945509"/>
              <a:gd name="connsiteY0" fmla="*/ 1632631 h 1780851"/>
              <a:gd name="connsiteX1" fmla="*/ 3283 w 3945509"/>
              <a:gd name="connsiteY1" fmla="*/ 114742 h 1780851"/>
              <a:gd name="connsiteX2" fmla="*/ 90780 w 3945509"/>
              <a:gd name="connsiteY2" fmla="*/ 107478 h 1780851"/>
              <a:gd name="connsiteX3" fmla="*/ 3861460 w 3945509"/>
              <a:gd name="connsiteY3" fmla="*/ 107478 h 1780851"/>
              <a:gd name="connsiteX4" fmla="*/ 3945509 w 3945509"/>
              <a:gd name="connsiteY4" fmla="*/ 191527 h 1780851"/>
              <a:gd name="connsiteX5" fmla="*/ 3945509 w 3945509"/>
              <a:gd name="connsiteY5" fmla="*/ 1632631 h 1780851"/>
              <a:gd name="connsiteX6" fmla="*/ 3861460 w 3945509"/>
              <a:gd name="connsiteY6" fmla="*/ 1716680 h 1780851"/>
              <a:gd name="connsiteX7" fmla="*/ 90780 w 3945509"/>
              <a:gd name="connsiteY7" fmla="*/ 1716680 h 1780851"/>
              <a:gd name="connsiteX8" fmla="*/ 6731 w 3945509"/>
              <a:gd name="connsiteY8" fmla="*/ 1632631 h 1780851"/>
              <a:gd name="connsiteX0" fmla="*/ 5635 w 3944413"/>
              <a:gd name="connsiteY0" fmla="*/ 1632631 h 1730124"/>
              <a:gd name="connsiteX1" fmla="*/ 2187 w 3944413"/>
              <a:gd name="connsiteY1" fmla="*/ 114742 h 1730124"/>
              <a:gd name="connsiteX2" fmla="*/ 89684 w 3944413"/>
              <a:gd name="connsiteY2" fmla="*/ 107478 h 1730124"/>
              <a:gd name="connsiteX3" fmla="*/ 3860364 w 3944413"/>
              <a:gd name="connsiteY3" fmla="*/ 107478 h 1730124"/>
              <a:gd name="connsiteX4" fmla="*/ 3944413 w 3944413"/>
              <a:gd name="connsiteY4" fmla="*/ 191527 h 1730124"/>
              <a:gd name="connsiteX5" fmla="*/ 3944413 w 3944413"/>
              <a:gd name="connsiteY5" fmla="*/ 1632631 h 1730124"/>
              <a:gd name="connsiteX6" fmla="*/ 3860364 w 3944413"/>
              <a:gd name="connsiteY6" fmla="*/ 1716680 h 1730124"/>
              <a:gd name="connsiteX7" fmla="*/ 89684 w 3944413"/>
              <a:gd name="connsiteY7" fmla="*/ 1716680 h 1730124"/>
              <a:gd name="connsiteX8" fmla="*/ 5635 w 3944413"/>
              <a:gd name="connsiteY8" fmla="*/ 1632631 h 1730124"/>
              <a:gd name="connsiteX0" fmla="*/ 6730 w 3945508"/>
              <a:gd name="connsiteY0" fmla="*/ 1632631 h 1718001"/>
              <a:gd name="connsiteX1" fmla="*/ 3282 w 3945508"/>
              <a:gd name="connsiteY1" fmla="*/ 114742 h 1718001"/>
              <a:gd name="connsiteX2" fmla="*/ 90779 w 3945508"/>
              <a:gd name="connsiteY2" fmla="*/ 107478 h 1718001"/>
              <a:gd name="connsiteX3" fmla="*/ 3861459 w 3945508"/>
              <a:gd name="connsiteY3" fmla="*/ 107478 h 1718001"/>
              <a:gd name="connsiteX4" fmla="*/ 3945508 w 3945508"/>
              <a:gd name="connsiteY4" fmla="*/ 191527 h 1718001"/>
              <a:gd name="connsiteX5" fmla="*/ 3945508 w 3945508"/>
              <a:gd name="connsiteY5" fmla="*/ 1632631 h 1718001"/>
              <a:gd name="connsiteX6" fmla="*/ 3861459 w 3945508"/>
              <a:gd name="connsiteY6" fmla="*/ 1716680 h 1718001"/>
              <a:gd name="connsiteX7" fmla="*/ 90779 w 3945508"/>
              <a:gd name="connsiteY7" fmla="*/ 1716680 h 1718001"/>
              <a:gd name="connsiteX8" fmla="*/ 6730 w 3945508"/>
              <a:gd name="connsiteY8" fmla="*/ 1632631 h 1718001"/>
              <a:gd name="connsiteX0" fmla="*/ 5541 w 3944319"/>
              <a:gd name="connsiteY0" fmla="*/ 1632631 h 1716680"/>
              <a:gd name="connsiteX1" fmla="*/ 2093 w 3944319"/>
              <a:gd name="connsiteY1" fmla="*/ 114742 h 1716680"/>
              <a:gd name="connsiteX2" fmla="*/ 89590 w 3944319"/>
              <a:gd name="connsiteY2" fmla="*/ 107478 h 1716680"/>
              <a:gd name="connsiteX3" fmla="*/ 3860270 w 3944319"/>
              <a:gd name="connsiteY3" fmla="*/ 107478 h 1716680"/>
              <a:gd name="connsiteX4" fmla="*/ 3944319 w 3944319"/>
              <a:gd name="connsiteY4" fmla="*/ 191527 h 1716680"/>
              <a:gd name="connsiteX5" fmla="*/ 3944319 w 3944319"/>
              <a:gd name="connsiteY5" fmla="*/ 1632631 h 1716680"/>
              <a:gd name="connsiteX6" fmla="*/ 3860270 w 3944319"/>
              <a:gd name="connsiteY6" fmla="*/ 1716680 h 1716680"/>
              <a:gd name="connsiteX7" fmla="*/ 89590 w 3944319"/>
              <a:gd name="connsiteY7" fmla="*/ 1716680 h 1716680"/>
              <a:gd name="connsiteX8" fmla="*/ 5541 w 3944319"/>
              <a:gd name="connsiteY8" fmla="*/ 1632631 h 1716680"/>
              <a:gd name="connsiteX0" fmla="*/ 4066 w 3942844"/>
              <a:gd name="connsiteY0" fmla="*/ 1541301 h 1625350"/>
              <a:gd name="connsiteX1" fmla="*/ 618 w 3942844"/>
              <a:gd name="connsiteY1" fmla="*/ 23412 h 1625350"/>
              <a:gd name="connsiteX2" fmla="*/ 88115 w 3942844"/>
              <a:gd name="connsiteY2" fmla="*/ 16148 h 1625350"/>
              <a:gd name="connsiteX3" fmla="*/ 3858795 w 3942844"/>
              <a:gd name="connsiteY3" fmla="*/ 16148 h 1625350"/>
              <a:gd name="connsiteX4" fmla="*/ 3942844 w 3942844"/>
              <a:gd name="connsiteY4" fmla="*/ 100197 h 1625350"/>
              <a:gd name="connsiteX5" fmla="*/ 3942844 w 3942844"/>
              <a:gd name="connsiteY5" fmla="*/ 1541301 h 1625350"/>
              <a:gd name="connsiteX6" fmla="*/ 3858795 w 3942844"/>
              <a:gd name="connsiteY6" fmla="*/ 1625350 h 1625350"/>
              <a:gd name="connsiteX7" fmla="*/ 88115 w 3942844"/>
              <a:gd name="connsiteY7" fmla="*/ 1625350 h 1625350"/>
              <a:gd name="connsiteX8" fmla="*/ 4066 w 3942844"/>
              <a:gd name="connsiteY8" fmla="*/ 1541301 h 1625350"/>
              <a:gd name="connsiteX0" fmla="*/ 4276 w 3943054"/>
              <a:gd name="connsiteY0" fmla="*/ 1541301 h 1625350"/>
              <a:gd name="connsiteX1" fmla="*/ 828 w 3943054"/>
              <a:gd name="connsiteY1" fmla="*/ 23412 h 1625350"/>
              <a:gd name="connsiteX2" fmla="*/ 88325 w 3943054"/>
              <a:gd name="connsiteY2" fmla="*/ 16148 h 1625350"/>
              <a:gd name="connsiteX3" fmla="*/ 3859005 w 3943054"/>
              <a:gd name="connsiteY3" fmla="*/ 16148 h 1625350"/>
              <a:gd name="connsiteX4" fmla="*/ 3943054 w 3943054"/>
              <a:gd name="connsiteY4" fmla="*/ 100197 h 1625350"/>
              <a:gd name="connsiteX5" fmla="*/ 3943054 w 3943054"/>
              <a:gd name="connsiteY5" fmla="*/ 1541301 h 1625350"/>
              <a:gd name="connsiteX6" fmla="*/ 3859005 w 3943054"/>
              <a:gd name="connsiteY6" fmla="*/ 1625350 h 1625350"/>
              <a:gd name="connsiteX7" fmla="*/ 88325 w 3943054"/>
              <a:gd name="connsiteY7" fmla="*/ 1625350 h 1625350"/>
              <a:gd name="connsiteX8" fmla="*/ 4276 w 3943054"/>
              <a:gd name="connsiteY8" fmla="*/ 1541301 h 1625350"/>
              <a:gd name="connsiteX0" fmla="*/ 3584 w 3942362"/>
              <a:gd name="connsiteY0" fmla="*/ 1541301 h 1625350"/>
              <a:gd name="connsiteX1" fmla="*/ 136 w 3942362"/>
              <a:gd name="connsiteY1" fmla="*/ 23412 h 1625350"/>
              <a:gd name="connsiteX2" fmla="*/ 87633 w 3942362"/>
              <a:gd name="connsiteY2" fmla="*/ 16148 h 1625350"/>
              <a:gd name="connsiteX3" fmla="*/ 3858313 w 3942362"/>
              <a:gd name="connsiteY3" fmla="*/ 16148 h 1625350"/>
              <a:gd name="connsiteX4" fmla="*/ 3942362 w 3942362"/>
              <a:gd name="connsiteY4" fmla="*/ 100197 h 1625350"/>
              <a:gd name="connsiteX5" fmla="*/ 3942362 w 3942362"/>
              <a:gd name="connsiteY5" fmla="*/ 1541301 h 1625350"/>
              <a:gd name="connsiteX6" fmla="*/ 3858313 w 3942362"/>
              <a:gd name="connsiteY6" fmla="*/ 1625350 h 1625350"/>
              <a:gd name="connsiteX7" fmla="*/ 87633 w 3942362"/>
              <a:gd name="connsiteY7" fmla="*/ 1625350 h 1625350"/>
              <a:gd name="connsiteX8" fmla="*/ 3584 w 3942362"/>
              <a:gd name="connsiteY8" fmla="*/ 1541301 h 1625350"/>
              <a:gd name="connsiteX0" fmla="*/ 4276 w 3943054"/>
              <a:gd name="connsiteY0" fmla="*/ 1525692 h 1609741"/>
              <a:gd name="connsiteX1" fmla="*/ 828 w 3943054"/>
              <a:gd name="connsiteY1" fmla="*/ 7803 h 1609741"/>
              <a:gd name="connsiteX2" fmla="*/ 88325 w 3943054"/>
              <a:gd name="connsiteY2" fmla="*/ 539 h 1609741"/>
              <a:gd name="connsiteX3" fmla="*/ 3859005 w 3943054"/>
              <a:gd name="connsiteY3" fmla="*/ 539 h 1609741"/>
              <a:gd name="connsiteX4" fmla="*/ 3943054 w 3943054"/>
              <a:gd name="connsiteY4" fmla="*/ 84588 h 1609741"/>
              <a:gd name="connsiteX5" fmla="*/ 3943054 w 3943054"/>
              <a:gd name="connsiteY5" fmla="*/ 1525692 h 1609741"/>
              <a:gd name="connsiteX6" fmla="*/ 3859005 w 3943054"/>
              <a:gd name="connsiteY6" fmla="*/ 1609741 h 1609741"/>
              <a:gd name="connsiteX7" fmla="*/ 88325 w 3943054"/>
              <a:gd name="connsiteY7" fmla="*/ 1609741 h 1609741"/>
              <a:gd name="connsiteX8" fmla="*/ 4276 w 3943054"/>
              <a:gd name="connsiteY8" fmla="*/ 1525692 h 1609741"/>
              <a:gd name="connsiteX0" fmla="*/ 3584 w 3942362"/>
              <a:gd name="connsiteY0" fmla="*/ 1525692 h 1609741"/>
              <a:gd name="connsiteX1" fmla="*/ 136 w 3942362"/>
              <a:gd name="connsiteY1" fmla="*/ 7803 h 1609741"/>
              <a:gd name="connsiteX2" fmla="*/ 87633 w 3942362"/>
              <a:gd name="connsiteY2" fmla="*/ 539 h 1609741"/>
              <a:gd name="connsiteX3" fmla="*/ 3858313 w 3942362"/>
              <a:gd name="connsiteY3" fmla="*/ 539 h 1609741"/>
              <a:gd name="connsiteX4" fmla="*/ 3942362 w 3942362"/>
              <a:gd name="connsiteY4" fmla="*/ 84588 h 1609741"/>
              <a:gd name="connsiteX5" fmla="*/ 3942362 w 3942362"/>
              <a:gd name="connsiteY5" fmla="*/ 1525692 h 1609741"/>
              <a:gd name="connsiteX6" fmla="*/ 3858313 w 3942362"/>
              <a:gd name="connsiteY6" fmla="*/ 1609741 h 1609741"/>
              <a:gd name="connsiteX7" fmla="*/ 87633 w 3942362"/>
              <a:gd name="connsiteY7" fmla="*/ 1609741 h 1609741"/>
              <a:gd name="connsiteX8" fmla="*/ 3584 w 3942362"/>
              <a:gd name="connsiteY8" fmla="*/ 1525692 h 1609741"/>
              <a:gd name="connsiteX0" fmla="*/ 3644 w 3942422"/>
              <a:gd name="connsiteY0" fmla="*/ 1525692 h 1609741"/>
              <a:gd name="connsiteX1" fmla="*/ 196 w 3942422"/>
              <a:gd name="connsiteY1" fmla="*/ 7803 h 1609741"/>
              <a:gd name="connsiteX2" fmla="*/ 87693 w 3942422"/>
              <a:gd name="connsiteY2" fmla="*/ 539 h 1609741"/>
              <a:gd name="connsiteX3" fmla="*/ 3858373 w 3942422"/>
              <a:gd name="connsiteY3" fmla="*/ 539 h 1609741"/>
              <a:gd name="connsiteX4" fmla="*/ 3942422 w 3942422"/>
              <a:gd name="connsiteY4" fmla="*/ 84588 h 1609741"/>
              <a:gd name="connsiteX5" fmla="*/ 3942422 w 3942422"/>
              <a:gd name="connsiteY5" fmla="*/ 1525692 h 1609741"/>
              <a:gd name="connsiteX6" fmla="*/ 3858373 w 3942422"/>
              <a:gd name="connsiteY6" fmla="*/ 1609741 h 1609741"/>
              <a:gd name="connsiteX7" fmla="*/ 87693 w 3942422"/>
              <a:gd name="connsiteY7" fmla="*/ 1609741 h 1609741"/>
              <a:gd name="connsiteX8" fmla="*/ 3644 w 3942422"/>
              <a:gd name="connsiteY8" fmla="*/ 1525692 h 1609741"/>
              <a:gd name="connsiteX0" fmla="*/ 225140 w 4163918"/>
              <a:gd name="connsiteY0" fmla="*/ 1528731 h 1674428"/>
              <a:gd name="connsiteX1" fmla="*/ 224074 w 4163918"/>
              <a:gd name="connsiteY1" fmla="*/ 3699 h 1674428"/>
              <a:gd name="connsiteX2" fmla="*/ 309189 w 4163918"/>
              <a:gd name="connsiteY2" fmla="*/ 3578 h 1674428"/>
              <a:gd name="connsiteX3" fmla="*/ 4079869 w 4163918"/>
              <a:gd name="connsiteY3" fmla="*/ 3578 h 1674428"/>
              <a:gd name="connsiteX4" fmla="*/ 4163918 w 4163918"/>
              <a:gd name="connsiteY4" fmla="*/ 87627 h 1674428"/>
              <a:gd name="connsiteX5" fmla="*/ 4163918 w 4163918"/>
              <a:gd name="connsiteY5" fmla="*/ 1528731 h 1674428"/>
              <a:gd name="connsiteX6" fmla="*/ 4079869 w 4163918"/>
              <a:gd name="connsiteY6" fmla="*/ 1612780 h 1674428"/>
              <a:gd name="connsiteX7" fmla="*/ 309189 w 4163918"/>
              <a:gd name="connsiteY7" fmla="*/ 1612780 h 1674428"/>
              <a:gd name="connsiteX8" fmla="*/ 225140 w 4163918"/>
              <a:gd name="connsiteY8" fmla="*/ 1528731 h 1674428"/>
              <a:gd name="connsiteX0" fmla="*/ 6880 w 3945658"/>
              <a:gd name="connsiteY0" fmla="*/ 1528731 h 1674428"/>
              <a:gd name="connsiteX1" fmla="*/ 5814 w 3945658"/>
              <a:gd name="connsiteY1" fmla="*/ 3699 h 1674428"/>
              <a:gd name="connsiteX2" fmla="*/ 90929 w 3945658"/>
              <a:gd name="connsiteY2" fmla="*/ 3578 h 1674428"/>
              <a:gd name="connsiteX3" fmla="*/ 3861609 w 3945658"/>
              <a:gd name="connsiteY3" fmla="*/ 3578 h 1674428"/>
              <a:gd name="connsiteX4" fmla="*/ 3945658 w 3945658"/>
              <a:gd name="connsiteY4" fmla="*/ 87627 h 1674428"/>
              <a:gd name="connsiteX5" fmla="*/ 3945658 w 3945658"/>
              <a:gd name="connsiteY5" fmla="*/ 1528731 h 1674428"/>
              <a:gd name="connsiteX6" fmla="*/ 3861609 w 3945658"/>
              <a:gd name="connsiteY6" fmla="*/ 1612780 h 1674428"/>
              <a:gd name="connsiteX7" fmla="*/ 90929 w 3945658"/>
              <a:gd name="connsiteY7" fmla="*/ 1612780 h 1674428"/>
              <a:gd name="connsiteX8" fmla="*/ 6880 w 3945658"/>
              <a:gd name="connsiteY8" fmla="*/ 1528731 h 1674428"/>
              <a:gd name="connsiteX0" fmla="*/ 225140 w 4163918"/>
              <a:gd name="connsiteY0" fmla="*/ 1526452 h 1671925"/>
              <a:gd name="connsiteX1" fmla="*/ 224074 w 4163918"/>
              <a:gd name="connsiteY1" fmla="*/ 4595 h 1671925"/>
              <a:gd name="connsiteX2" fmla="*/ 309189 w 4163918"/>
              <a:gd name="connsiteY2" fmla="*/ 1299 h 1671925"/>
              <a:gd name="connsiteX3" fmla="*/ 4079869 w 4163918"/>
              <a:gd name="connsiteY3" fmla="*/ 1299 h 1671925"/>
              <a:gd name="connsiteX4" fmla="*/ 4163918 w 4163918"/>
              <a:gd name="connsiteY4" fmla="*/ 85348 h 1671925"/>
              <a:gd name="connsiteX5" fmla="*/ 4163918 w 4163918"/>
              <a:gd name="connsiteY5" fmla="*/ 1526452 h 1671925"/>
              <a:gd name="connsiteX6" fmla="*/ 4079869 w 4163918"/>
              <a:gd name="connsiteY6" fmla="*/ 1610501 h 1671925"/>
              <a:gd name="connsiteX7" fmla="*/ 309189 w 4163918"/>
              <a:gd name="connsiteY7" fmla="*/ 1610501 h 1671925"/>
              <a:gd name="connsiteX8" fmla="*/ 225140 w 4163918"/>
              <a:gd name="connsiteY8" fmla="*/ 1526452 h 1671925"/>
              <a:gd name="connsiteX0" fmla="*/ 6880 w 3945658"/>
              <a:gd name="connsiteY0" fmla="*/ 1527596 h 1673069"/>
              <a:gd name="connsiteX1" fmla="*/ 5814 w 3945658"/>
              <a:gd name="connsiteY1" fmla="*/ 5739 h 1673069"/>
              <a:gd name="connsiteX2" fmla="*/ 90929 w 3945658"/>
              <a:gd name="connsiteY2" fmla="*/ 2443 h 1673069"/>
              <a:gd name="connsiteX3" fmla="*/ 3861609 w 3945658"/>
              <a:gd name="connsiteY3" fmla="*/ 2443 h 1673069"/>
              <a:gd name="connsiteX4" fmla="*/ 3945658 w 3945658"/>
              <a:gd name="connsiteY4" fmla="*/ 86492 h 1673069"/>
              <a:gd name="connsiteX5" fmla="*/ 3945658 w 3945658"/>
              <a:gd name="connsiteY5" fmla="*/ 1527596 h 1673069"/>
              <a:gd name="connsiteX6" fmla="*/ 3861609 w 3945658"/>
              <a:gd name="connsiteY6" fmla="*/ 1611645 h 1673069"/>
              <a:gd name="connsiteX7" fmla="*/ 90929 w 3945658"/>
              <a:gd name="connsiteY7" fmla="*/ 1611645 h 1673069"/>
              <a:gd name="connsiteX8" fmla="*/ 6880 w 3945658"/>
              <a:gd name="connsiteY8" fmla="*/ 1527596 h 1673069"/>
              <a:gd name="connsiteX0" fmla="*/ 4095 w 3942873"/>
              <a:gd name="connsiteY0" fmla="*/ 1527596 h 1611653"/>
              <a:gd name="connsiteX1" fmla="*/ 3029 w 3942873"/>
              <a:gd name="connsiteY1" fmla="*/ 5739 h 1611653"/>
              <a:gd name="connsiteX2" fmla="*/ 88144 w 3942873"/>
              <a:gd name="connsiteY2" fmla="*/ 2443 h 1611653"/>
              <a:gd name="connsiteX3" fmla="*/ 3858824 w 3942873"/>
              <a:gd name="connsiteY3" fmla="*/ 2443 h 1611653"/>
              <a:gd name="connsiteX4" fmla="*/ 3942873 w 3942873"/>
              <a:gd name="connsiteY4" fmla="*/ 86492 h 1611653"/>
              <a:gd name="connsiteX5" fmla="*/ 3942873 w 3942873"/>
              <a:gd name="connsiteY5" fmla="*/ 1527596 h 1611653"/>
              <a:gd name="connsiteX6" fmla="*/ 3858824 w 3942873"/>
              <a:gd name="connsiteY6" fmla="*/ 1611645 h 1611653"/>
              <a:gd name="connsiteX7" fmla="*/ 88144 w 3942873"/>
              <a:gd name="connsiteY7" fmla="*/ 1611645 h 1611653"/>
              <a:gd name="connsiteX8" fmla="*/ 4095 w 3942873"/>
              <a:gd name="connsiteY8" fmla="*/ 1527596 h 1611653"/>
              <a:gd name="connsiteX0" fmla="*/ 9512 w 3948290"/>
              <a:gd name="connsiteY0" fmla="*/ 1527596 h 1673069"/>
              <a:gd name="connsiteX1" fmla="*/ 8446 w 3948290"/>
              <a:gd name="connsiteY1" fmla="*/ 5739 h 1673069"/>
              <a:gd name="connsiteX2" fmla="*/ 93561 w 3948290"/>
              <a:gd name="connsiteY2" fmla="*/ 2443 h 1673069"/>
              <a:gd name="connsiteX3" fmla="*/ 3864241 w 3948290"/>
              <a:gd name="connsiteY3" fmla="*/ 2443 h 1673069"/>
              <a:gd name="connsiteX4" fmla="*/ 3948290 w 3948290"/>
              <a:gd name="connsiteY4" fmla="*/ 86492 h 1673069"/>
              <a:gd name="connsiteX5" fmla="*/ 3948290 w 3948290"/>
              <a:gd name="connsiteY5" fmla="*/ 1527596 h 1673069"/>
              <a:gd name="connsiteX6" fmla="*/ 3864241 w 3948290"/>
              <a:gd name="connsiteY6" fmla="*/ 1611645 h 1673069"/>
              <a:gd name="connsiteX7" fmla="*/ 129280 w 3948290"/>
              <a:gd name="connsiteY7" fmla="*/ 1611645 h 1673069"/>
              <a:gd name="connsiteX8" fmla="*/ 9512 w 3948290"/>
              <a:gd name="connsiteY8" fmla="*/ 1527596 h 1673069"/>
              <a:gd name="connsiteX0" fmla="*/ 3242 w 3942020"/>
              <a:gd name="connsiteY0" fmla="*/ 1527596 h 1614938"/>
              <a:gd name="connsiteX1" fmla="*/ 2176 w 3942020"/>
              <a:gd name="connsiteY1" fmla="*/ 5739 h 1614938"/>
              <a:gd name="connsiteX2" fmla="*/ 87291 w 3942020"/>
              <a:gd name="connsiteY2" fmla="*/ 2443 h 1614938"/>
              <a:gd name="connsiteX3" fmla="*/ 3857971 w 3942020"/>
              <a:gd name="connsiteY3" fmla="*/ 2443 h 1614938"/>
              <a:gd name="connsiteX4" fmla="*/ 3942020 w 3942020"/>
              <a:gd name="connsiteY4" fmla="*/ 86492 h 1614938"/>
              <a:gd name="connsiteX5" fmla="*/ 3942020 w 3942020"/>
              <a:gd name="connsiteY5" fmla="*/ 1527596 h 1614938"/>
              <a:gd name="connsiteX6" fmla="*/ 3857971 w 3942020"/>
              <a:gd name="connsiteY6" fmla="*/ 1611645 h 1614938"/>
              <a:gd name="connsiteX7" fmla="*/ 123010 w 3942020"/>
              <a:gd name="connsiteY7" fmla="*/ 1611645 h 1614938"/>
              <a:gd name="connsiteX8" fmla="*/ 3242 w 3942020"/>
              <a:gd name="connsiteY8" fmla="*/ 1527596 h 1614938"/>
              <a:gd name="connsiteX0" fmla="*/ 1552 w 3940330"/>
              <a:gd name="connsiteY0" fmla="*/ 1527596 h 1612398"/>
              <a:gd name="connsiteX1" fmla="*/ 486 w 3940330"/>
              <a:gd name="connsiteY1" fmla="*/ 5739 h 1612398"/>
              <a:gd name="connsiteX2" fmla="*/ 85601 w 3940330"/>
              <a:gd name="connsiteY2" fmla="*/ 2443 h 1612398"/>
              <a:gd name="connsiteX3" fmla="*/ 3856281 w 3940330"/>
              <a:gd name="connsiteY3" fmla="*/ 2443 h 1612398"/>
              <a:gd name="connsiteX4" fmla="*/ 3940330 w 3940330"/>
              <a:gd name="connsiteY4" fmla="*/ 86492 h 1612398"/>
              <a:gd name="connsiteX5" fmla="*/ 3940330 w 3940330"/>
              <a:gd name="connsiteY5" fmla="*/ 1527596 h 1612398"/>
              <a:gd name="connsiteX6" fmla="*/ 3856281 w 3940330"/>
              <a:gd name="connsiteY6" fmla="*/ 1611645 h 1612398"/>
              <a:gd name="connsiteX7" fmla="*/ 121320 w 3940330"/>
              <a:gd name="connsiteY7" fmla="*/ 1611645 h 1612398"/>
              <a:gd name="connsiteX8" fmla="*/ 1552 w 3940330"/>
              <a:gd name="connsiteY8" fmla="*/ 1527596 h 1612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40330" h="1612398">
                <a:moveTo>
                  <a:pt x="1552" y="1527596"/>
                </a:moveTo>
                <a:cubicBezTo>
                  <a:pt x="463" y="1429014"/>
                  <a:pt x="-671" y="14002"/>
                  <a:pt x="486" y="5739"/>
                </a:cubicBezTo>
                <a:cubicBezTo>
                  <a:pt x="1643" y="-2524"/>
                  <a:pt x="8119" y="-183"/>
                  <a:pt x="85601" y="2443"/>
                </a:cubicBezTo>
                <a:cubicBezTo>
                  <a:pt x="163083" y="5069"/>
                  <a:pt x="2599388" y="2443"/>
                  <a:pt x="3856281" y="2443"/>
                </a:cubicBezTo>
                <a:cubicBezTo>
                  <a:pt x="3902700" y="2443"/>
                  <a:pt x="3940330" y="40073"/>
                  <a:pt x="3940330" y="86492"/>
                </a:cubicBezTo>
                <a:lnTo>
                  <a:pt x="3940330" y="1527596"/>
                </a:lnTo>
                <a:cubicBezTo>
                  <a:pt x="3940330" y="1574015"/>
                  <a:pt x="3902700" y="1611645"/>
                  <a:pt x="3856281" y="1611645"/>
                </a:cubicBezTo>
                <a:lnTo>
                  <a:pt x="121320" y="1611645"/>
                </a:lnTo>
                <a:cubicBezTo>
                  <a:pt x="74901" y="1611645"/>
                  <a:pt x="2641" y="1626178"/>
                  <a:pt x="1552" y="1527596"/>
                </a:cubicBezTo>
                <a:close/>
              </a:path>
            </a:pathLst>
          </a:custGeom>
          <a:solidFill>
            <a:schemeClr val="bg2">
              <a:alpha val="85000"/>
            </a:schemeClr>
          </a:solidFill>
        </p:spPr>
        <p:txBody>
          <a:bodyPr vert="horz" lIns="360000" tIns="252000" rIns="360000" bIns="360000" rtlCol="0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nl-NL" sz="3352" b="0" dirty="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70000"/>
              </a:lnSpc>
              <a:defRPr lang="nl-NL" dirty="0">
                <a:solidFill>
                  <a:schemeClr val="bg1"/>
                </a:solidFill>
                <a:latin typeface="+mj-lt"/>
              </a:defRPr>
            </a:lvl2pPr>
            <a:lvl3pPr>
              <a:lnSpc>
                <a:spcPct val="70000"/>
              </a:lnSpc>
              <a:defRPr lang="nl-NL" dirty="0">
                <a:solidFill>
                  <a:schemeClr val="bg1"/>
                </a:solidFill>
                <a:latin typeface="+mj-lt"/>
              </a:defRPr>
            </a:lvl3pPr>
            <a:lvl4pPr>
              <a:lnSpc>
                <a:spcPct val="70000"/>
              </a:lnSpc>
              <a:defRPr lang="nl-NL" sz="3352" dirty="0">
                <a:solidFill>
                  <a:schemeClr val="bg1"/>
                </a:solidFill>
                <a:latin typeface="+mj-lt"/>
              </a:defRPr>
            </a:lvl4pPr>
            <a:lvl5pPr>
              <a:lnSpc>
                <a:spcPct val="70000"/>
              </a:lnSpc>
              <a:defRPr lang="nl-NL" b="0" dirty="0">
                <a:solidFill>
                  <a:schemeClr val="bg1"/>
                </a:solidFill>
              </a:defRPr>
            </a:lvl5pPr>
            <a:lvl6pPr>
              <a:lnSpc>
                <a:spcPct val="70000"/>
              </a:lnSpc>
              <a:defRPr lang="nl-NL" dirty="0"/>
            </a:lvl6pPr>
          </a:lstStyle>
          <a:p>
            <a:pPr lvl="0"/>
            <a:r>
              <a:rPr lang="nl-NL" noProof="0"/>
              <a:t>Klik om tekst in te voegen</a:t>
            </a:r>
          </a:p>
        </p:txBody>
      </p:sp>
      <p:sp>
        <p:nvSpPr>
          <p:cNvPr id="18" name="Tijdelijke aanduiding voor datum 3">
            <a:extLst>
              <a:ext uri="{FF2B5EF4-FFF2-40B4-BE49-F238E27FC236}">
                <a16:creationId xmlns:a16="http://schemas.microsoft.com/office/drawing/2014/main" id="{272E1BA3-CCCF-465D-9A0D-4F665A96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50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00A5A8C-9EFD-4AD5-BD15-C5E0C8E9E405}" type="datetime1">
              <a:rPr lang="nl-NL" noProof="0" smtClean="0"/>
              <a:t>26-6-2023</a:t>
            </a:fld>
            <a:endParaRPr lang="nl-NL" noProof="0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C7F23BAD-09D9-4D71-9A55-ADE82665CE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5" y="831727"/>
            <a:ext cx="9249575" cy="4281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5237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tekstvlak 8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-5567" y="6476684"/>
            <a:ext cx="42767257" cy="23798534"/>
          </a:xfrm>
          <a:solidFill>
            <a:schemeClr val="bg1">
              <a:lumMod val="95000"/>
            </a:schemeClr>
          </a:solidFill>
        </p:spPr>
        <p:txBody>
          <a:bodyPr tIns="3024000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tabLst>
                <a:tab pos="32381162" algn="l"/>
              </a:tabLst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0" name="Tijdelijke aanduiding voor voettekst 4">
            <a:extLst>
              <a:ext uri="{FF2B5EF4-FFF2-40B4-BE49-F238E27FC236}">
                <a16:creationId xmlns:a16="http://schemas.microsoft.com/office/drawing/2014/main" id="{1DA20FBD-9D0F-4EAB-B12C-126591D8B7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6644E39-2AF2-4EA0-9C3F-28C89D5A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7" y="27329718"/>
            <a:ext cx="828942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7" name="Tijdelijke aanduiding voor tekst 14">
            <a:extLst>
              <a:ext uri="{FF2B5EF4-FFF2-40B4-BE49-F238E27FC236}">
                <a16:creationId xmlns:a16="http://schemas.microsoft.com/office/drawing/2014/main" id="{A6BF4B27-7FC5-4896-80CE-3BA6119B83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28641602-EFC5-4A31-A66E-7D18FE4BC0D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7317714" y="18836413"/>
            <a:ext cx="13821939" cy="7118065"/>
          </a:xfrm>
          <a:custGeom>
            <a:avLst/>
            <a:gdLst>
              <a:gd name="connsiteX0" fmla="*/ 0 w 3938778"/>
              <a:gd name="connsiteY0" fmla="*/ 84049 h 1609202"/>
              <a:gd name="connsiteX1" fmla="*/ 84049 w 3938778"/>
              <a:gd name="connsiteY1" fmla="*/ 0 h 1609202"/>
              <a:gd name="connsiteX2" fmla="*/ 3854729 w 3938778"/>
              <a:gd name="connsiteY2" fmla="*/ 0 h 1609202"/>
              <a:gd name="connsiteX3" fmla="*/ 3938778 w 3938778"/>
              <a:gd name="connsiteY3" fmla="*/ 84049 h 1609202"/>
              <a:gd name="connsiteX4" fmla="*/ 3938778 w 3938778"/>
              <a:gd name="connsiteY4" fmla="*/ 1525153 h 1609202"/>
              <a:gd name="connsiteX5" fmla="*/ 3854729 w 3938778"/>
              <a:gd name="connsiteY5" fmla="*/ 1609202 h 1609202"/>
              <a:gd name="connsiteX6" fmla="*/ 84049 w 3938778"/>
              <a:gd name="connsiteY6" fmla="*/ 1609202 h 1609202"/>
              <a:gd name="connsiteX7" fmla="*/ 0 w 3938778"/>
              <a:gd name="connsiteY7" fmla="*/ 1525153 h 1609202"/>
              <a:gd name="connsiteX8" fmla="*/ 0 w 3938778"/>
              <a:gd name="connsiteY8" fmla="*/ 84049 h 1609202"/>
              <a:gd name="connsiteX0" fmla="*/ 212359 w 4151137"/>
              <a:gd name="connsiteY0" fmla="*/ 126307 h 1651460"/>
              <a:gd name="connsiteX1" fmla="*/ 237486 w 4151137"/>
              <a:gd name="connsiteY1" fmla="*/ 63809 h 1651460"/>
              <a:gd name="connsiteX2" fmla="*/ 296408 w 4151137"/>
              <a:gd name="connsiteY2" fmla="*/ 42258 h 1651460"/>
              <a:gd name="connsiteX3" fmla="*/ 4067088 w 4151137"/>
              <a:gd name="connsiteY3" fmla="*/ 42258 h 1651460"/>
              <a:gd name="connsiteX4" fmla="*/ 4151137 w 4151137"/>
              <a:gd name="connsiteY4" fmla="*/ 126307 h 1651460"/>
              <a:gd name="connsiteX5" fmla="*/ 4151137 w 4151137"/>
              <a:gd name="connsiteY5" fmla="*/ 1567411 h 1651460"/>
              <a:gd name="connsiteX6" fmla="*/ 4067088 w 4151137"/>
              <a:gd name="connsiteY6" fmla="*/ 1651460 h 1651460"/>
              <a:gd name="connsiteX7" fmla="*/ 296408 w 4151137"/>
              <a:gd name="connsiteY7" fmla="*/ 1651460 h 1651460"/>
              <a:gd name="connsiteX8" fmla="*/ 212359 w 4151137"/>
              <a:gd name="connsiteY8" fmla="*/ 1567411 h 1651460"/>
              <a:gd name="connsiteX9" fmla="*/ 212359 w 4151137"/>
              <a:gd name="connsiteY9" fmla="*/ 126307 h 1651460"/>
              <a:gd name="connsiteX0" fmla="*/ 212359 w 4151137"/>
              <a:gd name="connsiteY0" fmla="*/ 84049 h 1609202"/>
              <a:gd name="connsiteX1" fmla="*/ 237486 w 4151137"/>
              <a:gd name="connsiteY1" fmla="*/ 21551 h 1609202"/>
              <a:gd name="connsiteX2" fmla="*/ 296408 w 4151137"/>
              <a:gd name="connsiteY2" fmla="*/ 0 h 1609202"/>
              <a:gd name="connsiteX3" fmla="*/ 4067088 w 4151137"/>
              <a:gd name="connsiteY3" fmla="*/ 0 h 1609202"/>
              <a:gd name="connsiteX4" fmla="*/ 4151137 w 4151137"/>
              <a:gd name="connsiteY4" fmla="*/ 84049 h 1609202"/>
              <a:gd name="connsiteX5" fmla="*/ 4151137 w 4151137"/>
              <a:gd name="connsiteY5" fmla="*/ 1525153 h 1609202"/>
              <a:gd name="connsiteX6" fmla="*/ 4067088 w 4151137"/>
              <a:gd name="connsiteY6" fmla="*/ 1609202 h 1609202"/>
              <a:gd name="connsiteX7" fmla="*/ 296408 w 4151137"/>
              <a:gd name="connsiteY7" fmla="*/ 1609202 h 1609202"/>
              <a:gd name="connsiteX8" fmla="*/ 212359 w 4151137"/>
              <a:gd name="connsiteY8" fmla="*/ 1525153 h 1609202"/>
              <a:gd name="connsiteX9" fmla="*/ 212359 w 4151137"/>
              <a:gd name="connsiteY9" fmla="*/ 84049 h 1609202"/>
              <a:gd name="connsiteX0" fmla="*/ 21 w 3938799"/>
              <a:gd name="connsiteY0" fmla="*/ 85645 h 1610798"/>
              <a:gd name="connsiteX1" fmla="*/ 25148 w 3938799"/>
              <a:gd name="connsiteY1" fmla="*/ 23147 h 1610798"/>
              <a:gd name="connsiteX2" fmla="*/ 84070 w 3938799"/>
              <a:gd name="connsiteY2" fmla="*/ 1596 h 1610798"/>
              <a:gd name="connsiteX3" fmla="*/ 3854750 w 3938799"/>
              <a:gd name="connsiteY3" fmla="*/ 1596 h 1610798"/>
              <a:gd name="connsiteX4" fmla="*/ 3938799 w 3938799"/>
              <a:gd name="connsiteY4" fmla="*/ 85645 h 1610798"/>
              <a:gd name="connsiteX5" fmla="*/ 3938799 w 3938799"/>
              <a:gd name="connsiteY5" fmla="*/ 1526749 h 1610798"/>
              <a:gd name="connsiteX6" fmla="*/ 3854750 w 3938799"/>
              <a:gd name="connsiteY6" fmla="*/ 1610798 h 1610798"/>
              <a:gd name="connsiteX7" fmla="*/ 84070 w 3938799"/>
              <a:gd name="connsiteY7" fmla="*/ 1610798 h 1610798"/>
              <a:gd name="connsiteX8" fmla="*/ 21 w 3938799"/>
              <a:gd name="connsiteY8" fmla="*/ 1526749 h 1610798"/>
              <a:gd name="connsiteX9" fmla="*/ 21 w 3938799"/>
              <a:gd name="connsiteY9" fmla="*/ 85645 h 1610798"/>
              <a:gd name="connsiteX0" fmla="*/ 221900 w 4160678"/>
              <a:gd name="connsiteY0" fmla="*/ 126307 h 1651460"/>
              <a:gd name="connsiteX1" fmla="*/ 220833 w 4160678"/>
              <a:gd name="connsiteY1" fmla="*/ 63809 h 1651460"/>
              <a:gd name="connsiteX2" fmla="*/ 305949 w 4160678"/>
              <a:gd name="connsiteY2" fmla="*/ 42258 h 1651460"/>
              <a:gd name="connsiteX3" fmla="*/ 4076629 w 4160678"/>
              <a:gd name="connsiteY3" fmla="*/ 42258 h 1651460"/>
              <a:gd name="connsiteX4" fmla="*/ 4160678 w 4160678"/>
              <a:gd name="connsiteY4" fmla="*/ 126307 h 1651460"/>
              <a:gd name="connsiteX5" fmla="*/ 4160678 w 4160678"/>
              <a:gd name="connsiteY5" fmla="*/ 1567411 h 1651460"/>
              <a:gd name="connsiteX6" fmla="*/ 4076629 w 4160678"/>
              <a:gd name="connsiteY6" fmla="*/ 1651460 h 1651460"/>
              <a:gd name="connsiteX7" fmla="*/ 305949 w 4160678"/>
              <a:gd name="connsiteY7" fmla="*/ 1651460 h 1651460"/>
              <a:gd name="connsiteX8" fmla="*/ 221900 w 4160678"/>
              <a:gd name="connsiteY8" fmla="*/ 1567411 h 1651460"/>
              <a:gd name="connsiteX9" fmla="*/ 221900 w 4160678"/>
              <a:gd name="connsiteY9" fmla="*/ 126307 h 1651460"/>
              <a:gd name="connsiteX0" fmla="*/ 222785 w 4161563"/>
              <a:gd name="connsiteY0" fmla="*/ 132298 h 1657451"/>
              <a:gd name="connsiteX1" fmla="*/ 219337 w 4161563"/>
              <a:gd name="connsiteY1" fmla="*/ 55513 h 1657451"/>
              <a:gd name="connsiteX2" fmla="*/ 306834 w 4161563"/>
              <a:gd name="connsiteY2" fmla="*/ 48249 h 1657451"/>
              <a:gd name="connsiteX3" fmla="*/ 4077514 w 4161563"/>
              <a:gd name="connsiteY3" fmla="*/ 48249 h 1657451"/>
              <a:gd name="connsiteX4" fmla="*/ 4161563 w 4161563"/>
              <a:gd name="connsiteY4" fmla="*/ 132298 h 1657451"/>
              <a:gd name="connsiteX5" fmla="*/ 4161563 w 4161563"/>
              <a:gd name="connsiteY5" fmla="*/ 1573402 h 1657451"/>
              <a:gd name="connsiteX6" fmla="*/ 4077514 w 4161563"/>
              <a:gd name="connsiteY6" fmla="*/ 1657451 h 1657451"/>
              <a:gd name="connsiteX7" fmla="*/ 306834 w 4161563"/>
              <a:gd name="connsiteY7" fmla="*/ 1657451 h 1657451"/>
              <a:gd name="connsiteX8" fmla="*/ 222785 w 4161563"/>
              <a:gd name="connsiteY8" fmla="*/ 1573402 h 1657451"/>
              <a:gd name="connsiteX9" fmla="*/ 222785 w 4161563"/>
              <a:gd name="connsiteY9" fmla="*/ 132298 h 1657451"/>
              <a:gd name="connsiteX0" fmla="*/ 8993 w 3947771"/>
              <a:gd name="connsiteY0" fmla="*/ 132298 h 1657451"/>
              <a:gd name="connsiteX1" fmla="*/ 5545 w 3947771"/>
              <a:gd name="connsiteY1" fmla="*/ 55513 h 1657451"/>
              <a:gd name="connsiteX2" fmla="*/ 93042 w 3947771"/>
              <a:gd name="connsiteY2" fmla="*/ 48249 h 1657451"/>
              <a:gd name="connsiteX3" fmla="*/ 3863722 w 3947771"/>
              <a:gd name="connsiteY3" fmla="*/ 48249 h 1657451"/>
              <a:gd name="connsiteX4" fmla="*/ 3947771 w 3947771"/>
              <a:gd name="connsiteY4" fmla="*/ 132298 h 1657451"/>
              <a:gd name="connsiteX5" fmla="*/ 3947771 w 3947771"/>
              <a:gd name="connsiteY5" fmla="*/ 1573402 h 1657451"/>
              <a:gd name="connsiteX6" fmla="*/ 3863722 w 3947771"/>
              <a:gd name="connsiteY6" fmla="*/ 1657451 h 1657451"/>
              <a:gd name="connsiteX7" fmla="*/ 93042 w 3947771"/>
              <a:gd name="connsiteY7" fmla="*/ 1657451 h 1657451"/>
              <a:gd name="connsiteX8" fmla="*/ 8993 w 3947771"/>
              <a:gd name="connsiteY8" fmla="*/ 1573402 h 1657451"/>
              <a:gd name="connsiteX9" fmla="*/ 8993 w 3947771"/>
              <a:gd name="connsiteY9" fmla="*/ 132298 h 1657451"/>
              <a:gd name="connsiteX0" fmla="*/ 9451 w 3948229"/>
              <a:gd name="connsiteY0" fmla="*/ 85220 h 1610373"/>
              <a:gd name="connsiteX1" fmla="*/ 6003 w 3948229"/>
              <a:gd name="connsiteY1" fmla="*/ 8435 h 1610373"/>
              <a:gd name="connsiteX2" fmla="*/ 93500 w 3948229"/>
              <a:gd name="connsiteY2" fmla="*/ 1171 h 1610373"/>
              <a:gd name="connsiteX3" fmla="*/ 3864180 w 3948229"/>
              <a:gd name="connsiteY3" fmla="*/ 1171 h 1610373"/>
              <a:gd name="connsiteX4" fmla="*/ 3948229 w 3948229"/>
              <a:gd name="connsiteY4" fmla="*/ 85220 h 1610373"/>
              <a:gd name="connsiteX5" fmla="*/ 3948229 w 3948229"/>
              <a:gd name="connsiteY5" fmla="*/ 1526324 h 1610373"/>
              <a:gd name="connsiteX6" fmla="*/ 3864180 w 3948229"/>
              <a:gd name="connsiteY6" fmla="*/ 1610373 h 1610373"/>
              <a:gd name="connsiteX7" fmla="*/ 93500 w 3948229"/>
              <a:gd name="connsiteY7" fmla="*/ 1610373 h 1610373"/>
              <a:gd name="connsiteX8" fmla="*/ 9451 w 3948229"/>
              <a:gd name="connsiteY8" fmla="*/ 1526324 h 1610373"/>
              <a:gd name="connsiteX9" fmla="*/ 9451 w 3948229"/>
              <a:gd name="connsiteY9" fmla="*/ 85220 h 1610373"/>
              <a:gd name="connsiteX0" fmla="*/ 9451 w 3948229"/>
              <a:gd name="connsiteY0" fmla="*/ 85220 h 1610373"/>
              <a:gd name="connsiteX1" fmla="*/ 6003 w 3948229"/>
              <a:gd name="connsiteY1" fmla="*/ 8435 h 1610373"/>
              <a:gd name="connsiteX2" fmla="*/ 93500 w 3948229"/>
              <a:gd name="connsiteY2" fmla="*/ 1171 h 1610373"/>
              <a:gd name="connsiteX3" fmla="*/ 3864180 w 3948229"/>
              <a:gd name="connsiteY3" fmla="*/ 1171 h 1610373"/>
              <a:gd name="connsiteX4" fmla="*/ 3948229 w 3948229"/>
              <a:gd name="connsiteY4" fmla="*/ 85220 h 1610373"/>
              <a:gd name="connsiteX5" fmla="*/ 3948229 w 3948229"/>
              <a:gd name="connsiteY5" fmla="*/ 1526324 h 1610373"/>
              <a:gd name="connsiteX6" fmla="*/ 3864180 w 3948229"/>
              <a:gd name="connsiteY6" fmla="*/ 1610373 h 1610373"/>
              <a:gd name="connsiteX7" fmla="*/ 93500 w 3948229"/>
              <a:gd name="connsiteY7" fmla="*/ 1610373 h 1610373"/>
              <a:gd name="connsiteX8" fmla="*/ 9451 w 3948229"/>
              <a:gd name="connsiteY8" fmla="*/ 1526324 h 1610373"/>
              <a:gd name="connsiteX9" fmla="*/ 9451 w 3948229"/>
              <a:gd name="connsiteY9" fmla="*/ 85220 h 1610373"/>
              <a:gd name="connsiteX0" fmla="*/ 12575 w 3951353"/>
              <a:gd name="connsiteY0" fmla="*/ 1632501 h 1716550"/>
              <a:gd name="connsiteX1" fmla="*/ 9127 w 3951353"/>
              <a:gd name="connsiteY1" fmla="*/ 114612 h 1716550"/>
              <a:gd name="connsiteX2" fmla="*/ 96624 w 3951353"/>
              <a:gd name="connsiteY2" fmla="*/ 107348 h 1716550"/>
              <a:gd name="connsiteX3" fmla="*/ 3867304 w 3951353"/>
              <a:gd name="connsiteY3" fmla="*/ 107348 h 1716550"/>
              <a:gd name="connsiteX4" fmla="*/ 3951353 w 3951353"/>
              <a:gd name="connsiteY4" fmla="*/ 191397 h 1716550"/>
              <a:gd name="connsiteX5" fmla="*/ 3951353 w 3951353"/>
              <a:gd name="connsiteY5" fmla="*/ 1632501 h 1716550"/>
              <a:gd name="connsiteX6" fmla="*/ 3867304 w 3951353"/>
              <a:gd name="connsiteY6" fmla="*/ 1716550 h 1716550"/>
              <a:gd name="connsiteX7" fmla="*/ 96624 w 3951353"/>
              <a:gd name="connsiteY7" fmla="*/ 1716550 h 1716550"/>
              <a:gd name="connsiteX8" fmla="*/ 12575 w 3951353"/>
              <a:gd name="connsiteY8" fmla="*/ 1632501 h 1716550"/>
              <a:gd name="connsiteX0" fmla="*/ 9770 w 3948548"/>
              <a:gd name="connsiteY0" fmla="*/ 1632631 h 1716680"/>
              <a:gd name="connsiteX1" fmla="*/ 6322 w 3948548"/>
              <a:gd name="connsiteY1" fmla="*/ 114742 h 1716680"/>
              <a:gd name="connsiteX2" fmla="*/ 93819 w 3948548"/>
              <a:gd name="connsiteY2" fmla="*/ 107478 h 1716680"/>
              <a:gd name="connsiteX3" fmla="*/ 3864499 w 3948548"/>
              <a:gd name="connsiteY3" fmla="*/ 107478 h 1716680"/>
              <a:gd name="connsiteX4" fmla="*/ 3948548 w 3948548"/>
              <a:gd name="connsiteY4" fmla="*/ 191527 h 1716680"/>
              <a:gd name="connsiteX5" fmla="*/ 3948548 w 3948548"/>
              <a:gd name="connsiteY5" fmla="*/ 1632631 h 1716680"/>
              <a:gd name="connsiteX6" fmla="*/ 3864499 w 3948548"/>
              <a:gd name="connsiteY6" fmla="*/ 1716680 h 1716680"/>
              <a:gd name="connsiteX7" fmla="*/ 93819 w 3948548"/>
              <a:gd name="connsiteY7" fmla="*/ 1716680 h 1716680"/>
              <a:gd name="connsiteX8" fmla="*/ 9770 w 3948548"/>
              <a:gd name="connsiteY8" fmla="*/ 1632631 h 1716680"/>
              <a:gd name="connsiteX0" fmla="*/ 6731 w 3945509"/>
              <a:gd name="connsiteY0" fmla="*/ 1632631 h 1780851"/>
              <a:gd name="connsiteX1" fmla="*/ 3283 w 3945509"/>
              <a:gd name="connsiteY1" fmla="*/ 114742 h 1780851"/>
              <a:gd name="connsiteX2" fmla="*/ 90780 w 3945509"/>
              <a:gd name="connsiteY2" fmla="*/ 107478 h 1780851"/>
              <a:gd name="connsiteX3" fmla="*/ 3861460 w 3945509"/>
              <a:gd name="connsiteY3" fmla="*/ 107478 h 1780851"/>
              <a:gd name="connsiteX4" fmla="*/ 3945509 w 3945509"/>
              <a:gd name="connsiteY4" fmla="*/ 191527 h 1780851"/>
              <a:gd name="connsiteX5" fmla="*/ 3945509 w 3945509"/>
              <a:gd name="connsiteY5" fmla="*/ 1632631 h 1780851"/>
              <a:gd name="connsiteX6" fmla="*/ 3861460 w 3945509"/>
              <a:gd name="connsiteY6" fmla="*/ 1716680 h 1780851"/>
              <a:gd name="connsiteX7" fmla="*/ 90780 w 3945509"/>
              <a:gd name="connsiteY7" fmla="*/ 1716680 h 1780851"/>
              <a:gd name="connsiteX8" fmla="*/ 6731 w 3945509"/>
              <a:gd name="connsiteY8" fmla="*/ 1632631 h 1780851"/>
              <a:gd name="connsiteX0" fmla="*/ 5635 w 3944413"/>
              <a:gd name="connsiteY0" fmla="*/ 1632631 h 1730124"/>
              <a:gd name="connsiteX1" fmla="*/ 2187 w 3944413"/>
              <a:gd name="connsiteY1" fmla="*/ 114742 h 1730124"/>
              <a:gd name="connsiteX2" fmla="*/ 89684 w 3944413"/>
              <a:gd name="connsiteY2" fmla="*/ 107478 h 1730124"/>
              <a:gd name="connsiteX3" fmla="*/ 3860364 w 3944413"/>
              <a:gd name="connsiteY3" fmla="*/ 107478 h 1730124"/>
              <a:gd name="connsiteX4" fmla="*/ 3944413 w 3944413"/>
              <a:gd name="connsiteY4" fmla="*/ 191527 h 1730124"/>
              <a:gd name="connsiteX5" fmla="*/ 3944413 w 3944413"/>
              <a:gd name="connsiteY5" fmla="*/ 1632631 h 1730124"/>
              <a:gd name="connsiteX6" fmla="*/ 3860364 w 3944413"/>
              <a:gd name="connsiteY6" fmla="*/ 1716680 h 1730124"/>
              <a:gd name="connsiteX7" fmla="*/ 89684 w 3944413"/>
              <a:gd name="connsiteY7" fmla="*/ 1716680 h 1730124"/>
              <a:gd name="connsiteX8" fmla="*/ 5635 w 3944413"/>
              <a:gd name="connsiteY8" fmla="*/ 1632631 h 1730124"/>
              <a:gd name="connsiteX0" fmla="*/ 6730 w 3945508"/>
              <a:gd name="connsiteY0" fmla="*/ 1632631 h 1718001"/>
              <a:gd name="connsiteX1" fmla="*/ 3282 w 3945508"/>
              <a:gd name="connsiteY1" fmla="*/ 114742 h 1718001"/>
              <a:gd name="connsiteX2" fmla="*/ 90779 w 3945508"/>
              <a:gd name="connsiteY2" fmla="*/ 107478 h 1718001"/>
              <a:gd name="connsiteX3" fmla="*/ 3861459 w 3945508"/>
              <a:gd name="connsiteY3" fmla="*/ 107478 h 1718001"/>
              <a:gd name="connsiteX4" fmla="*/ 3945508 w 3945508"/>
              <a:gd name="connsiteY4" fmla="*/ 191527 h 1718001"/>
              <a:gd name="connsiteX5" fmla="*/ 3945508 w 3945508"/>
              <a:gd name="connsiteY5" fmla="*/ 1632631 h 1718001"/>
              <a:gd name="connsiteX6" fmla="*/ 3861459 w 3945508"/>
              <a:gd name="connsiteY6" fmla="*/ 1716680 h 1718001"/>
              <a:gd name="connsiteX7" fmla="*/ 90779 w 3945508"/>
              <a:gd name="connsiteY7" fmla="*/ 1716680 h 1718001"/>
              <a:gd name="connsiteX8" fmla="*/ 6730 w 3945508"/>
              <a:gd name="connsiteY8" fmla="*/ 1632631 h 1718001"/>
              <a:gd name="connsiteX0" fmla="*/ 5541 w 3944319"/>
              <a:gd name="connsiteY0" fmla="*/ 1632631 h 1716680"/>
              <a:gd name="connsiteX1" fmla="*/ 2093 w 3944319"/>
              <a:gd name="connsiteY1" fmla="*/ 114742 h 1716680"/>
              <a:gd name="connsiteX2" fmla="*/ 89590 w 3944319"/>
              <a:gd name="connsiteY2" fmla="*/ 107478 h 1716680"/>
              <a:gd name="connsiteX3" fmla="*/ 3860270 w 3944319"/>
              <a:gd name="connsiteY3" fmla="*/ 107478 h 1716680"/>
              <a:gd name="connsiteX4" fmla="*/ 3944319 w 3944319"/>
              <a:gd name="connsiteY4" fmla="*/ 191527 h 1716680"/>
              <a:gd name="connsiteX5" fmla="*/ 3944319 w 3944319"/>
              <a:gd name="connsiteY5" fmla="*/ 1632631 h 1716680"/>
              <a:gd name="connsiteX6" fmla="*/ 3860270 w 3944319"/>
              <a:gd name="connsiteY6" fmla="*/ 1716680 h 1716680"/>
              <a:gd name="connsiteX7" fmla="*/ 89590 w 3944319"/>
              <a:gd name="connsiteY7" fmla="*/ 1716680 h 1716680"/>
              <a:gd name="connsiteX8" fmla="*/ 5541 w 3944319"/>
              <a:gd name="connsiteY8" fmla="*/ 1632631 h 1716680"/>
              <a:gd name="connsiteX0" fmla="*/ 4066 w 3942844"/>
              <a:gd name="connsiteY0" fmla="*/ 1541301 h 1625350"/>
              <a:gd name="connsiteX1" fmla="*/ 618 w 3942844"/>
              <a:gd name="connsiteY1" fmla="*/ 23412 h 1625350"/>
              <a:gd name="connsiteX2" fmla="*/ 88115 w 3942844"/>
              <a:gd name="connsiteY2" fmla="*/ 16148 h 1625350"/>
              <a:gd name="connsiteX3" fmla="*/ 3858795 w 3942844"/>
              <a:gd name="connsiteY3" fmla="*/ 16148 h 1625350"/>
              <a:gd name="connsiteX4" fmla="*/ 3942844 w 3942844"/>
              <a:gd name="connsiteY4" fmla="*/ 100197 h 1625350"/>
              <a:gd name="connsiteX5" fmla="*/ 3942844 w 3942844"/>
              <a:gd name="connsiteY5" fmla="*/ 1541301 h 1625350"/>
              <a:gd name="connsiteX6" fmla="*/ 3858795 w 3942844"/>
              <a:gd name="connsiteY6" fmla="*/ 1625350 h 1625350"/>
              <a:gd name="connsiteX7" fmla="*/ 88115 w 3942844"/>
              <a:gd name="connsiteY7" fmla="*/ 1625350 h 1625350"/>
              <a:gd name="connsiteX8" fmla="*/ 4066 w 3942844"/>
              <a:gd name="connsiteY8" fmla="*/ 1541301 h 1625350"/>
              <a:gd name="connsiteX0" fmla="*/ 4276 w 3943054"/>
              <a:gd name="connsiteY0" fmla="*/ 1541301 h 1625350"/>
              <a:gd name="connsiteX1" fmla="*/ 828 w 3943054"/>
              <a:gd name="connsiteY1" fmla="*/ 23412 h 1625350"/>
              <a:gd name="connsiteX2" fmla="*/ 88325 w 3943054"/>
              <a:gd name="connsiteY2" fmla="*/ 16148 h 1625350"/>
              <a:gd name="connsiteX3" fmla="*/ 3859005 w 3943054"/>
              <a:gd name="connsiteY3" fmla="*/ 16148 h 1625350"/>
              <a:gd name="connsiteX4" fmla="*/ 3943054 w 3943054"/>
              <a:gd name="connsiteY4" fmla="*/ 100197 h 1625350"/>
              <a:gd name="connsiteX5" fmla="*/ 3943054 w 3943054"/>
              <a:gd name="connsiteY5" fmla="*/ 1541301 h 1625350"/>
              <a:gd name="connsiteX6" fmla="*/ 3859005 w 3943054"/>
              <a:gd name="connsiteY6" fmla="*/ 1625350 h 1625350"/>
              <a:gd name="connsiteX7" fmla="*/ 88325 w 3943054"/>
              <a:gd name="connsiteY7" fmla="*/ 1625350 h 1625350"/>
              <a:gd name="connsiteX8" fmla="*/ 4276 w 3943054"/>
              <a:gd name="connsiteY8" fmla="*/ 1541301 h 1625350"/>
              <a:gd name="connsiteX0" fmla="*/ 3584 w 3942362"/>
              <a:gd name="connsiteY0" fmla="*/ 1541301 h 1625350"/>
              <a:gd name="connsiteX1" fmla="*/ 136 w 3942362"/>
              <a:gd name="connsiteY1" fmla="*/ 23412 h 1625350"/>
              <a:gd name="connsiteX2" fmla="*/ 87633 w 3942362"/>
              <a:gd name="connsiteY2" fmla="*/ 16148 h 1625350"/>
              <a:gd name="connsiteX3" fmla="*/ 3858313 w 3942362"/>
              <a:gd name="connsiteY3" fmla="*/ 16148 h 1625350"/>
              <a:gd name="connsiteX4" fmla="*/ 3942362 w 3942362"/>
              <a:gd name="connsiteY4" fmla="*/ 100197 h 1625350"/>
              <a:gd name="connsiteX5" fmla="*/ 3942362 w 3942362"/>
              <a:gd name="connsiteY5" fmla="*/ 1541301 h 1625350"/>
              <a:gd name="connsiteX6" fmla="*/ 3858313 w 3942362"/>
              <a:gd name="connsiteY6" fmla="*/ 1625350 h 1625350"/>
              <a:gd name="connsiteX7" fmla="*/ 87633 w 3942362"/>
              <a:gd name="connsiteY7" fmla="*/ 1625350 h 1625350"/>
              <a:gd name="connsiteX8" fmla="*/ 3584 w 3942362"/>
              <a:gd name="connsiteY8" fmla="*/ 1541301 h 1625350"/>
              <a:gd name="connsiteX0" fmla="*/ 4276 w 3943054"/>
              <a:gd name="connsiteY0" fmla="*/ 1525692 h 1609741"/>
              <a:gd name="connsiteX1" fmla="*/ 828 w 3943054"/>
              <a:gd name="connsiteY1" fmla="*/ 7803 h 1609741"/>
              <a:gd name="connsiteX2" fmla="*/ 88325 w 3943054"/>
              <a:gd name="connsiteY2" fmla="*/ 539 h 1609741"/>
              <a:gd name="connsiteX3" fmla="*/ 3859005 w 3943054"/>
              <a:gd name="connsiteY3" fmla="*/ 539 h 1609741"/>
              <a:gd name="connsiteX4" fmla="*/ 3943054 w 3943054"/>
              <a:gd name="connsiteY4" fmla="*/ 84588 h 1609741"/>
              <a:gd name="connsiteX5" fmla="*/ 3943054 w 3943054"/>
              <a:gd name="connsiteY5" fmla="*/ 1525692 h 1609741"/>
              <a:gd name="connsiteX6" fmla="*/ 3859005 w 3943054"/>
              <a:gd name="connsiteY6" fmla="*/ 1609741 h 1609741"/>
              <a:gd name="connsiteX7" fmla="*/ 88325 w 3943054"/>
              <a:gd name="connsiteY7" fmla="*/ 1609741 h 1609741"/>
              <a:gd name="connsiteX8" fmla="*/ 4276 w 3943054"/>
              <a:gd name="connsiteY8" fmla="*/ 1525692 h 1609741"/>
              <a:gd name="connsiteX0" fmla="*/ 3584 w 3942362"/>
              <a:gd name="connsiteY0" fmla="*/ 1525692 h 1609741"/>
              <a:gd name="connsiteX1" fmla="*/ 136 w 3942362"/>
              <a:gd name="connsiteY1" fmla="*/ 7803 h 1609741"/>
              <a:gd name="connsiteX2" fmla="*/ 87633 w 3942362"/>
              <a:gd name="connsiteY2" fmla="*/ 539 h 1609741"/>
              <a:gd name="connsiteX3" fmla="*/ 3858313 w 3942362"/>
              <a:gd name="connsiteY3" fmla="*/ 539 h 1609741"/>
              <a:gd name="connsiteX4" fmla="*/ 3942362 w 3942362"/>
              <a:gd name="connsiteY4" fmla="*/ 84588 h 1609741"/>
              <a:gd name="connsiteX5" fmla="*/ 3942362 w 3942362"/>
              <a:gd name="connsiteY5" fmla="*/ 1525692 h 1609741"/>
              <a:gd name="connsiteX6" fmla="*/ 3858313 w 3942362"/>
              <a:gd name="connsiteY6" fmla="*/ 1609741 h 1609741"/>
              <a:gd name="connsiteX7" fmla="*/ 87633 w 3942362"/>
              <a:gd name="connsiteY7" fmla="*/ 1609741 h 1609741"/>
              <a:gd name="connsiteX8" fmla="*/ 3584 w 3942362"/>
              <a:gd name="connsiteY8" fmla="*/ 1525692 h 1609741"/>
              <a:gd name="connsiteX0" fmla="*/ 3644 w 3942422"/>
              <a:gd name="connsiteY0" fmla="*/ 1525692 h 1609741"/>
              <a:gd name="connsiteX1" fmla="*/ 196 w 3942422"/>
              <a:gd name="connsiteY1" fmla="*/ 7803 h 1609741"/>
              <a:gd name="connsiteX2" fmla="*/ 87693 w 3942422"/>
              <a:gd name="connsiteY2" fmla="*/ 539 h 1609741"/>
              <a:gd name="connsiteX3" fmla="*/ 3858373 w 3942422"/>
              <a:gd name="connsiteY3" fmla="*/ 539 h 1609741"/>
              <a:gd name="connsiteX4" fmla="*/ 3942422 w 3942422"/>
              <a:gd name="connsiteY4" fmla="*/ 84588 h 1609741"/>
              <a:gd name="connsiteX5" fmla="*/ 3942422 w 3942422"/>
              <a:gd name="connsiteY5" fmla="*/ 1525692 h 1609741"/>
              <a:gd name="connsiteX6" fmla="*/ 3858373 w 3942422"/>
              <a:gd name="connsiteY6" fmla="*/ 1609741 h 1609741"/>
              <a:gd name="connsiteX7" fmla="*/ 87693 w 3942422"/>
              <a:gd name="connsiteY7" fmla="*/ 1609741 h 1609741"/>
              <a:gd name="connsiteX8" fmla="*/ 3644 w 3942422"/>
              <a:gd name="connsiteY8" fmla="*/ 1525692 h 1609741"/>
              <a:gd name="connsiteX0" fmla="*/ 225140 w 4163918"/>
              <a:gd name="connsiteY0" fmla="*/ 1528731 h 1674428"/>
              <a:gd name="connsiteX1" fmla="*/ 224074 w 4163918"/>
              <a:gd name="connsiteY1" fmla="*/ 3699 h 1674428"/>
              <a:gd name="connsiteX2" fmla="*/ 309189 w 4163918"/>
              <a:gd name="connsiteY2" fmla="*/ 3578 h 1674428"/>
              <a:gd name="connsiteX3" fmla="*/ 4079869 w 4163918"/>
              <a:gd name="connsiteY3" fmla="*/ 3578 h 1674428"/>
              <a:gd name="connsiteX4" fmla="*/ 4163918 w 4163918"/>
              <a:gd name="connsiteY4" fmla="*/ 87627 h 1674428"/>
              <a:gd name="connsiteX5" fmla="*/ 4163918 w 4163918"/>
              <a:gd name="connsiteY5" fmla="*/ 1528731 h 1674428"/>
              <a:gd name="connsiteX6" fmla="*/ 4079869 w 4163918"/>
              <a:gd name="connsiteY6" fmla="*/ 1612780 h 1674428"/>
              <a:gd name="connsiteX7" fmla="*/ 309189 w 4163918"/>
              <a:gd name="connsiteY7" fmla="*/ 1612780 h 1674428"/>
              <a:gd name="connsiteX8" fmla="*/ 225140 w 4163918"/>
              <a:gd name="connsiteY8" fmla="*/ 1528731 h 1674428"/>
              <a:gd name="connsiteX0" fmla="*/ 6880 w 3945658"/>
              <a:gd name="connsiteY0" fmla="*/ 1528731 h 1674428"/>
              <a:gd name="connsiteX1" fmla="*/ 5814 w 3945658"/>
              <a:gd name="connsiteY1" fmla="*/ 3699 h 1674428"/>
              <a:gd name="connsiteX2" fmla="*/ 90929 w 3945658"/>
              <a:gd name="connsiteY2" fmla="*/ 3578 h 1674428"/>
              <a:gd name="connsiteX3" fmla="*/ 3861609 w 3945658"/>
              <a:gd name="connsiteY3" fmla="*/ 3578 h 1674428"/>
              <a:gd name="connsiteX4" fmla="*/ 3945658 w 3945658"/>
              <a:gd name="connsiteY4" fmla="*/ 87627 h 1674428"/>
              <a:gd name="connsiteX5" fmla="*/ 3945658 w 3945658"/>
              <a:gd name="connsiteY5" fmla="*/ 1528731 h 1674428"/>
              <a:gd name="connsiteX6" fmla="*/ 3861609 w 3945658"/>
              <a:gd name="connsiteY6" fmla="*/ 1612780 h 1674428"/>
              <a:gd name="connsiteX7" fmla="*/ 90929 w 3945658"/>
              <a:gd name="connsiteY7" fmla="*/ 1612780 h 1674428"/>
              <a:gd name="connsiteX8" fmla="*/ 6880 w 3945658"/>
              <a:gd name="connsiteY8" fmla="*/ 1528731 h 1674428"/>
              <a:gd name="connsiteX0" fmla="*/ 225140 w 4163918"/>
              <a:gd name="connsiteY0" fmla="*/ 1526452 h 1671925"/>
              <a:gd name="connsiteX1" fmla="*/ 224074 w 4163918"/>
              <a:gd name="connsiteY1" fmla="*/ 4595 h 1671925"/>
              <a:gd name="connsiteX2" fmla="*/ 309189 w 4163918"/>
              <a:gd name="connsiteY2" fmla="*/ 1299 h 1671925"/>
              <a:gd name="connsiteX3" fmla="*/ 4079869 w 4163918"/>
              <a:gd name="connsiteY3" fmla="*/ 1299 h 1671925"/>
              <a:gd name="connsiteX4" fmla="*/ 4163918 w 4163918"/>
              <a:gd name="connsiteY4" fmla="*/ 85348 h 1671925"/>
              <a:gd name="connsiteX5" fmla="*/ 4163918 w 4163918"/>
              <a:gd name="connsiteY5" fmla="*/ 1526452 h 1671925"/>
              <a:gd name="connsiteX6" fmla="*/ 4079869 w 4163918"/>
              <a:gd name="connsiteY6" fmla="*/ 1610501 h 1671925"/>
              <a:gd name="connsiteX7" fmla="*/ 309189 w 4163918"/>
              <a:gd name="connsiteY7" fmla="*/ 1610501 h 1671925"/>
              <a:gd name="connsiteX8" fmla="*/ 225140 w 4163918"/>
              <a:gd name="connsiteY8" fmla="*/ 1526452 h 1671925"/>
              <a:gd name="connsiteX0" fmla="*/ 6880 w 3945658"/>
              <a:gd name="connsiteY0" fmla="*/ 1527596 h 1673069"/>
              <a:gd name="connsiteX1" fmla="*/ 5814 w 3945658"/>
              <a:gd name="connsiteY1" fmla="*/ 5739 h 1673069"/>
              <a:gd name="connsiteX2" fmla="*/ 90929 w 3945658"/>
              <a:gd name="connsiteY2" fmla="*/ 2443 h 1673069"/>
              <a:gd name="connsiteX3" fmla="*/ 3861609 w 3945658"/>
              <a:gd name="connsiteY3" fmla="*/ 2443 h 1673069"/>
              <a:gd name="connsiteX4" fmla="*/ 3945658 w 3945658"/>
              <a:gd name="connsiteY4" fmla="*/ 86492 h 1673069"/>
              <a:gd name="connsiteX5" fmla="*/ 3945658 w 3945658"/>
              <a:gd name="connsiteY5" fmla="*/ 1527596 h 1673069"/>
              <a:gd name="connsiteX6" fmla="*/ 3861609 w 3945658"/>
              <a:gd name="connsiteY6" fmla="*/ 1611645 h 1673069"/>
              <a:gd name="connsiteX7" fmla="*/ 90929 w 3945658"/>
              <a:gd name="connsiteY7" fmla="*/ 1611645 h 1673069"/>
              <a:gd name="connsiteX8" fmla="*/ 6880 w 3945658"/>
              <a:gd name="connsiteY8" fmla="*/ 1527596 h 1673069"/>
              <a:gd name="connsiteX0" fmla="*/ 4095 w 3942873"/>
              <a:gd name="connsiteY0" fmla="*/ 1527596 h 1611653"/>
              <a:gd name="connsiteX1" fmla="*/ 3029 w 3942873"/>
              <a:gd name="connsiteY1" fmla="*/ 5739 h 1611653"/>
              <a:gd name="connsiteX2" fmla="*/ 88144 w 3942873"/>
              <a:gd name="connsiteY2" fmla="*/ 2443 h 1611653"/>
              <a:gd name="connsiteX3" fmla="*/ 3858824 w 3942873"/>
              <a:gd name="connsiteY3" fmla="*/ 2443 h 1611653"/>
              <a:gd name="connsiteX4" fmla="*/ 3942873 w 3942873"/>
              <a:gd name="connsiteY4" fmla="*/ 86492 h 1611653"/>
              <a:gd name="connsiteX5" fmla="*/ 3942873 w 3942873"/>
              <a:gd name="connsiteY5" fmla="*/ 1527596 h 1611653"/>
              <a:gd name="connsiteX6" fmla="*/ 3858824 w 3942873"/>
              <a:gd name="connsiteY6" fmla="*/ 1611645 h 1611653"/>
              <a:gd name="connsiteX7" fmla="*/ 88144 w 3942873"/>
              <a:gd name="connsiteY7" fmla="*/ 1611645 h 1611653"/>
              <a:gd name="connsiteX8" fmla="*/ 4095 w 3942873"/>
              <a:gd name="connsiteY8" fmla="*/ 1527596 h 1611653"/>
              <a:gd name="connsiteX0" fmla="*/ 9512 w 3948290"/>
              <a:gd name="connsiteY0" fmla="*/ 1527596 h 1673069"/>
              <a:gd name="connsiteX1" fmla="*/ 8446 w 3948290"/>
              <a:gd name="connsiteY1" fmla="*/ 5739 h 1673069"/>
              <a:gd name="connsiteX2" fmla="*/ 93561 w 3948290"/>
              <a:gd name="connsiteY2" fmla="*/ 2443 h 1673069"/>
              <a:gd name="connsiteX3" fmla="*/ 3864241 w 3948290"/>
              <a:gd name="connsiteY3" fmla="*/ 2443 h 1673069"/>
              <a:gd name="connsiteX4" fmla="*/ 3948290 w 3948290"/>
              <a:gd name="connsiteY4" fmla="*/ 86492 h 1673069"/>
              <a:gd name="connsiteX5" fmla="*/ 3948290 w 3948290"/>
              <a:gd name="connsiteY5" fmla="*/ 1527596 h 1673069"/>
              <a:gd name="connsiteX6" fmla="*/ 3864241 w 3948290"/>
              <a:gd name="connsiteY6" fmla="*/ 1611645 h 1673069"/>
              <a:gd name="connsiteX7" fmla="*/ 129280 w 3948290"/>
              <a:gd name="connsiteY7" fmla="*/ 1611645 h 1673069"/>
              <a:gd name="connsiteX8" fmla="*/ 9512 w 3948290"/>
              <a:gd name="connsiteY8" fmla="*/ 1527596 h 1673069"/>
              <a:gd name="connsiteX0" fmla="*/ 3242 w 3942020"/>
              <a:gd name="connsiteY0" fmla="*/ 1527596 h 1614938"/>
              <a:gd name="connsiteX1" fmla="*/ 2176 w 3942020"/>
              <a:gd name="connsiteY1" fmla="*/ 5739 h 1614938"/>
              <a:gd name="connsiteX2" fmla="*/ 87291 w 3942020"/>
              <a:gd name="connsiteY2" fmla="*/ 2443 h 1614938"/>
              <a:gd name="connsiteX3" fmla="*/ 3857971 w 3942020"/>
              <a:gd name="connsiteY3" fmla="*/ 2443 h 1614938"/>
              <a:gd name="connsiteX4" fmla="*/ 3942020 w 3942020"/>
              <a:gd name="connsiteY4" fmla="*/ 86492 h 1614938"/>
              <a:gd name="connsiteX5" fmla="*/ 3942020 w 3942020"/>
              <a:gd name="connsiteY5" fmla="*/ 1527596 h 1614938"/>
              <a:gd name="connsiteX6" fmla="*/ 3857971 w 3942020"/>
              <a:gd name="connsiteY6" fmla="*/ 1611645 h 1614938"/>
              <a:gd name="connsiteX7" fmla="*/ 123010 w 3942020"/>
              <a:gd name="connsiteY7" fmla="*/ 1611645 h 1614938"/>
              <a:gd name="connsiteX8" fmla="*/ 3242 w 3942020"/>
              <a:gd name="connsiteY8" fmla="*/ 1527596 h 1614938"/>
              <a:gd name="connsiteX0" fmla="*/ 1552 w 3940330"/>
              <a:gd name="connsiteY0" fmla="*/ 1527596 h 1612398"/>
              <a:gd name="connsiteX1" fmla="*/ 486 w 3940330"/>
              <a:gd name="connsiteY1" fmla="*/ 5739 h 1612398"/>
              <a:gd name="connsiteX2" fmla="*/ 85601 w 3940330"/>
              <a:gd name="connsiteY2" fmla="*/ 2443 h 1612398"/>
              <a:gd name="connsiteX3" fmla="*/ 3856281 w 3940330"/>
              <a:gd name="connsiteY3" fmla="*/ 2443 h 1612398"/>
              <a:gd name="connsiteX4" fmla="*/ 3940330 w 3940330"/>
              <a:gd name="connsiteY4" fmla="*/ 86492 h 1612398"/>
              <a:gd name="connsiteX5" fmla="*/ 3940330 w 3940330"/>
              <a:gd name="connsiteY5" fmla="*/ 1527596 h 1612398"/>
              <a:gd name="connsiteX6" fmla="*/ 3856281 w 3940330"/>
              <a:gd name="connsiteY6" fmla="*/ 1611645 h 1612398"/>
              <a:gd name="connsiteX7" fmla="*/ 121320 w 3940330"/>
              <a:gd name="connsiteY7" fmla="*/ 1611645 h 1612398"/>
              <a:gd name="connsiteX8" fmla="*/ 1552 w 3940330"/>
              <a:gd name="connsiteY8" fmla="*/ 1527596 h 1612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40330" h="1612398">
                <a:moveTo>
                  <a:pt x="1552" y="1527596"/>
                </a:moveTo>
                <a:cubicBezTo>
                  <a:pt x="463" y="1429014"/>
                  <a:pt x="-671" y="14002"/>
                  <a:pt x="486" y="5739"/>
                </a:cubicBezTo>
                <a:cubicBezTo>
                  <a:pt x="1643" y="-2524"/>
                  <a:pt x="8119" y="-183"/>
                  <a:pt x="85601" y="2443"/>
                </a:cubicBezTo>
                <a:cubicBezTo>
                  <a:pt x="163083" y="5069"/>
                  <a:pt x="2599388" y="2443"/>
                  <a:pt x="3856281" y="2443"/>
                </a:cubicBezTo>
                <a:cubicBezTo>
                  <a:pt x="3902700" y="2443"/>
                  <a:pt x="3940330" y="40073"/>
                  <a:pt x="3940330" y="86492"/>
                </a:cubicBezTo>
                <a:lnTo>
                  <a:pt x="3940330" y="1527596"/>
                </a:lnTo>
                <a:cubicBezTo>
                  <a:pt x="3940330" y="1574015"/>
                  <a:pt x="3902700" y="1611645"/>
                  <a:pt x="3856281" y="1611645"/>
                </a:cubicBezTo>
                <a:lnTo>
                  <a:pt x="121320" y="1611645"/>
                </a:lnTo>
                <a:cubicBezTo>
                  <a:pt x="74901" y="1611645"/>
                  <a:pt x="2641" y="1626178"/>
                  <a:pt x="1552" y="1527596"/>
                </a:cubicBezTo>
                <a:close/>
              </a:path>
            </a:pathLst>
          </a:custGeom>
          <a:solidFill>
            <a:schemeClr val="bg2">
              <a:alpha val="85000"/>
            </a:schemeClr>
          </a:solidFill>
        </p:spPr>
        <p:txBody>
          <a:bodyPr vert="horz" lIns="360000" tIns="252000" rIns="360000" bIns="360000" rtlCol="0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nl-NL" sz="8419" b="0" dirty="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70000"/>
              </a:lnSpc>
              <a:defRPr lang="nl-NL" dirty="0">
                <a:solidFill>
                  <a:schemeClr val="bg1"/>
                </a:solidFill>
                <a:latin typeface="+mj-lt"/>
              </a:defRPr>
            </a:lvl2pPr>
            <a:lvl3pPr>
              <a:lnSpc>
                <a:spcPct val="70000"/>
              </a:lnSpc>
              <a:defRPr lang="nl-NL" dirty="0">
                <a:solidFill>
                  <a:schemeClr val="bg1"/>
                </a:solidFill>
                <a:latin typeface="+mj-lt"/>
              </a:defRPr>
            </a:lvl3pPr>
            <a:lvl4pPr>
              <a:lnSpc>
                <a:spcPct val="70000"/>
              </a:lnSpc>
              <a:defRPr lang="nl-NL" sz="8419" dirty="0">
                <a:solidFill>
                  <a:schemeClr val="bg1"/>
                </a:solidFill>
                <a:latin typeface="+mj-lt"/>
              </a:defRPr>
            </a:lvl4pPr>
            <a:lvl5pPr>
              <a:lnSpc>
                <a:spcPct val="70000"/>
              </a:lnSpc>
              <a:defRPr lang="nl-NL" b="0" dirty="0">
                <a:solidFill>
                  <a:schemeClr val="bg1"/>
                </a:solidFill>
              </a:defRPr>
            </a:lvl5pPr>
            <a:lvl6pPr>
              <a:lnSpc>
                <a:spcPct val="70000"/>
              </a:lnSpc>
              <a:defRPr lang="nl-NL" dirty="0"/>
            </a:lvl6pPr>
          </a:lstStyle>
          <a:p>
            <a:pPr lvl="0"/>
            <a:r>
              <a:rPr lang="nl-NL" noProof="0"/>
              <a:t>Klik om tekst in te voegen</a:t>
            </a:r>
          </a:p>
        </p:txBody>
      </p:sp>
      <p:sp>
        <p:nvSpPr>
          <p:cNvPr id="18" name="Tijdelijke aanduiding voor datum 3">
            <a:extLst>
              <a:ext uri="{FF2B5EF4-FFF2-40B4-BE49-F238E27FC236}">
                <a16:creationId xmlns:a16="http://schemas.microsoft.com/office/drawing/2014/main" id="{272E1BA3-CCCF-465D-9A0D-4F665A96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00A5A8C-9EFD-4AD5-BD15-C5E0C8E9E405}" type="datetime1">
              <a:rPr lang="nl-NL" noProof="0" smtClean="0"/>
              <a:t>26-6-2023</a:t>
            </a:fld>
            <a:endParaRPr lang="nl-NL" noProof="0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C7F23BAD-09D9-4D71-9A55-ADE82665CE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813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Grafiek 50%/5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el 1">
            <a:extLst>
              <a:ext uri="{FF2B5EF4-FFF2-40B4-BE49-F238E27FC236}">
                <a16:creationId xmlns:a16="http://schemas.microsoft.com/office/drawing/2014/main" id="{6FC02832-6172-4872-830B-0E200141D9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41" name="Tijdelijke aanduiding voor tekst 14">
            <a:extLst>
              <a:ext uri="{FF2B5EF4-FFF2-40B4-BE49-F238E27FC236}">
                <a16:creationId xmlns:a16="http://schemas.microsoft.com/office/drawing/2014/main" id="{92B3C0DD-4B30-41A4-ACF0-43DCC142EE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58" name="Tijdelijke aanduiding voor voettekst 4">
            <a:extLst>
              <a:ext uri="{FF2B5EF4-FFF2-40B4-BE49-F238E27FC236}">
                <a16:creationId xmlns:a16="http://schemas.microsoft.com/office/drawing/2014/main" id="{A767B2FF-AFB7-4C77-9D83-2891D4995E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59" name="Tijdelijke aanduiding voor dianummer 5">
            <a:extLst>
              <a:ext uri="{FF2B5EF4-FFF2-40B4-BE49-F238E27FC236}">
                <a16:creationId xmlns:a16="http://schemas.microsoft.com/office/drawing/2014/main" id="{9A2D0BED-D586-4A0C-92B4-0B9B621444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9" y="27329718"/>
            <a:ext cx="834509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cxnSp>
        <p:nvCxnSpPr>
          <p:cNvPr id="4" name="Rechte verbindingslijn 3">
            <a:extLst>
              <a:ext uri="{FF2B5EF4-FFF2-40B4-BE49-F238E27FC236}">
                <a16:creationId xmlns:a16="http://schemas.microsoft.com/office/drawing/2014/main" id="{B7132B7D-5165-4EF7-9B98-0281F140107D}"/>
              </a:ext>
            </a:extLst>
          </p:cNvPr>
          <p:cNvCxnSpPr/>
          <p:nvPr userDrawn="1"/>
        </p:nvCxnSpPr>
        <p:spPr>
          <a:xfrm>
            <a:off x="21383618" y="6476683"/>
            <a:ext cx="0" cy="19074342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jdelijke aanduiding voor datum 3">
            <a:extLst>
              <a:ext uri="{FF2B5EF4-FFF2-40B4-BE49-F238E27FC236}">
                <a16:creationId xmlns:a16="http://schemas.microsoft.com/office/drawing/2014/main" id="{954DA91E-C842-4007-B98B-6B2243FE611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19707B42-73DA-42CB-A5E3-8DE983276932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208" name="Tijdelijke aanduiding voor grafiek 7">
            <a:extLst>
              <a:ext uri="{FF2B5EF4-FFF2-40B4-BE49-F238E27FC236}">
                <a16:creationId xmlns:a16="http://schemas.microsoft.com/office/drawing/2014/main" id="{850783B6-C90B-4AAA-90BA-1DAFC9F22AA9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22853747" y="6476685"/>
            <a:ext cx="18130515" cy="19074338"/>
          </a:xfrm>
          <a:solidFill>
            <a:schemeClr val="bg1">
              <a:lumMod val="95000"/>
            </a:schemeClr>
          </a:solidFill>
        </p:spPr>
        <p:txBody>
          <a:bodyPr tIns="288000" bIns="1440000" anchor="b">
            <a:normAutofit/>
          </a:bodyPr>
          <a:lstStyle>
            <a:lvl1pPr marL="0" indent="0" algn="ctr">
              <a:spcAft>
                <a:spcPts val="0"/>
              </a:spcAft>
              <a:buNone/>
              <a:defRPr sz="4209" b="0" i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grafiek in te voegen</a:t>
            </a: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A6AE8251-BA1F-4B6F-B210-0675BB1002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42373" y="6476685"/>
            <a:ext cx="18171872" cy="1907433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bullet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bullet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pic>
        <p:nvPicPr>
          <p:cNvPr id="250" name="Afbeelding 249">
            <a:extLst>
              <a:ext uri="{FF2B5EF4-FFF2-40B4-BE49-F238E27FC236}">
                <a16:creationId xmlns:a16="http://schemas.microsoft.com/office/drawing/2014/main" id="{B7333475-27ED-427D-91B5-0755C377F9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96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ek 10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el 1">
            <a:extLst>
              <a:ext uri="{FF2B5EF4-FFF2-40B4-BE49-F238E27FC236}">
                <a16:creationId xmlns:a16="http://schemas.microsoft.com/office/drawing/2014/main" id="{87553EBB-B807-40D8-8ED2-0562C9B374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9" name="Tijdelijke aanduiding voor tekst 14">
            <a:extLst>
              <a:ext uri="{FF2B5EF4-FFF2-40B4-BE49-F238E27FC236}">
                <a16:creationId xmlns:a16="http://schemas.microsoft.com/office/drawing/2014/main" id="{C209BF21-5280-447B-A53B-6C6365D8189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56" name="Tijdelijke aanduiding voor voettekst 4">
            <a:extLst>
              <a:ext uri="{FF2B5EF4-FFF2-40B4-BE49-F238E27FC236}">
                <a16:creationId xmlns:a16="http://schemas.microsoft.com/office/drawing/2014/main" id="{791AE8B8-F5E6-4264-A78D-66A2883015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57" name="Tijdelijke aanduiding voor dianummer 5">
            <a:extLst>
              <a:ext uri="{FF2B5EF4-FFF2-40B4-BE49-F238E27FC236}">
                <a16:creationId xmlns:a16="http://schemas.microsoft.com/office/drawing/2014/main" id="{2D1565BC-73A2-4D18-B68D-8C2F7ADBE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9" y="27329718"/>
            <a:ext cx="836259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15" name="Tijdelijke aanduiding voor datum 3">
            <a:extLst>
              <a:ext uri="{FF2B5EF4-FFF2-40B4-BE49-F238E27FC236}">
                <a16:creationId xmlns:a16="http://schemas.microsoft.com/office/drawing/2014/main" id="{33EDF0CC-2116-441B-BB74-14D41A6FF9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BA924F38-C553-4513-9DED-E0AB471B3E16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87" name="Tijdelijke aanduiding voor grafiek 7">
            <a:extLst>
              <a:ext uri="{FF2B5EF4-FFF2-40B4-BE49-F238E27FC236}">
                <a16:creationId xmlns:a16="http://schemas.microsoft.com/office/drawing/2014/main" id="{A9C16D6A-032C-433A-A11B-424C800889B5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1731100" y="6476684"/>
            <a:ext cx="39293754" cy="19046182"/>
          </a:xfrm>
          <a:solidFill>
            <a:schemeClr val="bg1">
              <a:lumMod val="95000"/>
            </a:schemeClr>
          </a:solidFill>
        </p:spPr>
        <p:txBody>
          <a:bodyPr tIns="1260000"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grafiek in te voegen</a:t>
            </a:r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620E16FE-96C3-4B35-80A7-63041DAC8C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791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Tabel 50%/5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tabel 8"/>
          <p:cNvSpPr>
            <a:spLocks noGrp="1"/>
          </p:cNvSpPr>
          <p:nvPr>
            <p:ph type="tbl" sz="quarter" idx="15" hasCustomPrompt="1"/>
          </p:nvPr>
        </p:nvSpPr>
        <p:spPr>
          <a:xfrm>
            <a:off x="22853749" y="6476679"/>
            <a:ext cx="18171107" cy="19074347"/>
          </a:xfrm>
          <a:solidFill>
            <a:schemeClr val="bg1">
              <a:lumMod val="95000"/>
            </a:schemeClr>
          </a:solidFill>
        </p:spPr>
        <p:txBody>
          <a:bodyPr tIns="936000" anchor="ctr">
            <a:normAutofit/>
          </a:bodyPr>
          <a:lstStyle>
            <a:lvl1pPr marL="0" indent="0" algn="ctr"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tabel in te voegen</a:t>
            </a:r>
          </a:p>
        </p:txBody>
      </p:sp>
      <p:sp>
        <p:nvSpPr>
          <p:cNvPr id="34" name="Titel 1">
            <a:extLst>
              <a:ext uri="{FF2B5EF4-FFF2-40B4-BE49-F238E27FC236}">
                <a16:creationId xmlns:a16="http://schemas.microsoft.com/office/drawing/2014/main" id="{53A6CE20-1E7A-4F87-96EC-7E964AA913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41" name="Tijdelijke aanduiding voor tekst 14">
            <a:extLst>
              <a:ext uri="{FF2B5EF4-FFF2-40B4-BE49-F238E27FC236}">
                <a16:creationId xmlns:a16="http://schemas.microsoft.com/office/drawing/2014/main" id="{4B035891-3F3E-4E86-9D5A-96D1E3B9D0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58" name="Tijdelijke aanduiding voor voettekst 4">
            <a:extLst>
              <a:ext uri="{FF2B5EF4-FFF2-40B4-BE49-F238E27FC236}">
                <a16:creationId xmlns:a16="http://schemas.microsoft.com/office/drawing/2014/main" id="{0E659B60-CF7C-460A-A879-0DDBF9C652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59" name="Tijdelijke aanduiding voor dianummer 5">
            <a:extLst>
              <a:ext uri="{FF2B5EF4-FFF2-40B4-BE49-F238E27FC236}">
                <a16:creationId xmlns:a16="http://schemas.microsoft.com/office/drawing/2014/main" id="{F1A38C1E-7B15-4C30-B676-08D9095C1F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9" y="27329718"/>
            <a:ext cx="834509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cxnSp>
        <p:nvCxnSpPr>
          <p:cNvPr id="16" name="Rechte verbindingslijn 15">
            <a:extLst>
              <a:ext uri="{FF2B5EF4-FFF2-40B4-BE49-F238E27FC236}">
                <a16:creationId xmlns:a16="http://schemas.microsoft.com/office/drawing/2014/main" id="{FFF3BAD7-1631-43B4-803E-B259FAD5CBD9}"/>
              </a:ext>
            </a:extLst>
          </p:cNvPr>
          <p:cNvCxnSpPr/>
          <p:nvPr userDrawn="1"/>
        </p:nvCxnSpPr>
        <p:spPr>
          <a:xfrm>
            <a:off x="21383618" y="6476683"/>
            <a:ext cx="0" cy="19074342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jdelijke aanduiding voor datum 3">
            <a:extLst>
              <a:ext uri="{FF2B5EF4-FFF2-40B4-BE49-F238E27FC236}">
                <a16:creationId xmlns:a16="http://schemas.microsoft.com/office/drawing/2014/main" id="{1CAF262E-2810-4D1F-9499-C43352B839B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40D1CF22-7FF8-47A0-9650-2B0221F03856}" type="datetime1">
              <a:rPr lang="nl-NL" noProof="0" smtClean="0"/>
              <a:t>26-6-2023</a:t>
            </a:fld>
            <a:endParaRPr lang="nl-NL" noProof="0"/>
          </a:p>
        </p:txBody>
      </p:sp>
      <p:grpSp>
        <p:nvGrpSpPr>
          <p:cNvPr id="280" name="Instructie">
            <a:extLst>
              <a:ext uri="{FF2B5EF4-FFF2-40B4-BE49-F238E27FC236}">
                <a16:creationId xmlns:a16="http://schemas.microsoft.com/office/drawing/2014/main" id="{2B4A24AC-D413-4868-8058-2E7028169D2D}"/>
              </a:ext>
            </a:extLst>
          </p:cNvPr>
          <p:cNvGrpSpPr/>
          <p:nvPr userDrawn="1"/>
        </p:nvGrpSpPr>
        <p:grpSpPr>
          <a:xfrm>
            <a:off x="43467416" y="0"/>
            <a:ext cx="11167745" cy="15089920"/>
            <a:chOff x="12391601" y="0"/>
            <a:chExt cx="3183678" cy="3418198"/>
          </a:xfrm>
        </p:grpSpPr>
        <p:grpSp>
          <p:nvGrpSpPr>
            <p:cNvPr id="281" name="Meer informatie">
              <a:extLst>
                <a:ext uri="{FF2B5EF4-FFF2-40B4-BE49-F238E27FC236}">
                  <a16:creationId xmlns:a16="http://schemas.microsoft.com/office/drawing/2014/main" id="{9243C2AD-1B75-45D3-92DD-DD1FB0FD99FA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03" name="Freeform 101">
                <a:extLst>
                  <a:ext uri="{FF2B5EF4-FFF2-40B4-BE49-F238E27FC236}">
                    <a16:creationId xmlns:a16="http://schemas.microsoft.com/office/drawing/2014/main" id="{2C391DC9-8B6D-4222-8692-E7BF2DBE2E6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304" name="Rechthoek 42">
                <a:extLst>
                  <a:ext uri="{FF2B5EF4-FFF2-40B4-BE49-F238E27FC236}">
                    <a16:creationId xmlns:a16="http://schemas.microsoft.com/office/drawing/2014/main" id="{FF65114B-0581-431C-AB31-34A98540EC8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05" name="Rechte verbindingslijn 43">
                <a:extLst>
                  <a:ext uri="{FF2B5EF4-FFF2-40B4-BE49-F238E27FC236}">
                    <a16:creationId xmlns:a16="http://schemas.microsoft.com/office/drawing/2014/main" id="{A4B20D59-F67D-4587-99BA-C28562D568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82" name="Rechthoek 18">
              <a:extLst>
                <a:ext uri="{FF2B5EF4-FFF2-40B4-BE49-F238E27FC236}">
                  <a16:creationId xmlns:a16="http://schemas.microsoft.com/office/drawing/2014/main" id="{34C62FF0-4CB9-400C-B7FA-3540D4950E77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abel invoegen/veranderen</a:t>
              </a:r>
            </a:p>
          </p:txBody>
        </p:sp>
        <p:sp>
          <p:nvSpPr>
            <p:cNvPr id="283" name="Ovaal 19">
              <a:extLst>
                <a:ext uri="{FF2B5EF4-FFF2-40B4-BE49-F238E27FC236}">
                  <a16:creationId xmlns:a16="http://schemas.microsoft.com/office/drawing/2014/main" id="{124D720E-45AC-4FC1-8F70-1AC44897E716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84" name="Rechte verbindingslijn 20">
              <a:extLst>
                <a:ext uri="{FF2B5EF4-FFF2-40B4-BE49-F238E27FC236}">
                  <a16:creationId xmlns:a16="http://schemas.microsoft.com/office/drawing/2014/main" id="{AA8A2DE9-5C6E-4413-B83A-1258C023B84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85" name="Rechte verbindingslijn 21">
              <a:extLst>
                <a:ext uri="{FF2B5EF4-FFF2-40B4-BE49-F238E27FC236}">
                  <a16:creationId xmlns:a16="http://schemas.microsoft.com/office/drawing/2014/main" id="{1BF8BE4C-0321-40BF-90C0-75FB67D901E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86" name="Rechthoek 22">
              <a:extLst>
                <a:ext uri="{FF2B5EF4-FFF2-40B4-BE49-F238E27FC236}">
                  <a16:creationId xmlns:a16="http://schemas.microsoft.com/office/drawing/2014/main" id="{79699C99-630D-4ECC-AE0D-E9BAF27776BF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tabel d.m.v.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knop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Klik op het pictogram om een nieuwe tabel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87" name="Ovaal 23">
              <a:extLst>
                <a:ext uri="{FF2B5EF4-FFF2-40B4-BE49-F238E27FC236}">
                  <a16:creationId xmlns:a16="http://schemas.microsoft.com/office/drawing/2014/main" id="{C9AFDD1C-F9AE-4720-9E74-A1569AB69780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88" name="Rechthoek 24">
              <a:extLst>
                <a:ext uri="{FF2B5EF4-FFF2-40B4-BE49-F238E27FC236}">
                  <a16:creationId xmlns:a16="http://schemas.microsoft.com/office/drawing/2014/main" id="{7ABBC656-B28C-4130-B400-5607AA4923A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het gewenste aantal rijen en kolommen en klik op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OK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89" name="Groep 25">
              <a:extLst>
                <a:ext uri="{FF2B5EF4-FFF2-40B4-BE49-F238E27FC236}">
                  <a16:creationId xmlns:a16="http://schemas.microsoft.com/office/drawing/2014/main" id="{553EF675-8D57-4CDB-96AE-82482E39D73C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00" name="Rechthoek 38">
                <a:extLst>
                  <a:ext uri="{FF2B5EF4-FFF2-40B4-BE49-F238E27FC236}">
                    <a16:creationId xmlns:a16="http://schemas.microsoft.com/office/drawing/2014/main" id="{2F857859-306A-4329-8E7B-5FBDD9ADE31D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01" name="Rechte verbindingslijn 39">
                <a:extLst>
                  <a:ext uri="{FF2B5EF4-FFF2-40B4-BE49-F238E27FC236}">
                    <a16:creationId xmlns:a16="http://schemas.microsoft.com/office/drawing/2014/main" id="{7DE06FE1-B8EA-41EE-ADC6-40F6101952F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02" name="Gelijkbenige driehoek 40">
                <a:extLst>
                  <a:ext uri="{FF2B5EF4-FFF2-40B4-BE49-F238E27FC236}">
                    <a16:creationId xmlns:a16="http://schemas.microsoft.com/office/drawing/2014/main" id="{7E63E397-3C23-4D4C-AE99-F9FD9BAC558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90" name="Rechte verbindingslijn 26">
              <a:extLst>
                <a:ext uri="{FF2B5EF4-FFF2-40B4-BE49-F238E27FC236}">
                  <a16:creationId xmlns:a16="http://schemas.microsoft.com/office/drawing/2014/main" id="{1375935E-2E70-4D67-92F9-D1CB32E3F7E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91" name="Tabel icoon">
              <a:extLst>
                <a:ext uri="{FF2B5EF4-FFF2-40B4-BE49-F238E27FC236}">
                  <a16:creationId xmlns:a16="http://schemas.microsoft.com/office/drawing/2014/main" id="{F80D05A0-B5F2-45BC-B9FC-0832D5DF8AF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292" name="Rechthoek 28">
                <a:extLst>
                  <a:ext uri="{FF2B5EF4-FFF2-40B4-BE49-F238E27FC236}">
                    <a16:creationId xmlns:a16="http://schemas.microsoft.com/office/drawing/2014/main" id="{70B563BA-0620-491B-B293-056902650706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213" noProof="0"/>
              </a:p>
            </p:txBody>
          </p:sp>
          <p:sp>
            <p:nvSpPr>
              <p:cNvPr id="293" name="Rechthoek 29">
                <a:extLst>
                  <a:ext uri="{FF2B5EF4-FFF2-40B4-BE49-F238E27FC236}">
                    <a16:creationId xmlns:a16="http://schemas.microsoft.com/office/drawing/2014/main" id="{35D5FEF4-598D-4BBF-9B8D-1CA3FB8FFF8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213" noProof="0"/>
              </a:p>
            </p:txBody>
          </p:sp>
          <p:cxnSp>
            <p:nvCxnSpPr>
              <p:cNvPr id="294" name="Rechte verbindingslijn 31">
                <a:extLst>
                  <a:ext uri="{FF2B5EF4-FFF2-40B4-BE49-F238E27FC236}">
                    <a16:creationId xmlns:a16="http://schemas.microsoft.com/office/drawing/2014/main" id="{7BF67D53-15DA-455D-863E-D2527CD34144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5" name="Rechte verbindingslijn 32">
                <a:extLst>
                  <a:ext uri="{FF2B5EF4-FFF2-40B4-BE49-F238E27FC236}">
                    <a16:creationId xmlns:a16="http://schemas.microsoft.com/office/drawing/2014/main" id="{00D1984A-FE07-4608-A2C0-F79191030836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6" name="Rechte verbindingslijn 33">
                <a:extLst>
                  <a:ext uri="{FF2B5EF4-FFF2-40B4-BE49-F238E27FC236}">
                    <a16:creationId xmlns:a16="http://schemas.microsoft.com/office/drawing/2014/main" id="{F80FBDA0-7AC6-415C-96ED-2EA9BDDEA33E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7" name="Rechte verbindingslijn 34">
                <a:extLst>
                  <a:ext uri="{FF2B5EF4-FFF2-40B4-BE49-F238E27FC236}">
                    <a16:creationId xmlns:a16="http://schemas.microsoft.com/office/drawing/2014/main" id="{41F1123B-31D8-4B3F-B094-FC72371A715D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8" name="Rechte verbindingslijn 35">
                <a:extLst>
                  <a:ext uri="{FF2B5EF4-FFF2-40B4-BE49-F238E27FC236}">
                    <a16:creationId xmlns:a16="http://schemas.microsoft.com/office/drawing/2014/main" id="{6A12731C-DD13-4DC0-AC4B-5D001DA969D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99" name="Rechthoek 36">
                <a:extLst>
                  <a:ext uri="{FF2B5EF4-FFF2-40B4-BE49-F238E27FC236}">
                    <a16:creationId xmlns:a16="http://schemas.microsoft.com/office/drawing/2014/main" id="{C065C823-BDF7-4F3A-97CF-917B4D5F0E6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213" noProof="0"/>
              </a:p>
            </p:txBody>
          </p:sp>
        </p:grpSp>
      </p:grpSp>
      <p:sp>
        <p:nvSpPr>
          <p:cNvPr id="131" name="Tijdelijke aanduiding voor tekst 4">
            <a:extLst>
              <a:ext uri="{FF2B5EF4-FFF2-40B4-BE49-F238E27FC236}">
                <a16:creationId xmlns:a16="http://schemas.microsoft.com/office/drawing/2014/main" id="{00E166CD-7E11-4ACD-A2FC-A33D649ED95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42373" y="6476685"/>
            <a:ext cx="18171872" cy="1907433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bullet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bullet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grpSp>
        <p:nvGrpSpPr>
          <p:cNvPr id="132" name="Groep 101">
            <a:extLst>
              <a:ext uri="{FF2B5EF4-FFF2-40B4-BE49-F238E27FC236}">
                <a16:creationId xmlns:a16="http://schemas.microsoft.com/office/drawing/2014/main" id="{567835C9-B128-4388-A905-EC39C38F0441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133" name="Rechthoek 102">
              <a:extLst>
                <a:ext uri="{FF2B5EF4-FFF2-40B4-BE49-F238E27FC236}">
                  <a16:creationId xmlns:a16="http://schemas.microsoft.com/office/drawing/2014/main" id="{A1EC0658-3BB0-4EBF-9091-A1C16CAC101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134" name="Ovaal 103">
              <a:extLst>
                <a:ext uri="{FF2B5EF4-FFF2-40B4-BE49-F238E27FC236}">
                  <a16:creationId xmlns:a16="http://schemas.microsoft.com/office/drawing/2014/main" id="{9BF17C1E-019D-4DD2-9095-5982D00EFB2E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5" name="Rechte verbindingslijn 104">
              <a:extLst>
                <a:ext uri="{FF2B5EF4-FFF2-40B4-BE49-F238E27FC236}">
                  <a16:creationId xmlns:a16="http://schemas.microsoft.com/office/drawing/2014/main" id="{8B774C17-9041-40BA-8A5E-45B2AC79C0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6" name="Groep 105">
              <a:extLst>
                <a:ext uri="{FF2B5EF4-FFF2-40B4-BE49-F238E27FC236}">
                  <a16:creationId xmlns:a16="http://schemas.microsoft.com/office/drawing/2014/main" id="{2413DCA5-AAC1-4C49-AF1A-1BE0D77A5558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61" name="Rechthoek 130">
                <a:extLst>
                  <a:ext uri="{FF2B5EF4-FFF2-40B4-BE49-F238E27FC236}">
                    <a16:creationId xmlns:a16="http://schemas.microsoft.com/office/drawing/2014/main" id="{BBBFDFCF-1B35-4472-8144-07BB29BECE4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162" name="Rechte verbindingslijn 131">
                <a:extLst>
                  <a:ext uri="{FF2B5EF4-FFF2-40B4-BE49-F238E27FC236}">
                    <a16:creationId xmlns:a16="http://schemas.microsoft.com/office/drawing/2014/main" id="{1D6D1223-7E7A-447F-9E2B-CDDC6DF1873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Rechte verbindingslijn 132">
                <a:extLst>
                  <a:ext uri="{FF2B5EF4-FFF2-40B4-BE49-F238E27FC236}">
                    <a16:creationId xmlns:a16="http://schemas.microsoft.com/office/drawing/2014/main" id="{FBEDABC6-8278-4769-B611-FF1331F5011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4" name="Rechthoek 133">
                <a:extLst>
                  <a:ext uri="{FF2B5EF4-FFF2-40B4-BE49-F238E27FC236}">
                    <a16:creationId xmlns:a16="http://schemas.microsoft.com/office/drawing/2014/main" id="{16F083F3-851B-4977-9633-B9F5A6F619CB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65" name="Groep 134">
                <a:extLst>
                  <a:ext uri="{FF2B5EF4-FFF2-40B4-BE49-F238E27FC236}">
                    <a16:creationId xmlns:a16="http://schemas.microsoft.com/office/drawing/2014/main" id="{89C60A64-B359-45DD-9C74-76A52EF0C235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04" name="Groep 175">
                  <a:extLst>
                    <a:ext uri="{FF2B5EF4-FFF2-40B4-BE49-F238E27FC236}">
                      <a16:creationId xmlns:a16="http://schemas.microsoft.com/office/drawing/2014/main" id="{88927F47-5879-43A0-8F81-4DCE1E99E6D8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08" name="Rechte verbindingslijn 179">
                    <a:extLst>
                      <a:ext uri="{FF2B5EF4-FFF2-40B4-BE49-F238E27FC236}">
                        <a16:creationId xmlns:a16="http://schemas.microsoft.com/office/drawing/2014/main" id="{43230C98-0AAF-4558-BFF4-296310BAE8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9" name="Rechte verbindingslijn 180">
                    <a:extLst>
                      <a:ext uri="{FF2B5EF4-FFF2-40B4-BE49-F238E27FC236}">
                        <a16:creationId xmlns:a16="http://schemas.microsoft.com/office/drawing/2014/main" id="{11A08B21-977F-47F9-88E6-D179CA04DCD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0" name="Rechte verbindingslijn 181">
                    <a:extLst>
                      <a:ext uri="{FF2B5EF4-FFF2-40B4-BE49-F238E27FC236}">
                        <a16:creationId xmlns:a16="http://schemas.microsoft.com/office/drawing/2014/main" id="{8AD3D414-8938-49CF-8C4C-0D5EA87C69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1" name="Rechte verbindingslijn 182">
                    <a:extLst>
                      <a:ext uri="{FF2B5EF4-FFF2-40B4-BE49-F238E27FC236}">
                        <a16:creationId xmlns:a16="http://schemas.microsoft.com/office/drawing/2014/main" id="{A4FC1E39-E2CE-4241-AD9D-D78149DD9F1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06" name="Rechte verbindingslijn 183">
                    <a:extLst>
                      <a:ext uri="{FF2B5EF4-FFF2-40B4-BE49-F238E27FC236}">
                        <a16:creationId xmlns:a16="http://schemas.microsoft.com/office/drawing/2014/main" id="{B5ABCD7F-C89B-4AC4-98A1-2A3602A9CE9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5" name="Groep 176">
                  <a:extLst>
                    <a:ext uri="{FF2B5EF4-FFF2-40B4-BE49-F238E27FC236}">
                      <a16:creationId xmlns:a16="http://schemas.microsoft.com/office/drawing/2014/main" id="{8C0CBCED-C746-4BED-BB8C-077E2FB407F8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6" name="Rechthoek 177">
                    <a:extLst>
                      <a:ext uri="{FF2B5EF4-FFF2-40B4-BE49-F238E27FC236}">
                        <a16:creationId xmlns:a16="http://schemas.microsoft.com/office/drawing/2014/main" id="{457E2ECD-5F1C-46E4-8EDC-1950FCEBE6F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7" name="Pijl: punthaak 178">
                    <a:extLst>
                      <a:ext uri="{FF2B5EF4-FFF2-40B4-BE49-F238E27FC236}">
                        <a16:creationId xmlns:a16="http://schemas.microsoft.com/office/drawing/2014/main" id="{14C3D550-F63B-4EFD-9437-DFBEB8D634E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66" name="Groep 135">
                <a:extLst>
                  <a:ext uri="{FF2B5EF4-FFF2-40B4-BE49-F238E27FC236}">
                    <a16:creationId xmlns:a16="http://schemas.microsoft.com/office/drawing/2014/main" id="{2D66C02B-AC8C-4DD9-B0BA-E7415F7FAA0E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95" name="Groep 166">
                  <a:extLst>
                    <a:ext uri="{FF2B5EF4-FFF2-40B4-BE49-F238E27FC236}">
                      <a16:creationId xmlns:a16="http://schemas.microsoft.com/office/drawing/2014/main" id="{63089621-8CD3-4A7E-B49F-3E98199D8233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9" name="Rechte verbindingslijn 170">
                    <a:extLst>
                      <a:ext uri="{FF2B5EF4-FFF2-40B4-BE49-F238E27FC236}">
                        <a16:creationId xmlns:a16="http://schemas.microsoft.com/office/drawing/2014/main" id="{B222357E-96F6-4F02-ACDE-789C4510C0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171">
                    <a:extLst>
                      <a:ext uri="{FF2B5EF4-FFF2-40B4-BE49-F238E27FC236}">
                        <a16:creationId xmlns:a16="http://schemas.microsoft.com/office/drawing/2014/main" id="{3C21D942-0C6D-450B-80E3-0A352500F55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172">
                    <a:extLst>
                      <a:ext uri="{FF2B5EF4-FFF2-40B4-BE49-F238E27FC236}">
                        <a16:creationId xmlns:a16="http://schemas.microsoft.com/office/drawing/2014/main" id="{BE96836E-2C3B-4FDB-AEA0-0D35027CD8C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173">
                    <a:extLst>
                      <a:ext uri="{FF2B5EF4-FFF2-40B4-BE49-F238E27FC236}">
                        <a16:creationId xmlns:a16="http://schemas.microsoft.com/office/drawing/2014/main" id="{AA56C7F1-454C-4A11-AD98-A557E9FE261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174">
                    <a:extLst>
                      <a:ext uri="{FF2B5EF4-FFF2-40B4-BE49-F238E27FC236}">
                        <a16:creationId xmlns:a16="http://schemas.microsoft.com/office/drawing/2014/main" id="{30FAD6E7-EF7B-4889-94B7-22AE7525C15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167">
                  <a:extLst>
                    <a:ext uri="{FF2B5EF4-FFF2-40B4-BE49-F238E27FC236}">
                      <a16:creationId xmlns:a16="http://schemas.microsoft.com/office/drawing/2014/main" id="{EA046BA6-00A4-4295-A460-CCCD1171F13F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168">
                    <a:extLst>
                      <a:ext uri="{FF2B5EF4-FFF2-40B4-BE49-F238E27FC236}">
                        <a16:creationId xmlns:a16="http://schemas.microsoft.com/office/drawing/2014/main" id="{6AD43176-054E-4C6C-9AE0-26004C8E2B31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Pijl: punthaak 169">
                    <a:extLst>
                      <a:ext uri="{FF2B5EF4-FFF2-40B4-BE49-F238E27FC236}">
                        <a16:creationId xmlns:a16="http://schemas.microsoft.com/office/drawing/2014/main" id="{3879E932-3544-4208-A00E-C51AA6F78D4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67" name="Rechte verbindingslijn 136">
                <a:extLst>
                  <a:ext uri="{FF2B5EF4-FFF2-40B4-BE49-F238E27FC236}">
                    <a16:creationId xmlns:a16="http://schemas.microsoft.com/office/drawing/2014/main" id="{35B1AAEB-05FD-4D50-AFC3-5E5954C009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68" name="Rechte verbindingslijn 137">
                <a:extLst>
                  <a:ext uri="{FF2B5EF4-FFF2-40B4-BE49-F238E27FC236}">
                    <a16:creationId xmlns:a16="http://schemas.microsoft.com/office/drawing/2014/main" id="{C4FB6C9C-C5E3-436A-9A8C-09F05847DC5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9" name="Groep 138">
                <a:extLst>
                  <a:ext uri="{FF2B5EF4-FFF2-40B4-BE49-F238E27FC236}">
                    <a16:creationId xmlns:a16="http://schemas.microsoft.com/office/drawing/2014/main" id="{129CEDA6-1545-4C1C-A3E1-F2AF3C3BF9FC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84" name="Rechthoek 155">
                  <a:extLst>
                    <a:ext uri="{FF2B5EF4-FFF2-40B4-BE49-F238E27FC236}">
                      <a16:creationId xmlns:a16="http://schemas.microsoft.com/office/drawing/2014/main" id="{841DC097-5E36-4C64-9283-2BB0777BE43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5" name="Groep 156">
                  <a:extLst>
                    <a:ext uri="{FF2B5EF4-FFF2-40B4-BE49-F238E27FC236}">
                      <a16:creationId xmlns:a16="http://schemas.microsoft.com/office/drawing/2014/main" id="{40AE14A5-58AB-40D8-A8CC-0C5C94E8C6F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86" name="Groep 157">
                    <a:extLst>
                      <a:ext uri="{FF2B5EF4-FFF2-40B4-BE49-F238E27FC236}">
                        <a16:creationId xmlns:a16="http://schemas.microsoft.com/office/drawing/2014/main" id="{B6D9D285-90D2-431F-9E7A-8A701B39441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0" name="Rechte verbindingslijn 161">
                      <a:extLst>
                        <a:ext uri="{FF2B5EF4-FFF2-40B4-BE49-F238E27FC236}">
                          <a16:creationId xmlns:a16="http://schemas.microsoft.com/office/drawing/2014/main" id="{9A870CDF-6C59-4275-9555-7D3347C60AB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1" name="Rechte verbindingslijn 162">
                      <a:extLst>
                        <a:ext uri="{FF2B5EF4-FFF2-40B4-BE49-F238E27FC236}">
                          <a16:creationId xmlns:a16="http://schemas.microsoft.com/office/drawing/2014/main" id="{7E50BD3C-FE61-42F0-9534-A1CDE34341E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2" name="Rechte verbindingslijn 163">
                      <a:extLst>
                        <a:ext uri="{FF2B5EF4-FFF2-40B4-BE49-F238E27FC236}">
                          <a16:creationId xmlns:a16="http://schemas.microsoft.com/office/drawing/2014/main" id="{61385B85-5234-4A41-9923-CABD8165C0B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3" name="Rechte verbindingslijn 164">
                      <a:extLst>
                        <a:ext uri="{FF2B5EF4-FFF2-40B4-BE49-F238E27FC236}">
                          <a16:creationId xmlns:a16="http://schemas.microsoft.com/office/drawing/2014/main" id="{6236E2B2-29F0-4263-81F0-A83E4AADD3D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4" name="Rechte verbindingslijn 165">
                      <a:extLst>
                        <a:ext uri="{FF2B5EF4-FFF2-40B4-BE49-F238E27FC236}">
                          <a16:creationId xmlns:a16="http://schemas.microsoft.com/office/drawing/2014/main" id="{34F45B6F-E663-4C97-800E-860BA67D050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7" name="Groep 158">
                    <a:extLst>
                      <a:ext uri="{FF2B5EF4-FFF2-40B4-BE49-F238E27FC236}">
                        <a16:creationId xmlns:a16="http://schemas.microsoft.com/office/drawing/2014/main" id="{ADC83032-FF34-4D00-86C6-D5F21D296BF4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8" name="Rechthoek 159">
                      <a:extLst>
                        <a:ext uri="{FF2B5EF4-FFF2-40B4-BE49-F238E27FC236}">
                          <a16:creationId xmlns:a16="http://schemas.microsoft.com/office/drawing/2014/main" id="{70902A04-7D59-4C17-98ED-BC310A23E8A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9" name="Pijl: punthaak 160">
                      <a:extLst>
                        <a:ext uri="{FF2B5EF4-FFF2-40B4-BE49-F238E27FC236}">
                          <a16:creationId xmlns:a16="http://schemas.microsoft.com/office/drawing/2014/main" id="{93B4D83B-F085-46CF-973B-2524AD42920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0" name="Groep 139">
                <a:extLst>
                  <a:ext uri="{FF2B5EF4-FFF2-40B4-BE49-F238E27FC236}">
                    <a16:creationId xmlns:a16="http://schemas.microsoft.com/office/drawing/2014/main" id="{37C09F35-B81E-45AB-A0A3-D10C5CB705D3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3" name="Rechthoek 142">
                  <a:extLst>
                    <a:ext uri="{FF2B5EF4-FFF2-40B4-BE49-F238E27FC236}">
                      <a16:creationId xmlns:a16="http://schemas.microsoft.com/office/drawing/2014/main" id="{79A80045-72E1-4D66-85A6-DCE9C4B3641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4" name="Groep 143">
                  <a:extLst>
                    <a:ext uri="{FF2B5EF4-FFF2-40B4-BE49-F238E27FC236}">
                      <a16:creationId xmlns:a16="http://schemas.microsoft.com/office/drawing/2014/main" id="{5DFFF8E4-6A9D-4924-8B4E-A5AAB1937BEC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75" name="Groep 144">
                    <a:extLst>
                      <a:ext uri="{FF2B5EF4-FFF2-40B4-BE49-F238E27FC236}">
                        <a16:creationId xmlns:a16="http://schemas.microsoft.com/office/drawing/2014/main" id="{69D647B7-A8C1-40D3-BF5A-886857789E3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9" name="Rechte verbindingslijn 150">
                      <a:extLst>
                        <a:ext uri="{FF2B5EF4-FFF2-40B4-BE49-F238E27FC236}">
                          <a16:creationId xmlns:a16="http://schemas.microsoft.com/office/drawing/2014/main" id="{D201D167-1A34-4576-9B51-9EF1AA3A4C5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0" name="Rechte verbindingslijn 151">
                      <a:extLst>
                        <a:ext uri="{FF2B5EF4-FFF2-40B4-BE49-F238E27FC236}">
                          <a16:creationId xmlns:a16="http://schemas.microsoft.com/office/drawing/2014/main" id="{3724FC78-B582-43EC-A683-F52EE41CA88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1" name="Rechte verbindingslijn 152">
                      <a:extLst>
                        <a:ext uri="{FF2B5EF4-FFF2-40B4-BE49-F238E27FC236}">
                          <a16:creationId xmlns:a16="http://schemas.microsoft.com/office/drawing/2014/main" id="{DF40A37B-A2E6-4233-A64B-2B159E6E081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153">
                      <a:extLst>
                        <a:ext uri="{FF2B5EF4-FFF2-40B4-BE49-F238E27FC236}">
                          <a16:creationId xmlns:a16="http://schemas.microsoft.com/office/drawing/2014/main" id="{6C86622D-01C6-4049-BD86-69AC95CCC5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154">
                      <a:extLst>
                        <a:ext uri="{FF2B5EF4-FFF2-40B4-BE49-F238E27FC236}">
                          <a16:creationId xmlns:a16="http://schemas.microsoft.com/office/drawing/2014/main" id="{064CF244-2AEB-4EAF-863F-9E538AF59D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6" name="Groep 147">
                    <a:extLst>
                      <a:ext uri="{FF2B5EF4-FFF2-40B4-BE49-F238E27FC236}">
                        <a16:creationId xmlns:a16="http://schemas.microsoft.com/office/drawing/2014/main" id="{27F889A0-DD66-4969-B5F3-49ABF8BA546F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7" name="Rechthoek 148">
                      <a:extLst>
                        <a:ext uri="{FF2B5EF4-FFF2-40B4-BE49-F238E27FC236}">
                          <a16:creationId xmlns:a16="http://schemas.microsoft.com/office/drawing/2014/main" id="{7ECD9D23-35BF-4754-BE5D-20F0F1C7157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78" name="Pijl: punthaak 149">
                      <a:extLst>
                        <a:ext uri="{FF2B5EF4-FFF2-40B4-BE49-F238E27FC236}">
                          <a16:creationId xmlns:a16="http://schemas.microsoft.com/office/drawing/2014/main" id="{0BB7F6B3-64AF-4729-BA23-8F114249C0F2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1" name="Rechthoek 140">
                <a:extLst>
                  <a:ext uri="{FF2B5EF4-FFF2-40B4-BE49-F238E27FC236}">
                    <a16:creationId xmlns:a16="http://schemas.microsoft.com/office/drawing/2014/main" id="{87D45D06-B442-44D0-B66A-F6851F4A04AF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172" name="Rechthoek 141">
                <a:extLst>
                  <a:ext uri="{FF2B5EF4-FFF2-40B4-BE49-F238E27FC236}">
                    <a16:creationId xmlns:a16="http://schemas.microsoft.com/office/drawing/2014/main" id="{02F3FAEE-393B-4E88-91C1-8E64AFE73E01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137" name="Rechte verbindingslijn 106">
              <a:extLst>
                <a:ext uri="{FF2B5EF4-FFF2-40B4-BE49-F238E27FC236}">
                  <a16:creationId xmlns:a16="http://schemas.microsoft.com/office/drawing/2014/main" id="{AFB99157-DA5C-46C3-85E6-82E74922C86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38" name="Rechthoek 107">
              <a:extLst>
                <a:ext uri="{FF2B5EF4-FFF2-40B4-BE49-F238E27FC236}">
                  <a16:creationId xmlns:a16="http://schemas.microsoft.com/office/drawing/2014/main" id="{1EB70A77-4D24-4B1F-A168-9C6633B7B45E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139" name="Ovaal 108">
              <a:extLst>
                <a:ext uri="{FF2B5EF4-FFF2-40B4-BE49-F238E27FC236}">
                  <a16:creationId xmlns:a16="http://schemas.microsoft.com/office/drawing/2014/main" id="{93BDBE71-0899-40AB-9228-23FFBA3F1A3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0" name="Rechthoek 109">
              <a:extLst>
                <a:ext uri="{FF2B5EF4-FFF2-40B4-BE49-F238E27FC236}">
                  <a16:creationId xmlns:a16="http://schemas.microsoft.com/office/drawing/2014/main" id="{C1EC5EDC-3D42-4554-A084-0E0A90DF279B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141" name="Ovaal 110">
              <a:extLst>
                <a:ext uri="{FF2B5EF4-FFF2-40B4-BE49-F238E27FC236}">
                  <a16:creationId xmlns:a16="http://schemas.microsoft.com/office/drawing/2014/main" id="{2CC0A145-60E4-462A-A69C-0C364F924528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2" name="Rechthoek 111">
              <a:extLst>
                <a:ext uri="{FF2B5EF4-FFF2-40B4-BE49-F238E27FC236}">
                  <a16:creationId xmlns:a16="http://schemas.microsoft.com/office/drawing/2014/main" id="{D2CDA024-405E-4DA2-ABD4-ECCE29B0C6D4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43" name="Ovaal 112">
              <a:extLst>
                <a:ext uri="{FF2B5EF4-FFF2-40B4-BE49-F238E27FC236}">
                  <a16:creationId xmlns:a16="http://schemas.microsoft.com/office/drawing/2014/main" id="{2B2E7192-0402-4FCF-AF31-A170B4FF60C8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4" name="Rechthoek 113">
              <a:extLst>
                <a:ext uri="{FF2B5EF4-FFF2-40B4-BE49-F238E27FC236}">
                  <a16:creationId xmlns:a16="http://schemas.microsoft.com/office/drawing/2014/main" id="{73AD1A30-4E0C-427A-991A-1E7E8EBF0CB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145" name="Ovaal 114">
              <a:extLst>
                <a:ext uri="{FF2B5EF4-FFF2-40B4-BE49-F238E27FC236}">
                  <a16:creationId xmlns:a16="http://schemas.microsoft.com/office/drawing/2014/main" id="{D0AB2B93-DF30-4D53-9B11-276748D84CB4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6" name="Rechthoek 115">
              <a:extLst>
                <a:ext uri="{FF2B5EF4-FFF2-40B4-BE49-F238E27FC236}">
                  <a16:creationId xmlns:a16="http://schemas.microsoft.com/office/drawing/2014/main" id="{DCEEC80C-03E8-4ED4-8042-8E160D2DBFA6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147" name="Rechte verbindingslijn 116">
              <a:extLst>
                <a:ext uri="{FF2B5EF4-FFF2-40B4-BE49-F238E27FC236}">
                  <a16:creationId xmlns:a16="http://schemas.microsoft.com/office/drawing/2014/main" id="{CC419C43-526A-4F3A-BC3F-12C32F2C15B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48" name="Meer informatie">
              <a:extLst>
                <a:ext uri="{FF2B5EF4-FFF2-40B4-BE49-F238E27FC236}">
                  <a16:creationId xmlns:a16="http://schemas.microsoft.com/office/drawing/2014/main" id="{8725FBB4-0254-4BC3-9A16-F6F60B765C19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158" name="Freeform 101">
                <a:extLst>
                  <a:ext uri="{FF2B5EF4-FFF2-40B4-BE49-F238E27FC236}">
                    <a16:creationId xmlns:a16="http://schemas.microsoft.com/office/drawing/2014/main" id="{CFBA7BDB-DF1A-4849-A772-762E5DF987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159" name="Rechthoek 128">
                <a:extLst>
                  <a:ext uri="{FF2B5EF4-FFF2-40B4-BE49-F238E27FC236}">
                    <a16:creationId xmlns:a16="http://schemas.microsoft.com/office/drawing/2014/main" id="{3B188684-AC32-4862-A945-C623AB851D52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60" name="Rechte verbindingslijn 129">
                <a:extLst>
                  <a:ext uri="{FF2B5EF4-FFF2-40B4-BE49-F238E27FC236}">
                    <a16:creationId xmlns:a16="http://schemas.microsoft.com/office/drawing/2014/main" id="{5F7DC580-5AEB-4513-B436-052BFA01B91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Rechthoek 118">
              <a:extLst>
                <a:ext uri="{FF2B5EF4-FFF2-40B4-BE49-F238E27FC236}">
                  <a16:creationId xmlns:a16="http://schemas.microsoft.com/office/drawing/2014/main" id="{27C5F8F2-478C-4DA0-BA95-9B1969EA3167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150" name="Ovaal 119">
              <a:extLst>
                <a:ext uri="{FF2B5EF4-FFF2-40B4-BE49-F238E27FC236}">
                  <a16:creationId xmlns:a16="http://schemas.microsoft.com/office/drawing/2014/main" id="{658643E3-49C5-4076-B365-96476588E226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51" name="Rechthoek 120">
              <a:extLst>
                <a:ext uri="{FF2B5EF4-FFF2-40B4-BE49-F238E27FC236}">
                  <a16:creationId xmlns:a16="http://schemas.microsoft.com/office/drawing/2014/main" id="{D0E05C12-73DC-4E9F-8C5B-033E096621A5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52" name="Ovaal 121">
              <a:extLst>
                <a:ext uri="{FF2B5EF4-FFF2-40B4-BE49-F238E27FC236}">
                  <a16:creationId xmlns:a16="http://schemas.microsoft.com/office/drawing/2014/main" id="{81C45B65-BEC7-47D3-877D-B5BE0C066D58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53" name="Rechthoek 122">
              <a:extLst>
                <a:ext uri="{FF2B5EF4-FFF2-40B4-BE49-F238E27FC236}">
                  <a16:creationId xmlns:a16="http://schemas.microsoft.com/office/drawing/2014/main" id="{F3B30888-2411-4496-9C47-716D822BB671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154" name="Ovaal 123">
              <a:extLst>
                <a:ext uri="{FF2B5EF4-FFF2-40B4-BE49-F238E27FC236}">
                  <a16:creationId xmlns:a16="http://schemas.microsoft.com/office/drawing/2014/main" id="{C6FDCC2B-F897-440A-8333-0CE5AD6CD5ED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55" name="Rechthoek 124">
              <a:extLst>
                <a:ext uri="{FF2B5EF4-FFF2-40B4-BE49-F238E27FC236}">
                  <a16:creationId xmlns:a16="http://schemas.microsoft.com/office/drawing/2014/main" id="{05563509-8824-4428-85BB-F0DEE1A81C9A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56" name="Rechthoek 125">
              <a:extLst>
                <a:ext uri="{FF2B5EF4-FFF2-40B4-BE49-F238E27FC236}">
                  <a16:creationId xmlns:a16="http://schemas.microsoft.com/office/drawing/2014/main" id="{3E6957DA-D08C-4A4B-9F06-1D6A08D914AE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157" name="Ovaal 126">
              <a:extLst>
                <a:ext uri="{FF2B5EF4-FFF2-40B4-BE49-F238E27FC236}">
                  <a16:creationId xmlns:a16="http://schemas.microsoft.com/office/drawing/2014/main" id="{5CA2E8CD-A03D-41DF-BCC8-ABB9FFB2E45E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  <p:pic>
        <p:nvPicPr>
          <p:cNvPr id="307" name="Afbeelding 306">
            <a:extLst>
              <a:ext uri="{FF2B5EF4-FFF2-40B4-BE49-F238E27FC236}">
                <a16:creationId xmlns:a16="http://schemas.microsoft.com/office/drawing/2014/main" id="{F7CBAA26-C3F6-4707-A0EF-91BEAF96AB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8182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 10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tabel 8"/>
          <p:cNvSpPr>
            <a:spLocks noGrp="1"/>
          </p:cNvSpPr>
          <p:nvPr>
            <p:ph type="tbl" sz="quarter" idx="15" hasCustomPrompt="1"/>
          </p:nvPr>
        </p:nvSpPr>
        <p:spPr>
          <a:xfrm>
            <a:off x="1731104" y="6504861"/>
            <a:ext cx="39293754" cy="19046172"/>
          </a:xfrm>
          <a:solidFill>
            <a:schemeClr val="bg1">
              <a:lumMod val="95000"/>
            </a:schemeClr>
          </a:solidFill>
        </p:spPr>
        <p:txBody>
          <a:bodyPr tIns="1008000" anchor="ctr">
            <a:normAutofit/>
          </a:bodyPr>
          <a:lstStyle>
            <a:lvl1pPr marL="0" indent="0" algn="ctr"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tabel in te voegen</a:t>
            </a:r>
          </a:p>
        </p:txBody>
      </p:sp>
      <p:sp>
        <p:nvSpPr>
          <p:cNvPr id="31" name="Titel 1">
            <a:extLst>
              <a:ext uri="{FF2B5EF4-FFF2-40B4-BE49-F238E27FC236}">
                <a16:creationId xmlns:a16="http://schemas.microsoft.com/office/drawing/2014/main" id="{BFC323C8-4E0C-4511-852A-2596E66977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8" name="Tijdelijke aanduiding voor tekst 14">
            <a:extLst>
              <a:ext uri="{FF2B5EF4-FFF2-40B4-BE49-F238E27FC236}">
                <a16:creationId xmlns:a16="http://schemas.microsoft.com/office/drawing/2014/main" id="{8DA7C7FA-DB31-4BAA-B073-75C781A5B1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55" name="Tijdelijke aanduiding voor voettekst 4">
            <a:extLst>
              <a:ext uri="{FF2B5EF4-FFF2-40B4-BE49-F238E27FC236}">
                <a16:creationId xmlns:a16="http://schemas.microsoft.com/office/drawing/2014/main" id="{A0E628BA-C2CD-4496-9DDE-D19D860FA9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56" name="Tijdelijke aanduiding voor dianummer 5">
            <a:extLst>
              <a:ext uri="{FF2B5EF4-FFF2-40B4-BE49-F238E27FC236}">
                <a16:creationId xmlns:a16="http://schemas.microsoft.com/office/drawing/2014/main" id="{16FCF319-FDBA-49D0-94CD-E4F09D9A89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7" y="27329718"/>
            <a:ext cx="888118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15" name="Tijdelijke aanduiding voor datum 3">
            <a:extLst>
              <a:ext uri="{FF2B5EF4-FFF2-40B4-BE49-F238E27FC236}">
                <a16:creationId xmlns:a16="http://schemas.microsoft.com/office/drawing/2014/main" id="{9ACCADF5-C9AA-4EE4-AA1D-F3AA86363F4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FEAEE37F-F197-4C21-9E5F-56F480958CE7}" type="datetime1">
              <a:rPr lang="nl-NL" noProof="0" smtClean="0"/>
              <a:t>26-6-2023</a:t>
            </a:fld>
            <a:endParaRPr lang="nl-NL" noProof="0"/>
          </a:p>
        </p:txBody>
      </p:sp>
      <p:grpSp>
        <p:nvGrpSpPr>
          <p:cNvPr id="17" name="Instructie">
            <a:extLst>
              <a:ext uri="{FF2B5EF4-FFF2-40B4-BE49-F238E27FC236}">
                <a16:creationId xmlns:a16="http://schemas.microsoft.com/office/drawing/2014/main" id="{D0346CC6-5714-49A4-B402-7D09C66BA7DC}"/>
              </a:ext>
            </a:extLst>
          </p:cNvPr>
          <p:cNvGrpSpPr/>
          <p:nvPr userDrawn="1"/>
        </p:nvGrpSpPr>
        <p:grpSpPr>
          <a:xfrm>
            <a:off x="43467416" y="0"/>
            <a:ext cx="11167745" cy="15089920"/>
            <a:chOff x="12391601" y="0"/>
            <a:chExt cx="3183678" cy="3418198"/>
          </a:xfrm>
        </p:grpSpPr>
        <p:grpSp>
          <p:nvGrpSpPr>
            <p:cNvPr id="18" name="Meer informatie">
              <a:extLst>
                <a:ext uri="{FF2B5EF4-FFF2-40B4-BE49-F238E27FC236}">
                  <a16:creationId xmlns:a16="http://schemas.microsoft.com/office/drawing/2014/main" id="{A59BD865-259C-4528-9B81-5A4BD0072F22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42" name="Freeform 101">
                <a:extLst>
                  <a:ext uri="{FF2B5EF4-FFF2-40B4-BE49-F238E27FC236}">
                    <a16:creationId xmlns:a16="http://schemas.microsoft.com/office/drawing/2014/main" id="{5D8CEEAB-B360-4AEA-A355-9A60F90296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9762ABFA-1C61-4AB0-A828-E7C6E3F74827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44" name="Rechte verbindingslijn 43">
                <a:extLst>
                  <a:ext uri="{FF2B5EF4-FFF2-40B4-BE49-F238E27FC236}">
                    <a16:creationId xmlns:a16="http://schemas.microsoft.com/office/drawing/2014/main" id="{23FAD46D-568E-49D2-A42C-7494B770004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E040640F-8072-4826-9B23-4EA805C14D62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abel invoegen/veranderen</a:t>
              </a:r>
            </a:p>
          </p:txBody>
        </p:sp>
        <p:sp>
          <p:nvSpPr>
            <p:cNvPr id="20" name="Ovaal 19">
              <a:extLst>
                <a:ext uri="{FF2B5EF4-FFF2-40B4-BE49-F238E27FC236}">
                  <a16:creationId xmlns:a16="http://schemas.microsoft.com/office/drawing/2014/main" id="{61A65DC2-EB15-4A25-8F4B-3D0FCCFF56F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" name="Rechte verbindingslijn 20">
              <a:extLst>
                <a:ext uri="{FF2B5EF4-FFF2-40B4-BE49-F238E27FC236}">
                  <a16:creationId xmlns:a16="http://schemas.microsoft.com/office/drawing/2014/main" id="{C62AE54A-037E-49C1-B6BE-F4CD20DBA8B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2" name="Rechte verbindingslijn 21">
              <a:extLst>
                <a:ext uri="{FF2B5EF4-FFF2-40B4-BE49-F238E27FC236}">
                  <a16:creationId xmlns:a16="http://schemas.microsoft.com/office/drawing/2014/main" id="{280B39BD-F3C4-43B4-9A07-4F651B59484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D2C0F12F-1A93-4418-BA52-07C58BD25ED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tabel d.m.v.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knop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Klik op het pictogram om een nieuwe tabel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4" name="Ovaal 23">
              <a:extLst>
                <a:ext uri="{FF2B5EF4-FFF2-40B4-BE49-F238E27FC236}">
                  <a16:creationId xmlns:a16="http://schemas.microsoft.com/office/drawing/2014/main" id="{5FAB0342-BB5D-4A76-90F3-EAB8DA00321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5" name="Rechthoek 24">
              <a:extLst>
                <a:ext uri="{FF2B5EF4-FFF2-40B4-BE49-F238E27FC236}">
                  <a16:creationId xmlns:a16="http://schemas.microsoft.com/office/drawing/2014/main" id="{2032FDA1-E921-4F09-9866-58C690F9B84F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het gewenste aantal rijen en kolommen en klik op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OK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6" name="Groep 25">
              <a:extLst>
                <a:ext uri="{FF2B5EF4-FFF2-40B4-BE49-F238E27FC236}">
                  <a16:creationId xmlns:a16="http://schemas.microsoft.com/office/drawing/2014/main" id="{053614B9-F09D-4A52-BF22-D148EF9FF325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A629ECB7-22D1-481C-B742-0CB46560111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40" name="Rechte verbindingslijn 39">
                <a:extLst>
                  <a:ext uri="{FF2B5EF4-FFF2-40B4-BE49-F238E27FC236}">
                    <a16:creationId xmlns:a16="http://schemas.microsoft.com/office/drawing/2014/main" id="{F3C55515-F56B-4DC5-8E35-7F18535736B9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1" name="Gelijkbenige driehoek 40">
                <a:extLst>
                  <a:ext uri="{FF2B5EF4-FFF2-40B4-BE49-F238E27FC236}">
                    <a16:creationId xmlns:a16="http://schemas.microsoft.com/office/drawing/2014/main" id="{BDF352CD-1AA1-43E9-9AC9-586BFE30485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7" name="Rechte verbindingslijn 26">
              <a:extLst>
                <a:ext uri="{FF2B5EF4-FFF2-40B4-BE49-F238E27FC236}">
                  <a16:creationId xmlns:a16="http://schemas.microsoft.com/office/drawing/2014/main" id="{8DD3AD9A-78D7-4780-868E-1108CFBD2D8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8" name="Tabel icoon">
              <a:extLst>
                <a:ext uri="{FF2B5EF4-FFF2-40B4-BE49-F238E27FC236}">
                  <a16:creationId xmlns:a16="http://schemas.microsoft.com/office/drawing/2014/main" id="{77722F23-9340-4348-BF03-CCA96C179576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7D54DD3-F79F-47C5-AEAE-C764015A5D9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213" noProof="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A23A456A-C5E3-4D8A-B905-AC67661B538C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213" noProof="0"/>
              </a:p>
            </p:txBody>
          </p:sp>
          <p:cxnSp>
            <p:nvCxnSpPr>
              <p:cNvPr id="32" name="Rechte verbindingslijn 31">
                <a:extLst>
                  <a:ext uri="{FF2B5EF4-FFF2-40B4-BE49-F238E27FC236}">
                    <a16:creationId xmlns:a16="http://schemas.microsoft.com/office/drawing/2014/main" id="{C5839E5F-7E96-417B-8E38-C3EE1FE2ACE3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Rechte verbindingslijn 32">
                <a:extLst>
                  <a:ext uri="{FF2B5EF4-FFF2-40B4-BE49-F238E27FC236}">
                    <a16:creationId xmlns:a16="http://schemas.microsoft.com/office/drawing/2014/main" id="{66AFE308-FDE2-4808-9A4E-A2B97233F5E6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Rechte verbindingslijn 33">
                <a:extLst>
                  <a:ext uri="{FF2B5EF4-FFF2-40B4-BE49-F238E27FC236}">
                    <a16:creationId xmlns:a16="http://schemas.microsoft.com/office/drawing/2014/main" id="{C9884DB6-B915-4200-A819-9B011A3A61C9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Rechte verbindingslijn 34">
                <a:extLst>
                  <a:ext uri="{FF2B5EF4-FFF2-40B4-BE49-F238E27FC236}">
                    <a16:creationId xmlns:a16="http://schemas.microsoft.com/office/drawing/2014/main" id="{FE4535EA-8903-4DFD-BDCE-F4237F1865B7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Rechte verbindingslijn 35">
                <a:extLst>
                  <a:ext uri="{FF2B5EF4-FFF2-40B4-BE49-F238E27FC236}">
                    <a16:creationId xmlns:a16="http://schemas.microsoft.com/office/drawing/2014/main" id="{F1635C72-1564-42E5-ACD8-0A7E4491C70B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CDB83B29-3F8A-475E-BF3D-E21565008D00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213" noProof="0"/>
              </a:p>
            </p:txBody>
          </p:sp>
        </p:grpSp>
      </p:grpSp>
      <p:pic>
        <p:nvPicPr>
          <p:cNvPr id="45" name="Afbeelding 44">
            <a:extLst>
              <a:ext uri="{FF2B5EF4-FFF2-40B4-BE49-F238E27FC236}">
                <a16:creationId xmlns:a16="http://schemas.microsoft.com/office/drawing/2014/main" id="{7F985B6B-526C-49E8-AACA-872BB87435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272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id="{C99B9AD0-B92A-4C48-A52A-FAE4B74811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18" name="Tijdelijke aanduiding voor tekst 14">
            <a:extLst>
              <a:ext uri="{FF2B5EF4-FFF2-40B4-BE49-F238E27FC236}">
                <a16:creationId xmlns:a16="http://schemas.microsoft.com/office/drawing/2014/main" id="{3EAC74E4-7359-43B9-BD46-0CBB8C9D38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21" name="Tijdelijke aanduiding voor voettekst 4">
            <a:extLst>
              <a:ext uri="{FF2B5EF4-FFF2-40B4-BE49-F238E27FC236}">
                <a16:creationId xmlns:a16="http://schemas.microsoft.com/office/drawing/2014/main" id="{A5D9591E-4C98-475E-B8D6-C3C11099BF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22" name="Tijdelijke aanduiding voor dianummer 5">
            <a:extLst>
              <a:ext uri="{FF2B5EF4-FFF2-40B4-BE49-F238E27FC236}">
                <a16:creationId xmlns:a16="http://schemas.microsoft.com/office/drawing/2014/main" id="{943A493B-8731-4825-81F9-F1B852A8C7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8" y="27329718"/>
            <a:ext cx="863059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19" name="Tijdelijke aanduiding voor datum 3">
            <a:extLst>
              <a:ext uri="{FF2B5EF4-FFF2-40B4-BE49-F238E27FC236}">
                <a16:creationId xmlns:a16="http://schemas.microsoft.com/office/drawing/2014/main" id="{7AF0D1FE-8D2B-44E6-B3D5-0C8F9474C79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1F9EDFB3-D3AA-4F39-950A-ED89DC69A420}" type="datetime1">
              <a:rPr lang="nl-NL" noProof="0" smtClean="0"/>
              <a:t>26-6-2023</a:t>
            </a:fld>
            <a:endParaRPr lang="nl-NL" noProof="0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3F7DA627-C135-4D0D-8C88-2B07C2C3B7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0656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rnpunten + Tekstvlak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jdelijke aanduiding voor afbeelding 35">
            <a:extLst>
              <a:ext uri="{FF2B5EF4-FFF2-40B4-BE49-F238E27FC236}">
                <a16:creationId xmlns:a16="http://schemas.microsoft.com/office/drawing/2014/main" id="{DDF59742-AC42-4AAA-9941-6163D1AD1558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1742382" y="8813275"/>
            <a:ext cx="12350590" cy="12648664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881" h="2865200">
                <a:moveTo>
                  <a:pt x="1036" y="89"/>
                </a:moveTo>
                <a:lnTo>
                  <a:pt x="3319663" y="6217"/>
                </a:lnTo>
                <a:cubicBezTo>
                  <a:pt x="3430792" y="6217"/>
                  <a:pt x="3520881" y="73784"/>
                  <a:pt x="3520881" y="157131"/>
                </a:cubicBezTo>
                <a:lnTo>
                  <a:pt x="3520881" y="2714286"/>
                </a:lnTo>
                <a:cubicBezTo>
                  <a:pt x="3520881" y="2797633"/>
                  <a:pt x="3430792" y="2865200"/>
                  <a:pt x="3319663" y="2865200"/>
                </a:cubicBezTo>
                <a:lnTo>
                  <a:pt x="201219" y="2865200"/>
                </a:lnTo>
                <a:cubicBezTo>
                  <a:pt x="90089" y="2865200"/>
                  <a:pt x="0" y="2797633"/>
                  <a:pt x="0" y="2714286"/>
                </a:cubicBezTo>
                <a:lnTo>
                  <a:pt x="0" y="157131"/>
                </a:lnTo>
                <a:cubicBezTo>
                  <a:pt x="0" y="73784"/>
                  <a:pt x="211" y="-2975"/>
                  <a:pt x="1036" y="8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188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7" name="Tijdelijke aanduiding voor afbeelding 36">
            <a:extLst>
              <a:ext uri="{FF2B5EF4-FFF2-40B4-BE49-F238E27FC236}">
                <a16:creationId xmlns:a16="http://schemas.microsoft.com/office/drawing/2014/main" id="{74727CE5-EDB8-480E-B745-73C1373713EB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15265721" y="8813275"/>
            <a:ext cx="12350590" cy="12648664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881" h="2865200">
                <a:moveTo>
                  <a:pt x="1036" y="89"/>
                </a:moveTo>
                <a:lnTo>
                  <a:pt x="3319663" y="6217"/>
                </a:lnTo>
                <a:cubicBezTo>
                  <a:pt x="3430792" y="6217"/>
                  <a:pt x="3520881" y="73784"/>
                  <a:pt x="3520881" y="157131"/>
                </a:cubicBezTo>
                <a:lnTo>
                  <a:pt x="3520881" y="2714286"/>
                </a:lnTo>
                <a:cubicBezTo>
                  <a:pt x="3520881" y="2797633"/>
                  <a:pt x="3430792" y="2865200"/>
                  <a:pt x="3319663" y="2865200"/>
                </a:cubicBezTo>
                <a:lnTo>
                  <a:pt x="201219" y="2865200"/>
                </a:lnTo>
                <a:cubicBezTo>
                  <a:pt x="90089" y="2865200"/>
                  <a:pt x="0" y="2797633"/>
                  <a:pt x="0" y="2714286"/>
                </a:cubicBezTo>
                <a:lnTo>
                  <a:pt x="0" y="157131"/>
                </a:lnTo>
                <a:cubicBezTo>
                  <a:pt x="0" y="73784"/>
                  <a:pt x="211" y="-2975"/>
                  <a:pt x="1036" y="8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188000" anchor="ctr">
            <a:noAutofit/>
          </a:bodyPr>
          <a:lstStyle>
            <a:lvl1pPr marL="0" indent="0" algn="ctr">
              <a:buNone/>
              <a:defRPr lang="nl-NL" sz="4209" b="0" i="1" kern="1200" noProof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8" name="Tijdelijke aanduiding voor afbeelding 37">
            <a:extLst>
              <a:ext uri="{FF2B5EF4-FFF2-40B4-BE49-F238E27FC236}">
                <a16:creationId xmlns:a16="http://schemas.microsoft.com/office/drawing/2014/main" id="{B4DAE761-2905-4370-925B-2CBA8CDD4757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28808926" y="8813275"/>
            <a:ext cx="12350590" cy="12648664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881" h="2865200">
                <a:moveTo>
                  <a:pt x="1036" y="89"/>
                </a:moveTo>
                <a:lnTo>
                  <a:pt x="3319663" y="6217"/>
                </a:lnTo>
                <a:cubicBezTo>
                  <a:pt x="3430792" y="6217"/>
                  <a:pt x="3520881" y="73784"/>
                  <a:pt x="3520881" y="157131"/>
                </a:cubicBezTo>
                <a:lnTo>
                  <a:pt x="3520881" y="2714286"/>
                </a:lnTo>
                <a:cubicBezTo>
                  <a:pt x="3520881" y="2797633"/>
                  <a:pt x="3430792" y="2865200"/>
                  <a:pt x="3319663" y="2865200"/>
                </a:cubicBezTo>
                <a:lnTo>
                  <a:pt x="201219" y="2865200"/>
                </a:lnTo>
                <a:cubicBezTo>
                  <a:pt x="90089" y="2865200"/>
                  <a:pt x="0" y="2797633"/>
                  <a:pt x="0" y="2714286"/>
                </a:cubicBezTo>
                <a:lnTo>
                  <a:pt x="0" y="157131"/>
                </a:lnTo>
                <a:cubicBezTo>
                  <a:pt x="0" y="73784"/>
                  <a:pt x="211" y="-2975"/>
                  <a:pt x="1036" y="8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188000" anchor="ctr">
            <a:noAutofit/>
          </a:bodyPr>
          <a:lstStyle>
            <a:lvl1pPr marL="0" indent="0" algn="ctr"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5" name="Tijdelijke aanduiding voor tekst 5">
            <a:extLst>
              <a:ext uri="{FF2B5EF4-FFF2-40B4-BE49-F238E27FC236}">
                <a16:creationId xmlns:a16="http://schemas.microsoft.com/office/drawing/2014/main" id="{7581CA50-F401-4352-B20E-C61DC891A3E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740476" y="22013647"/>
            <a:ext cx="12352499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6" name="Tijdelijke aanduiding voor tekst 5">
            <a:extLst>
              <a:ext uri="{FF2B5EF4-FFF2-40B4-BE49-F238E27FC236}">
                <a16:creationId xmlns:a16="http://schemas.microsoft.com/office/drawing/2014/main" id="{EE7615E9-55F0-4367-ADAF-BF9E9F9AFF0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265724" y="22013647"/>
            <a:ext cx="12352499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32" name="Tijdelijke aanduiding voor tekst 5">
            <a:extLst>
              <a:ext uri="{FF2B5EF4-FFF2-40B4-BE49-F238E27FC236}">
                <a16:creationId xmlns:a16="http://schemas.microsoft.com/office/drawing/2014/main" id="{1F90D83A-4F8A-4644-B6AA-08EAF0B98A5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8807971" y="22013647"/>
            <a:ext cx="12352499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6644E39-2AF2-4EA0-9C3F-28C89D5A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9" y="27329718"/>
            <a:ext cx="758217" cy="101640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55B2A88A-B7BD-41B1-9FCB-9BE633251ACA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7" name="Tijdelijke aanduiding voor tekst 14">
            <a:extLst>
              <a:ext uri="{FF2B5EF4-FFF2-40B4-BE49-F238E27FC236}">
                <a16:creationId xmlns:a16="http://schemas.microsoft.com/office/drawing/2014/main" id="{A6BF4B27-7FC5-4896-80CE-3BA6119B83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sp>
        <p:nvSpPr>
          <p:cNvPr id="33" name="Tijdelijke aanduiding voor voettekst 4">
            <a:extLst>
              <a:ext uri="{FF2B5EF4-FFF2-40B4-BE49-F238E27FC236}">
                <a16:creationId xmlns:a16="http://schemas.microsoft.com/office/drawing/2014/main" id="{3C7CF4CB-CF25-44A3-95AE-206B86BFD6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29" name="Tijdelijke aanduiding voor datum 3">
            <a:extLst>
              <a:ext uri="{FF2B5EF4-FFF2-40B4-BE49-F238E27FC236}">
                <a16:creationId xmlns:a16="http://schemas.microsoft.com/office/drawing/2014/main" id="{53600F14-A3DB-4812-872D-DFA76F4B6A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2937E998-9E7B-429D-9513-ADEE2CA512AF}" type="datetime1">
              <a:rPr lang="nl-NL" noProof="0" smtClean="0"/>
              <a:t>26-6-2023</a:t>
            </a:fld>
            <a:endParaRPr lang="nl-NL" noProof="0"/>
          </a:p>
        </p:txBody>
      </p:sp>
      <p:pic>
        <p:nvPicPr>
          <p:cNvPr id="67" name="Afbeelding 66">
            <a:extLst>
              <a:ext uri="{FF2B5EF4-FFF2-40B4-BE49-F238E27FC236}">
                <a16:creationId xmlns:a16="http://schemas.microsoft.com/office/drawing/2014/main" id="{ABF56545-77FC-49FE-B0DB-389C796A74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0807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rnpunten + Tekstvlakke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jdelijke aanduiding voor afbeelding 35">
            <a:extLst>
              <a:ext uri="{FF2B5EF4-FFF2-40B4-BE49-F238E27FC236}">
                <a16:creationId xmlns:a16="http://schemas.microsoft.com/office/drawing/2014/main" id="{DDF59742-AC42-4AAA-9941-6163D1AD1558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1742385" y="10288803"/>
            <a:ext cx="8792735" cy="9004942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881" h="2865200">
                <a:moveTo>
                  <a:pt x="1036" y="89"/>
                </a:moveTo>
                <a:lnTo>
                  <a:pt x="3319663" y="6217"/>
                </a:lnTo>
                <a:cubicBezTo>
                  <a:pt x="3430792" y="6217"/>
                  <a:pt x="3520881" y="73784"/>
                  <a:pt x="3520881" y="157131"/>
                </a:cubicBezTo>
                <a:lnTo>
                  <a:pt x="3520881" y="2714286"/>
                </a:lnTo>
                <a:cubicBezTo>
                  <a:pt x="3520881" y="2797633"/>
                  <a:pt x="3430792" y="2865200"/>
                  <a:pt x="3319663" y="2865200"/>
                </a:cubicBezTo>
                <a:lnTo>
                  <a:pt x="201219" y="2865200"/>
                </a:lnTo>
                <a:cubicBezTo>
                  <a:pt x="90089" y="2865200"/>
                  <a:pt x="0" y="2797633"/>
                  <a:pt x="0" y="2714286"/>
                </a:cubicBezTo>
                <a:lnTo>
                  <a:pt x="0" y="157131"/>
                </a:lnTo>
                <a:cubicBezTo>
                  <a:pt x="0" y="73784"/>
                  <a:pt x="211" y="-2975"/>
                  <a:pt x="1036" y="8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188000" anchor="ctr">
            <a:noAutofit/>
          </a:bodyPr>
          <a:lstStyle>
            <a:lvl1pPr marL="0" indent="0" algn="ctr"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7" name="Tijdelijke aanduiding voor afbeelding 36">
            <a:extLst>
              <a:ext uri="{FF2B5EF4-FFF2-40B4-BE49-F238E27FC236}">
                <a16:creationId xmlns:a16="http://schemas.microsoft.com/office/drawing/2014/main" id="{74727CE5-EDB8-480E-B745-73C1373713EB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11892101" y="10288803"/>
            <a:ext cx="8792735" cy="9004942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881" h="2865200">
                <a:moveTo>
                  <a:pt x="1036" y="89"/>
                </a:moveTo>
                <a:lnTo>
                  <a:pt x="3319663" y="6217"/>
                </a:lnTo>
                <a:cubicBezTo>
                  <a:pt x="3430792" y="6217"/>
                  <a:pt x="3520881" y="73784"/>
                  <a:pt x="3520881" y="157131"/>
                </a:cubicBezTo>
                <a:lnTo>
                  <a:pt x="3520881" y="2714286"/>
                </a:lnTo>
                <a:cubicBezTo>
                  <a:pt x="3520881" y="2797633"/>
                  <a:pt x="3430792" y="2865200"/>
                  <a:pt x="3319663" y="2865200"/>
                </a:cubicBezTo>
                <a:lnTo>
                  <a:pt x="201219" y="2865200"/>
                </a:lnTo>
                <a:cubicBezTo>
                  <a:pt x="90089" y="2865200"/>
                  <a:pt x="0" y="2797633"/>
                  <a:pt x="0" y="2714286"/>
                </a:cubicBezTo>
                <a:lnTo>
                  <a:pt x="0" y="157131"/>
                </a:lnTo>
                <a:cubicBezTo>
                  <a:pt x="0" y="73784"/>
                  <a:pt x="211" y="-2975"/>
                  <a:pt x="1036" y="8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188000" anchor="ctr">
            <a:noAutofit/>
          </a:bodyPr>
          <a:lstStyle>
            <a:lvl1pPr marL="0" indent="0" algn="ctr"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8" name="Tijdelijke aanduiding voor afbeelding 37">
            <a:extLst>
              <a:ext uri="{FF2B5EF4-FFF2-40B4-BE49-F238E27FC236}">
                <a16:creationId xmlns:a16="http://schemas.microsoft.com/office/drawing/2014/main" id="{B4DAE761-2905-4370-925B-2CBA8CDD4757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22041817" y="10288803"/>
            <a:ext cx="8792735" cy="9004942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881" h="2865200">
                <a:moveTo>
                  <a:pt x="1036" y="89"/>
                </a:moveTo>
                <a:lnTo>
                  <a:pt x="3319663" y="6217"/>
                </a:lnTo>
                <a:cubicBezTo>
                  <a:pt x="3430792" y="6217"/>
                  <a:pt x="3520881" y="73784"/>
                  <a:pt x="3520881" y="157131"/>
                </a:cubicBezTo>
                <a:lnTo>
                  <a:pt x="3520881" y="2714286"/>
                </a:lnTo>
                <a:cubicBezTo>
                  <a:pt x="3520881" y="2797633"/>
                  <a:pt x="3430792" y="2865200"/>
                  <a:pt x="3319663" y="2865200"/>
                </a:cubicBezTo>
                <a:lnTo>
                  <a:pt x="201219" y="2865200"/>
                </a:lnTo>
                <a:cubicBezTo>
                  <a:pt x="90089" y="2865200"/>
                  <a:pt x="0" y="2797633"/>
                  <a:pt x="0" y="2714286"/>
                </a:cubicBezTo>
                <a:lnTo>
                  <a:pt x="0" y="157131"/>
                </a:lnTo>
                <a:cubicBezTo>
                  <a:pt x="0" y="73784"/>
                  <a:pt x="211" y="-2975"/>
                  <a:pt x="1036" y="8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188000" anchor="ctr">
            <a:noAutofit/>
          </a:bodyPr>
          <a:lstStyle>
            <a:lvl1pPr marL="0" indent="0" algn="ctr"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5" name="Tijdelijke aanduiding voor tekst 5">
            <a:extLst>
              <a:ext uri="{FF2B5EF4-FFF2-40B4-BE49-F238E27FC236}">
                <a16:creationId xmlns:a16="http://schemas.microsoft.com/office/drawing/2014/main" id="{7581CA50-F401-4352-B20E-C61DC891A3E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740479" y="19884610"/>
            <a:ext cx="8792735" cy="1515884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6" name="Tijdelijke aanduiding voor tekst 5">
            <a:extLst>
              <a:ext uri="{FF2B5EF4-FFF2-40B4-BE49-F238E27FC236}">
                <a16:creationId xmlns:a16="http://schemas.microsoft.com/office/drawing/2014/main" id="{EE7615E9-55F0-4367-ADAF-BF9E9F9AFF0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1892101" y="19884610"/>
            <a:ext cx="8792735" cy="1515884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32" name="Tijdelijke aanduiding voor tekst 5">
            <a:extLst>
              <a:ext uri="{FF2B5EF4-FFF2-40B4-BE49-F238E27FC236}">
                <a16:creationId xmlns:a16="http://schemas.microsoft.com/office/drawing/2014/main" id="{1F90D83A-4F8A-4644-B6AA-08EAF0B98A5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2041817" y="19884610"/>
            <a:ext cx="8792735" cy="1515884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grpSp>
        <p:nvGrpSpPr>
          <p:cNvPr id="19" name="GRID" hidden="1"/>
          <p:cNvGrpSpPr/>
          <p:nvPr userDrawn="1"/>
        </p:nvGrpSpPr>
        <p:grpSpPr>
          <a:xfrm>
            <a:off x="5" y="0"/>
            <a:ext cx="42767261" cy="30275213"/>
            <a:chOff x="0" y="0"/>
            <a:chExt cx="12192003" cy="6858000"/>
          </a:xfrm>
        </p:grpSpPr>
        <p:sp>
          <p:nvSpPr>
            <p:cNvPr id="20" name="Rechthoek 19"/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1" name="Rechthoek 20"/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2" name="Rechthoek 21"/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4" name="Rechthoek 23"/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8" name="Rechthoek 27">
              <a:extLst>
                <a:ext uri="{FF2B5EF4-FFF2-40B4-BE49-F238E27FC236}">
                  <a16:creationId xmlns:a16="http://schemas.microsoft.com/office/drawing/2014/main" id="{6BC69531-4B5F-447E-B7A9-2951B17E6FC2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6644E39-2AF2-4EA0-9C3F-28C89D5A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8"/>
            <a:ext cx="707315" cy="101640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7" name="Tijdelijke aanduiding voor tekst 14">
            <a:extLst>
              <a:ext uri="{FF2B5EF4-FFF2-40B4-BE49-F238E27FC236}">
                <a16:creationId xmlns:a16="http://schemas.microsoft.com/office/drawing/2014/main" id="{A6BF4B27-7FC5-4896-80CE-3BA6119B83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sp>
        <p:nvSpPr>
          <p:cNvPr id="33" name="Tijdelijke aanduiding voor voettekst 4">
            <a:extLst>
              <a:ext uri="{FF2B5EF4-FFF2-40B4-BE49-F238E27FC236}">
                <a16:creationId xmlns:a16="http://schemas.microsoft.com/office/drawing/2014/main" id="{3C7CF4CB-CF25-44A3-95AE-206B86BFD6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endParaRPr lang="nl-NL" noProof="0"/>
          </a:p>
        </p:txBody>
      </p:sp>
      <p:sp>
        <p:nvSpPr>
          <p:cNvPr id="29" name="Tijdelijke aanduiding voor datum 3">
            <a:extLst>
              <a:ext uri="{FF2B5EF4-FFF2-40B4-BE49-F238E27FC236}">
                <a16:creationId xmlns:a16="http://schemas.microsoft.com/office/drawing/2014/main" id="{53600F14-A3DB-4812-872D-DFA76F4B6A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endParaRPr lang="nl-NL" noProof="0"/>
          </a:p>
        </p:txBody>
      </p:sp>
      <p:sp>
        <p:nvSpPr>
          <p:cNvPr id="155" name="Tijdelijke aanduiding voor afbeelding 37">
            <a:extLst>
              <a:ext uri="{FF2B5EF4-FFF2-40B4-BE49-F238E27FC236}">
                <a16:creationId xmlns:a16="http://schemas.microsoft.com/office/drawing/2014/main" id="{4B086C57-3BEE-4549-87B3-7562F8DF0AE6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2191528" y="10288803"/>
            <a:ext cx="8792735" cy="9004942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881" h="2865200">
                <a:moveTo>
                  <a:pt x="1036" y="89"/>
                </a:moveTo>
                <a:lnTo>
                  <a:pt x="3319663" y="6217"/>
                </a:lnTo>
                <a:cubicBezTo>
                  <a:pt x="3430792" y="6217"/>
                  <a:pt x="3520881" y="73784"/>
                  <a:pt x="3520881" y="157131"/>
                </a:cubicBezTo>
                <a:lnTo>
                  <a:pt x="3520881" y="2714286"/>
                </a:lnTo>
                <a:cubicBezTo>
                  <a:pt x="3520881" y="2797633"/>
                  <a:pt x="3430792" y="2865200"/>
                  <a:pt x="3319663" y="2865200"/>
                </a:cubicBezTo>
                <a:lnTo>
                  <a:pt x="201219" y="2865200"/>
                </a:lnTo>
                <a:cubicBezTo>
                  <a:pt x="90089" y="2865200"/>
                  <a:pt x="0" y="2797633"/>
                  <a:pt x="0" y="2714286"/>
                </a:cubicBezTo>
                <a:lnTo>
                  <a:pt x="0" y="157131"/>
                </a:lnTo>
                <a:cubicBezTo>
                  <a:pt x="0" y="73784"/>
                  <a:pt x="211" y="-2975"/>
                  <a:pt x="1036" y="8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188000" anchor="ctr">
            <a:noAutofit/>
          </a:bodyPr>
          <a:lstStyle>
            <a:lvl1pPr marL="0" indent="0" algn="ctr"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156" name="Tijdelijke aanduiding voor tekst 5">
            <a:extLst>
              <a:ext uri="{FF2B5EF4-FFF2-40B4-BE49-F238E27FC236}">
                <a16:creationId xmlns:a16="http://schemas.microsoft.com/office/drawing/2014/main" id="{9E15389D-5806-474F-9FEF-A9CFC8A7F10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191528" y="19884610"/>
            <a:ext cx="8792735" cy="1515884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pic>
        <p:nvPicPr>
          <p:cNvPr id="80" name="Afbeelding 79">
            <a:extLst>
              <a:ext uri="{FF2B5EF4-FFF2-40B4-BE49-F238E27FC236}">
                <a16:creationId xmlns:a16="http://schemas.microsoft.com/office/drawing/2014/main" id="{6639F2A8-E8F6-4DE3-9FA2-A221B750E3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9810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rnpunten + Tekstvlakke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jdelijke aanduiding voor afbeelding 35">
            <a:extLst>
              <a:ext uri="{FF2B5EF4-FFF2-40B4-BE49-F238E27FC236}">
                <a16:creationId xmlns:a16="http://schemas.microsoft.com/office/drawing/2014/main" id="{DDF59742-AC42-4AAA-9941-6163D1AD1558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1742383" y="5815907"/>
            <a:ext cx="12350720" cy="6929700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958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82707"/>
              <a:gd name="connsiteX1" fmla="*/ 3386338 w 3520881"/>
              <a:gd name="connsiteY1" fmla="*/ 6216 h 2882707"/>
              <a:gd name="connsiteX2" fmla="*/ 3520881 w 3520881"/>
              <a:gd name="connsiteY2" fmla="*/ 157131 h 2882707"/>
              <a:gd name="connsiteX3" fmla="*/ 3520881 w 3520881"/>
              <a:gd name="connsiteY3" fmla="*/ 2714286 h 2882707"/>
              <a:gd name="connsiteX4" fmla="*/ 3395863 w 3520881"/>
              <a:gd name="connsiteY4" fmla="*/ 2865200 h 2882707"/>
              <a:gd name="connsiteX5" fmla="*/ 125019 w 3520881"/>
              <a:gd name="connsiteY5" fmla="*/ 2882707 h 2882707"/>
              <a:gd name="connsiteX6" fmla="*/ 0 w 3520881"/>
              <a:gd name="connsiteY6" fmla="*/ 2714286 h 2882707"/>
              <a:gd name="connsiteX7" fmla="*/ 0 w 3520881"/>
              <a:gd name="connsiteY7" fmla="*/ 157131 h 2882707"/>
              <a:gd name="connsiteX8" fmla="*/ 1036 w 3520881"/>
              <a:gd name="connsiteY8" fmla="*/ 89 h 2882707"/>
              <a:gd name="connsiteX0" fmla="*/ 1036 w 3522188"/>
              <a:gd name="connsiteY0" fmla="*/ 2627 h 2885245"/>
              <a:gd name="connsiteX1" fmla="*/ 3429201 w 3522188"/>
              <a:gd name="connsiteY1" fmla="*/ 0 h 2885245"/>
              <a:gd name="connsiteX2" fmla="*/ 3520881 w 3522188"/>
              <a:gd name="connsiteY2" fmla="*/ 159669 h 2885245"/>
              <a:gd name="connsiteX3" fmla="*/ 3520881 w 3522188"/>
              <a:gd name="connsiteY3" fmla="*/ 2716824 h 2885245"/>
              <a:gd name="connsiteX4" fmla="*/ 3395863 w 3522188"/>
              <a:gd name="connsiteY4" fmla="*/ 2867738 h 2885245"/>
              <a:gd name="connsiteX5" fmla="*/ 125019 w 3522188"/>
              <a:gd name="connsiteY5" fmla="*/ 2885245 h 2885245"/>
              <a:gd name="connsiteX6" fmla="*/ 0 w 3522188"/>
              <a:gd name="connsiteY6" fmla="*/ 2716824 h 2885245"/>
              <a:gd name="connsiteX7" fmla="*/ 0 w 3522188"/>
              <a:gd name="connsiteY7" fmla="*/ 159669 h 2885245"/>
              <a:gd name="connsiteX8" fmla="*/ 1036 w 3522188"/>
              <a:gd name="connsiteY8" fmla="*/ 2627 h 2885245"/>
              <a:gd name="connsiteX0" fmla="*/ 1036 w 3520918"/>
              <a:gd name="connsiteY0" fmla="*/ 2627 h 2885245"/>
              <a:gd name="connsiteX1" fmla="*/ 3414913 w 3520918"/>
              <a:gd name="connsiteY1" fmla="*/ 0 h 2885245"/>
              <a:gd name="connsiteX2" fmla="*/ 3520881 w 3520918"/>
              <a:gd name="connsiteY2" fmla="*/ 159669 h 2885245"/>
              <a:gd name="connsiteX3" fmla="*/ 3520881 w 3520918"/>
              <a:gd name="connsiteY3" fmla="*/ 2716824 h 2885245"/>
              <a:gd name="connsiteX4" fmla="*/ 3395863 w 3520918"/>
              <a:gd name="connsiteY4" fmla="*/ 2867738 h 2885245"/>
              <a:gd name="connsiteX5" fmla="*/ 125019 w 3520918"/>
              <a:gd name="connsiteY5" fmla="*/ 2885245 h 2885245"/>
              <a:gd name="connsiteX6" fmla="*/ 0 w 3520918"/>
              <a:gd name="connsiteY6" fmla="*/ 2716824 h 2885245"/>
              <a:gd name="connsiteX7" fmla="*/ 0 w 3520918"/>
              <a:gd name="connsiteY7" fmla="*/ 159669 h 2885245"/>
              <a:gd name="connsiteX8" fmla="*/ 1036 w 3520918"/>
              <a:gd name="connsiteY8" fmla="*/ 2627 h 2885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918" h="2885245">
                <a:moveTo>
                  <a:pt x="1036" y="2627"/>
                </a:moveTo>
                <a:lnTo>
                  <a:pt x="3414913" y="0"/>
                </a:lnTo>
                <a:cubicBezTo>
                  <a:pt x="3526042" y="0"/>
                  <a:pt x="3520881" y="76322"/>
                  <a:pt x="3520881" y="159669"/>
                </a:cubicBezTo>
                <a:lnTo>
                  <a:pt x="3520881" y="2716824"/>
                </a:lnTo>
                <a:cubicBezTo>
                  <a:pt x="3520881" y="2800171"/>
                  <a:pt x="3506992" y="2867738"/>
                  <a:pt x="3395863" y="2867738"/>
                </a:cubicBezTo>
                <a:lnTo>
                  <a:pt x="125019" y="2885245"/>
                </a:lnTo>
                <a:cubicBezTo>
                  <a:pt x="13889" y="2885245"/>
                  <a:pt x="0" y="2800171"/>
                  <a:pt x="0" y="2716824"/>
                </a:cubicBezTo>
                <a:lnTo>
                  <a:pt x="0" y="159669"/>
                </a:lnTo>
                <a:cubicBezTo>
                  <a:pt x="0" y="76322"/>
                  <a:pt x="211" y="-437"/>
                  <a:pt x="1036" y="262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972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5" name="Tijdelijke aanduiding voor tekst 5">
            <a:extLst>
              <a:ext uri="{FF2B5EF4-FFF2-40B4-BE49-F238E27FC236}">
                <a16:creationId xmlns:a16="http://schemas.microsoft.com/office/drawing/2014/main" id="{7581CA50-F401-4352-B20E-C61DC891A3E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740476" y="13257591"/>
            <a:ext cx="12352499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6" name="Tijdelijke aanduiding voor tekst 5">
            <a:extLst>
              <a:ext uri="{FF2B5EF4-FFF2-40B4-BE49-F238E27FC236}">
                <a16:creationId xmlns:a16="http://schemas.microsoft.com/office/drawing/2014/main" id="{EE7615E9-55F0-4367-ADAF-BF9E9F9AFF0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265724" y="13257591"/>
            <a:ext cx="12352499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32" name="Tijdelijke aanduiding voor tekst 5">
            <a:extLst>
              <a:ext uri="{FF2B5EF4-FFF2-40B4-BE49-F238E27FC236}">
                <a16:creationId xmlns:a16="http://schemas.microsoft.com/office/drawing/2014/main" id="{1F90D83A-4F8A-4644-B6AA-08EAF0B98A5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8807971" y="13257591"/>
            <a:ext cx="12352499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grpSp>
        <p:nvGrpSpPr>
          <p:cNvPr id="19" name="GRID" hidden="1"/>
          <p:cNvGrpSpPr/>
          <p:nvPr userDrawn="1"/>
        </p:nvGrpSpPr>
        <p:grpSpPr>
          <a:xfrm>
            <a:off x="5" y="0"/>
            <a:ext cx="42767261" cy="30275213"/>
            <a:chOff x="0" y="0"/>
            <a:chExt cx="12192003" cy="6858000"/>
          </a:xfrm>
        </p:grpSpPr>
        <p:sp>
          <p:nvSpPr>
            <p:cNvPr id="20" name="Rechthoek 19"/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1" name="Rechthoek 20"/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2" name="Rechthoek 21"/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4" name="Rechthoek 23"/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8" name="Rechthoek 27">
              <a:extLst>
                <a:ext uri="{FF2B5EF4-FFF2-40B4-BE49-F238E27FC236}">
                  <a16:creationId xmlns:a16="http://schemas.microsoft.com/office/drawing/2014/main" id="{6BC69531-4B5F-447E-B7A9-2951B17E6FC2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6644E39-2AF2-4EA0-9C3F-28C89D5A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8"/>
            <a:ext cx="707315" cy="101640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7" name="Tijdelijke aanduiding voor tekst 14">
            <a:extLst>
              <a:ext uri="{FF2B5EF4-FFF2-40B4-BE49-F238E27FC236}">
                <a16:creationId xmlns:a16="http://schemas.microsoft.com/office/drawing/2014/main" id="{A6BF4B27-7FC5-4896-80CE-3BA6119B83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sp>
        <p:nvSpPr>
          <p:cNvPr id="33" name="Tijdelijke aanduiding voor voettekst 4">
            <a:extLst>
              <a:ext uri="{FF2B5EF4-FFF2-40B4-BE49-F238E27FC236}">
                <a16:creationId xmlns:a16="http://schemas.microsoft.com/office/drawing/2014/main" id="{3C7CF4CB-CF25-44A3-95AE-206B86BFD6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endParaRPr lang="nl-NL" noProof="0"/>
          </a:p>
        </p:txBody>
      </p:sp>
      <p:sp>
        <p:nvSpPr>
          <p:cNvPr id="29" name="Tijdelijke aanduiding voor datum 3">
            <a:extLst>
              <a:ext uri="{FF2B5EF4-FFF2-40B4-BE49-F238E27FC236}">
                <a16:creationId xmlns:a16="http://schemas.microsoft.com/office/drawing/2014/main" id="{53600F14-A3DB-4812-872D-DFA76F4B6A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endParaRPr lang="nl-NL" noProof="0"/>
          </a:p>
        </p:txBody>
      </p:sp>
      <p:sp>
        <p:nvSpPr>
          <p:cNvPr id="170" name="Tijdelijke aanduiding voor tekst 5">
            <a:extLst>
              <a:ext uri="{FF2B5EF4-FFF2-40B4-BE49-F238E27FC236}">
                <a16:creationId xmlns:a16="http://schemas.microsoft.com/office/drawing/2014/main" id="{3F0188AC-8892-4C7B-8E2B-B715F4DDB33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740476" y="24130217"/>
            <a:ext cx="12352499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71" name="Tijdelijke aanduiding voor tekst 5">
            <a:extLst>
              <a:ext uri="{FF2B5EF4-FFF2-40B4-BE49-F238E27FC236}">
                <a16:creationId xmlns:a16="http://schemas.microsoft.com/office/drawing/2014/main" id="{BCD28633-05C1-4036-ACD0-8B909BE0A8A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5265724" y="24130217"/>
            <a:ext cx="12352499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72" name="Tijdelijke aanduiding voor tekst 5">
            <a:extLst>
              <a:ext uri="{FF2B5EF4-FFF2-40B4-BE49-F238E27FC236}">
                <a16:creationId xmlns:a16="http://schemas.microsoft.com/office/drawing/2014/main" id="{FFCDB378-C3AB-408C-9AD4-E299B638AF03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8807971" y="24130217"/>
            <a:ext cx="12352499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73" name="Tijdelijke aanduiding voor afbeelding 35">
            <a:extLst>
              <a:ext uri="{FF2B5EF4-FFF2-40B4-BE49-F238E27FC236}">
                <a16:creationId xmlns:a16="http://schemas.microsoft.com/office/drawing/2014/main" id="{CEF46CD6-D59A-4DA6-83B8-A8A76F0275F7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5267499" y="5815907"/>
            <a:ext cx="12350720" cy="6929700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958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82707"/>
              <a:gd name="connsiteX1" fmla="*/ 3386338 w 3520881"/>
              <a:gd name="connsiteY1" fmla="*/ 6216 h 2882707"/>
              <a:gd name="connsiteX2" fmla="*/ 3520881 w 3520881"/>
              <a:gd name="connsiteY2" fmla="*/ 157131 h 2882707"/>
              <a:gd name="connsiteX3" fmla="*/ 3520881 w 3520881"/>
              <a:gd name="connsiteY3" fmla="*/ 2714286 h 2882707"/>
              <a:gd name="connsiteX4" fmla="*/ 3395863 w 3520881"/>
              <a:gd name="connsiteY4" fmla="*/ 2865200 h 2882707"/>
              <a:gd name="connsiteX5" fmla="*/ 125019 w 3520881"/>
              <a:gd name="connsiteY5" fmla="*/ 2882707 h 2882707"/>
              <a:gd name="connsiteX6" fmla="*/ 0 w 3520881"/>
              <a:gd name="connsiteY6" fmla="*/ 2714286 h 2882707"/>
              <a:gd name="connsiteX7" fmla="*/ 0 w 3520881"/>
              <a:gd name="connsiteY7" fmla="*/ 157131 h 2882707"/>
              <a:gd name="connsiteX8" fmla="*/ 1036 w 3520881"/>
              <a:gd name="connsiteY8" fmla="*/ 89 h 2882707"/>
              <a:gd name="connsiteX0" fmla="*/ 1036 w 3522188"/>
              <a:gd name="connsiteY0" fmla="*/ 2627 h 2885245"/>
              <a:gd name="connsiteX1" fmla="*/ 3429201 w 3522188"/>
              <a:gd name="connsiteY1" fmla="*/ 0 h 2885245"/>
              <a:gd name="connsiteX2" fmla="*/ 3520881 w 3522188"/>
              <a:gd name="connsiteY2" fmla="*/ 159669 h 2885245"/>
              <a:gd name="connsiteX3" fmla="*/ 3520881 w 3522188"/>
              <a:gd name="connsiteY3" fmla="*/ 2716824 h 2885245"/>
              <a:gd name="connsiteX4" fmla="*/ 3395863 w 3522188"/>
              <a:gd name="connsiteY4" fmla="*/ 2867738 h 2885245"/>
              <a:gd name="connsiteX5" fmla="*/ 125019 w 3522188"/>
              <a:gd name="connsiteY5" fmla="*/ 2885245 h 2885245"/>
              <a:gd name="connsiteX6" fmla="*/ 0 w 3522188"/>
              <a:gd name="connsiteY6" fmla="*/ 2716824 h 2885245"/>
              <a:gd name="connsiteX7" fmla="*/ 0 w 3522188"/>
              <a:gd name="connsiteY7" fmla="*/ 159669 h 2885245"/>
              <a:gd name="connsiteX8" fmla="*/ 1036 w 3522188"/>
              <a:gd name="connsiteY8" fmla="*/ 2627 h 2885245"/>
              <a:gd name="connsiteX0" fmla="*/ 1036 w 3520918"/>
              <a:gd name="connsiteY0" fmla="*/ 2627 h 2885245"/>
              <a:gd name="connsiteX1" fmla="*/ 3414913 w 3520918"/>
              <a:gd name="connsiteY1" fmla="*/ 0 h 2885245"/>
              <a:gd name="connsiteX2" fmla="*/ 3520881 w 3520918"/>
              <a:gd name="connsiteY2" fmla="*/ 159669 h 2885245"/>
              <a:gd name="connsiteX3" fmla="*/ 3520881 w 3520918"/>
              <a:gd name="connsiteY3" fmla="*/ 2716824 h 2885245"/>
              <a:gd name="connsiteX4" fmla="*/ 3395863 w 3520918"/>
              <a:gd name="connsiteY4" fmla="*/ 2867738 h 2885245"/>
              <a:gd name="connsiteX5" fmla="*/ 125019 w 3520918"/>
              <a:gd name="connsiteY5" fmla="*/ 2885245 h 2885245"/>
              <a:gd name="connsiteX6" fmla="*/ 0 w 3520918"/>
              <a:gd name="connsiteY6" fmla="*/ 2716824 h 2885245"/>
              <a:gd name="connsiteX7" fmla="*/ 0 w 3520918"/>
              <a:gd name="connsiteY7" fmla="*/ 159669 h 2885245"/>
              <a:gd name="connsiteX8" fmla="*/ 1036 w 3520918"/>
              <a:gd name="connsiteY8" fmla="*/ 2627 h 2885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918" h="2885245">
                <a:moveTo>
                  <a:pt x="1036" y="2627"/>
                </a:moveTo>
                <a:lnTo>
                  <a:pt x="3414913" y="0"/>
                </a:lnTo>
                <a:cubicBezTo>
                  <a:pt x="3526042" y="0"/>
                  <a:pt x="3520881" y="76322"/>
                  <a:pt x="3520881" y="159669"/>
                </a:cubicBezTo>
                <a:lnTo>
                  <a:pt x="3520881" y="2716824"/>
                </a:lnTo>
                <a:cubicBezTo>
                  <a:pt x="3520881" y="2800171"/>
                  <a:pt x="3506992" y="2867738"/>
                  <a:pt x="3395863" y="2867738"/>
                </a:cubicBezTo>
                <a:lnTo>
                  <a:pt x="125019" y="2885245"/>
                </a:lnTo>
                <a:cubicBezTo>
                  <a:pt x="13889" y="2885245"/>
                  <a:pt x="0" y="2800171"/>
                  <a:pt x="0" y="2716824"/>
                </a:cubicBezTo>
                <a:lnTo>
                  <a:pt x="0" y="159669"/>
                </a:lnTo>
                <a:cubicBezTo>
                  <a:pt x="0" y="76322"/>
                  <a:pt x="211" y="-437"/>
                  <a:pt x="1036" y="262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972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174" name="Tijdelijke aanduiding voor afbeelding 35">
            <a:extLst>
              <a:ext uri="{FF2B5EF4-FFF2-40B4-BE49-F238E27FC236}">
                <a16:creationId xmlns:a16="http://schemas.microsoft.com/office/drawing/2014/main" id="{F620ACD4-13AF-4B66-AAF5-56B1F26AF5D4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28809745" y="5815907"/>
            <a:ext cx="12350720" cy="6929700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958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82707"/>
              <a:gd name="connsiteX1" fmla="*/ 3386338 w 3520881"/>
              <a:gd name="connsiteY1" fmla="*/ 6216 h 2882707"/>
              <a:gd name="connsiteX2" fmla="*/ 3520881 w 3520881"/>
              <a:gd name="connsiteY2" fmla="*/ 157131 h 2882707"/>
              <a:gd name="connsiteX3" fmla="*/ 3520881 w 3520881"/>
              <a:gd name="connsiteY3" fmla="*/ 2714286 h 2882707"/>
              <a:gd name="connsiteX4" fmla="*/ 3395863 w 3520881"/>
              <a:gd name="connsiteY4" fmla="*/ 2865200 h 2882707"/>
              <a:gd name="connsiteX5" fmla="*/ 125019 w 3520881"/>
              <a:gd name="connsiteY5" fmla="*/ 2882707 h 2882707"/>
              <a:gd name="connsiteX6" fmla="*/ 0 w 3520881"/>
              <a:gd name="connsiteY6" fmla="*/ 2714286 h 2882707"/>
              <a:gd name="connsiteX7" fmla="*/ 0 w 3520881"/>
              <a:gd name="connsiteY7" fmla="*/ 157131 h 2882707"/>
              <a:gd name="connsiteX8" fmla="*/ 1036 w 3520881"/>
              <a:gd name="connsiteY8" fmla="*/ 89 h 2882707"/>
              <a:gd name="connsiteX0" fmla="*/ 1036 w 3522188"/>
              <a:gd name="connsiteY0" fmla="*/ 2627 h 2885245"/>
              <a:gd name="connsiteX1" fmla="*/ 3429201 w 3522188"/>
              <a:gd name="connsiteY1" fmla="*/ 0 h 2885245"/>
              <a:gd name="connsiteX2" fmla="*/ 3520881 w 3522188"/>
              <a:gd name="connsiteY2" fmla="*/ 159669 h 2885245"/>
              <a:gd name="connsiteX3" fmla="*/ 3520881 w 3522188"/>
              <a:gd name="connsiteY3" fmla="*/ 2716824 h 2885245"/>
              <a:gd name="connsiteX4" fmla="*/ 3395863 w 3522188"/>
              <a:gd name="connsiteY4" fmla="*/ 2867738 h 2885245"/>
              <a:gd name="connsiteX5" fmla="*/ 125019 w 3522188"/>
              <a:gd name="connsiteY5" fmla="*/ 2885245 h 2885245"/>
              <a:gd name="connsiteX6" fmla="*/ 0 w 3522188"/>
              <a:gd name="connsiteY6" fmla="*/ 2716824 h 2885245"/>
              <a:gd name="connsiteX7" fmla="*/ 0 w 3522188"/>
              <a:gd name="connsiteY7" fmla="*/ 159669 h 2885245"/>
              <a:gd name="connsiteX8" fmla="*/ 1036 w 3522188"/>
              <a:gd name="connsiteY8" fmla="*/ 2627 h 2885245"/>
              <a:gd name="connsiteX0" fmla="*/ 1036 w 3520918"/>
              <a:gd name="connsiteY0" fmla="*/ 2627 h 2885245"/>
              <a:gd name="connsiteX1" fmla="*/ 3414913 w 3520918"/>
              <a:gd name="connsiteY1" fmla="*/ 0 h 2885245"/>
              <a:gd name="connsiteX2" fmla="*/ 3520881 w 3520918"/>
              <a:gd name="connsiteY2" fmla="*/ 159669 h 2885245"/>
              <a:gd name="connsiteX3" fmla="*/ 3520881 w 3520918"/>
              <a:gd name="connsiteY3" fmla="*/ 2716824 h 2885245"/>
              <a:gd name="connsiteX4" fmla="*/ 3395863 w 3520918"/>
              <a:gd name="connsiteY4" fmla="*/ 2867738 h 2885245"/>
              <a:gd name="connsiteX5" fmla="*/ 125019 w 3520918"/>
              <a:gd name="connsiteY5" fmla="*/ 2885245 h 2885245"/>
              <a:gd name="connsiteX6" fmla="*/ 0 w 3520918"/>
              <a:gd name="connsiteY6" fmla="*/ 2716824 h 2885245"/>
              <a:gd name="connsiteX7" fmla="*/ 0 w 3520918"/>
              <a:gd name="connsiteY7" fmla="*/ 159669 h 2885245"/>
              <a:gd name="connsiteX8" fmla="*/ 1036 w 3520918"/>
              <a:gd name="connsiteY8" fmla="*/ 2627 h 2885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918" h="2885245">
                <a:moveTo>
                  <a:pt x="1036" y="2627"/>
                </a:moveTo>
                <a:lnTo>
                  <a:pt x="3414913" y="0"/>
                </a:lnTo>
                <a:cubicBezTo>
                  <a:pt x="3526042" y="0"/>
                  <a:pt x="3520881" y="76322"/>
                  <a:pt x="3520881" y="159669"/>
                </a:cubicBezTo>
                <a:lnTo>
                  <a:pt x="3520881" y="2716824"/>
                </a:lnTo>
                <a:cubicBezTo>
                  <a:pt x="3520881" y="2800171"/>
                  <a:pt x="3506992" y="2867738"/>
                  <a:pt x="3395863" y="2867738"/>
                </a:cubicBezTo>
                <a:lnTo>
                  <a:pt x="125019" y="2885245"/>
                </a:lnTo>
                <a:cubicBezTo>
                  <a:pt x="13889" y="2885245"/>
                  <a:pt x="0" y="2800171"/>
                  <a:pt x="0" y="2716824"/>
                </a:cubicBezTo>
                <a:lnTo>
                  <a:pt x="0" y="159669"/>
                </a:lnTo>
                <a:cubicBezTo>
                  <a:pt x="0" y="76322"/>
                  <a:pt x="211" y="-437"/>
                  <a:pt x="1036" y="262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972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175" name="Tijdelijke aanduiding voor afbeelding 35">
            <a:extLst>
              <a:ext uri="{FF2B5EF4-FFF2-40B4-BE49-F238E27FC236}">
                <a16:creationId xmlns:a16="http://schemas.microsoft.com/office/drawing/2014/main" id="{D24E1274-C596-458A-AA45-713DA34AEAEF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1742383" y="16696707"/>
            <a:ext cx="12350720" cy="6929700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958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82707"/>
              <a:gd name="connsiteX1" fmla="*/ 3386338 w 3520881"/>
              <a:gd name="connsiteY1" fmla="*/ 6216 h 2882707"/>
              <a:gd name="connsiteX2" fmla="*/ 3520881 w 3520881"/>
              <a:gd name="connsiteY2" fmla="*/ 157131 h 2882707"/>
              <a:gd name="connsiteX3" fmla="*/ 3520881 w 3520881"/>
              <a:gd name="connsiteY3" fmla="*/ 2714286 h 2882707"/>
              <a:gd name="connsiteX4" fmla="*/ 3395863 w 3520881"/>
              <a:gd name="connsiteY4" fmla="*/ 2865200 h 2882707"/>
              <a:gd name="connsiteX5" fmla="*/ 125019 w 3520881"/>
              <a:gd name="connsiteY5" fmla="*/ 2882707 h 2882707"/>
              <a:gd name="connsiteX6" fmla="*/ 0 w 3520881"/>
              <a:gd name="connsiteY6" fmla="*/ 2714286 h 2882707"/>
              <a:gd name="connsiteX7" fmla="*/ 0 w 3520881"/>
              <a:gd name="connsiteY7" fmla="*/ 157131 h 2882707"/>
              <a:gd name="connsiteX8" fmla="*/ 1036 w 3520881"/>
              <a:gd name="connsiteY8" fmla="*/ 89 h 2882707"/>
              <a:gd name="connsiteX0" fmla="*/ 1036 w 3522188"/>
              <a:gd name="connsiteY0" fmla="*/ 2627 h 2885245"/>
              <a:gd name="connsiteX1" fmla="*/ 3429201 w 3522188"/>
              <a:gd name="connsiteY1" fmla="*/ 0 h 2885245"/>
              <a:gd name="connsiteX2" fmla="*/ 3520881 w 3522188"/>
              <a:gd name="connsiteY2" fmla="*/ 159669 h 2885245"/>
              <a:gd name="connsiteX3" fmla="*/ 3520881 w 3522188"/>
              <a:gd name="connsiteY3" fmla="*/ 2716824 h 2885245"/>
              <a:gd name="connsiteX4" fmla="*/ 3395863 w 3522188"/>
              <a:gd name="connsiteY4" fmla="*/ 2867738 h 2885245"/>
              <a:gd name="connsiteX5" fmla="*/ 125019 w 3522188"/>
              <a:gd name="connsiteY5" fmla="*/ 2885245 h 2885245"/>
              <a:gd name="connsiteX6" fmla="*/ 0 w 3522188"/>
              <a:gd name="connsiteY6" fmla="*/ 2716824 h 2885245"/>
              <a:gd name="connsiteX7" fmla="*/ 0 w 3522188"/>
              <a:gd name="connsiteY7" fmla="*/ 159669 h 2885245"/>
              <a:gd name="connsiteX8" fmla="*/ 1036 w 3522188"/>
              <a:gd name="connsiteY8" fmla="*/ 2627 h 2885245"/>
              <a:gd name="connsiteX0" fmla="*/ 1036 w 3520918"/>
              <a:gd name="connsiteY0" fmla="*/ 2627 h 2885245"/>
              <a:gd name="connsiteX1" fmla="*/ 3414913 w 3520918"/>
              <a:gd name="connsiteY1" fmla="*/ 0 h 2885245"/>
              <a:gd name="connsiteX2" fmla="*/ 3520881 w 3520918"/>
              <a:gd name="connsiteY2" fmla="*/ 159669 h 2885245"/>
              <a:gd name="connsiteX3" fmla="*/ 3520881 w 3520918"/>
              <a:gd name="connsiteY3" fmla="*/ 2716824 h 2885245"/>
              <a:gd name="connsiteX4" fmla="*/ 3395863 w 3520918"/>
              <a:gd name="connsiteY4" fmla="*/ 2867738 h 2885245"/>
              <a:gd name="connsiteX5" fmla="*/ 125019 w 3520918"/>
              <a:gd name="connsiteY5" fmla="*/ 2885245 h 2885245"/>
              <a:gd name="connsiteX6" fmla="*/ 0 w 3520918"/>
              <a:gd name="connsiteY6" fmla="*/ 2716824 h 2885245"/>
              <a:gd name="connsiteX7" fmla="*/ 0 w 3520918"/>
              <a:gd name="connsiteY7" fmla="*/ 159669 h 2885245"/>
              <a:gd name="connsiteX8" fmla="*/ 1036 w 3520918"/>
              <a:gd name="connsiteY8" fmla="*/ 2627 h 2885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918" h="2885245">
                <a:moveTo>
                  <a:pt x="1036" y="2627"/>
                </a:moveTo>
                <a:lnTo>
                  <a:pt x="3414913" y="0"/>
                </a:lnTo>
                <a:cubicBezTo>
                  <a:pt x="3526042" y="0"/>
                  <a:pt x="3520881" y="76322"/>
                  <a:pt x="3520881" y="159669"/>
                </a:cubicBezTo>
                <a:lnTo>
                  <a:pt x="3520881" y="2716824"/>
                </a:lnTo>
                <a:cubicBezTo>
                  <a:pt x="3520881" y="2800171"/>
                  <a:pt x="3506992" y="2867738"/>
                  <a:pt x="3395863" y="2867738"/>
                </a:cubicBezTo>
                <a:lnTo>
                  <a:pt x="125019" y="2885245"/>
                </a:lnTo>
                <a:cubicBezTo>
                  <a:pt x="13889" y="2885245"/>
                  <a:pt x="0" y="2800171"/>
                  <a:pt x="0" y="2716824"/>
                </a:cubicBezTo>
                <a:lnTo>
                  <a:pt x="0" y="159669"/>
                </a:lnTo>
                <a:cubicBezTo>
                  <a:pt x="0" y="76322"/>
                  <a:pt x="211" y="-437"/>
                  <a:pt x="1036" y="262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972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176" name="Tijdelijke aanduiding voor afbeelding 35">
            <a:extLst>
              <a:ext uri="{FF2B5EF4-FFF2-40B4-BE49-F238E27FC236}">
                <a16:creationId xmlns:a16="http://schemas.microsoft.com/office/drawing/2014/main" id="{936A94BE-D794-43E5-987F-0D0A37508FAA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15267499" y="16696707"/>
            <a:ext cx="12350720" cy="6929700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958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82707"/>
              <a:gd name="connsiteX1" fmla="*/ 3386338 w 3520881"/>
              <a:gd name="connsiteY1" fmla="*/ 6216 h 2882707"/>
              <a:gd name="connsiteX2" fmla="*/ 3520881 w 3520881"/>
              <a:gd name="connsiteY2" fmla="*/ 157131 h 2882707"/>
              <a:gd name="connsiteX3" fmla="*/ 3520881 w 3520881"/>
              <a:gd name="connsiteY3" fmla="*/ 2714286 h 2882707"/>
              <a:gd name="connsiteX4" fmla="*/ 3395863 w 3520881"/>
              <a:gd name="connsiteY4" fmla="*/ 2865200 h 2882707"/>
              <a:gd name="connsiteX5" fmla="*/ 125019 w 3520881"/>
              <a:gd name="connsiteY5" fmla="*/ 2882707 h 2882707"/>
              <a:gd name="connsiteX6" fmla="*/ 0 w 3520881"/>
              <a:gd name="connsiteY6" fmla="*/ 2714286 h 2882707"/>
              <a:gd name="connsiteX7" fmla="*/ 0 w 3520881"/>
              <a:gd name="connsiteY7" fmla="*/ 157131 h 2882707"/>
              <a:gd name="connsiteX8" fmla="*/ 1036 w 3520881"/>
              <a:gd name="connsiteY8" fmla="*/ 89 h 2882707"/>
              <a:gd name="connsiteX0" fmla="*/ 1036 w 3522188"/>
              <a:gd name="connsiteY0" fmla="*/ 2627 h 2885245"/>
              <a:gd name="connsiteX1" fmla="*/ 3429201 w 3522188"/>
              <a:gd name="connsiteY1" fmla="*/ 0 h 2885245"/>
              <a:gd name="connsiteX2" fmla="*/ 3520881 w 3522188"/>
              <a:gd name="connsiteY2" fmla="*/ 159669 h 2885245"/>
              <a:gd name="connsiteX3" fmla="*/ 3520881 w 3522188"/>
              <a:gd name="connsiteY3" fmla="*/ 2716824 h 2885245"/>
              <a:gd name="connsiteX4" fmla="*/ 3395863 w 3522188"/>
              <a:gd name="connsiteY4" fmla="*/ 2867738 h 2885245"/>
              <a:gd name="connsiteX5" fmla="*/ 125019 w 3522188"/>
              <a:gd name="connsiteY5" fmla="*/ 2885245 h 2885245"/>
              <a:gd name="connsiteX6" fmla="*/ 0 w 3522188"/>
              <a:gd name="connsiteY6" fmla="*/ 2716824 h 2885245"/>
              <a:gd name="connsiteX7" fmla="*/ 0 w 3522188"/>
              <a:gd name="connsiteY7" fmla="*/ 159669 h 2885245"/>
              <a:gd name="connsiteX8" fmla="*/ 1036 w 3522188"/>
              <a:gd name="connsiteY8" fmla="*/ 2627 h 2885245"/>
              <a:gd name="connsiteX0" fmla="*/ 1036 w 3520918"/>
              <a:gd name="connsiteY0" fmla="*/ 2627 h 2885245"/>
              <a:gd name="connsiteX1" fmla="*/ 3414913 w 3520918"/>
              <a:gd name="connsiteY1" fmla="*/ 0 h 2885245"/>
              <a:gd name="connsiteX2" fmla="*/ 3520881 w 3520918"/>
              <a:gd name="connsiteY2" fmla="*/ 159669 h 2885245"/>
              <a:gd name="connsiteX3" fmla="*/ 3520881 w 3520918"/>
              <a:gd name="connsiteY3" fmla="*/ 2716824 h 2885245"/>
              <a:gd name="connsiteX4" fmla="*/ 3395863 w 3520918"/>
              <a:gd name="connsiteY4" fmla="*/ 2867738 h 2885245"/>
              <a:gd name="connsiteX5" fmla="*/ 125019 w 3520918"/>
              <a:gd name="connsiteY5" fmla="*/ 2885245 h 2885245"/>
              <a:gd name="connsiteX6" fmla="*/ 0 w 3520918"/>
              <a:gd name="connsiteY6" fmla="*/ 2716824 h 2885245"/>
              <a:gd name="connsiteX7" fmla="*/ 0 w 3520918"/>
              <a:gd name="connsiteY7" fmla="*/ 159669 h 2885245"/>
              <a:gd name="connsiteX8" fmla="*/ 1036 w 3520918"/>
              <a:gd name="connsiteY8" fmla="*/ 2627 h 2885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918" h="2885245">
                <a:moveTo>
                  <a:pt x="1036" y="2627"/>
                </a:moveTo>
                <a:lnTo>
                  <a:pt x="3414913" y="0"/>
                </a:lnTo>
                <a:cubicBezTo>
                  <a:pt x="3526042" y="0"/>
                  <a:pt x="3520881" y="76322"/>
                  <a:pt x="3520881" y="159669"/>
                </a:cubicBezTo>
                <a:lnTo>
                  <a:pt x="3520881" y="2716824"/>
                </a:lnTo>
                <a:cubicBezTo>
                  <a:pt x="3520881" y="2800171"/>
                  <a:pt x="3506992" y="2867738"/>
                  <a:pt x="3395863" y="2867738"/>
                </a:cubicBezTo>
                <a:lnTo>
                  <a:pt x="125019" y="2885245"/>
                </a:lnTo>
                <a:cubicBezTo>
                  <a:pt x="13889" y="2885245"/>
                  <a:pt x="0" y="2800171"/>
                  <a:pt x="0" y="2716824"/>
                </a:cubicBezTo>
                <a:lnTo>
                  <a:pt x="0" y="159669"/>
                </a:lnTo>
                <a:cubicBezTo>
                  <a:pt x="0" y="76322"/>
                  <a:pt x="211" y="-437"/>
                  <a:pt x="1036" y="262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972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177" name="Tijdelijke aanduiding voor afbeelding 35">
            <a:extLst>
              <a:ext uri="{FF2B5EF4-FFF2-40B4-BE49-F238E27FC236}">
                <a16:creationId xmlns:a16="http://schemas.microsoft.com/office/drawing/2014/main" id="{E5BA7F73-6327-420C-A063-660A2696DB9E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28809745" y="16696707"/>
            <a:ext cx="12350720" cy="6929700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958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82707"/>
              <a:gd name="connsiteX1" fmla="*/ 3386338 w 3520881"/>
              <a:gd name="connsiteY1" fmla="*/ 6216 h 2882707"/>
              <a:gd name="connsiteX2" fmla="*/ 3520881 w 3520881"/>
              <a:gd name="connsiteY2" fmla="*/ 157131 h 2882707"/>
              <a:gd name="connsiteX3" fmla="*/ 3520881 w 3520881"/>
              <a:gd name="connsiteY3" fmla="*/ 2714286 h 2882707"/>
              <a:gd name="connsiteX4" fmla="*/ 3395863 w 3520881"/>
              <a:gd name="connsiteY4" fmla="*/ 2865200 h 2882707"/>
              <a:gd name="connsiteX5" fmla="*/ 125019 w 3520881"/>
              <a:gd name="connsiteY5" fmla="*/ 2882707 h 2882707"/>
              <a:gd name="connsiteX6" fmla="*/ 0 w 3520881"/>
              <a:gd name="connsiteY6" fmla="*/ 2714286 h 2882707"/>
              <a:gd name="connsiteX7" fmla="*/ 0 w 3520881"/>
              <a:gd name="connsiteY7" fmla="*/ 157131 h 2882707"/>
              <a:gd name="connsiteX8" fmla="*/ 1036 w 3520881"/>
              <a:gd name="connsiteY8" fmla="*/ 89 h 2882707"/>
              <a:gd name="connsiteX0" fmla="*/ 1036 w 3522188"/>
              <a:gd name="connsiteY0" fmla="*/ 2627 h 2885245"/>
              <a:gd name="connsiteX1" fmla="*/ 3429201 w 3522188"/>
              <a:gd name="connsiteY1" fmla="*/ 0 h 2885245"/>
              <a:gd name="connsiteX2" fmla="*/ 3520881 w 3522188"/>
              <a:gd name="connsiteY2" fmla="*/ 159669 h 2885245"/>
              <a:gd name="connsiteX3" fmla="*/ 3520881 w 3522188"/>
              <a:gd name="connsiteY3" fmla="*/ 2716824 h 2885245"/>
              <a:gd name="connsiteX4" fmla="*/ 3395863 w 3522188"/>
              <a:gd name="connsiteY4" fmla="*/ 2867738 h 2885245"/>
              <a:gd name="connsiteX5" fmla="*/ 125019 w 3522188"/>
              <a:gd name="connsiteY5" fmla="*/ 2885245 h 2885245"/>
              <a:gd name="connsiteX6" fmla="*/ 0 w 3522188"/>
              <a:gd name="connsiteY6" fmla="*/ 2716824 h 2885245"/>
              <a:gd name="connsiteX7" fmla="*/ 0 w 3522188"/>
              <a:gd name="connsiteY7" fmla="*/ 159669 h 2885245"/>
              <a:gd name="connsiteX8" fmla="*/ 1036 w 3522188"/>
              <a:gd name="connsiteY8" fmla="*/ 2627 h 2885245"/>
              <a:gd name="connsiteX0" fmla="*/ 1036 w 3520918"/>
              <a:gd name="connsiteY0" fmla="*/ 2627 h 2885245"/>
              <a:gd name="connsiteX1" fmla="*/ 3414913 w 3520918"/>
              <a:gd name="connsiteY1" fmla="*/ 0 h 2885245"/>
              <a:gd name="connsiteX2" fmla="*/ 3520881 w 3520918"/>
              <a:gd name="connsiteY2" fmla="*/ 159669 h 2885245"/>
              <a:gd name="connsiteX3" fmla="*/ 3520881 w 3520918"/>
              <a:gd name="connsiteY3" fmla="*/ 2716824 h 2885245"/>
              <a:gd name="connsiteX4" fmla="*/ 3395863 w 3520918"/>
              <a:gd name="connsiteY4" fmla="*/ 2867738 h 2885245"/>
              <a:gd name="connsiteX5" fmla="*/ 125019 w 3520918"/>
              <a:gd name="connsiteY5" fmla="*/ 2885245 h 2885245"/>
              <a:gd name="connsiteX6" fmla="*/ 0 w 3520918"/>
              <a:gd name="connsiteY6" fmla="*/ 2716824 h 2885245"/>
              <a:gd name="connsiteX7" fmla="*/ 0 w 3520918"/>
              <a:gd name="connsiteY7" fmla="*/ 159669 h 2885245"/>
              <a:gd name="connsiteX8" fmla="*/ 1036 w 3520918"/>
              <a:gd name="connsiteY8" fmla="*/ 2627 h 2885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918" h="2885245">
                <a:moveTo>
                  <a:pt x="1036" y="2627"/>
                </a:moveTo>
                <a:lnTo>
                  <a:pt x="3414913" y="0"/>
                </a:lnTo>
                <a:cubicBezTo>
                  <a:pt x="3526042" y="0"/>
                  <a:pt x="3520881" y="76322"/>
                  <a:pt x="3520881" y="159669"/>
                </a:cubicBezTo>
                <a:lnTo>
                  <a:pt x="3520881" y="2716824"/>
                </a:lnTo>
                <a:cubicBezTo>
                  <a:pt x="3520881" y="2800171"/>
                  <a:pt x="3506992" y="2867738"/>
                  <a:pt x="3395863" y="2867738"/>
                </a:cubicBezTo>
                <a:lnTo>
                  <a:pt x="125019" y="2885245"/>
                </a:lnTo>
                <a:cubicBezTo>
                  <a:pt x="13889" y="2885245"/>
                  <a:pt x="0" y="2800171"/>
                  <a:pt x="0" y="2716824"/>
                </a:cubicBezTo>
                <a:lnTo>
                  <a:pt x="0" y="159669"/>
                </a:lnTo>
                <a:cubicBezTo>
                  <a:pt x="0" y="76322"/>
                  <a:pt x="211" y="-437"/>
                  <a:pt x="1036" y="262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972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pic>
        <p:nvPicPr>
          <p:cNvPr id="79" name="Afbeelding 78">
            <a:extLst>
              <a:ext uri="{FF2B5EF4-FFF2-40B4-BE49-F238E27FC236}">
                <a16:creationId xmlns:a16="http://schemas.microsoft.com/office/drawing/2014/main" id="{FFEF7835-07BB-4DA8-AB27-DB859E6A8D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5600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rnpunten + Ico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5B16B44F-53F8-4476-BF86-4B2D1AD65ECB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9" y="27329718"/>
            <a:ext cx="834509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9B18BDE9-18FD-4C97-9F64-E73C2C770EF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57139" y="10897677"/>
            <a:ext cx="11802765" cy="13168314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087536" y="0"/>
                </a:lnTo>
                <a:cubicBezTo>
                  <a:pt x="32406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240614" y="2982912"/>
                  <a:pt x="3087536" y="2982912"/>
                </a:cubicBezTo>
                <a:lnTo>
                  <a:pt x="281143" y="2982912"/>
                </a:lnTo>
                <a:cubicBezTo>
                  <a:pt x="12806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>
              <a:defRPr sz="4911">
                <a:solidFill>
                  <a:schemeClr val="bg1"/>
                </a:solidFill>
              </a:defRPr>
            </a:lvl1pPr>
            <a:lvl2pPr>
              <a:defRPr sz="4911">
                <a:solidFill>
                  <a:schemeClr val="bg1"/>
                </a:solidFill>
              </a:defRPr>
            </a:lvl2pPr>
            <a:lvl3pPr>
              <a:defRPr sz="4911">
                <a:solidFill>
                  <a:schemeClr val="bg1"/>
                </a:solidFill>
              </a:defRPr>
            </a:lvl3pPr>
            <a:lvl4pPr>
              <a:defRPr sz="4911">
                <a:solidFill>
                  <a:schemeClr val="bg1"/>
                </a:solidFill>
              </a:defRPr>
            </a:lvl4pPr>
            <a:lvl5pPr>
              <a:defRPr sz="5612"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21" name="Tijdelijke aanduiding voor tekst 3">
            <a:extLst>
              <a:ext uri="{FF2B5EF4-FFF2-40B4-BE49-F238E27FC236}">
                <a16:creationId xmlns:a16="http://schemas.microsoft.com/office/drawing/2014/main" id="{548B21C5-7247-47FE-96DC-CDF5B1CD27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482243" y="10897677"/>
            <a:ext cx="11802765" cy="13168314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087536" y="0"/>
                </a:lnTo>
                <a:cubicBezTo>
                  <a:pt x="32406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240614" y="2982912"/>
                  <a:pt x="3087536" y="2982912"/>
                </a:cubicBezTo>
                <a:lnTo>
                  <a:pt x="281143" y="2982912"/>
                </a:lnTo>
                <a:cubicBezTo>
                  <a:pt x="12806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>
              <a:defRPr sz="4911">
                <a:solidFill>
                  <a:schemeClr val="bg1"/>
                </a:solidFill>
              </a:defRPr>
            </a:lvl1pPr>
            <a:lvl2pPr>
              <a:defRPr sz="4911">
                <a:solidFill>
                  <a:schemeClr val="bg1"/>
                </a:solidFill>
              </a:defRPr>
            </a:lvl2pPr>
            <a:lvl3pPr>
              <a:defRPr sz="4911">
                <a:solidFill>
                  <a:schemeClr val="bg1"/>
                </a:solidFill>
              </a:defRPr>
            </a:lvl3pPr>
            <a:lvl4pPr>
              <a:defRPr sz="4911">
                <a:solidFill>
                  <a:schemeClr val="bg1"/>
                </a:solidFill>
              </a:defRPr>
            </a:lvl4pPr>
            <a:lvl5pPr>
              <a:defRPr sz="5612"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24" name="Tijdelijke aanduiding voor tekst 3">
            <a:extLst>
              <a:ext uri="{FF2B5EF4-FFF2-40B4-BE49-F238E27FC236}">
                <a16:creationId xmlns:a16="http://schemas.microsoft.com/office/drawing/2014/main" id="{DDC7D301-B09D-45A2-84F5-FAC25F143C2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207348" y="10897677"/>
            <a:ext cx="11802765" cy="13168314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087536" y="0"/>
                </a:lnTo>
                <a:cubicBezTo>
                  <a:pt x="32406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240614" y="2982912"/>
                  <a:pt x="3087536" y="2982912"/>
                </a:cubicBezTo>
                <a:lnTo>
                  <a:pt x="281143" y="2982912"/>
                </a:lnTo>
                <a:cubicBezTo>
                  <a:pt x="12806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>
              <a:defRPr sz="4911">
                <a:solidFill>
                  <a:schemeClr val="bg1"/>
                </a:solidFill>
              </a:defRPr>
            </a:lvl1pPr>
            <a:lvl2pPr>
              <a:defRPr sz="4911">
                <a:solidFill>
                  <a:schemeClr val="bg1"/>
                </a:solidFill>
              </a:defRPr>
            </a:lvl2pPr>
            <a:lvl3pPr>
              <a:defRPr sz="4911">
                <a:solidFill>
                  <a:schemeClr val="bg1"/>
                </a:solidFill>
              </a:defRPr>
            </a:lvl3pPr>
            <a:lvl4pPr>
              <a:defRPr sz="4911">
                <a:solidFill>
                  <a:schemeClr val="bg1"/>
                </a:solidFill>
              </a:defRPr>
            </a:lvl4pPr>
            <a:lvl5pPr>
              <a:defRPr sz="5612"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id="{3B2874ED-CC7F-4F0C-BB1D-75A9CC43DC3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9699110" y="8777721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 sz="351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nl-NL" noProof="0"/>
          </a:p>
        </p:txBody>
      </p:sp>
      <p:sp>
        <p:nvSpPr>
          <p:cNvPr id="48" name="Tijdelijke aanduiding voor tekst 14">
            <a:extLst>
              <a:ext uri="{FF2B5EF4-FFF2-40B4-BE49-F238E27FC236}">
                <a16:creationId xmlns:a16="http://schemas.microsoft.com/office/drawing/2014/main" id="{F1653C5F-83B0-4357-9779-FCA8C005D7E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974001" y="8777721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 sz="351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nl-NL" noProof="0"/>
          </a:p>
        </p:txBody>
      </p:sp>
      <p:sp>
        <p:nvSpPr>
          <p:cNvPr id="50" name="Tijdelijke aanduiding voor tekst 14">
            <a:extLst>
              <a:ext uri="{FF2B5EF4-FFF2-40B4-BE49-F238E27FC236}">
                <a16:creationId xmlns:a16="http://schemas.microsoft.com/office/drawing/2014/main" id="{3AA2D7D9-83DC-4599-894C-1EA7D9983FA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424213" y="8777721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 sz="351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nl-NL" noProof="0"/>
          </a:p>
        </p:txBody>
      </p:sp>
      <p:pic>
        <p:nvPicPr>
          <p:cNvPr id="285" name="Afbeelding 284">
            <a:extLst>
              <a:ext uri="{FF2B5EF4-FFF2-40B4-BE49-F238E27FC236}">
                <a16:creationId xmlns:a16="http://schemas.microsoft.com/office/drawing/2014/main" id="{3BD56D34-C124-47A1-AAB3-51268E6794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  <p:grpSp>
        <p:nvGrpSpPr>
          <p:cNvPr id="297" name="Meer informatie">
            <a:extLst>
              <a:ext uri="{FF2B5EF4-FFF2-40B4-BE49-F238E27FC236}">
                <a16:creationId xmlns:a16="http://schemas.microsoft.com/office/drawing/2014/main" id="{69FCEAEE-2275-42B9-AB43-7996341B291E}"/>
              </a:ext>
            </a:extLst>
          </p:cNvPr>
          <p:cNvGrpSpPr/>
          <p:nvPr userDrawn="1"/>
        </p:nvGrpSpPr>
        <p:grpSpPr>
          <a:xfrm>
            <a:off x="43487270" y="1774577"/>
            <a:ext cx="11147891" cy="3644433"/>
            <a:chOff x="-3740989" y="3458473"/>
            <a:chExt cx="3178018" cy="825544"/>
          </a:xfrm>
        </p:grpSpPr>
        <p:sp>
          <p:nvSpPr>
            <p:cNvPr id="298" name="Rechthoek 297">
              <a:extLst>
                <a:ext uri="{FF2B5EF4-FFF2-40B4-BE49-F238E27FC236}">
                  <a16:creationId xmlns:a16="http://schemas.microsoft.com/office/drawing/2014/main" id="{B25CB412-679D-4563-95CD-4519C627EF32}"/>
                </a:ext>
              </a:extLst>
            </p:cNvPr>
            <p:cNvSpPr/>
            <p:nvPr userDrawn="1"/>
          </p:nvSpPr>
          <p:spPr>
            <a:xfrm>
              <a:off x="-3740989" y="3458473"/>
              <a:ext cx="2863716" cy="5921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conen vind je in de slide bibliotheek.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opieer (Ctrl-c) de icoon uit de bibliotheek en plak (Ctrl-v) deze op de gewenste plek. Iconen zijn aanpasbaar qua kleur en formaat.</a:t>
              </a:r>
            </a:p>
          </p:txBody>
        </p:sp>
        <p:cxnSp>
          <p:nvCxnSpPr>
            <p:cNvPr id="299" name="Rechte verbindingslijn 298">
              <a:extLst>
                <a:ext uri="{FF2B5EF4-FFF2-40B4-BE49-F238E27FC236}">
                  <a16:creationId xmlns:a16="http://schemas.microsoft.com/office/drawing/2014/main" id="{3C6B4A04-D8DF-4CA5-AC7B-2CDF9800DE4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740987" y="4284017"/>
              <a:ext cx="3178016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300" name="Rechthoek 299">
            <a:extLst>
              <a:ext uri="{FF2B5EF4-FFF2-40B4-BE49-F238E27FC236}">
                <a16:creationId xmlns:a16="http://schemas.microsoft.com/office/drawing/2014/main" id="{F89205DE-C3DD-4906-977D-F5869FC3C688}"/>
              </a:ext>
            </a:extLst>
          </p:cNvPr>
          <p:cNvSpPr/>
          <p:nvPr userDrawn="1"/>
        </p:nvSpPr>
        <p:spPr>
          <a:xfrm>
            <a:off x="43487272" y="5"/>
            <a:ext cx="11147884" cy="84588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defTabSz="3207489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rPr>
              <a:t>ICOON invoegen / veranderen</a:t>
            </a:r>
          </a:p>
        </p:txBody>
      </p:sp>
      <p:cxnSp>
        <p:nvCxnSpPr>
          <p:cNvPr id="301" name="Rechte verbindingslijn 300">
            <a:extLst>
              <a:ext uri="{FF2B5EF4-FFF2-40B4-BE49-F238E27FC236}">
                <a16:creationId xmlns:a16="http://schemas.microsoft.com/office/drawing/2014/main" id="{CF5A1158-976E-4157-B03D-2FF7CBCE5D0D}"/>
              </a:ext>
            </a:extLst>
          </p:cNvPr>
          <p:cNvCxnSpPr>
            <a:cxnSpLocks/>
          </p:cNvCxnSpPr>
          <p:nvPr userDrawn="1"/>
        </p:nvCxnSpPr>
        <p:spPr>
          <a:xfrm>
            <a:off x="43487269" y="1066718"/>
            <a:ext cx="11147888" cy="0"/>
          </a:xfrm>
          <a:prstGeom prst="line">
            <a:avLst/>
          </a:prstGeom>
          <a:noFill/>
          <a:ln w="3175" cap="flat" cmpd="sng" algn="ctr">
            <a:solidFill>
              <a:schemeClr val="accent1"/>
            </a:solidFill>
            <a:prstDash val="solid"/>
          </a:ln>
          <a:effectLst/>
        </p:spPr>
      </p:cxnSp>
      <p:grpSp>
        <p:nvGrpSpPr>
          <p:cNvPr id="302" name="Instructie">
            <a:extLst>
              <a:ext uri="{FF2B5EF4-FFF2-40B4-BE49-F238E27FC236}">
                <a16:creationId xmlns:a16="http://schemas.microsoft.com/office/drawing/2014/main" id="{152CEB51-48C8-4B7C-B7C9-39A86C65F4D2}"/>
              </a:ext>
            </a:extLst>
          </p:cNvPr>
          <p:cNvGrpSpPr/>
          <p:nvPr userDrawn="1"/>
        </p:nvGrpSpPr>
        <p:grpSpPr>
          <a:xfrm>
            <a:off x="43506534" y="6474547"/>
            <a:ext cx="11164508" cy="11743958"/>
            <a:chOff x="-3426088" y="4512342"/>
            <a:chExt cx="3182755" cy="2660264"/>
          </a:xfrm>
        </p:grpSpPr>
        <p:sp>
          <p:nvSpPr>
            <p:cNvPr id="303" name="Rechthoek 127">
              <a:extLst>
                <a:ext uri="{FF2B5EF4-FFF2-40B4-BE49-F238E27FC236}">
                  <a16:creationId xmlns:a16="http://schemas.microsoft.com/office/drawing/2014/main" id="{76F2455F-F82D-4E88-8010-21D7723C32A2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304" name="Rechte verbindingslijn 128">
              <a:extLst>
                <a:ext uri="{FF2B5EF4-FFF2-40B4-BE49-F238E27FC236}">
                  <a16:creationId xmlns:a16="http://schemas.microsoft.com/office/drawing/2014/main" id="{0B3E4862-C4AA-407C-966A-E8EBDE30B35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05" name="Rechthoek 130">
              <a:extLst>
                <a:ext uri="{FF2B5EF4-FFF2-40B4-BE49-F238E27FC236}">
                  <a16:creationId xmlns:a16="http://schemas.microsoft.com/office/drawing/2014/main" id="{591A4179-76F7-41B9-9617-1E08CC4C4B60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306" name="Rechthoek 133">
              <a:extLst>
                <a:ext uri="{FF2B5EF4-FFF2-40B4-BE49-F238E27FC236}">
                  <a16:creationId xmlns:a16="http://schemas.microsoft.com/office/drawing/2014/main" id="{1A70AE91-902A-4C2E-B515-48E694909317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307" name="Rechthoek 136">
              <a:extLst>
                <a:ext uri="{FF2B5EF4-FFF2-40B4-BE49-F238E27FC236}">
                  <a16:creationId xmlns:a16="http://schemas.microsoft.com/office/drawing/2014/main" id="{5925F747-3FA0-47E9-93E3-A81C74A4898E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308" name="Rechthoek 139">
              <a:extLst>
                <a:ext uri="{FF2B5EF4-FFF2-40B4-BE49-F238E27FC236}">
                  <a16:creationId xmlns:a16="http://schemas.microsoft.com/office/drawing/2014/main" id="{97BA09BA-A822-4E82-9039-7A968C36BB47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309" name="Rechte verbindingslijn 140">
              <a:extLst>
                <a:ext uri="{FF2B5EF4-FFF2-40B4-BE49-F238E27FC236}">
                  <a16:creationId xmlns:a16="http://schemas.microsoft.com/office/drawing/2014/main" id="{0DA6D147-A7F8-4D34-8B2A-2524551C85E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310" name="Groep 101">
            <a:extLst>
              <a:ext uri="{FF2B5EF4-FFF2-40B4-BE49-F238E27FC236}">
                <a16:creationId xmlns:a16="http://schemas.microsoft.com/office/drawing/2014/main" id="{82885683-4B8E-4B6E-8614-5197C14275A8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311" name="Rechthoek 102">
              <a:extLst>
                <a:ext uri="{FF2B5EF4-FFF2-40B4-BE49-F238E27FC236}">
                  <a16:creationId xmlns:a16="http://schemas.microsoft.com/office/drawing/2014/main" id="{13495BBB-F6EA-4A12-B089-66752A7E72AC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312" name="Ovaal 103">
              <a:extLst>
                <a:ext uri="{FF2B5EF4-FFF2-40B4-BE49-F238E27FC236}">
                  <a16:creationId xmlns:a16="http://schemas.microsoft.com/office/drawing/2014/main" id="{DF8731A8-AC67-456D-BB6D-C9FE5C2A4B5C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13" name="Rechte verbindingslijn 104">
              <a:extLst>
                <a:ext uri="{FF2B5EF4-FFF2-40B4-BE49-F238E27FC236}">
                  <a16:creationId xmlns:a16="http://schemas.microsoft.com/office/drawing/2014/main" id="{E9A5108C-BE33-4E02-BC2E-A2F400E2CCD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14" name="Groep 105">
              <a:extLst>
                <a:ext uri="{FF2B5EF4-FFF2-40B4-BE49-F238E27FC236}">
                  <a16:creationId xmlns:a16="http://schemas.microsoft.com/office/drawing/2014/main" id="{83496DC3-8D19-4D2D-BC64-CD3AFF0DC24B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339" name="Rechthoek 130">
                <a:extLst>
                  <a:ext uri="{FF2B5EF4-FFF2-40B4-BE49-F238E27FC236}">
                    <a16:creationId xmlns:a16="http://schemas.microsoft.com/office/drawing/2014/main" id="{9B5B1577-32F2-415E-A250-E59240C4B612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40" name="Rechte verbindingslijn 131">
                <a:extLst>
                  <a:ext uri="{FF2B5EF4-FFF2-40B4-BE49-F238E27FC236}">
                    <a16:creationId xmlns:a16="http://schemas.microsoft.com/office/drawing/2014/main" id="{5FC98B63-D584-44C1-B07C-B7875B3BB8F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1" name="Rechte verbindingslijn 132">
                <a:extLst>
                  <a:ext uri="{FF2B5EF4-FFF2-40B4-BE49-F238E27FC236}">
                    <a16:creationId xmlns:a16="http://schemas.microsoft.com/office/drawing/2014/main" id="{D7C39E6E-E41B-4B78-AEA4-AD388ABFDE6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42" name="Rechthoek 133">
                <a:extLst>
                  <a:ext uri="{FF2B5EF4-FFF2-40B4-BE49-F238E27FC236}">
                    <a16:creationId xmlns:a16="http://schemas.microsoft.com/office/drawing/2014/main" id="{C3B8BE2A-65A8-41EB-B679-E21300F57730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43" name="Groep 134">
                <a:extLst>
                  <a:ext uri="{FF2B5EF4-FFF2-40B4-BE49-F238E27FC236}">
                    <a16:creationId xmlns:a16="http://schemas.microsoft.com/office/drawing/2014/main" id="{7467A5F6-1915-4F14-9025-28B4BD8C052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87" name="Groep 175">
                  <a:extLst>
                    <a:ext uri="{FF2B5EF4-FFF2-40B4-BE49-F238E27FC236}">
                      <a16:creationId xmlns:a16="http://schemas.microsoft.com/office/drawing/2014/main" id="{20AE23E3-37FE-48F2-A6FE-39DFEBFAF80F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91" name="Rechte verbindingslijn 179">
                    <a:extLst>
                      <a:ext uri="{FF2B5EF4-FFF2-40B4-BE49-F238E27FC236}">
                        <a16:creationId xmlns:a16="http://schemas.microsoft.com/office/drawing/2014/main" id="{7FD0C23E-7659-46A0-B1C8-31A7BA78D82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92" name="Rechte verbindingslijn 180">
                    <a:extLst>
                      <a:ext uri="{FF2B5EF4-FFF2-40B4-BE49-F238E27FC236}">
                        <a16:creationId xmlns:a16="http://schemas.microsoft.com/office/drawing/2014/main" id="{2D599BE0-9EDE-4963-943E-12D2D456607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93" name="Rechte verbindingslijn 181">
                    <a:extLst>
                      <a:ext uri="{FF2B5EF4-FFF2-40B4-BE49-F238E27FC236}">
                        <a16:creationId xmlns:a16="http://schemas.microsoft.com/office/drawing/2014/main" id="{86228B0B-E5C7-4418-AD1D-A4011339B3A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94" name="Rechte verbindingslijn 182">
                    <a:extLst>
                      <a:ext uri="{FF2B5EF4-FFF2-40B4-BE49-F238E27FC236}">
                        <a16:creationId xmlns:a16="http://schemas.microsoft.com/office/drawing/2014/main" id="{14180E14-59B9-42D9-B950-6ECD4B0AB2B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95" name="Rechte verbindingslijn 183">
                    <a:extLst>
                      <a:ext uri="{FF2B5EF4-FFF2-40B4-BE49-F238E27FC236}">
                        <a16:creationId xmlns:a16="http://schemas.microsoft.com/office/drawing/2014/main" id="{448D9DB9-BF2F-4212-B26A-E2C6220445F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88" name="Groep 176">
                  <a:extLst>
                    <a:ext uri="{FF2B5EF4-FFF2-40B4-BE49-F238E27FC236}">
                      <a16:creationId xmlns:a16="http://schemas.microsoft.com/office/drawing/2014/main" id="{DDE9B3B2-5058-41A6-830F-1EF9EF7A4DB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89" name="Rechthoek 177">
                    <a:extLst>
                      <a:ext uri="{FF2B5EF4-FFF2-40B4-BE49-F238E27FC236}">
                        <a16:creationId xmlns:a16="http://schemas.microsoft.com/office/drawing/2014/main" id="{01F2A6EC-B4FE-4CEE-840D-A89666751A0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90" name="Pijl: punthaak 178">
                    <a:extLst>
                      <a:ext uri="{FF2B5EF4-FFF2-40B4-BE49-F238E27FC236}">
                        <a16:creationId xmlns:a16="http://schemas.microsoft.com/office/drawing/2014/main" id="{0336D1B9-6624-4126-8B63-022272C3102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344" name="Groep 135">
                <a:extLst>
                  <a:ext uri="{FF2B5EF4-FFF2-40B4-BE49-F238E27FC236}">
                    <a16:creationId xmlns:a16="http://schemas.microsoft.com/office/drawing/2014/main" id="{0579ABEE-C712-44AA-93AA-A3A9DEC4EAF5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373" name="Groep 166">
                  <a:extLst>
                    <a:ext uri="{FF2B5EF4-FFF2-40B4-BE49-F238E27FC236}">
                      <a16:creationId xmlns:a16="http://schemas.microsoft.com/office/drawing/2014/main" id="{392C42FB-0217-4AF3-A038-DAEE71F9EDBF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382" name="Rechte verbindingslijn 170">
                    <a:extLst>
                      <a:ext uri="{FF2B5EF4-FFF2-40B4-BE49-F238E27FC236}">
                        <a16:creationId xmlns:a16="http://schemas.microsoft.com/office/drawing/2014/main" id="{9A82879A-93C2-4D1F-A4B5-6215FE77103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83" name="Rechte verbindingslijn 171">
                    <a:extLst>
                      <a:ext uri="{FF2B5EF4-FFF2-40B4-BE49-F238E27FC236}">
                        <a16:creationId xmlns:a16="http://schemas.microsoft.com/office/drawing/2014/main" id="{3B6A35FD-E776-444C-A7DE-7E47D9AC1AF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84" name="Rechte verbindingslijn 172">
                    <a:extLst>
                      <a:ext uri="{FF2B5EF4-FFF2-40B4-BE49-F238E27FC236}">
                        <a16:creationId xmlns:a16="http://schemas.microsoft.com/office/drawing/2014/main" id="{6711B7D0-526D-4A88-8315-698DA291D98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85" name="Rechte verbindingslijn 173">
                    <a:extLst>
                      <a:ext uri="{FF2B5EF4-FFF2-40B4-BE49-F238E27FC236}">
                        <a16:creationId xmlns:a16="http://schemas.microsoft.com/office/drawing/2014/main" id="{D153E1BC-F0D9-4763-8D1A-7F8F1665FA5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86" name="Rechte verbindingslijn 174">
                    <a:extLst>
                      <a:ext uri="{FF2B5EF4-FFF2-40B4-BE49-F238E27FC236}">
                        <a16:creationId xmlns:a16="http://schemas.microsoft.com/office/drawing/2014/main" id="{CED8E919-6FC7-4417-A11C-703F5702F25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74" name="Groep 167">
                  <a:extLst>
                    <a:ext uri="{FF2B5EF4-FFF2-40B4-BE49-F238E27FC236}">
                      <a16:creationId xmlns:a16="http://schemas.microsoft.com/office/drawing/2014/main" id="{CC39733F-2CE8-406C-8375-67A606BEA4B3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75" name="Rechthoek 168">
                    <a:extLst>
                      <a:ext uri="{FF2B5EF4-FFF2-40B4-BE49-F238E27FC236}">
                        <a16:creationId xmlns:a16="http://schemas.microsoft.com/office/drawing/2014/main" id="{135F9509-2EEE-4D69-936B-E319B13157D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81" name="Pijl: punthaak 169">
                    <a:extLst>
                      <a:ext uri="{FF2B5EF4-FFF2-40B4-BE49-F238E27FC236}">
                        <a16:creationId xmlns:a16="http://schemas.microsoft.com/office/drawing/2014/main" id="{F6E38C57-07CC-449D-A8A7-110544A16D39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345" name="Rechte verbindingslijn 136">
                <a:extLst>
                  <a:ext uri="{FF2B5EF4-FFF2-40B4-BE49-F238E27FC236}">
                    <a16:creationId xmlns:a16="http://schemas.microsoft.com/office/drawing/2014/main" id="{F5B3EBAF-2C40-4835-9329-88153F4F6F7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346" name="Rechte verbindingslijn 137">
                <a:extLst>
                  <a:ext uri="{FF2B5EF4-FFF2-40B4-BE49-F238E27FC236}">
                    <a16:creationId xmlns:a16="http://schemas.microsoft.com/office/drawing/2014/main" id="{5C2E5B54-BE5C-4A72-9503-6EAFC4536A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347" name="Groep 138">
                <a:extLst>
                  <a:ext uri="{FF2B5EF4-FFF2-40B4-BE49-F238E27FC236}">
                    <a16:creationId xmlns:a16="http://schemas.microsoft.com/office/drawing/2014/main" id="{EFA61254-F7CC-4512-89AD-6CBC10CB6E2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362" name="Rechthoek 155">
                  <a:extLst>
                    <a:ext uri="{FF2B5EF4-FFF2-40B4-BE49-F238E27FC236}">
                      <a16:creationId xmlns:a16="http://schemas.microsoft.com/office/drawing/2014/main" id="{E34292FF-3A72-4B91-AC6A-5C3B9BE7228D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63" name="Groep 156">
                  <a:extLst>
                    <a:ext uri="{FF2B5EF4-FFF2-40B4-BE49-F238E27FC236}">
                      <a16:creationId xmlns:a16="http://schemas.microsoft.com/office/drawing/2014/main" id="{F137E10A-FCBB-42BB-9713-B6AF60D49E8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364" name="Groep 157">
                    <a:extLst>
                      <a:ext uri="{FF2B5EF4-FFF2-40B4-BE49-F238E27FC236}">
                        <a16:creationId xmlns:a16="http://schemas.microsoft.com/office/drawing/2014/main" id="{F2231DD6-4081-4C4D-9F2E-2AB9F33213C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368" name="Rechte verbindingslijn 161">
                      <a:extLst>
                        <a:ext uri="{FF2B5EF4-FFF2-40B4-BE49-F238E27FC236}">
                          <a16:creationId xmlns:a16="http://schemas.microsoft.com/office/drawing/2014/main" id="{AA35EB10-5C19-457E-937F-3C3141D9B73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69" name="Rechte verbindingslijn 162">
                      <a:extLst>
                        <a:ext uri="{FF2B5EF4-FFF2-40B4-BE49-F238E27FC236}">
                          <a16:creationId xmlns:a16="http://schemas.microsoft.com/office/drawing/2014/main" id="{6E0FDC50-140D-4A0C-B7DC-372A0038B59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70" name="Rechte verbindingslijn 163">
                      <a:extLst>
                        <a:ext uri="{FF2B5EF4-FFF2-40B4-BE49-F238E27FC236}">
                          <a16:creationId xmlns:a16="http://schemas.microsoft.com/office/drawing/2014/main" id="{62CB0A80-717C-4653-BFAF-4E27C3A833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71" name="Rechte verbindingslijn 164">
                      <a:extLst>
                        <a:ext uri="{FF2B5EF4-FFF2-40B4-BE49-F238E27FC236}">
                          <a16:creationId xmlns:a16="http://schemas.microsoft.com/office/drawing/2014/main" id="{704F4B05-02BC-4170-9482-760B768CF3A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72" name="Rechte verbindingslijn 165">
                      <a:extLst>
                        <a:ext uri="{FF2B5EF4-FFF2-40B4-BE49-F238E27FC236}">
                          <a16:creationId xmlns:a16="http://schemas.microsoft.com/office/drawing/2014/main" id="{80747397-F595-462C-AEE3-0CB2A846827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65" name="Groep 158">
                    <a:extLst>
                      <a:ext uri="{FF2B5EF4-FFF2-40B4-BE49-F238E27FC236}">
                        <a16:creationId xmlns:a16="http://schemas.microsoft.com/office/drawing/2014/main" id="{15DA2067-931A-4FDE-803B-F8B11ED97E4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66" name="Rechthoek 159">
                      <a:extLst>
                        <a:ext uri="{FF2B5EF4-FFF2-40B4-BE49-F238E27FC236}">
                          <a16:creationId xmlns:a16="http://schemas.microsoft.com/office/drawing/2014/main" id="{A73FBEFB-AE93-4F05-A734-05EE56DA761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67" name="Pijl: punthaak 160">
                      <a:extLst>
                        <a:ext uri="{FF2B5EF4-FFF2-40B4-BE49-F238E27FC236}">
                          <a16:creationId xmlns:a16="http://schemas.microsoft.com/office/drawing/2014/main" id="{C704214C-F2EB-4B40-B7C3-C51CAB485871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348" name="Groep 139">
                <a:extLst>
                  <a:ext uri="{FF2B5EF4-FFF2-40B4-BE49-F238E27FC236}">
                    <a16:creationId xmlns:a16="http://schemas.microsoft.com/office/drawing/2014/main" id="{94FF3B3A-06AF-4AA3-888E-F302476FDB93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351" name="Rechthoek 142">
                  <a:extLst>
                    <a:ext uri="{FF2B5EF4-FFF2-40B4-BE49-F238E27FC236}">
                      <a16:creationId xmlns:a16="http://schemas.microsoft.com/office/drawing/2014/main" id="{EB8A0F31-DD84-49C4-9939-6C11D18CEDF7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52" name="Groep 143">
                  <a:extLst>
                    <a:ext uri="{FF2B5EF4-FFF2-40B4-BE49-F238E27FC236}">
                      <a16:creationId xmlns:a16="http://schemas.microsoft.com/office/drawing/2014/main" id="{5FD3D869-DEB8-447D-816C-4CB16C887356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353" name="Groep 144">
                    <a:extLst>
                      <a:ext uri="{FF2B5EF4-FFF2-40B4-BE49-F238E27FC236}">
                        <a16:creationId xmlns:a16="http://schemas.microsoft.com/office/drawing/2014/main" id="{4F263D9E-1DBA-41BA-B7DD-30DC8435AA8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357" name="Rechte verbindingslijn 150">
                      <a:extLst>
                        <a:ext uri="{FF2B5EF4-FFF2-40B4-BE49-F238E27FC236}">
                          <a16:creationId xmlns:a16="http://schemas.microsoft.com/office/drawing/2014/main" id="{ED657FC2-B3A0-42C6-A3AD-C53E5E50C67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58" name="Rechte verbindingslijn 151">
                      <a:extLst>
                        <a:ext uri="{FF2B5EF4-FFF2-40B4-BE49-F238E27FC236}">
                          <a16:creationId xmlns:a16="http://schemas.microsoft.com/office/drawing/2014/main" id="{68CCE9A7-EA2A-4FC5-9D9B-71D1AD4CF1F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59" name="Rechte verbindingslijn 152">
                      <a:extLst>
                        <a:ext uri="{FF2B5EF4-FFF2-40B4-BE49-F238E27FC236}">
                          <a16:creationId xmlns:a16="http://schemas.microsoft.com/office/drawing/2014/main" id="{ABFB228D-07ED-4CAB-9276-8F4F754E65A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60" name="Rechte verbindingslijn 153">
                      <a:extLst>
                        <a:ext uri="{FF2B5EF4-FFF2-40B4-BE49-F238E27FC236}">
                          <a16:creationId xmlns:a16="http://schemas.microsoft.com/office/drawing/2014/main" id="{F2D4D4C7-97A0-4CCF-8287-93BA6175539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61" name="Rechte verbindingslijn 154">
                      <a:extLst>
                        <a:ext uri="{FF2B5EF4-FFF2-40B4-BE49-F238E27FC236}">
                          <a16:creationId xmlns:a16="http://schemas.microsoft.com/office/drawing/2014/main" id="{5DB8E6E3-7B06-49F9-80F1-BFFF487E72E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54" name="Groep 147">
                    <a:extLst>
                      <a:ext uri="{FF2B5EF4-FFF2-40B4-BE49-F238E27FC236}">
                        <a16:creationId xmlns:a16="http://schemas.microsoft.com/office/drawing/2014/main" id="{FC9F8231-7E98-465E-A499-071987F35586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55" name="Rechthoek 148">
                      <a:extLst>
                        <a:ext uri="{FF2B5EF4-FFF2-40B4-BE49-F238E27FC236}">
                          <a16:creationId xmlns:a16="http://schemas.microsoft.com/office/drawing/2014/main" id="{F9D9A11E-87B6-434C-BF89-4A7B9700FA7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56" name="Pijl: punthaak 149">
                      <a:extLst>
                        <a:ext uri="{FF2B5EF4-FFF2-40B4-BE49-F238E27FC236}">
                          <a16:creationId xmlns:a16="http://schemas.microsoft.com/office/drawing/2014/main" id="{2B1449D1-322F-4006-A49A-ADA3CF359FC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349" name="Rechthoek 140">
                <a:extLst>
                  <a:ext uri="{FF2B5EF4-FFF2-40B4-BE49-F238E27FC236}">
                    <a16:creationId xmlns:a16="http://schemas.microsoft.com/office/drawing/2014/main" id="{C9A42063-5C60-49C1-AFFA-621DC38E572C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350" name="Rechthoek 141">
                <a:extLst>
                  <a:ext uri="{FF2B5EF4-FFF2-40B4-BE49-F238E27FC236}">
                    <a16:creationId xmlns:a16="http://schemas.microsoft.com/office/drawing/2014/main" id="{DAF1A558-D03B-44EC-A586-2E02800A5DE1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315" name="Rechte verbindingslijn 106">
              <a:extLst>
                <a:ext uri="{FF2B5EF4-FFF2-40B4-BE49-F238E27FC236}">
                  <a16:creationId xmlns:a16="http://schemas.microsoft.com/office/drawing/2014/main" id="{B0D03FFD-EC8E-42D1-95DD-67F6C8E23B4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16" name="Rechthoek 107">
              <a:extLst>
                <a:ext uri="{FF2B5EF4-FFF2-40B4-BE49-F238E27FC236}">
                  <a16:creationId xmlns:a16="http://schemas.microsoft.com/office/drawing/2014/main" id="{52B2A17A-BCB9-4E4B-A6EC-A716B4BB55C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317" name="Ovaal 108">
              <a:extLst>
                <a:ext uri="{FF2B5EF4-FFF2-40B4-BE49-F238E27FC236}">
                  <a16:creationId xmlns:a16="http://schemas.microsoft.com/office/drawing/2014/main" id="{4F6CA278-408C-42D6-A391-AE3CA9CA5FAF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18" name="Rechthoek 109">
              <a:extLst>
                <a:ext uri="{FF2B5EF4-FFF2-40B4-BE49-F238E27FC236}">
                  <a16:creationId xmlns:a16="http://schemas.microsoft.com/office/drawing/2014/main" id="{919C7443-9933-4217-8F5F-C2C7F94B6E96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319" name="Ovaal 110">
              <a:extLst>
                <a:ext uri="{FF2B5EF4-FFF2-40B4-BE49-F238E27FC236}">
                  <a16:creationId xmlns:a16="http://schemas.microsoft.com/office/drawing/2014/main" id="{0DCA9EF9-2EA7-4367-BB9E-A06D615AFAF0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20" name="Rechthoek 111">
              <a:extLst>
                <a:ext uri="{FF2B5EF4-FFF2-40B4-BE49-F238E27FC236}">
                  <a16:creationId xmlns:a16="http://schemas.microsoft.com/office/drawing/2014/main" id="{5543933C-DE48-4B34-9A15-A18E4CB6B3C5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21" name="Ovaal 112">
              <a:extLst>
                <a:ext uri="{FF2B5EF4-FFF2-40B4-BE49-F238E27FC236}">
                  <a16:creationId xmlns:a16="http://schemas.microsoft.com/office/drawing/2014/main" id="{47A3080B-B3A1-4747-BB7D-67B62ACAB0A4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322" name="Rechthoek 113">
              <a:extLst>
                <a:ext uri="{FF2B5EF4-FFF2-40B4-BE49-F238E27FC236}">
                  <a16:creationId xmlns:a16="http://schemas.microsoft.com/office/drawing/2014/main" id="{98CFCBEE-F625-4557-BB5D-D0B725392755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323" name="Ovaal 114">
              <a:extLst>
                <a:ext uri="{FF2B5EF4-FFF2-40B4-BE49-F238E27FC236}">
                  <a16:creationId xmlns:a16="http://schemas.microsoft.com/office/drawing/2014/main" id="{A4972FA8-4EB2-42AC-A32C-6FA0479B9F57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324" name="Rechthoek 115">
              <a:extLst>
                <a:ext uri="{FF2B5EF4-FFF2-40B4-BE49-F238E27FC236}">
                  <a16:creationId xmlns:a16="http://schemas.microsoft.com/office/drawing/2014/main" id="{E405107A-B042-4158-9E71-197A3D586166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325" name="Rechte verbindingslijn 116">
              <a:extLst>
                <a:ext uri="{FF2B5EF4-FFF2-40B4-BE49-F238E27FC236}">
                  <a16:creationId xmlns:a16="http://schemas.microsoft.com/office/drawing/2014/main" id="{C5FEBCCD-36F1-44C7-8F49-4C3F22F95DD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26" name="Meer informatie">
              <a:extLst>
                <a:ext uri="{FF2B5EF4-FFF2-40B4-BE49-F238E27FC236}">
                  <a16:creationId xmlns:a16="http://schemas.microsoft.com/office/drawing/2014/main" id="{F1B2E75A-50A7-41BE-B464-0BC56D3A8C0B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336" name="Freeform 101">
                <a:extLst>
                  <a:ext uri="{FF2B5EF4-FFF2-40B4-BE49-F238E27FC236}">
                    <a16:creationId xmlns:a16="http://schemas.microsoft.com/office/drawing/2014/main" id="{563307BD-E073-4F2C-A48B-8F6364F765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337" name="Rechthoek 128">
                <a:extLst>
                  <a:ext uri="{FF2B5EF4-FFF2-40B4-BE49-F238E27FC236}">
                    <a16:creationId xmlns:a16="http://schemas.microsoft.com/office/drawing/2014/main" id="{2CD41DAC-BD0A-41BB-89AC-112D7951CA55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38" name="Rechte verbindingslijn 129">
                <a:extLst>
                  <a:ext uri="{FF2B5EF4-FFF2-40B4-BE49-F238E27FC236}">
                    <a16:creationId xmlns:a16="http://schemas.microsoft.com/office/drawing/2014/main" id="{586B4E8A-76DA-4300-87F7-C26443339D4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27" name="Rechthoek 118">
              <a:extLst>
                <a:ext uri="{FF2B5EF4-FFF2-40B4-BE49-F238E27FC236}">
                  <a16:creationId xmlns:a16="http://schemas.microsoft.com/office/drawing/2014/main" id="{71A0633D-A3B1-4F12-B39D-FCBDCF33B6EC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328" name="Ovaal 119">
              <a:extLst>
                <a:ext uri="{FF2B5EF4-FFF2-40B4-BE49-F238E27FC236}">
                  <a16:creationId xmlns:a16="http://schemas.microsoft.com/office/drawing/2014/main" id="{FC368FAE-A5A9-4EFC-80D9-619EA4BA7432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329" name="Rechthoek 120">
              <a:extLst>
                <a:ext uri="{FF2B5EF4-FFF2-40B4-BE49-F238E27FC236}">
                  <a16:creationId xmlns:a16="http://schemas.microsoft.com/office/drawing/2014/main" id="{84410A19-B9B6-4BBF-9B8B-6DF659F1AE29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330" name="Ovaal 121">
              <a:extLst>
                <a:ext uri="{FF2B5EF4-FFF2-40B4-BE49-F238E27FC236}">
                  <a16:creationId xmlns:a16="http://schemas.microsoft.com/office/drawing/2014/main" id="{8F7B5A33-26BC-436A-8A53-D1D272A6DE29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331" name="Rechthoek 122">
              <a:extLst>
                <a:ext uri="{FF2B5EF4-FFF2-40B4-BE49-F238E27FC236}">
                  <a16:creationId xmlns:a16="http://schemas.microsoft.com/office/drawing/2014/main" id="{6CDF8D89-AA1A-4F80-A5E0-A4C8492DC6A4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332" name="Ovaal 123">
              <a:extLst>
                <a:ext uri="{FF2B5EF4-FFF2-40B4-BE49-F238E27FC236}">
                  <a16:creationId xmlns:a16="http://schemas.microsoft.com/office/drawing/2014/main" id="{775AA4EE-9A81-4146-92AC-7A705BAA7813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333" name="Rechthoek 124">
              <a:extLst>
                <a:ext uri="{FF2B5EF4-FFF2-40B4-BE49-F238E27FC236}">
                  <a16:creationId xmlns:a16="http://schemas.microsoft.com/office/drawing/2014/main" id="{E6474284-C655-44E5-A56B-45B27193E44C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334" name="Rechthoek 125">
              <a:extLst>
                <a:ext uri="{FF2B5EF4-FFF2-40B4-BE49-F238E27FC236}">
                  <a16:creationId xmlns:a16="http://schemas.microsoft.com/office/drawing/2014/main" id="{0B41130A-DA03-4915-8C3C-DB2912DEAB5C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335" name="Ovaal 126">
              <a:extLst>
                <a:ext uri="{FF2B5EF4-FFF2-40B4-BE49-F238E27FC236}">
                  <a16:creationId xmlns:a16="http://schemas.microsoft.com/office/drawing/2014/main" id="{D5373442-6EF1-4D97-9202-485DB24F9960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487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Grafiek 50%/5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el 1">
            <a:extLst>
              <a:ext uri="{FF2B5EF4-FFF2-40B4-BE49-F238E27FC236}">
                <a16:creationId xmlns:a16="http://schemas.microsoft.com/office/drawing/2014/main" id="{6FC02832-6172-4872-830B-0E200141D9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78" y="1766065"/>
            <a:ext cx="32281087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41" name="Tijdelijke aanduiding voor tekst 14">
            <a:extLst>
              <a:ext uri="{FF2B5EF4-FFF2-40B4-BE49-F238E27FC236}">
                <a16:creationId xmlns:a16="http://schemas.microsoft.com/office/drawing/2014/main" id="{92B3C0DD-4B30-41A4-ACF0-43DCC142EE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78" y="3469430"/>
            <a:ext cx="32281087" cy="1195424"/>
          </a:xfrm>
        </p:spPr>
        <p:txBody>
          <a:bodyPr>
            <a:noAutofit/>
          </a:bodyPr>
          <a:lstStyle>
            <a:lvl1pPr marL="0" indent="0">
              <a:buNone/>
              <a:defRPr sz="2794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58" name="Tijdelijke aanduiding voor voettekst 4">
            <a:extLst>
              <a:ext uri="{FF2B5EF4-FFF2-40B4-BE49-F238E27FC236}">
                <a16:creationId xmlns:a16="http://schemas.microsoft.com/office/drawing/2014/main" id="{A767B2FF-AFB7-4C77-9D83-2891D4995E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7" y="27345278"/>
            <a:ext cx="18027561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59" name="Tijdelijke aanduiding voor dianummer 5">
            <a:extLst>
              <a:ext uri="{FF2B5EF4-FFF2-40B4-BE49-F238E27FC236}">
                <a16:creationId xmlns:a16="http://schemas.microsoft.com/office/drawing/2014/main" id="{9A2D0BED-D586-4A0C-92B4-0B9B621444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7" y="27329717"/>
            <a:ext cx="834511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cxnSp>
        <p:nvCxnSpPr>
          <p:cNvPr id="4" name="Rechte verbindingslijn 3">
            <a:extLst>
              <a:ext uri="{FF2B5EF4-FFF2-40B4-BE49-F238E27FC236}">
                <a16:creationId xmlns:a16="http://schemas.microsoft.com/office/drawing/2014/main" id="{B7132B7D-5165-4EF7-9B98-0281F140107D}"/>
              </a:ext>
            </a:extLst>
          </p:cNvPr>
          <p:cNvCxnSpPr/>
          <p:nvPr userDrawn="1"/>
        </p:nvCxnSpPr>
        <p:spPr>
          <a:xfrm>
            <a:off x="21383620" y="6476680"/>
            <a:ext cx="0" cy="19074343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jdelijke aanduiding voor datum 3">
            <a:extLst>
              <a:ext uri="{FF2B5EF4-FFF2-40B4-BE49-F238E27FC236}">
                <a16:creationId xmlns:a16="http://schemas.microsoft.com/office/drawing/2014/main" id="{954DA91E-C842-4007-B98B-6B2243FE611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503"/>
            <a:ext cx="9622631" cy="1000848"/>
          </a:xfrm>
        </p:spPr>
        <p:txBody>
          <a:bodyPr/>
          <a:lstStyle/>
          <a:p>
            <a:fld id="{19707B42-73DA-42CB-A5E3-8DE983276932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208" name="Tijdelijke aanduiding voor grafiek 7">
            <a:extLst>
              <a:ext uri="{FF2B5EF4-FFF2-40B4-BE49-F238E27FC236}">
                <a16:creationId xmlns:a16="http://schemas.microsoft.com/office/drawing/2014/main" id="{850783B6-C90B-4AAA-90BA-1DAFC9F22AA9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22853747" y="6476685"/>
            <a:ext cx="18130515" cy="19074338"/>
          </a:xfrm>
          <a:solidFill>
            <a:schemeClr val="bg1">
              <a:lumMod val="95000"/>
            </a:schemeClr>
          </a:solidFill>
        </p:spPr>
        <p:txBody>
          <a:bodyPr tIns="288000" bIns="1440000" anchor="b">
            <a:normAutofit/>
          </a:bodyPr>
          <a:lstStyle>
            <a:lvl1pPr marL="0" indent="0" algn="ctr">
              <a:spcAft>
                <a:spcPts val="0"/>
              </a:spcAft>
              <a:buNone/>
              <a:defRPr sz="1677" b="0" i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grafiek in te voegen</a:t>
            </a: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A6AE8251-BA1F-4B6F-B210-0675BB1002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42379" y="6476685"/>
            <a:ext cx="18171872" cy="1907433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bullet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bullet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pic>
        <p:nvPicPr>
          <p:cNvPr id="250" name="Afbeelding 249">
            <a:extLst>
              <a:ext uri="{FF2B5EF4-FFF2-40B4-BE49-F238E27FC236}">
                <a16:creationId xmlns:a16="http://schemas.microsoft.com/office/drawing/2014/main" id="{B7333475-27ED-427D-91B5-0755C377F9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5" y="831727"/>
            <a:ext cx="9249575" cy="4281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36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rnpunten + Iconen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err="1"/>
              <a:t>Koptitel</a:t>
            </a:r>
            <a:endParaRPr lang="en-US" noProof="0"/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err="1"/>
              <a:t>Ondertitel</a:t>
            </a:r>
            <a:endParaRPr lang="en-US"/>
          </a:p>
        </p:txBody>
      </p:sp>
      <p:grpSp>
        <p:nvGrpSpPr>
          <p:cNvPr id="38" name="GRID" hidden="1">
            <a:extLst>
              <a:ext uri="{FF2B5EF4-FFF2-40B4-BE49-F238E27FC236}">
                <a16:creationId xmlns:a16="http://schemas.microsoft.com/office/drawing/2014/main" id="{51D5F7E8-69F8-47AD-81F5-1645C97607C1}"/>
              </a:ext>
            </a:extLst>
          </p:cNvPr>
          <p:cNvGrpSpPr/>
          <p:nvPr userDrawn="1"/>
        </p:nvGrpSpPr>
        <p:grpSpPr>
          <a:xfrm>
            <a:off x="5" y="0"/>
            <a:ext cx="42767261" cy="30275213"/>
            <a:chOff x="0" y="0"/>
            <a:chExt cx="12192003" cy="6858000"/>
          </a:xfrm>
        </p:grpSpPr>
        <p:sp>
          <p:nvSpPr>
            <p:cNvPr id="39" name="Rechthoek 38">
              <a:extLst>
                <a:ext uri="{FF2B5EF4-FFF2-40B4-BE49-F238E27FC236}">
                  <a16:creationId xmlns:a16="http://schemas.microsoft.com/office/drawing/2014/main" id="{71DB2C92-E6A8-4532-98F6-C917E7F5CD17}"/>
                </a:ext>
              </a:extLst>
            </p:cNvPr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0" name="Rechthoek 39">
              <a:extLst>
                <a:ext uri="{FF2B5EF4-FFF2-40B4-BE49-F238E27FC236}">
                  <a16:creationId xmlns:a16="http://schemas.microsoft.com/office/drawing/2014/main" id="{1283F161-5F8A-45E1-A9F2-F823FC1CB0A5}"/>
                </a:ext>
              </a:extLst>
            </p:cNvPr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1" name="Rechthoek 40">
              <a:extLst>
                <a:ext uri="{FF2B5EF4-FFF2-40B4-BE49-F238E27FC236}">
                  <a16:creationId xmlns:a16="http://schemas.microsoft.com/office/drawing/2014/main" id="{E25AE021-76F4-4113-9019-FB3CB3351AD2}"/>
                </a:ext>
              </a:extLst>
            </p:cNvPr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2" name="Rechthoek 41">
              <a:extLst>
                <a:ext uri="{FF2B5EF4-FFF2-40B4-BE49-F238E27FC236}">
                  <a16:creationId xmlns:a16="http://schemas.microsoft.com/office/drawing/2014/main" id="{4F56F574-960D-4395-B98C-5F49ED9EF418}"/>
                </a:ext>
              </a:extLst>
            </p:cNvPr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34E307D0-CCA0-4BDF-BC5F-E19838E9F7DA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4" name="Rechthoek 43">
              <a:extLst>
                <a:ext uri="{FF2B5EF4-FFF2-40B4-BE49-F238E27FC236}">
                  <a16:creationId xmlns:a16="http://schemas.microsoft.com/office/drawing/2014/main" id="{2AEE0B25-FBCC-4048-A2C0-6D97C3E7FEB7}"/>
                </a:ext>
              </a:extLst>
            </p:cNvPr>
            <p:cNvSpPr/>
            <p:nvPr userDrawn="1"/>
          </p:nvSpPr>
          <p:spPr>
            <a:xfrm rot="5400000">
              <a:off x="5895976" y="-108104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8"/>
            <a:ext cx="707315" cy="1016405"/>
          </a:xfrm>
        </p:spPr>
        <p:txBody>
          <a:bodyPr/>
          <a:lstStyle/>
          <a:p>
            <a:fld id="{55B2A88A-B7BD-41B1-9FCB-9BE633251ACA}" type="slidenum">
              <a:rPr lang="en-US" noProof="0" smtClean="0"/>
              <a:t>‹nr.›</a:t>
            </a:fld>
            <a:endParaRPr lang="en-US" noProof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9B18BDE9-18FD-4C97-9F64-E73C2C770EF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57138" y="10288803"/>
            <a:ext cx="8777982" cy="9793572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087536" y="0"/>
                </a:lnTo>
                <a:cubicBezTo>
                  <a:pt x="32406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240614" y="2982912"/>
                  <a:pt x="3087536" y="2982912"/>
                </a:cubicBezTo>
                <a:lnTo>
                  <a:pt x="281143" y="2982912"/>
                </a:lnTo>
                <a:cubicBezTo>
                  <a:pt x="12806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4209">
                <a:solidFill>
                  <a:schemeClr val="bg1"/>
                </a:solidFill>
              </a:defRPr>
            </a:lvl2pPr>
            <a:lvl3pPr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48" name="Tijdelijke aanduiding voor tekst 14">
            <a:extLst>
              <a:ext uri="{FF2B5EF4-FFF2-40B4-BE49-F238E27FC236}">
                <a16:creationId xmlns:a16="http://schemas.microsoft.com/office/drawing/2014/main" id="{F1653C5F-83B0-4357-9779-FCA8C005D7E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61610" y="8083434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0" name="Tijdelijke aanduiding voor tekst 3">
            <a:extLst>
              <a:ext uri="{FF2B5EF4-FFF2-40B4-BE49-F238E27FC236}">
                <a16:creationId xmlns:a16="http://schemas.microsoft.com/office/drawing/2014/main" id="{2CDDE61D-7900-4D30-8C50-19D730DC4B3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176292" y="10288803"/>
            <a:ext cx="8777982" cy="9793572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087536" y="0"/>
                </a:lnTo>
                <a:cubicBezTo>
                  <a:pt x="32406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240614" y="2982912"/>
                  <a:pt x="3087536" y="2982912"/>
                </a:cubicBezTo>
                <a:lnTo>
                  <a:pt x="281143" y="2982912"/>
                </a:lnTo>
                <a:cubicBezTo>
                  <a:pt x="12806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defRPr sz="4209">
                <a:solidFill>
                  <a:schemeClr val="bg1"/>
                </a:solidFill>
              </a:defRPr>
            </a:lvl2pPr>
            <a:lvl3pPr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31" name="Tijdelijke aanduiding voor tekst 14">
            <a:extLst>
              <a:ext uri="{FF2B5EF4-FFF2-40B4-BE49-F238E27FC236}">
                <a16:creationId xmlns:a16="http://schemas.microsoft.com/office/drawing/2014/main" id="{7BCA5047-285E-4616-AF7C-30C41FBE50D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4880762" y="8083434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3" name="Tijdelijke aanduiding voor tekst 3">
            <a:extLst>
              <a:ext uri="{FF2B5EF4-FFF2-40B4-BE49-F238E27FC236}">
                <a16:creationId xmlns:a16="http://schemas.microsoft.com/office/drawing/2014/main" id="{33196E6E-959A-406E-A275-32D18E41825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896856" y="10288803"/>
            <a:ext cx="8777982" cy="9793572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087536" y="0"/>
                </a:lnTo>
                <a:cubicBezTo>
                  <a:pt x="32406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240614" y="2982912"/>
                  <a:pt x="3087536" y="2982912"/>
                </a:cubicBezTo>
                <a:lnTo>
                  <a:pt x="281143" y="2982912"/>
                </a:lnTo>
                <a:cubicBezTo>
                  <a:pt x="12806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4209">
                <a:solidFill>
                  <a:schemeClr val="bg1"/>
                </a:solidFill>
              </a:defRPr>
            </a:lvl2pPr>
            <a:lvl3pPr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34" name="Tijdelijke aanduiding voor tekst 14">
            <a:extLst>
              <a:ext uri="{FF2B5EF4-FFF2-40B4-BE49-F238E27FC236}">
                <a16:creationId xmlns:a16="http://schemas.microsoft.com/office/drawing/2014/main" id="{2BC9E580-784A-425F-A45F-E9BAE702C3A4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4601328" y="8083434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7" name="Tijdelijke aanduiding voor tekst 3">
            <a:extLst>
              <a:ext uri="{FF2B5EF4-FFF2-40B4-BE49-F238E27FC236}">
                <a16:creationId xmlns:a16="http://schemas.microsoft.com/office/drawing/2014/main" id="{20A32965-12AC-4768-9A3A-36933D48FA46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2036574" y="10288803"/>
            <a:ext cx="8777982" cy="9793572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087536" y="0"/>
                </a:lnTo>
                <a:cubicBezTo>
                  <a:pt x="32406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240614" y="2982912"/>
                  <a:pt x="3087536" y="2982912"/>
                </a:cubicBezTo>
                <a:lnTo>
                  <a:pt x="281143" y="2982912"/>
                </a:lnTo>
                <a:cubicBezTo>
                  <a:pt x="12806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4209">
                <a:solidFill>
                  <a:schemeClr val="bg1"/>
                </a:solidFill>
              </a:defRPr>
            </a:lvl2pPr>
            <a:lvl3pPr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52" name="Tijdelijke aanduiding voor tekst 14">
            <a:extLst>
              <a:ext uri="{FF2B5EF4-FFF2-40B4-BE49-F238E27FC236}">
                <a16:creationId xmlns:a16="http://schemas.microsoft.com/office/drawing/2014/main" id="{64B43F51-91B8-44C7-88A8-99F45ADD7CB4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24741045" y="8083434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pic>
        <p:nvPicPr>
          <p:cNvPr id="24" name="Afbeelding 23">
            <a:extLst>
              <a:ext uri="{FF2B5EF4-FFF2-40B4-BE49-F238E27FC236}">
                <a16:creationId xmlns:a16="http://schemas.microsoft.com/office/drawing/2014/main" id="{9808A347-7021-4A95-A1A8-D23F88DBAE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  <p:grpSp>
        <p:nvGrpSpPr>
          <p:cNvPr id="25" name="Meer informatie">
            <a:extLst>
              <a:ext uri="{FF2B5EF4-FFF2-40B4-BE49-F238E27FC236}">
                <a16:creationId xmlns:a16="http://schemas.microsoft.com/office/drawing/2014/main" id="{690213C6-0742-45BA-8B4E-4C0A92C3C5FD}"/>
              </a:ext>
            </a:extLst>
          </p:cNvPr>
          <p:cNvGrpSpPr/>
          <p:nvPr userDrawn="1"/>
        </p:nvGrpSpPr>
        <p:grpSpPr>
          <a:xfrm>
            <a:off x="43487270" y="1774577"/>
            <a:ext cx="11147891" cy="3644433"/>
            <a:chOff x="-3740989" y="3458473"/>
            <a:chExt cx="3178018" cy="825544"/>
          </a:xfrm>
        </p:grpSpPr>
        <p:sp>
          <p:nvSpPr>
            <p:cNvPr id="26" name="Rechthoek 25">
              <a:extLst>
                <a:ext uri="{FF2B5EF4-FFF2-40B4-BE49-F238E27FC236}">
                  <a16:creationId xmlns:a16="http://schemas.microsoft.com/office/drawing/2014/main" id="{3BE197EF-126A-4B46-9B26-8400360B7CBF}"/>
                </a:ext>
              </a:extLst>
            </p:cNvPr>
            <p:cNvSpPr/>
            <p:nvPr userDrawn="1"/>
          </p:nvSpPr>
          <p:spPr>
            <a:xfrm>
              <a:off x="-3740989" y="3458473"/>
              <a:ext cx="2863716" cy="5921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conen vind je in de slide bibliotheek.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opieer (Ctrl-c) de icoon uit de bibliotheek en plak (Ctrl-v) deze op de gewenste plek. Iconen zijn aanpasbaar qua kleur en formaat.</a:t>
              </a:r>
            </a:p>
          </p:txBody>
        </p:sp>
        <p:cxnSp>
          <p:nvCxnSpPr>
            <p:cNvPr id="27" name="Rechte verbindingslijn 26">
              <a:extLst>
                <a:ext uri="{FF2B5EF4-FFF2-40B4-BE49-F238E27FC236}">
                  <a16:creationId xmlns:a16="http://schemas.microsoft.com/office/drawing/2014/main" id="{33F136FD-3FEC-49F3-8795-9972066703F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740987" y="4284017"/>
              <a:ext cx="3178016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8" name="Rechthoek 27">
            <a:extLst>
              <a:ext uri="{FF2B5EF4-FFF2-40B4-BE49-F238E27FC236}">
                <a16:creationId xmlns:a16="http://schemas.microsoft.com/office/drawing/2014/main" id="{8F8FF5C8-DEE6-4FE5-99DF-FA8EA5753A2D}"/>
              </a:ext>
            </a:extLst>
          </p:cNvPr>
          <p:cNvSpPr/>
          <p:nvPr userDrawn="1"/>
        </p:nvSpPr>
        <p:spPr>
          <a:xfrm>
            <a:off x="43487272" y="5"/>
            <a:ext cx="11147884" cy="84588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defTabSz="3207489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rPr>
              <a:t>ICOON invoegen / veranderen</a:t>
            </a:r>
          </a:p>
        </p:txBody>
      </p:sp>
      <p:cxnSp>
        <p:nvCxnSpPr>
          <p:cNvPr id="32" name="Rechte verbindingslijn 31">
            <a:extLst>
              <a:ext uri="{FF2B5EF4-FFF2-40B4-BE49-F238E27FC236}">
                <a16:creationId xmlns:a16="http://schemas.microsoft.com/office/drawing/2014/main" id="{3860E628-0CFC-43D4-998E-60ECE6AFFA74}"/>
              </a:ext>
            </a:extLst>
          </p:cNvPr>
          <p:cNvCxnSpPr>
            <a:cxnSpLocks/>
          </p:cNvCxnSpPr>
          <p:nvPr userDrawn="1"/>
        </p:nvCxnSpPr>
        <p:spPr>
          <a:xfrm>
            <a:off x="43487269" y="1066718"/>
            <a:ext cx="11147888" cy="0"/>
          </a:xfrm>
          <a:prstGeom prst="line">
            <a:avLst/>
          </a:prstGeom>
          <a:noFill/>
          <a:ln w="3175" cap="flat" cmpd="sng" algn="ctr">
            <a:solidFill>
              <a:schemeClr val="accent1"/>
            </a:solidFill>
            <a:prstDash val="solid"/>
          </a:ln>
          <a:effectLst/>
        </p:spPr>
      </p:cxnSp>
      <p:grpSp>
        <p:nvGrpSpPr>
          <p:cNvPr id="35" name="Instructie">
            <a:extLst>
              <a:ext uri="{FF2B5EF4-FFF2-40B4-BE49-F238E27FC236}">
                <a16:creationId xmlns:a16="http://schemas.microsoft.com/office/drawing/2014/main" id="{FADC590A-80D0-4F8E-AB42-3D1236AFE0BF}"/>
              </a:ext>
            </a:extLst>
          </p:cNvPr>
          <p:cNvGrpSpPr/>
          <p:nvPr userDrawn="1"/>
        </p:nvGrpSpPr>
        <p:grpSpPr>
          <a:xfrm>
            <a:off x="43506534" y="6474547"/>
            <a:ext cx="11164508" cy="11743958"/>
            <a:chOff x="-3426088" y="4512342"/>
            <a:chExt cx="3182755" cy="2660264"/>
          </a:xfrm>
        </p:grpSpPr>
        <p:sp>
          <p:nvSpPr>
            <p:cNvPr id="36" name="Rechthoek 127">
              <a:extLst>
                <a:ext uri="{FF2B5EF4-FFF2-40B4-BE49-F238E27FC236}">
                  <a16:creationId xmlns:a16="http://schemas.microsoft.com/office/drawing/2014/main" id="{45F1DBA5-C73D-47EC-ADFF-A0F5C04EEAD4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49" name="Rechte verbindingslijn 128">
              <a:extLst>
                <a:ext uri="{FF2B5EF4-FFF2-40B4-BE49-F238E27FC236}">
                  <a16:creationId xmlns:a16="http://schemas.microsoft.com/office/drawing/2014/main" id="{77783C23-AFCD-49BD-A92D-5F7D4448FD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50" name="Rechthoek 130">
              <a:extLst>
                <a:ext uri="{FF2B5EF4-FFF2-40B4-BE49-F238E27FC236}">
                  <a16:creationId xmlns:a16="http://schemas.microsoft.com/office/drawing/2014/main" id="{42C611A4-79B2-4229-8F2A-1E8AC3A31A20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51" name="Rechthoek 133">
              <a:extLst>
                <a:ext uri="{FF2B5EF4-FFF2-40B4-BE49-F238E27FC236}">
                  <a16:creationId xmlns:a16="http://schemas.microsoft.com/office/drawing/2014/main" id="{6440ACFB-64B8-408A-B4F1-1B6AD802422F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53" name="Rechthoek 136">
              <a:extLst>
                <a:ext uri="{FF2B5EF4-FFF2-40B4-BE49-F238E27FC236}">
                  <a16:creationId xmlns:a16="http://schemas.microsoft.com/office/drawing/2014/main" id="{EF5C14F0-DB8F-444D-9146-49F9485E0E0D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54" name="Rechthoek 139">
              <a:extLst>
                <a:ext uri="{FF2B5EF4-FFF2-40B4-BE49-F238E27FC236}">
                  <a16:creationId xmlns:a16="http://schemas.microsoft.com/office/drawing/2014/main" id="{AEB7FAB6-F4A9-4846-B64C-DD3D29A78C76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55" name="Rechte verbindingslijn 140">
              <a:extLst>
                <a:ext uri="{FF2B5EF4-FFF2-40B4-BE49-F238E27FC236}">
                  <a16:creationId xmlns:a16="http://schemas.microsoft.com/office/drawing/2014/main" id="{A372F14B-991C-4BFB-9008-D41A0C5D7D6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56" name="Groep 101">
            <a:extLst>
              <a:ext uri="{FF2B5EF4-FFF2-40B4-BE49-F238E27FC236}">
                <a16:creationId xmlns:a16="http://schemas.microsoft.com/office/drawing/2014/main" id="{F32B50C5-F5DF-40DC-9D58-EECC0E8BAB16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57" name="Rechthoek 102">
              <a:extLst>
                <a:ext uri="{FF2B5EF4-FFF2-40B4-BE49-F238E27FC236}">
                  <a16:creationId xmlns:a16="http://schemas.microsoft.com/office/drawing/2014/main" id="{CBDF2DBA-2D25-4165-91FC-6142F217B2B3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58" name="Ovaal 103">
              <a:extLst>
                <a:ext uri="{FF2B5EF4-FFF2-40B4-BE49-F238E27FC236}">
                  <a16:creationId xmlns:a16="http://schemas.microsoft.com/office/drawing/2014/main" id="{D29A10E2-9C95-40AE-89E2-B52D5740CB0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59" name="Rechte verbindingslijn 104">
              <a:extLst>
                <a:ext uri="{FF2B5EF4-FFF2-40B4-BE49-F238E27FC236}">
                  <a16:creationId xmlns:a16="http://schemas.microsoft.com/office/drawing/2014/main" id="{97E88656-A2DF-433D-9E92-D5FFBDBC3B1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60" name="Groep 105">
              <a:extLst>
                <a:ext uri="{FF2B5EF4-FFF2-40B4-BE49-F238E27FC236}">
                  <a16:creationId xmlns:a16="http://schemas.microsoft.com/office/drawing/2014/main" id="{EB18F6F1-E75A-4350-BBCE-10C44D6D53B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85" name="Rechthoek 130">
                <a:extLst>
                  <a:ext uri="{FF2B5EF4-FFF2-40B4-BE49-F238E27FC236}">
                    <a16:creationId xmlns:a16="http://schemas.microsoft.com/office/drawing/2014/main" id="{DE9CD6B4-5F8A-48A0-AB14-32D4B8055E08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86" name="Rechte verbindingslijn 131">
                <a:extLst>
                  <a:ext uri="{FF2B5EF4-FFF2-40B4-BE49-F238E27FC236}">
                    <a16:creationId xmlns:a16="http://schemas.microsoft.com/office/drawing/2014/main" id="{E0EEF84F-9952-4683-9FE0-946C1D2FF74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Rechte verbindingslijn 132">
                <a:extLst>
                  <a:ext uri="{FF2B5EF4-FFF2-40B4-BE49-F238E27FC236}">
                    <a16:creationId xmlns:a16="http://schemas.microsoft.com/office/drawing/2014/main" id="{5D75A59A-D3EA-43ED-BB28-A0DCF4FFC69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8" name="Rechthoek 133">
                <a:extLst>
                  <a:ext uri="{FF2B5EF4-FFF2-40B4-BE49-F238E27FC236}">
                    <a16:creationId xmlns:a16="http://schemas.microsoft.com/office/drawing/2014/main" id="{5C18C196-60F5-408F-B1D7-0FE87AF2C820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89" name="Groep 134">
                <a:extLst>
                  <a:ext uri="{FF2B5EF4-FFF2-40B4-BE49-F238E27FC236}">
                    <a16:creationId xmlns:a16="http://schemas.microsoft.com/office/drawing/2014/main" id="{19940C93-7077-4061-997B-B9764262BFC3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28" name="Groep 175">
                  <a:extLst>
                    <a:ext uri="{FF2B5EF4-FFF2-40B4-BE49-F238E27FC236}">
                      <a16:creationId xmlns:a16="http://schemas.microsoft.com/office/drawing/2014/main" id="{6F673296-7E0C-45FA-8B6C-5AD450A6B2F6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32" name="Rechte verbindingslijn 179">
                    <a:extLst>
                      <a:ext uri="{FF2B5EF4-FFF2-40B4-BE49-F238E27FC236}">
                        <a16:creationId xmlns:a16="http://schemas.microsoft.com/office/drawing/2014/main" id="{BD7C17A5-AF6B-4DA9-817C-CA9F0CC4DA3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33" name="Rechte verbindingslijn 180">
                    <a:extLst>
                      <a:ext uri="{FF2B5EF4-FFF2-40B4-BE49-F238E27FC236}">
                        <a16:creationId xmlns:a16="http://schemas.microsoft.com/office/drawing/2014/main" id="{19BC700F-4443-4FF9-A02F-0B5AF41D159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34" name="Rechte verbindingslijn 181">
                    <a:extLst>
                      <a:ext uri="{FF2B5EF4-FFF2-40B4-BE49-F238E27FC236}">
                        <a16:creationId xmlns:a16="http://schemas.microsoft.com/office/drawing/2014/main" id="{DBEE842F-D90D-492F-BAFD-C74D0E885AC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35" name="Rechte verbindingslijn 182">
                    <a:extLst>
                      <a:ext uri="{FF2B5EF4-FFF2-40B4-BE49-F238E27FC236}">
                        <a16:creationId xmlns:a16="http://schemas.microsoft.com/office/drawing/2014/main" id="{EBCB2C7B-9D3E-4486-92F4-FF162407DF6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36" name="Rechte verbindingslijn 183">
                    <a:extLst>
                      <a:ext uri="{FF2B5EF4-FFF2-40B4-BE49-F238E27FC236}">
                        <a16:creationId xmlns:a16="http://schemas.microsoft.com/office/drawing/2014/main" id="{A114EA34-F6AA-4148-AEC2-89F096140E9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29" name="Groep 176">
                  <a:extLst>
                    <a:ext uri="{FF2B5EF4-FFF2-40B4-BE49-F238E27FC236}">
                      <a16:creationId xmlns:a16="http://schemas.microsoft.com/office/drawing/2014/main" id="{092CE0FA-4384-4F8C-AAC6-ACA9FDCD7CBA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30" name="Rechthoek 177">
                    <a:extLst>
                      <a:ext uri="{FF2B5EF4-FFF2-40B4-BE49-F238E27FC236}">
                        <a16:creationId xmlns:a16="http://schemas.microsoft.com/office/drawing/2014/main" id="{6FD58914-CDDA-4DD2-8396-637426CA28F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1" name="Pijl: punthaak 178">
                    <a:extLst>
                      <a:ext uri="{FF2B5EF4-FFF2-40B4-BE49-F238E27FC236}">
                        <a16:creationId xmlns:a16="http://schemas.microsoft.com/office/drawing/2014/main" id="{957093B8-0EEC-4A99-814E-A4CB94DD16F0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90" name="Groep 135">
                <a:extLst>
                  <a:ext uri="{FF2B5EF4-FFF2-40B4-BE49-F238E27FC236}">
                    <a16:creationId xmlns:a16="http://schemas.microsoft.com/office/drawing/2014/main" id="{CD1001C2-E5EE-420E-8536-85CD39EA1C77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19" name="Groep 166">
                  <a:extLst>
                    <a:ext uri="{FF2B5EF4-FFF2-40B4-BE49-F238E27FC236}">
                      <a16:creationId xmlns:a16="http://schemas.microsoft.com/office/drawing/2014/main" id="{DE132F0C-0A9F-4EC9-891C-E9F9B68D8E1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23" name="Rechte verbindingslijn 170">
                    <a:extLst>
                      <a:ext uri="{FF2B5EF4-FFF2-40B4-BE49-F238E27FC236}">
                        <a16:creationId xmlns:a16="http://schemas.microsoft.com/office/drawing/2014/main" id="{55DCCA61-D15C-4390-8DFC-78785E15B69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24" name="Rechte verbindingslijn 171">
                    <a:extLst>
                      <a:ext uri="{FF2B5EF4-FFF2-40B4-BE49-F238E27FC236}">
                        <a16:creationId xmlns:a16="http://schemas.microsoft.com/office/drawing/2014/main" id="{87498E5D-7C35-4D4D-B5C5-774175558A5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25" name="Rechte verbindingslijn 172">
                    <a:extLst>
                      <a:ext uri="{FF2B5EF4-FFF2-40B4-BE49-F238E27FC236}">
                        <a16:creationId xmlns:a16="http://schemas.microsoft.com/office/drawing/2014/main" id="{A528AA5A-9228-4951-A983-E27FB75A76D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26" name="Rechte verbindingslijn 173">
                    <a:extLst>
                      <a:ext uri="{FF2B5EF4-FFF2-40B4-BE49-F238E27FC236}">
                        <a16:creationId xmlns:a16="http://schemas.microsoft.com/office/drawing/2014/main" id="{A5307FF5-A085-439D-BF7E-6AFA877379B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27" name="Rechte verbindingslijn 174">
                    <a:extLst>
                      <a:ext uri="{FF2B5EF4-FFF2-40B4-BE49-F238E27FC236}">
                        <a16:creationId xmlns:a16="http://schemas.microsoft.com/office/drawing/2014/main" id="{C2B4688C-BDE5-42D1-8B89-4A2301AC8CB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20" name="Groep 167">
                  <a:extLst>
                    <a:ext uri="{FF2B5EF4-FFF2-40B4-BE49-F238E27FC236}">
                      <a16:creationId xmlns:a16="http://schemas.microsoft.com/office/drawing/2014/main" id="{D52C410B-8B34-4FA6-BF77-63EB359B0C38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21" name="Rechthoek 168">
                    <a:extLst>
                      <a:ext uri="{FF2B5EF4-FFF2-40B4-BE49-F238E27FC236}">
                        <a16:creationId xmlns:a16="http://schemas.microsoft.com/office/drawing/2014/main" id="{D36549A7-0C35-4226-A84B-01396765238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22" name="Pijl: punthaak 169">
                    <a:extLst>
                      <a:ext uri="{FF2B5EF4-FFF2-40B4-BE49-F238E27FC236}">
                        <a16:creationId xmlns:a16="http://schemas.microsoft.com/office/drawing/2014/main" id="{A14BBA7E-5CFD-4DF3-BF01-3E874BB67F9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91" name="Rechte verbindingslijn 136">
                <a:extLst>
                  <a:ext uri="{FF2B5EF4-FFF2-40B4-BE49-F238E27FC236}">
                    <a16:creationId xmlns:a16="http://schemas.microsoft.com/office/drawing/2014/main" id="{4B1B2E33-BF7F-4EEC-B96B-0E17879752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92" name="Rechte verbindingslijn 137">
                <a:extLst>
                  <a:ext uri="{FF2B5EF4-FFF2-40B4-BE49-F238E27FC236}">
                    <a16:creationId xmlns:a16="http://schemas.microsoft.com/office/drawing/2014/main" id="{0D92B8CF-B343-45CD-89D3-5D51D0F2446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93" name="Groep 138">
                <a:extLst>
                  <a:ext uri="{FF2B5EF4-FFF2-40B4-BE49-F238E27FC236}">
                    <a16:creationId xmlns:a16="http://schemas.microsoft.com/office/drawing/2014/main" id="{74D5AAE5-B6F5-4376-A410-133105F88F82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08" name="Rechthoek 155">
                  <a:extLst>
                    <a:ext uri="{FF2B5EF4-FFF2-40B4-BE49-F238E27FC236}">
                      <a16:creationId xmlns:a16="http://schemas.microsoft.com/office/drawing/2014/main" id="{2D36C82B-4D15-41ED-BBC2-2A6364E2A10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09" name="Groep 156">
                  <a:extLst>
                    <a:ext uri="{FF2B5EF4-FFF2-40B4-BE49-F238E27FC236}">
                      <a16:creationId xmlns:a16="http://schemas.microsoft.com/office/drawing/2014/main" id="{3D1C3FFD-BFEF-4D75-A980-D84DCF889C0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10" name="Groep 157">
                    <a:extLst>
                      <a:ext uri="{FF2B5EF4-FFF2-40B4-BE49-F238E27FC236}">
                        <a16:creationId xmlns:a16="http://schemas.microsoft.com/office/drawing/2014/main" id="{7DCA84F5-3106-409F-903D-F0A920BB85C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14" name="Rechte verbindingslijn 161">
                      <a:extLst>
                        <a:ext uri="{FF2B5EF4-FFF2-40B4-BE49-F238E27FC236}">
                          <a16:creationId xmlns:a16="http://schemas.microsoft.com/office/drawing/2014/main" id="{504B250A-971C-4E4D-8870-73794C3093F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15" name="Rechte verbindingslijn 162">
                      <a:extLst>
                        <a:ext uri="{FF2B5EF4-FFF2-40B4-BE49-F238E27FC236}">
                          <a16:creationId xmlns:a16="http://schemas.microsoft.com/office/drawing/2014/main" id="{D81D121E-61BB-43EF-8463-86E1B47ED6E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16" name="Rechte verbindingslijn 163">
                      <a:extLst>
                        <a:ext uri="{FF2B5EF4-FFF2-40B4-BE49-F238E27FC236}">
                          <a16:creationId xmlns:a16="http://schemas.microsoft.com/office/drawing/2014/main" id="{D570ABC2-7B44-45A9-97DD-BA0996A9EAB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17" name="Rechte verbindingslijn 164">
                      <a:extLst>
                        <a:ext uri="{FF2B5EF4-FFF2-40B4-BE49-F238E27FC236}">
                          <a16:creationId xmlns:a16="http://schemas.microsoft.com/office/drawing/2014/main" id="{F34E07C9-EA9F-4D6A-9E85-7AA72F6ED4F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18" name="Rechte verbindingslijn 165">
                      <a:extLst>
                        <a:ext uri="{FF2B5EF4-FFF2-40B4-BE49-F238E27FC236}">
                          <a16:creationId xmlns:a16="http://schemas.microsoft.com/office/drawing/2014/main" id="{D273A663-9681-4A43-90E1-73BBE6FCC34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11" name="Groep 158">
                    <a:extLst>
                      <a:ext uri="{FF2B5EF4-FFF2-40B4-BE49-F238E27FC236}">
                        <a16:creationId xmlns:a16="http://schemas.microsoft.com/office/drawing/2014/main" id="{7EE673A5-2FC3-4498-9B5B-4CE47F62CA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12" name="Rechthoek 159">
                      <a:extLst>
                        <a:ext uri="{FF2B5EF4-FFF2-40B4-BE49-F238E27FC236}">
                          <a16:creationId xmlns:a16="http://schemas.microsoft.com/office/drawing/2014/main" id="{6E328675-3F18-45C1-ACEB-51CB6C5583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13" name="Pijl: punthaak 160">
                      <a:extLst>
                        <a:ext uri="{FF2B5EF4-FFF2-40B4-BE49-F238E27FC236}">
                          <a16:creationId xmlns:a16="http://schemas.microsoft.com/office/drawing/2014/main" id="{39C8C05C-D314-4B55-B63B-73FEA3BA398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94" name="Groep 139">
                <a:extLst>
                  <a:ext uri="{FF2B5EF4-FFF2-40B4-BE49-F238E27FC236}">
                    <a16:creationId xmlns:a16="http://schemas.microsoft.com/office/drawing/2014/main" id="{ACE6E3A3-7D2D-40D7-82A9-A99F5F52FD61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97" name="Rechthoek 142">
                  <a:extLst>
                    <a:ext uri="{FF2B5EF4-FFF2-40B4-BE49-F238E27FC236}">
                      <a16:creationId xmlns:a16="http://schemas.microsoft.com/office/drawing/2014/main" id="{6865F25F-7BC9-49F3-A5BF-19EEAF178EE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98" name="Groep 143">
                  <a:extLst>
                    <a:ext uri="{FF2B5EF4-FFF2-40B4-BE49-F238E27FC236}">
                      <a16:creationId xmlns:a16="http://schemas.microsoft.com/office/drawing/2014/main" id="{B03AEB2F-8C18-4473-A080-67CF8665523B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99" name="Groep 144">
                    <a:extLst>
                      <a:ext uri="{FF2B5EF4-FFF2-40B4-BE49-F238E27FC236}">
                        <a16:creationId xmlns:a16="http://schemas.microsoft.com/office/drawing/2014/main" id="{800277B1-44E7-44AA-B7A5-1E56A45968B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03" name="Rechte verbindingslijn 150">
                      <a:extLst>
                        <a:ext uri="{FF2B5EF4-FFF2-40B4-BE49-F238E27FC236}">
                          <a16:creationId xmlns:a16="http://schemas.microsoft.com/office/drawing/2014/main" id="{23496289-7EAF-413D-89FC-B83F32DAB1E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4" name="Rechte verbindingslijn 151">
                      <a:extLst>
                        <a:ext uri="{FF2B5EF4-FFF2-40B4-BE49-F238E27FC236}">
                          <a16:creationId xmlns:a16="http://schemas.microsoft.com/office/drawing/2014/main" id="{1389E0CD-2D67-4F2F-B340-3E596BCF048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5" name="Rechte verbindingslijn 152">
                      <a:extLst>
                        <a:ext uri="{FF2B5EF4-FFF2-40B4-BE49-F238E27FC236}">
                          <a16:creationId xmlns:a16="http://schemas.microsoft.com/office/drawing/2014/main" id="{CD7D94CC-9D52-40FB-B902-642E41391D2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6" name="Rechte verbindingslijn 153">
                      <a:extLst>
                        <a:ext uri="{FF2B5EF4-FFF2-40B4-BE49-F238E27FC236}">
                          <a16:creationId xmlns:a16="http://schemas.microsoft.com/office/drawing/2014/main" id="{2C919970-1422-40B1-B7EC-0761913B368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7" name="Rechte verbindingslijn 154">
                      <a:extLst>
                        <a:ext uri="{FF2B5EF4-FFF2-40B4-BE49-F238E27FC236}">
                          <a16:creationId xmlns:a16="http://schemas.microsoft.com/office/drawing/2014/main" id="{A297A80B-847C-4411-AF8B-D8CB7AB1C80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00" name="Groep 147">
                    <a:extLst>
                      <a:ext uri="{FF2B5EF4-FFF2-40B4-BE49-F238E27FC236}">
                        <a16:creationId xmlns:a16="http://schemas.microsoft.com/office/drawing/2014/main" id="{0534B01F-59A0-4609-BE61-E17E7F6B01A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01" name="Rechthoek 148">
                      <a:extLst>
                        <a:ext uri="{FF2B5EF4-FFF2-40B4-BE49-F238E27FC236}">
                          <a16:creationId xmlns:a16="http://schemas.microsoft.com/office/drawing/2014/main" id="{8A826474-1F20-453B-ACCF-31C11B7DFAA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2" name="Pijl: punthaak 149">
                      <a:extLst>
                        <a:ext uri="{FF2B5EF4-FFF2-40B4-BE49-F238E27FC236}">
                          <a16:creationId xmlns:a16="http://schemas.microsoft.com/office/drawing/2014/main" id="{B6F09AC9-9599-4102-9C26-104E31B18398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95" name="Rechthoek 140">
                <a:extLst>
                  <a:ext uri="{FF2B5EF4-FFF2-40B4-BE49-F238E27FC236}">
                    <a16:creationId xmlns:a16="http://schemas.microsoft.com/office/drawing/2014/main" id="{4471D6F0-E944-4471-9D6B-287F00F1422A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96" name="Rechthoek 141">
                <a:extLst>
                  <a:ext uri="{FF2B5EF4-FFF2-40B4-BE49-F238E27FC236}">
                    <a16:creationId xmlns:a16="http://schemas.microsoft.com/office/drawing/2014/main" id="{DE151E76-5636-4227-8FA2-A1A570A6E735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61" name="Rechte verbindingslijn 106">
              <a:extLst>
                <a:ext uri="{FF2B5EF4-FFF2-40B4-BE49-F238E27FC236}">
                  <a16:creationId xmlns:a16="http://schemas.microsoft.com/office/drawing/2014/main" id="{508F624B-421E-4D3D-9896-1F9D83DBC91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62" name="Rechthoek 107">
              <a:extLst>
                <a:ext uri="{FF2B5EF4-FFF2-40B4-BE49-F238E27FC236}">
                  <a16:creationId xmlns:a16="http://schemas.microsoft.com/office/drawing/2014/main" id="{BC36AB0E-7EE0-4671-A263-301FC979D0EC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63" name="Ovaal 108">
              <a:extLst>
                <a:ext uri="{FF2B5EF4-FFF2-40B4-BE49-F238E27FC236}">
                  <a16:creationId xmlns:a16="http://schemas.microsoft.com/office/drawing/2014/main" id="{5B98D948-9ABC-4964-81CA-9A17AA10B300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64" name="Rechthoek 109">
              <a:extLst>
                <a:ext uri="{FF2B5EF4-FFF2-40B4-BE49-F238E27FC236}">
                  <a16:creationId xmlns:a16="http://schemas.microsoft.com/office/drawing/2014/main" id="{577D5868-7C9B-4E25-B1D7-EA6FEF97EBE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65" name="Ovaal 110">
              <a:extLst>
                <a:ext uri="{FF2B5EF4-FFF2-40B4-BE49-F238E27FC236}">
                  <a16:creationId xmlns:a16="http://schemas.microsoft.com/office/drawing/2014/main" id="{CD9CFDF3-365E-44E2-BE31-A4460983B826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66" name="Rechthoek 111">
              <a:extLst>
                <a:ext uri="{FF2B5EF4-FFF2-40B4-BE49-F238E27FC236}">
                  <a16:creationId xmlns:a16="http://schemas.microsoft.com/office/drawing/2014/main" id="{0ED96630-D614-4315-ADE6-74ACF1BC149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67" name="Ovaal 112">
              <a:extLst>
                <a:ext uri="{FF2B5EF4-FFF2-40B4-BE49-F238E27FC236}">
                  <a16:creationId xmlns:a16="http://schemas.microsoft.com/office/drawing/2014/main" id="{AEBEFB1B-DBFD-4B2F-9F55-60ABEBACF993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68" name="Rechthoek 113">
              <a:extLst>
                <a:ext uri="{FF2B5EF4-FFF2-40B4-BE49-F238E27FC236}">
                  <a16:creationId xmlns:a16="http://schemas.microsoft.com/office/drawing/2014/main" id="{B1756332-2CB5-4FEB-B69E-ED3F3B748909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69" name="Ovaal 114">
              <a:extLst>
                <a:ext uri="{FF2B5EF4-FFF2-40B4-BE49-F238E27FC236}">
                  <a16:creationId xmlns:a16="http://schemas.microsoft.com/office/drawing/2014/main" id="{682E0D15-6D5E-42B9-BDAE-C1FA036D02D0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70" name="Rechthoek 115">
              <a:extLst>
                <a:ext uri="{FF2B5EF4-FFF2-40B4-BE49-F238E27FC236}">
                  <a16:creationId xmlns:a16="http://schemas.microsoft.com/office/drawing/2014/main" id="{E6702AD8-7BA1-4B14-91A3-A6097EC40CC3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71" name="Rechte verbindingslijn 116">
              <a:extLst>
                <a:ext uri="{FF2B5EF4-FFF2-40B4-BE49-F238E27FC236}">
                  <a16:creationId xmlns:a16="http://schemas.microsoft.com/office/drawing/2014/main" id="{8F2B8678-6E3C-4988-B2F0-3F9A81ED0B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72" name="Meer informatie">
              <a:extLst>
                <a:ext uri="{FF2B5EF4-FFF2-40B4-BE49-F238E27FC236}">
                  <a16:creationId xmlns:a16="http://schemas.microsoft.com/office/drawing/2014/main" id="{22415663-4564-4CAA-9C80-25A86A0FA9F6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82" name="Freeform 101">
                <a:extLst>
                  <a:ext uri="{FF2B5EF4-FFF2-40B4-BE49-F238E27FC236}">
                    <a16:creationId xmlns:a16="http://schemas.microsoft.com/office/drawing/2014/main" id="{86CBE978-7A27-4139-927B-2196A01054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83" name="Rechthoek 128">
                <a:extLst>
                  <a:ext uri="{FF2B5EF4-FFF2-40B4-BE49-F238E27FC236}">
                    <a16:creationId xmlns:a16="http://schemas.microsoft.com/office/drawing/2014/main" id="{00D54B3E-70D6-4045-9366-81395E5FC684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84" name="Rechte verbindingslijn 129">
                <a:extLst>
                  <a:ext uri="{FF2B5EF4-FFF2-40B4-BE49-F238E27FC236}">
                    <a16:creationId xmlns:a16="http://schemas.microsoft.com/office/drawing/2014/main" id="{67E8CD67-AFDA-4DE3-91A6-686326BB4AD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73" name="Rechthoek 118">
              <a:extLst>
                <a:ext uri="{FF2B5EF4-FFF2-40B4-BE49-F238E27FC236}">
                  <a16:creationId xmlns:a16="http://schemas.microsoft.com/office/drawing/2014/main" id="{B24C4619-CB64-40EC-AB2A-9286FAE49061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74" name="Ovaal 119">
              <a:extLst>
                <a:ext uri="{FF2B5EF4-FFF2-40B4-BE49-F238E27FC236}">
                  <a16:creationId xmlns:a16="http://schemas.microsoft.com/office/drawing/2014/main" id="{529B5E54-B1C8-40AA-8F75-8BE43203321B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75" name="Rechthoek 120">
              <a:extLst>
                <a:ext uri="{FF2B5EF4-FFF2-40B4-BE49-F238E27FC236}">
                  <a16:creationId xmlns:a16="http://schemas.microsoft.com/office/drawing/2014/main" id="{F1A27840-C9C1-46EC-A99D-D2655C5E5074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76" name="Ovaal 121">
              <a:extLst>
                <a:ext uri="{FF2B5EF4-FFF2-40B4-BE49-F238E27FC236}">
                  <a16:creationId xmlns:a16="http://schemas.microsoft.com/office/drawing/2014/main" id="{7CF30C22-57E4-40FA-B7E9-35CE66C5CC7E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77" name="Rechthoek 122">
              <a:extLst>
                <a:ext uri="{FF2B5EF4-FFF2-40B4-BE49-F238E27FC236}">
                  <a16:creationId xmlns:a16="http://schemas.microsoft.com/office/drawing/2014/main" id="{76BBA366-5089-4662-94BD-6333C8A43CB9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78" name="Ovaal 123">
              <a:extLst>
                <a:ext uri="{FF2B5EF4-FFF2-40B4-BE49-F238E27FC236}">
                  <a16:creationId xmlns:a16="http://schemas.microsoft.com/office/drawing/2014/main" id="{7209C35B-1477-433B-8787-AC8C65833602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79" name="Rechthoek 124">
              <a:extLst>
                <a:ext uri="{FF2B5EF4-FFF2-40B4-BE49-F238E27FC236}">
                  <a16:creationId xmlns:a16="http://schemas.microsoft.com/office/drawing/2014/main" id="{7E11705F-BE32-40EE-807B-EE55642F1BED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0" name="Rechthoek 125">
              <a:extLst>
                <a:ext uri="{FF2B5EF4-FFF2-40B4-BE49-F238E27FC236}">
                  <a16:creationId xmlns:a16="http://schemas.microsoft.com/office/drawing/2014/main" id="{43C05CBA-CAC3-4EF0-97AA-DDE2A2C06CB1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81" name="Ovaal 126">
              <a:extLst>
                <a:ext uri="{FF2B5EF4-FFF2-40B4-BE49-F238E27FC236}">
                  <a16:creationId xmlns:a16="http://schemas.microsoft.com/office/drawing/2014/main" id="{72AB5AB0-4EB7-4D44-8A18-BB13EE6E97B7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2313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rnpunten + Iconen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Tijdelijke aanduiding voor tekst 3">
            <a:extLst>
              <a:ext uri="{FF2B5EF4-FFF2-40B4-BE49-F238E27FC236}">
                <a16:creationId xmlns:a16="http://schemas.microsoft.com/office/drawing/2014/main" id="{60C96555-1A50-4EF0-87CB-9ACB58C9E0F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9207348" y="18619120"/>
            <a:ext cx="11802765" cy="7631866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18278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17319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176436" y="0"/>
                </a:lnTo>
                <a:cubicBezTo>
                  <a:pt x="33295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354914" y="2982912"/>
                  <a:pt x="3201836" y="2982912"/>
                </a:cubicBezTo>
                <a:lnTo>
                  <a:pt x="173193" y="2982912"/>
                </a:lnTo>
                <a:cubicBezTo>
                  <a:pt x="2011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>
              <a:spcAft>
                <a:spcPts val="0"/>
              </a:spcAft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defRPr sz="4209">
                <a:solidFill>
                  <a:schemeClr val="bg1"/>
                </a:solidFill>
              </a:defRPr>
            </a:lvl2pPr>
            <a:lvl3pPr marL="0" indent="0"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54" name="Tijdelijke aanduiding voor tekst 3">
            <a:extLst>
              <a:ext uri="{FF2B5EF4-FFF2-40B4-BE49-F238E27FC236}">
                <a16:creationId xmlns:a16="http://schemas.microsoft.com/office/drawing/2014/main" id="{B8B199D0-5FCA-4521-BEA6-F6144A03151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5482243" y="18619120"/>
            <a:ext cx="11802765" cy="7631866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18278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17319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176436" y="0"/>
                </a:lnTo>
                <a:cubicBezTo>
                  <a:pt x="33295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354914" y="2982912"/>
                  <a:pt x="3201836" y="2982912"/>
                </a:cubicBezTo>
                <a:lnTo>
                  <a:pt x="173193" y="2982912"/>
                </a:lnTo>
                <a:cubicBezTo>
                  <a:pt x="2011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defRPr sz="4209">
                <a:solidFill>
                  <a:schemeClr val="bg1"/>
                </a:solidFill>
              </a:defRPr>
            </a:lvl2pPr>
            <a:lvl3pPr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53" name="Tijdelijke aanduiding voor tekst 3">
            <a:extLst>
              <a:ext uri="{FF2B5EF4-FFF2-40B4-BE49-F238E27FC236}">
                <a16:creationId xmlns:a16="http://schemas.microsoft.com/office/drawing/2014/main" id="{BC18145F-6353-4193-8C5D-F21499B241C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757139" y="18619120"/>
            <a:ext cx="11802765" cy="7631866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18278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17319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176436" y="0"/>
                </a:lnTo>
                <a:cubicBezTo>
                  <a:pt x="33295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354914" y="2982912"/>
                  <a:pt x="3201836" y="2982912"/>
                </a:cubicBezTo>
                <a:lnTo>
                  <a:pt x="173193" y="2982912"/>
                </a:lnTo>
                <a:cubicBezTo>
                  <a:pt x="2011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defRPr sz="4209">
                <a:solidFill>
                  <a:schemeClr val="bg1"/>
                </a:solidFill>
              </a:defRPr>
            </a:lvl2pPr>
            <a:lvl3pPr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52" name="Tijdelijke aanduiding voor tekst 3">
            <a:extLst>
              <a:ext uri="{FF2B5EF4-FFF2-40B4-BE49-F238E27FC236}">
                <a16:creationId xmlns:a16="http://schemas.microsoft.com/office/drawing/2014/main" id="{74701542-138A-4340-8C2F-BB14933495A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9207348" y="7970563"/>
            <a:ext cx="11802765" cy="7631866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18278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17319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176436" y="0"/>
                </a:lnTo>
                <a:cubicBezTo>
                  <a:pt x="33295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354914" y="2982912"/>
                  <a:pt x="3201836" y="2982912"/>
                </a:cubicBezTo>
                <a:lnTo>
                  <a:pt x="173193" y="2982912"/>
                </a:lnTo>
                <a:cubicBezTo>
                  <a:pt x="2011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defRPr sz="4209">
                <a:solidFill>
                  <a:schemeClr val="bg1"/>
                </a:solidFill>
              </a:defRPr>
            </a:lvl2pPr>
            <a:lvl3pPr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37" name="Tijdelijke aanduiding voor tekst 3">
            <a:extLst>
              <a:ext uri="{FF2B5EF4-FFF2-40B4-BE49-F238E27FC236}">
                <a16:creationId xmlns:a16="http://schemas.microsoft.com/office/drawing/2014/main" id="{392E85A5-D697-48B7-A85B-E3E96885C72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5482243" y="7970563"/>
            <a:ext cx="11802765" cy="7631866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18278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17319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176436" y="0"/>
                </a:lnTo>
                <a:cubicBezTo>
                  <a:pt x="33295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354914" y="2982912"/>
                  <a:pt x="3201836" y="2982912"/>
                </a:cubicBezTo>
                <a:lnTo>
                  <a:pt x="173193" y="2982912"/>
                </a:lnTo>
                <a:cubicBezTo>
                  <a:pt x="2011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defRPr sz="4209">
                <a:solidFill>
                  <a:schemeClr val="bg1"/>
                </a:solidFill>
              </a:defRPr>
            </a:lvl2pPr>
            <a:lvl3pPr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err="1"/>
              <a:t>Koptitel</a:t>
            </a:r>
            <a:endParaRPr lang="en-US" noProof="0"/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err="1"/>
              <a:t>Ondertitel</a:t>
            </a:r>
            <a:endParaRPr lang="en-US"/>
          </a:p>
        </p:txBody>
      </p:sp>
      <p:grpSp>
        <p:nvGrpSpPr>
          <p:cNvPr id="38" name="GRID" hidden="1">
            <a:extLst>
              <a:ext uri="{FF2B5EF4-FFF2-40B4-BE49-F238E27FC236}">
                <a16:creationId xmlns:a16="http://schemas.microsoft.com/office/drawing/2014/main" id="{51D5F7E8-69F8-47AD-81F5-1645C97607C1}"/>
              </a:ext>
            </a:extLst>
          </p:cNvPr>
          <p:cNvGrpSpPr/>
          <p:nvPr userDrawn="1"/>
        </p:nvGrpSpPr>
        <p:grpSpPr>
          <a:xfrm>
            <a:off x="5" y="0"/>
            <a:ext cx="42767261" cy="30275213"/>
            <a:chOff x="0" y="0"/>
            <a:chExt cx="12192003" cy="6858000"/>
          </a:xfrm>
        </p:grpSpPr>
        <p:sp>
          <p:nvSpPr>
            <p:cNvPr id="39" name="Rechthoek 38">
              <a:extLst>
                <a:ext uri="{FF2B5EF4-FFF2-40B4-BE49-F238E27FC236}">
                  <a16:creationId xmlns:a16="http://schemas.microsoft.com/office/drawing/2014/main" id="{71DB2C92-E6A8-4532-98F6-C917E7F5CD17}"/>
                </a:ext>
              </a:extLst>
            </p:cNvPr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0" name="Rechthoek 39">
              <a:extLst>
                <a:ext uri="{FF2B5EF4-FFF2-40B4-BE49-F238E27FC236}">
                  <a16:creationId xmlns:a16="http://schemas.microsoft.com/office/drawing/2014/main" id="{1283F161-5F8A-45E1-A9F2-F823FC1CB0A5}"/>
                </a:ext>
              </a:extLst>
            </p:cNvPr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1" name="Rechthoek 40">
              <a:extLst>
                <a:ext uri="{FF2B5EF4-FFF2-40B4-BE49-F238E27FC236}">
                  <a16:creationId xmlns:a16="http://schemas.microsoft.com/office/drawing/2014/main" id="{E25AE021-76F4-4113-9019-FB3CB3351AD2}"/>
                </a:ext>
              </a:extLst>
            </p:cNvPr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2" name="Rechthoek 41">
              <a:extLst>
                <a:ext uri="{FF2B5EF4-FFF2-40B4-BE49-F238E27FC236}">
                  <a16:creationId xmlns:a16="http://schemas.microsoft.com/office/drawing/2014/main" id="{4F56F574-960D-4395-B98C-5F49ED9EF418}"/>
                </a:ext>
              </a:extLst>
            </p:cNvPr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34E307D0-CCA0-4BDF-BC5F-E19838E9F7DA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4" name="Rechthoek 43">
              <a:extLst>
                <a:ext uri="{FF2B5EF4-FFF2-40B4-BE49-F238E27FC236}">
                  <a16:creationId xmlns:a16="http://schemas.microsoft.com/office/drawing/2014/main" id="{2AEE0B25-FBCC-4048-A2C0-6D97C3E7FEB7}"/>
                </a:ext>
              </a:extLst>
            </p:cNvPr>
            <p:cNvSpPr/>
            <p:nvPr userDrawn="1"/>
          </p:nvSpPr>
          <p:spPr>
            <a:xfrm rot="5400000">
              <a:off x="5895976" y="-108104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8"/>
            <a:ext cx="707315" cy="1016405"/>
          </a:xfrm>
        </p:spPr>
        <p:txBody>
          <a:bodyPr/>
          <a:lstStyle/>
          <a:p>
            <a:fld id="{55B2A88A-B7BD-41B1-9FCB-9BE633251ACA}" type="slidenum">
              <a:rPr lang="en-US" noProof="0" smtClean="0"/>
              <a:t>‹nr.›</a:t>
            </a:fld>
            <a:endParaRPr lang="en-US" noProof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9B18BDE9-18FD-4C97-9F64-E73C2C770EF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57139" y="7970563"/>
            <a:ext cx="11802765" cy="7631866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18278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17319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176436" y="0"/>
                </a:lnTo>
                <a:cubicBezTo>
                  <a:pt x="33295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354914" y="2982912"/>
                  <a:pt x="3201836" y="2982912"/>
                </a:cubicBezTo>
                <a:lnTo>
                  <a:pt x="173193" y="2982912"/>
                </a:lnTo>
                <a:cubicBezTo>
                  <a:pt x="2011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defRPr sz="4209" b="0">
                <a:solidFill>
                  <a:schemeClr val="bg1"/>
                </a:solidFill>
              </a:defRPr>
            </a:lvl2pPr>
            <a:lvl3pPr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id="{3B2874ED-CC7F-4F0C-BB1D-75A9CC43DC3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9699110" y="5850604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48" name="Tijdelijke aanduiding voor tekst 14">
            <a:extLst>
              <a:ext uri="{FF2B5EF4-FFF2-40B4-BE49-F238E27FC236}">
                <a16:creationId xmlns:a16="http://schemas.microsoft.com/office/drawing/2014/main" id="{F1653C5F-83B0-4357-9779-FCA8C005D7E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974001" y="5850604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50" name="Tijdelijke aanduiding voor tekst 14">
            <a:extLst>
              <a:ext uri="{FF2B5EF4-FFF2-40B4-BE49-F238E27FC236}">
                <a16:creationId xmlns:a16="http://schemas.microsoft.com/office/drawing/2014/main" id="{3AA2D7D9-83DC-4599-894C-1EA7D9983FA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424213" y="5850604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0" name="Tijdelijke aanduiding voor tekst 14">
            <a:extLst>
              <a:ext uri="{FF2B5EF4-FFF2-40B4-BE49-F238E27FC236}">
                <a16:creationId xmlns:a16="http://schemas.microsoft.com/office/drawing/2014/main" id="{5F6EF29C-6547-44C1-BD48-1D3581117F6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9699110" y="16499158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2" name="Tijdelijke aanduiding voor tekst 14">
            <a:extLst>
              <a:ext uri="{FF2B5EF4-FFF2-40B4-BE49-F238E27FC236}">
                <a16:creationId xmlns:a16="http://schemas.microsoft.com/office/drawing/2014/main" id="{1A143C27-038F-4761-B827-CC3711286E6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974001" y="16499158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4" name="Tijdelijke aanduiding voor tekst 14">
            <a:extLst>
              <a:ext uri="{FF2B5EF4-FFF2-40B4-BE49-F238E27FC236}">
                <a16:creationId xmlns:a16="http://schemas.microsoft.com/office/drawing/2014/main" id="{0069A324-1E9A-44F6-A036-D73045802C0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424213" y="16499158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pic>
        <p:nvPicPr>
          <p:cNvPr id="27" name="Afbeelding 26">
            <a:extLst>
              <a:ext uri="{FF2B5EF4-FFF2-40B4-BE49-F238E27FC236}">
                <a16:creationId xmlns:a16="http://schemas.microsoft.com/office/drawing/2014/main" id="{25B00D5A-DF64-4D2B-976E-01DD75975A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  <p:grpSp>
        <p:nvGrpSpPr>
          <p:cNvPr id="28" name="Meer informatie">
            <a:extLst>
              <a:ext uri="{FF2B5EF4-FFF2-40B4-BE49-F238E27FC236}">
                <a16:creationId xmlns:a16="http://schemas.microsoft.com/office/drawing/2014/main" id="{B211D095-6E04-4B6C-8256-FAB55971D7FF}"/>
              </a:ext>
            </a:extLst>
          </p:cNvPr>
          <p:cNvGrpSpPr/>
          <p:nvPr userDrawn="1"/>
        </p:nvGrpSpPr>
        <p:grpSpPr>
          <a:xfrm>
            <a:off x="43487270" y="1774577"/>
            <a:ext cx="11147891" cy="3644433"/>
            <a:chOff x="-3740989" y="3458473"/>
            <a:chExt cx="3178018" cy="825544"/>
          </a:xfrm>
        </p:grpSpPr>
        <p:sp>
          <p:nvSpPr>
            <p:cNvPr id="31" name="Rechthoek 30">
              <a:extLst>
                <a:ext uri="{FF2B5EF4-FFF2-40B4-BE49-F238E27FC236}">
                  <a16:creationId xmlns:a16="http://schemas.microsoft.com/office/drawing/2014/main" id="{60072D39-BEE6-4966-87E8-9075C139E9A2}"/>
                </a:ext>
              </a:extLst>
            </p:cNvPr>
            <p:cNvSpPr/>
            <p:nvPr userDrawn="1"/>
          </p:nvSpPr>
          <p:spPr>
            <a:xfrm>
              <a:off x="-3740989" y="3458473"/>
              <a:ext cx="2863716" cy="5921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conen vind je in de slide bibliotheek.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opieer (Ctrl-c) de icoon uit de bibliotheek en plak (Ctrl-v) deze op de gewenste plek. Iconen zijn aanpasbaar qua kleur en formaat.</a:t>
              </a:r>
            </a:p>
          </p:txBody>
        </p:sp>
        <p:cxnSp>
          <p:nvCxnSpPr>
            <p:cNvPr id="33" name="Rechte verbindingslijn 32">
              <a:extLst>
                <a:ext uri="{FF2B5EF4-FFF2-40B4-BE49-F238E27FC236}">
                  <a16:creationId xmlns:a16="http://schemas.microsoft.com/office/drawing/2014/main" id="{98F35C15-FA78-4FD2-BE90-5C642C2EC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740987" y="4284017"/>
              <a:ext cx="3178016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35" name="Rechthoek 34">
            <a:extLst>
              <a:ext uri="{FF2B5EF4-FFF2-40B4-BE49-F238E27FC236}">
                <a16:creationId xmlns:a16="http://schemas.microsoft.com/office/drawing/2014/main" id="{080C5F42-8A3D-43B3-9E23-117B0328BB36}"/>
              </a:ext>
            </a:extLst>
          </p:cNvPr>
          <p:cNvSpPr/>
          <p:nvPr userDrawn="1"/>
        </p:nvSpPr>
        <p:spPr>
          <a:xfrm>
            <a:off x="43487272" y="5"/>
            <a:ext cx="11147884" cy="84588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defTabSz="3207489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rPr>
              <a:t>ICOON invoegen / veranderen</a:t>
            </a:r>
          </a:p>
        </p:txBody>
      </p:sp>
      <p:cxnSp>
        <p:nvCxnSpPr>
          <p:cNvPr id="36" name="Rechte verbindingslijn 35">
            <a:extLst>
              <a:ext uri="{FF2B5EF4-FFF2-40B4-BE49-F238E27FC236}">
                <a16:creationId xmlns:a16="http://schemas.microsoft.com/office/drawing/2014/main" id="{7C23CC42-5404-4D76-B4D6-55351E684119}"/>
              </a:ext>
            </a:extLst>
          </p:cNvPr>
          <p:cNvCxnSpPr>
            <a:cxnSpLocks/>
          </p:cNvCxnSpPr>
          <p:nvPr userDrawn="1"/>
        </p:nvCxnSpPr>
        <p:spPr>
          <a:xfrm>
            <a:off x="43487269" y="1066718"/>
            <a:ext cx="11147888" cy="0"/>
          </a:xfrm>
          <a:prstGeom prst="line">
            <a:avLst/>
          </a:prstGeom>
          <a:noFill/>
          <a:ln w="3175" cap="flat" cmpd="sng" algn="ctr">
            <a:solidFill>
              <a:schemeClr val="accent1"/>
            </a:solidFill>
            <a:prstDash val="solid"/>
          </a:ln>
          <a:effectLst/>
        </p:spPr>
      </p:cxnSp>
      <p:grpSp>
        <p:nvGrpSpPr>
          <p:cNvPr id="49" name="Instructie">
            <a:extLst>
              <a:ext uri="{FF2B5EF4-FFF2-40B4-BE49-F238E27FC236}">
                <a16:creationId xmlns:a16="http://schemas.microsoft.com/office/drawing/2014/main" id="{84C45357-DFCF-4F76-BC41-34F926A3A9A7}"/>
              </a:ext>
            </a:extLst>
          </p:cNvPr>
          <p:cNvGrpSpPr/>
          <p:nvPr userDrawn="1"/>
        </p:nvGrpSpPr>
        <p:grpSpPr>
          <a:xfrm>
            <a:off x="43506534" y="6474547"/>
            <a:ext cx="11164508" cy="11743958"/>
            <a:chOff x="-3426088" y="4512342"/>
            <a:chExt cx="3182755" cy="2660264"/>
          </a:xfrm>
        </p:grpSpPr>
        <p:sp>
          <p:nvSpPr>
            <p:cNvPr id="51" name="Rechthoek 127">
              <a:extLst>
                <a:ext uri="{FF2B5EF4-FFF2-40B4-BE49-F238E27FC236}">
                  <a16:creationId xmlns:a16="http://schemas.microsoft.com/office/drawing/2014/main" id="{D2E6B0D1-F979-42BF-BC6B-61CB1231C0BB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56" name="Rechte verbindingslijn 128">
              <a:extLst>
                <a:ext uri="{FF2B5EF4-FFF2-40B4-BE49-F238E27FC236}">
                  <a16:creationId xmlns:a16="http://schemas.microsoft.com/office/drawing/2014/main" id="{BAF7CF6F-CE8F-40FE-9458-7A849629B6B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57" name="Rechthoek 130">
              <a:extLst>
                <a:ext uri="{FF2B5EF4-FFF2-40B4-BE49-F238E27FC236}">
                  <a16:creationId xmlns:a16="http://schemas.microsoft.com/office/drawing/2014/main" id="{06FD592A-2FF6-46E0-942B-4D5C5D18D17B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58" name="Rechthoek 133">
              <a:extLst>
                <a:ext uri="{FF2B5EF4-FFF2-40B4-BE49-F238E27FC236}">
                  <a16:creationId xmlns:a16="http://schemas.microsoft.com/office/drawing/2014/main" id="{2511FE0C-7A37-475E-B962-4A6E8F0FFAF3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59" name="Rechthoek 136">
              <a:extLst>
                <a:ext uri="{FF2B5EF4-FFF2-40B4-BE49-F238E27FC236}">
                  <a16:creationId xmlns:a16="http://schemas.microsoft.com/office/drawing/2014/main" id="{47FFBC3C-B880-4FF4-97EB-3A1E9C5B6563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60" name="Rechthoek 139">
              <a:extLst>
                <a:ext uri="{FF2B5EF4-FFF2-40B4-BE49-F238E27FC236}">
                  <a16:creationId xmlns:a16="http://schemas.microsoft.com/office/drawing/2014/main" id="{50B90ADC-79FE-46AE-9866-25A58D743D68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61" name="Rechte verbindingslijn 140">
              <a:extLst>
                <a:ext uri="{FF2B5EF4-FFF2-40B4-BE49-F238E27FC236}">
                  <a16:creationId xmlns:a16="http://schemas.microsoft.com/office/drawing/2014/main" id="{9D160473-0A2C-48FE-B32A-923B4897C68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62" name="Groep 101">
            <a:extLst>
              <a:ext uri="{FF2B5EF4-FFF2-40B4-BE49-F238E27FC236}">
                <a16:creationId xmlns:a16="http://schemas.microsoft.com/office/drawing/2014/main" id="{B1F7A270-671C-4267-BBDA-0035FFBCA6AC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63" name="Rechthoek 102">
              <a:extLst>
                <a:ext uri="{FF2B5EF4-FFF2-40B4-BE49-F238E27FC236}">
                  <a16:creationId xmlns:a16="http://schemas.microsoft.com/office/drawing/2014/main" id="{D9180A54-5B43-490E-A53A-653C88885B2B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64" name="Ovaal 103">
              <a:extLst>
                <a:ext uri="{FF2B5EF4-FFF2-40B4-BE49-F238E27FC236}">
                  <a16:creationId xmlns:a16="http://schemas.microsoft.com/office/drawing/2014/main" id="{996DE116-E9C4-4404-B963-906BF309C28A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65" name="Rechte verbindingslijn 104">
              <a:extLst>
                <a:ext uri="{FF2B5EF4-FFF2-40B4-BE49-F238E27FC236}">
                  <a16:creationId xmlns:a16="http://schemas.microsoft.com/office/drawing/2014/main" id="{4903706A-252E-4D8B-9568-4A2FAA703A8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66" name="Groep 105">
              <a:extLst>
                <a:ext uri="{FF2B5EF4-FFF2-40B4-BE49-F238E27FC236}">
                  <a16:creationId xmlns:a16="http://schemas.microsoft.com/office/drawing/2014/main" id="{35C796B2-FF99-4DAE-BA18-C0082B6F453F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91" name="Rechthoek 130">
                <a:extLst>
                  <a:ext uri="{FF2B5EF4-FFF2-40B4-BE49-F238E27FC236}">
                    <a16:creationId xmlns:a16="http://schemas.microsoft.com/office/drawing/2014/main" id="{E1C77F3A-7187-4291-809D-7DA097DC42A8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92" name="Rechte verbindingslijn 131">
                <a:extLst>
                  <a:ext uri="{FF2B5EF4-FFF2-40B4-BE49-F238E27FC236}">
                    <a16:creationId xmlns:a16="http://schemas.microsoft.com/office/drawing/2014/main" id="{D0B95EA4-D908-430B-B7E1-4E0E5963BFB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Rechte verbindingslijn 132">
                <a:extLst>
                  <a:ext uri="{FF2B5EF4-FFF2-40B4-BE49-F238E27FC236}">
                    <a16:creationId xmlns:a16="http://schemas.microsoft.com/office/drawing/2014/main" id="{757CCB11-4D5E-41DD-AA87-AA628B64CFE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4" name="Rechthoek 133">
                <a:extLst>
                  <a:ext uri="{FF2B5EF4-FFF2-40B4-BE49-F238E27FC236}">
                    <a16:creationId xmlns:a16="http://schemas.microsoft.com/office/drawing/2014/main" id="{DF9DB130-3285-4F68-A573-3AFEDB708E0A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95" name="Groep 134">
                <a:extLst>
                  <a:ext uri="{FF2B5EF4-FFF2-40B4-BE49-F238E27FC236}">
                    <a16:creationId xmlns:a16="http://schemas.microsoft.com/office/drawing/2014/main" id="{CCE4BC02-DCE2-41D7-81FF-9C63014D89B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34" name="Groep 175">
                  <a:extLst>
                    <a:ext uri="{FF2B5EF4-FFF2-40B4-BE49-F238E27FC236}">
                      <a16:creationId xmlns:a16="http://schemas.microsoft.com/office/drawing/2014/main" id="{3DEB43C1-EE4B-4FE2-8EAB-85DBC10AB6AF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38" name="Rechte verbindingslijn 179">
                    <a:extLst>
                      <a:ext uri="{FF2B5EF4-FFF2-40B4-BE49-F238E27FC236}">
                        <a16:creationId xmlns:a16="http://schemas.microsoft.com/office/drawing/2014/main" id="{5B859433-CB36-45B6-9AA6-CA3923B1838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39" name="Rechte verbindingslijn 180">
                    <a:extLst>
                      <a:ext uri="{FF2B5EF4-FFF2-40B4-BE49-F238E27FC236}">
                        <a16:creationId xmlns:a16="http://schemas.microsoft.com/office/drawing/2014/main" id="{C5C9F23F-FBC3-4A08-93CB-C2DE0AE1E96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40" name="Rechte verbindingslijn 181">
                    <a:extLst>
                      <a:ext uri="{FF2B5EF4-FFF2-40B4-BE49-F238E27FC236}">
                        <a16:creationId xmlns:a16="http://schemas.microsoft.com/office/drawing/2014/main" id="{46393340-2F27-43C8-8C71-58478D6277B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41" name="Rechte verbindingslijn 182">
                    <a:extLst>
                      <a:ext uri="{FF2B5EF4-FFF2-40B4-BE49-F238E27FC236}">
                        <a16:creationId xmlns:a16="http://schemas.microsoft.com/office/drawing/2014/main" id="{922840FB-823D-428B-8FB4-22C980D555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42" name="Rechte verbindingslijn 183">
                    <a:extLst>
                      <a:ext uri="{FF2B5EF4-FFF2-40B4-BE49-F238E27FC236}">
                        <a16:creationId xmlns:a16="http://schemas.microsoft.com/office/drawing/2014/main" id="{534C9287-6A81-477F-BFB7-44B914D012B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35" name="Groep 176">
                  <a:extLst>
                    <a:ext uri="{FF2B5EF4-FFF2-40B4-BE49-F238E27FC236}">
                      <a16:creationId xmlns:a16="http://schemas.microsoft.com/office/drawing/2014/main" id="{6B9A8CB6-A532-43EC-B4F6-4F6BA72D4D7A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36" name="Rechthoek 177">
                    <a:extLst>
                      <a:ext uri="{FF2B5EF4-FFF2-40B4-BE49-F238E27FC236}">
                        <a16:creationId xmlns:a16="http://schemas.microsoft.com/office/drawing/2014/main" id="{FC67B8D5-72EF-4F49-978F-84478A0AB0E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7" name="Pijl: punthaak 178">
                    <a:extLst>
                      <a:ext uri="{FF2B5EF4-FFF2-40B4-BE49-F238E27FC236}">
                        <a16:creationId xmlns:a16="http://schemas.microsoft.com/office/drawing/2014/main" id="{2944A143-0FC8-4FAA-885E-3BC67042ECA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96" name="Groep 135">
                <a:extLst>
                  <a:ext uri="{FF2B5EF4-FFF2-40B4-BE49-F238E27FC236}">
                    <a16:creationId xmlns:a16="http://schemas.microsoft.com/office/drawing/2014/main" id="{7C01E7F2-7723-4236-8FAF-10018B34049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25" name="Groep 166">
                  <a:extLst>
                    <a:ext uri="{FF2B5EF4-FFF2-40B4-BE49-F238E27FC236}">
                      <a16:creationId xmlns:a16="http://schemas.microsoft.com/office/drawing/2014/main" id="{7C355541-9AB8-4A38-B5B4-A863BAB71FC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29" name="Rechte verbindingslijn 170">
                    <a:extLst>
                      <a:ext uri="{FF2B5EF4-FFF2-40B4-BE49-F238E27FC236}">
                        <a16:creationId xmlns:a16="http://schemas.microsoft.com/office/drawing/2014/main" id="{0C7B1BE3-B446-4866-8BC5-75FEF4B415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30" name="Rechte verbindingslijn 171">
                    <a:extLst>
                      <a:ext uri="{FF2B5EF4-FFF2-40B4-BE49-F238E27FC236}">
                        <a16:creationId xmlns:a16="http://schemas.microsoft.com/office/drawing/2014/main" id="{65F5DBED-5D29-4DA8-A5FE-9BB3648B02A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31" name="Rechte verbindingslijn 172">
                    <a:extLst>
                      <a:ext uri="{FF2B5EF4-FFF2-40B4-BE49-F238E27FC236}">
                        <a16:creationId xmlns:a16="http://schemas.microsoft.com/office/drawing/2014/main" id="{8CD5840A-4D92-4551-BFF3-7ABEBD473FA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32" name="Rechte verbindingslijn 173">
                    <a:extLst>
                      <a:ext uri="{FF2B5EF4-FFF2-40B4-BE49-F238E27FC236}">
                        <a16:creationId xmlns:a16="http://schemas.microsoft.com/office/drawing/2014/main" id="{32B12BA8-973D-4396-853F-25D1CFD9091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33" name="Rechte verbindingslijn 174">
                    <a:extLst>
                      <a:ext uri="{FF2B5EF4-FFF2-40B4-BE49-F238E27FC236}">
                        <a16:creationId xmlns:a16="http://schemas.microsoft.com/office/drawing/2014/main" id="{3E0635CB-B06B-4FFC-8EBE-F97AF5F9E44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26" name="Groep 167">
                  <a:extLst>
                    <a:ext uri="{FF2B5EF4-FFF2-40B4-BE49-F238E27FC236}">
                      <a16:creationId xmlns:a16="http://schemas.microsoft.com/office/drawing/2014/main" id="{86BC2F15-6B53-4276-8112-49005BFBE176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27" name="Rechthoek 168">
                    <a:extLst>
                      <a:ext uri="{FF2B5EF4-FFF2-40B4-BE49-F238E27FC236}">
                        <a16:creationId xmlns:a16="http://schemas.microsoft.com/office/drawing/2014/main" id="{8882A2EB-8BF7-453C-A553-33A113F153D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28" name="Pijl: punthaak 169">
                    <a:extLst>
                      <a:ext uri="{FF2B5EF4-FFF2-40B4-BE49-F238E27FC236}">
                        <a16:creationId xmlns:a16="http://schemas.microsoft.com/office/drawing/2014/main" id="{30942C0B-8409-477B-A2D7-E9B50D96439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97" name="Rechte verbindingslijn 136">
                <a:extLst>
                  <a:ext uri="{FF2B5EF4-FFF2-40B4-BE49-F238E27FC236}">
                    <a16:creationId xmlns:a16="http://schemas.microsoft.com/office/drawing/2014/main" id="{F3CEAC1C-B495-4DC3-9915-3BD63B71DF4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98" name="Rechte verbindingslijn 137">
                <a:extLst>
                  <a:ext uri="{FF2B5EF4-FFF2-40B4-BE49-F238E27FC236}">
                    <a16:creationId xmlns:a16="http://schemas.microsoft.com/office/drawing/2014/main" id="{0BE711FA-B4EE-4A63-99BD-4D945C6AFAC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99" name="Groep 138">
                <a:extLst>
                  <a:ext uri="{FF2B5EF4-FFF2-40B4-BE49-F238E27FC236}">
                    <a16:creationId xmlns:a16="http://schemas.microsoft.com/office/drawing/2014/main" id="{A529A53A-5AE1-452F-BF03-561B5448F93D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14" name="Rechthoek 155">
                  <a:extLst>
                    <a:ext uri="{FF2B5EF4-FFF2-40B4-BE49-F238E27FC236}">
                      <a16:creationId xmlns:a16="http://schemas.microsoft.com/office/drawing/2014/main" id="{A1FE5C75-52AB-4C2E-818A-A663492DBD28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15" name="Groep 156">
                  <a:extLst>
                    <a:ext uri="{FF2B5EF4-FFF2-40B4-BE49-F238E27FC236}">
                      <a16:creationId xmlns:a16="http://schemas.microsoft.com/office/drawing/2014/main" id="{B53C4B73-119F-45DA-9253-5F3D0E4C1E97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16" name="Groep 157">
                    <a:extLst>
                      <a:ext uri="{FF2B5EF4-FFF2-40B4-BE49-F238E27FC236}">
                        <a16:creationId xmlns:a16="http://schemas.microsoft.com/office/drawing/2014/main" id="{1E243FBA-E698-4B70-A74B-9D9AF05C415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20" name="Rechte verbindingslijn 161">
                      <a:extLst>
                        <a:ext uri="{FF2B5EF4-FFF2-40B4-BE49-F238E27FC236}">
                          <a16:creationId xmlns:a16="http://schemas.microsoft.com/office/drawing/2014/main" id="{FCDD65F6-4686-42A6-94C4-B808A5A5AB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21" name="Rechte verbindingslijn 162">
                      <a:extLst>
                        <a:ext uri="{FF2B5EF4-FFF2-40B4-BE49-F238E27FC236}">
                          <a16:creationId xmlns:a16="http://schemas.microsoft.com/office/drawing/2014/main" id="{7663C596-279A-4139-86FD-DD13027EA4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22" name="Rechte verbindingslijn 163">
                      <a:extLst>
                        <a:ext uri="{FF2B5EF4-FFF2-40B4-BE49-F238E27FC236}">
                          <a16:creationId xmlns:a16="http://schemas.microsoft.com/office/drawing/2014/main" id="{B8E03594-A6D4-4D77-9F8F-D4BF9ED1596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23" name="Rechte verbindingslijn 164">
                      <a:extLst>
                        <a:ext uri="{FF2B5EF4-FFF2-40B4-BE49-F238E27FC236}">
                          <a16:creationId xmlns:a16="http://schemas.microsoft.com/office/drawing/2014/main" id="{10290EA1-5471-4579-9BB5-000E69A0D27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24" name="Rechte verbindingslijn 165">
                      <a:extLst>
                        <a:ext uri="{FF2B5EF4-FFF2-40B4-BE49-F238E27FC236}">
                          <a16:creationId xmlns:a16="http://schemas.microsoft.com/office/drawing/2014/main" id="{474814A8-B6FA-4BAA-8C05-04420C8735A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17" name="Groep 158">
                    <a:extLst>
                      <a:ext uri="{FF2B5EF4-FFF2-40B4-BE49-F238E27FC236}">
                        <a16:creationId xmlns:a16="http://schemas.microsoft.com/office/drawing/2014/main" id="{BFA7D0FB-BD64-45E6-BDBD-127F4E48720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18" name="Rechthoek 159">
                      <a:extLst>
                        <a:ext uri="{FF2B5EF4-FFF2-40B4-BE49-F238E27FC236}">
                          <a16:creationId xmlns:a16="http://schemas.microsoft.com/office/drawing/2014/main" id="{56611162-5336-484A-AF94-3C75704062E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19" name="Pijl: punthaak 160">
                      <a:extLst>
                        <a:ext uri="{FF2B5EF4-FFF2-40B4-BE49-F238E27FC236}">
                          <a16:creationId xmlns:a16="http://schemas.microsoft.com/office/drawing/2014/main" id="{B4157AE8-3542-4949-8D48-20D7261AC23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00" name="Groep 139">
                <a:extLst>
                  <a:ext uri="{FF2B5EF4-FFF2-40B4-BE49-F238E27FC236}">
                    <a16:creationId xmlns:a16="http://schemas.microsoft.com/office/drawing/2014/main" id="{78D254F3-BAC7-4C79-8701-744566242F4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03" name="Rechthoek 142">
                  <a:extLst>
                    <a:ext uri="{FF2B5EF4-FFF2-40B4-BE49-F238E27FC236}">
                      <a16:creationId xmlns:a16="http://schemas.microsoft.com/office/drawing/2014/main" id="{9BCC1D21-36C9-4F0D-818F-8D0FDCA59D06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04" name="Groep 143">
                  <a:extLst>
                    <a:ext uri="{FF2B5EF4-FFF2-40B4-BE49-F238E27FC236}">
                      <a16:creationId xmlns:a16="http://schemas.microsoft.com/office/drawing/2014/main" id="{17803CF1-43CF-42CC-BBCC-280BEBF4B306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05" name="Groep 144">
                    <a:extLst>
                      <a:ext uri="{FF2B5EF4-FFF2-40B4-BE49-F238E27FC236}">
                        <a16:creationId xmlns:a16="http://schemas.microsoft.com/office/drawing/2014/main" id="{72A26BDF-A9A8-4AC5-BBA5-01A4BF7AF52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09" name="Rechte verbindingslijn 150">
                      <a:extLst>
                        <a:ext uri="{FF2B5EF4-FFF2-40B4-BE49-F238E27FC236}">
                          <a16:creationId xmlns:a16="http://schemas.microsoft.com/office/drawing/2014/main" id="{D6487E92-BDD5-4B32-B766-66DE1CD2A27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10" name="Rechte verbindingslijn 151">
                      <a:extLst>
                        <a:ext uri="{FF2B5EF4-FFF2-40B4-BE49-F238E27FC236}">
                          <a16:creationId xmlns:a16="http://schemas.microsoft.com/office/drawing/2014/main" id="{21C6834E-B46E-42FE-99B0-37C6B62CA4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11" name="Rechte verbindingslijn 152">
                      <a:extLst>
                        <a:ext uri="{FF2B5EF4-FFF2-40B4-BE49-F238E27FC236}">
                          <a16:creationId xmlns:a16="http://schemas.microsoft.com/office/drawing/2014/main" id="{81E69DF8-8971-40FB-94F4-019A72680E4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12" name="Rechte verbindingslijn 153">
                      <a:extLst>
                        <a:ext uri="{FF2B5EF4-FFF2-40B4-BE49-F238E27FC236}">
                          <a16:creationId xmlns:a16="http://schemas.microsoft.com/office/drawing/2014/main" id="{7D5677A4-6CD9-407A-B890-AF7C464768A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13" name="Rechte verbindingslijn 154">
                      <a:extLst>
                        <a:ext uri="{FF2B5EF4-FFF2-40B4-BE49-F238E27FC236}">
                          <a16:creationId xmlns:a16="http://schemas.microsoft.com/office/drawing/2014/main" id="{2419D456-8B72-48E4-BA64-C525022CB92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06" name="Groep 147">
                    <a:extLst>
                      <a:ext uri="{FF2B5EF4-FFF2-40B4-BE49-F238E27FC236}">
                        <a16:creationId xmlns:a16="http://schemas.microsoft.com/office/drawing/2014/main" id="{A16B9D23-C565-4012-9866-765010E7FF36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07" name="Rechthoek 148">
                      <a:extLst>
                        <a:ext uri="{FF2B5EF4-FFF2-40B4-BE49-F238E27FC236}">
                          <a16:creationId xmlns:a16="http://schemas.microsoft.com/office/drawing/2014/main" id="{512EC848-259E-432E-AEC3-7C7F8DAE08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8" name="Pijl: punthaak 149">
                      <a:extLst>
                        <a:ext uri="{FF2B5EF4-FFF2-40B4-BE49-F238E27FC236}">
                          <a16:creationId xmlns:a16="http://schemas.microsoft.com/office/drawing/2014/main" id="{78FB5E6E-E4AC-443D-BA8B-7EE108EDBC2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01" name="Rechthoek 140">
                <a:extLst>
                  <a:ext uri="{FF2B5EF4-FFF2-40B4-BE49-F238E27FC236}">
                    <a16:creationId xmlns:a16="http://schemas.microsoft.com/office/drawing/2014/main" id="{1E8D725B-1F5C-4FAC-B91D-E8B14A8C9B05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102" name="Rechthoek 141">
                <a:extLst>
                  <a:ext uri="{FF2B5EF4-FFF2-40B4-BE49-F238E27FC236}">
                    <a16:creationId xmlns:a16="http://schemas.microsoft.com/office/drawing/2014/main" id="{F76808FA-F419-4AD2-BCF1-EE67337B8A96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67" name="Rechte verbindingslijn 106">
              <a:extLst>
                <a:ext uri="{FF2B5EF4-FFF2-40B4-BE49-F238E27FC236}">
                  <a16:creationId xmlns:a16="http://schemas.microsoft.com/office/drawing/2014/main" id="{6E448821-8776-473C-B784-40DBCCB172C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68" name="Rechthoek 107">
              <a:extLst>
                <a:ext uri="{FF2B5EF4-FFF2-40B4-BE49-F238E27FC236}">
                  <a16:creationId xmlns:a16="http://schemas.microsoft.com/office/drawing/2014/main" id="{E548EE63-F8F7-4E1A-A0B2-F37F12F8175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69" name="Ovaal 108">
              <a:extLst>
                <a:ext uri="{FF2B5EF4-FFF2-40B4-BE49-F238E27FC236}">
                  <a16:creationId xmlns:a16="http://schemas.microsoft.com/office/drawing/2014/main" id="{E60FA7F1-5B5F-4AF5-BE27-2A5C184C3105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70" name="Rechthoek 109">
              <a:extLst>
                <a:ext uri="{FF2B5EF4-FFF2-40B4-BE49-F238E27FC236}">
                  <a16:creationId xmlns:a16="http://schemas.microsoft.com/office/drawing/2014/main" id="{04E28943-68C6-471F-9583-950F5B8C7D0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71" name="Ovaal 110">
              <a:extLst>
                <a:ext uri="{FF2B5EF4-FFF2-40B4-BE49-F238E27FC236}">
                  <a16:creationId xmlns:a16="http://schemas.microsoft.com/office/drawing/2014/main" id="{9CB1A87A-1C59-4795-BCBB-45CBFCCD6536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72" name="Rechthoek 111">
              <a:extLst>
                <a:ext uri="{FF2B5EF4-FFF2-40B4-BE49-F238E27FC236}">
                  <a16:creationId xmlns:a16="http://schemas.microsoft.com/office/drawing/2014/main" id="{A2E4D557-0D13-4A75-A8D5-CAB14ED38053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73" name="Ovaal 112">
              <a:extLst>
                <a:ext uri="{FF2B5EF4-FFF2-40B4-BE49-F238E27FC236}">
                  <a16:creationId xmlns:a16="http://schemas.microsoft.com/office/drawing/2014/main" id="{47E0E0FC-FA8E-443E-BC07-8ED6F0641D36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74" name="Rechthoek 113">
              <a:extLst>
                <a:ext uri="{FF2B5EF4-FFF2-40B4-BE49-F238E27FC236}">
                  <a16:creationId xmlns:a16="http://schemas.microsoft.com/office/drawing/2014/main" id="{7664C5CD-C658-446B-910F-F3A1E2BDA7F5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75" name="Ovaal 114">
              <a:extLst>
                <a:ext uri="{FF2B5EF4-FFF2-40B4-BE49-F238E27FC236}">
                  <a16:creationId xmlns:a16="http://schemas.microsoft.com/office/drawing/2014/main" id="{A726B91C-933E-4287-9C06-8F842872C82E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76" name="Rechthoek 115">
              <a:extLst>
                <a:ext uri="{FF2B5EF4-FFF2-40B4-BE49-F238E27FC236}">
                  <a16:creationId xmlns:a16="http://schemas.microsoft.com/office/drawing/2014/main" id="{F19BA1D4-5360-4E5D-8BA7-DCB270E9C2CD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77" name="Rechte verbindingslijn 116">
              <a:extLst>
                <a:ext uri="{FF2B5EF4-FFF2-40B4-BE49-F238E27FC236}">
                  <a16:creationId xmlns:a16="http://schemas.microsoft.com/office/drawing/2014/main" id="{A53103BC-831E-4FD4-880F-4EF5B4F48DB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78" name="Meer informatie">
              <a:extLst>
                <a:ext uri="{FF2B5EF4-FFF2-40B4-BE49-F238E27FC236}">
                  <a16:creationId xmlns:a16="http://schemas.microsoft.com/office/drawing/2014/main" id="{C5505D44-F076-4C35-91C2-321564EBA043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88" name="Freeform 101">
                <a:extLst>
                  <a:ext uri="{FF2B5EF4-FFF2-40B4-BE49-F238E27FC236}">
                    <a16:creationId xmlns:a16="http://schemas.microsoft.com/office/drawing/2014/main" id="{4E903E40-675E-4F9D-ABB6-715A6FF455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89" name="Rechthoek 128">
                <a:extLst>
                  <a:ext uri="{FF2B5EF4-FFF2-40B4-BE49-F238E27FC236}">
                    <a16:creationId xmlns:a16="http://schemas.microsoft.com/office/drawing/2014/main" id="{4BD03939-6BA1-4CFB-A6EC-B872929174D9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90" name="Rechte verbindingslijn 129">
                <a:extLst>
                  <a:ext uri="{FF2B5EF4-FFF2-40B4-BE49-F238E27FC236}">
                    <a16:creationId xmlns:a16="http://schemas.microsoft.com/office/drawing/2014/main" id="{0D0C5345-52E2-4E26-B090-E7194BED5D3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79" name="Rechthoek 118">
              <a:extLst>
                <a:ext uri="{FF2B5EF4-FFF2-40B4-BE49-F238E27FC236}">
                  <a16:creationId xmlns:a16="http://schemas.microsoft.com/office/drawing/2014/main" id="{A5FBB76B-617E-4D3A-B69D-5441B1134AE6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80" name="Ovaal 119">
              <a:extLst>
                <a:ext uri="{FF2B5EF4-FFF2-40B4-BE49-F238E27FC236}">
                  <a16:creationId xmlns:a16="http://schemas.microsoft.com/office/drawing/2014/main" id="{6ADEC0F5-9D22-4F14-93DC-42DF1E9E4364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81" name="Rechthoek 120">
              <a:extLst>
                <a:ext uri="{FF2B5EF4-FFF2-40B4-BE49-F238E27FC236}">
                  <a16:creationId xmlns:a16="http://schemas.microsoft.com/office/drawing/2014/main" id="{C668D701-BE8B-4D56-AD79-BAA165406F95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2" name="Ovaal 121">
              <a:extLst>
                <a:ext uri="{FF2B5EF4-FFF2-40B4-BE49-F238E27FC236}">
                  <a16:creationId xmlns:a16="http://schemas.microsoft.com/office/drawing/2014/main" id="{C68D0364-BA2C-40E8-974B-1626C7992103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83" name="Rechthoek 122">
              <a:extLst>
                <a:ext uri="{FF2B5EF4-FFF2-40B4-BE49-F238E27FC236}">
                  <a16:creationId xmlns:a16="http://schemas.microsoft.com/office/drawing/2014/main" id="{5A0781F7-177E-4959-B0BC-5F64CD098837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84" name="Ovaal 123">
              <a:extLst>
                <a:ext uri="{FF2B5EF4-FFF2-40B4-BE49-F238E27FC236}">
                  <a16:creationId xmlns:a16="http://schemas.microsoft.com/office/drawing/2014/main" id="{F392F83F-F78D-4921-93A1-22545A285E2D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85" name="Rechthoek 124">
              <a:extLst>
                <a:ext uri="{FF2B5EF4-FFF2-40B4-BE49-F238E27FC236}">
                  <a16:creationId xmlns:a16="http://schemas.microsoft.com/office/drawing/2014/main" id="{56151DAF-F0EA-427A-A749-F6CE092BB98B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6" name="Rechthoek 125">
              <a:extLst>
                <a:ext uri="{FF2B5EF4-FFF2-40B4-BE49-F238E27FC236}">
                  <a16:creationId xmlns:a16="http://schemas.microsoft.com/office/drawing/2014/main" id="{04F862D1-33F7-4D3B-B638-70020878F0FC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87" name="Ovaal 126">
              <a:extLst>
                <a:ext uri="{FF2B5EF4-FFF2-40B4-BE49-F238E27FC236}">
                  <a16:creationId xmlns:a16="http://schemas.microsoft.com/office/drawing/2014/main" id="{77C613CF-21BA-413A-B914-EB4F245DABD8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13912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kaders + Uitleg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grpSp>
        <p:nvGrpSpPr>
          <p:cNvPr id="38" name="GRID" hidden="1">
            <a:extLst>
              <a:ext uri="{FF2B5EF4-FFF2-40B4-BE49-F238E27FC236}">
                <a16:creationId xmlns:a16="http://schemas.microsoft.com/office/drawing/2014/main" id="{51D5F7E8-69F8-47AD-81F5-1645C97607C1}"/>
              </a:ext>
            </a:extLst>
          </p:cNvPr>
          <p:cNvGrpSpPr/>
          <p:nvPr userDrawn="1"/>
        </p:nvGrpSpPr>
        <p:grpSpPr>
          <a:xfrm>
            <a:off x="5" y="0"/>
            <a:ext cx="42767261" cy="30275213"/>
            <a:chOff x="0" y="0"/>
            <a:chExt cx="12192003" cy="6858000"/>
          </a:xfrm>
        </p:grpSpPr>
        <p:sp>
          <p:nvSpPr>
            <p:cNvPr id="39" name="Rechthoek 38">
              <a:extLst>
                <a:ext uri="{FF2B5EF4-FFF2-40B4-BE49-F238E27FC236}">
                  <a16:creationId xmlns:a16="http://schemas.microsoft.com/office/drawing/2014/main" id="{71DB2C92-E6A8-4532-98F6-C917E7F5CD17}"/>
                </a:ext>
              </a:extLst>
            </p:cNvPr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0" name="Rechthoek 39">
              <a:extLst>
                <a:ext uri="{FF2B5EF4-FFF2-40B4-BE49-F238E27FC236}">
                  <a16:creationId xmlns:a16="http://schemas.microsoft.com/office/drawing/2014/main" id="{1283F161-5F8A-45E1-A9F2-F823FC1CB0A5}"/>
                </a:ext>
              </a:extLst>
            </p:cNvPr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1" name="Rechthoek 40">
              <a:extLst>
                <a:ext uri="{FF2B5EF4-FFF2-40B4-BE49-F238E27FC236}">
                  <a16:creationId xmlns:a16="http://schemas.microsoft.com/office/drawing/2014/main" id="{E25AE021-76F4-4113-9019-FB3CB3351AD2}"/>
                </a:ext>
              </a:extLst>
            </p:cNvPr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2" name="Rechthoek 41">
              <a:extLst>
                <a:ext uri="{FF2B5EF4-FFF2-40B4-BE49-F238E27FC236}">
                  <a16:creationId xmlns:a16="http://schemas.microsoft.com/office/drawing/2014/main" id="{4F56F574-960D-4395-B98C-5F49ED9EF418}"/>
                </a:ext>
              </a:extLst>
            </p:cNvPr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34E307D0-CCA0-4BDF-BC5F-E19838E9F7DA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4" name="Rechthoek 43">
              <a:extLst>
                <a:ext uri="{FF2B5EF4-FFF2-40B4-BE49-F238E27FC236}">
                  <a16:creationId xmlns:a16="http://schemas.microsoft.com/office/drawing/2014/main" id="{2AEE0B25-FBCC-4048-A2C0-6D97C3E7FEB7}"/>
                </a:ext>
              </a:extLst>
            </p:cNvPr>
            <p:cNvSpPr/>
            <p:nvPr userDrawn="1"/>
          </p:nvSpPr>
          <p:spPr>
            <a:xfrm rot="5400000">
              <a:off x="5895976" y="-108104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FF4C18EE-AB1E-4734-B490-93DC11E51DED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Voettekst</a:t>
            </a:r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9" y="27329718"/>
            <a:ext cx="834509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0D7B9878-B8FD-4C53-84A0-30824F06295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33803" y="6316510"/>
            <a:ext cx="25627524" cy="5476873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089185" y="2382"/>
                </a:lnTo>
                <a:cubicBezTo>
                  <a:pt x="7208841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08841" y="1240632"/>
                  <a:pt x="7089185" y="1240632"/>
                </a:cubicBezTo>
                <a:lnTo>
                  <a:pt x="216824" y="1240632"/>
                </a:lnTo>
                <a:cubicBezTo>
                  <a:pt x="9716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>
              <a:spcAft>
                <a:spcPts val="0"/>
              </a:spcAft>
              <a:defRPr sz="4209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7F82B2D1-AD00-49E7-AE45-05F1D50B110A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696814" y="6310557"/>
            <a:ext cx="5345254" cy="5474264"/>
          </a:xfrm>
          <a:custGeom>
            <a:avLst/>
            <a:gdLst>
              <a:gd name="connsiteX0" fmla="*/ 0 w 1525587"/>
              <a:gd name="connsiteY0" fmla="*/ 161658 h 1241425"/>
              <a:gd name="connsiteX1" fmla="*/ 161658 w 1525587"/>
              <a:gd name="connsiteY1" fmla="*/ 0 h 1241425"/>
              <a:gd name="connsiteX2" fmla="*/ 1363929 w 1525587"/>
              <a:gd name="connsiteY2" fmla="*/ 0 h 1241425"/>
              <a:gd name="connsiteX3" fmla="*/ 1525587 w 1525587"/>
              <a:gd name="connsiteY3" fmla="*/ 161658 h 1241425"/>
              <a:gd name="connsiteX4" fmla="*/ 1525587 w 1525587"/>
              <a:gd name="connsiteY4" fmla="*/ 1079767 h 1241425"/>
              <a:gd name="connsiteX5" fmla="*/ 1363929 w 1525587"/>
              <a:gd name="connsiteY5" fmla="*/ 1241425 h 1241425"/>
              <a:gd name="connsiteX6" fmla="*/ 161658 w 1525587"/>
              <a:gd name="connsiteY6" fmla="*/ 1241425 h 1241425"/>
              <a:gd name="connsiteX7" fmla="*/ 0 w 1525587"/>
              <a:gd name="connsiteY7" fmla="*/ 1079767 h 1241425"/>
              <a:gd name="connsiteX8" fmla="*/ 0 w 1525587"/>
              <a:gd name="connsiteY8" fmla="*/ 161658 h 1241425"/>
              <a:gd name="connsiteX0" fmla="*/ 0 w 1525587"/>
              <a:gd name="connsiteY0" fmla="*/ 161658 h 1241425"/>
              <a:gd name="connsiteX1" fmla="*/ 42862 w 1525587"/>
              <a:gd name="connsiteY1" fmla="*/ 48418 h 1241425"/>
              <a:gd name="connsiteX2" fmla="*/ 161658 w 1525587"/>
              <a:gd name="connsiteY2" fmla="*/ 0 h 1241425"/>
              <a:gd name="connsiteX3" fmla="*/ 1363929 w 1525587"/>
              <a:gd name="connsiteY3" fmla="*/ 0 h 1241425"/>
              <a:gd name="connsiteX4" fmla="*/ 1525587 w 1525587"/>
              <a:gd name="connsiteY4" fmla="*/ 161658 h 1241425"/>
              <a:gd name="connsiteX5" fmla="*/ 1525587 w 1525587"/>
              <a:gd name="connsiteY5" fmla="*/ 1079767 h 1241425"/>
              <a:gd name="connsiteX6" fmla="*/ 1363929 w 1525587"/>
              <a:gd name="connsiteY6" fmla="*/ 1241425 h 1241425"/>
              <a:gd name="connsiteX7" fmla="*/ 161658 w 1525587"/>
              <a:gd name="connsiteY7" fmla="*/ 1241425 h 1241425"/>
              <a:gd name="connsiteX8" fmla="*/ 0 w 1525587"/>
              <a:gd name="connsiteY8" fmla="*/ 1079767 h 1241425"/>
              <a:gd name="connsiteX9" fmla="*/ 0 w 1525587"/>
              <a:gd name="connsiteY9" fmla="*/ 161658 h 1241425"/>
              <a:gd name="connsiteX0" fmla="*/ 8672 w 1534259"/>
              <a:gd name="connsiteY0" fmla="*/ 165982 h 1245749"/>
              <a:gd name="connsiteX1" fmla="*/ 11053 w 1534259"/>
              <a:gd name="connsiteY1" fmla="*/ 12261 h 1245749"/>
              <a:gd name="connsiteX2" fmla="*/ 170330 w 1534259"/>
              <a:gd name="connsiteY2" fmla="*/ 4324 h 1245749"/>
              <a:gd name="connsiteX3" fmla="*/ 1372601 w 1534259"/>
              <a:gd name="connsiteY3" fmla="*/ 4324 h 1245749"/>
              <a:gd name="connsiteX4" fmla="*/ 1534259 w 1534259"/>
              <a:gd name="connsiteY4" fmla="*/ 165982 h 1245749"/>
              <a:gd name="connsiteX5" fmla="*/ 1534259 w 1534259"/>
              <a:gd name="connsiteY5" fmla="*/ 1084091 h 1245749"/>
              <a:gd name="connsiteX6" fmla="*/ 1372601 w 1534259"/>
              <a:gd name="connsiteY6" fmla="*/ 1245749 h 1245749"/>
              <a:gd name="connsiteX7" fmla="*/ 170330 w 1534259"/>
              <a:gd name="connsiteY7" fmla="*/ 1245749 h 1245749"/>
              <a:gd name="connsiteX8" fmla="*/ 8672 w 1534259"/>
              <a:gd name="connsiteY8" fmla="*/ 1084091 h 1245749"/>
              <a:gd name="connsiteX9" fmla="*/ 8672 w 1534259"/>
              <a:gd name="connsiteY9" fmla="*/ 165982 h 1245749"/>
              <a:gd name="connsiteX0" fmla="*/ 8672 w 1534259"/>
              <a:gd name="connsiteY0" fmla="*/ 167890 h 1247657"/>
              <a:gd name="connsiteX1" fmla="*/ 11053 w 1534259"/>
              <a:gd name="connsiteY1" fmla="*/ 14169 h 1247657"/>
              <a:gd name="connsiteX2" fmla="*/ 170330 w 1534259"/>
              <a:gd name="connsiteY2" fmla="*/ 6232 h 1247657"/>
              <a:gd name="connsiteX3" fmla="*/ 1372601 w 1534259"/>
              <a:gd name="connsiteY3" fmla="*/ 6232 h 1247657"/>
              <a:gd name="connsiteX4" fmla="*/ 1534259 w 1534259"/>
              <a:gd name="connsiteY4" fmla="*/ 167890 h 1247657"/>
              <a:gd name="connsiteX5" fmla="*/ 1534259 w 1534259"/>
              <a:gd name="connsiteY5" fmla="*/ 1085999 h 1247657"/>
              <a:gd name="connsiteX6" fmla="*/ 1372601 w 1534259"/>
              <a:gd name="connsiteY6" fmla="*/ 1247657 h 1247657"/>
              <a:gd name="connsiteX7" fmla="*/ 170330 w 1534259"/>
              <a:gd name="connsiteY7" fmla="*/ 1247657 h 1247657"/>
              <a:gd name="connsiteX8" fmla="*/ 8672 w 1534259"/>
              <a:gd name="connsiteY8" fmla="*/ 1085999 h 1247657"/>
              <a:gd name="connsiteX9" fmla="*/ 8672 w 1534259"/>
              <a:gd name="connsiteY9" fmla="*/ 167890 h 1247657"/>
              <a:gd name="connsiteX0" fmla="*/ 8672 w 1534259"/>
              <a:gd name="connsiteY0" fmla="*/ 161658 h 1241425"/>
              <a:gd name="connsiteX1" fmla="*/ 11053 w 1534259"/>
              <a:gd name="connsiteY1" fmla="*/ 7937 h 1241425"/>
              <a:gd name="connsiteX2" fmla="*/ 170330 w 1534259"/>
              <a:gd name="connsiteY2" fmla="*/ 0 h 1241425"/>
              <a:gd name="connsiteX3" fmla="*/ 1372601 w 1534259"/>
              <a:gd name="connsiteY3" fmla="*/ 0 h 1241425"/>
              <a:gd name="connsiteX4" fmla="*/ 1534259 w 1534259"/>
              <a:gd name="connsiteY4" fmla="*/ 161658 h 1241425"/>
              <a:gd name="connsiteX5" fmla="*/ 1534259 w 1534259"/>
              <a:gd name="connsiteY5" fmla="*/ 1079767 h 1241425"/>
              <a:gd name="connsiteX6" fmla="*/ 1372601 w 1534259"/>
              <a:gd name="connsiteY6" fmla="*/ 1241425 h 1241425"/>
              <a:gd name="connsiteX7" fmla="*/ 170330 w 1534259"/>
              <a:gd name="connsiteY7" fmla="*/ 1241425 h 1241425"/>
              <a:gd name="connsiteX8" fmla="*/ 8672 w 1534259"/>
              <a:gd name="connsiteY8" fmla="*/ 1079767 h 1241425"/>
              <a:gd name="connsiteX9" fmla="*/ 8672 w 1534259"/>
              <a:gd name="connsiteY9" fmla="*/ 161658 h 124142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3668 h 1243435"/>
              <a:gd name="connsiteX1" fmla="*/ 10644 w 1535715"/>
              <a:gd name="connsiteY1" fmla="*/ 0 h 1243435"/>
              <a:gd name="connsiteX2" fmla="*/ 171786 w 1535715"/>
              <a:gd name="connsiteY2" fmla="*/ 2010 h 1243435"/>
              <a:gd name="connsiteX3" fmla="*/ 1374057 w 1535715"/>
              <a:gd name="connsiteY3" fmla="*/ 2010 h 1243435"/>
              <a:gd name="connsiteX4" fmla="*/ 1535715 w 1535715"/>
              <a:gd name="connsiteY4" fmla="*/ 163668 h 1243435"/>
              <a:gd name="connsiteX5" fmla="*/ 1535715 w 1535715"/>
              <a:gd name="connsiteY5" fmla="*/ 1081777 h 1243435"/>
              <a:gd name="connsiteX6" fmla="*/ 1374057 w 1535715"/>
              <a:gd name="connsiteY6" fmla="*/ 1243435 h 1243435"/>
              <a:gd name="connsiteX7" fmla="*/ 171786 w 1535715"/>
              <a:gd name="connsiteY7" fmla="*/ 1243435 h 1243435"/>
              <a:gd name="connsiteX8" fmla="*/ 10128 w 1535715"/>
              <a:gd name="connsiteY8" fmla="*/ 1081777 h 1243435"/>
              <a:gd name="connsiteX9" fmla="*/ 10128 w 1535715"/>
              <a:gd name="connsiteY9" fmla="*/ 163668 h 124343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1808 w 1537395"/>
              <a:gd name="connsiteY0" fmla="*/ 161803 h 1241570"/>
              <a:gd name="connsiteX1" fmla="*/ 12324 w 1537395"/>
              <a:gd name="connsiteY1" fmla="*/ 0 h 1241570"/>
              <a:gd name="connsiteX2" fmla="*/ 173466 w 1537395"/>
              <a:gd name="connsiteY2" fmla="*/ 145 h 1241570"/>
              <a:gd name="connsiteX3" fmla="*/ 1375737 w 1537395"/>
              <a:gd name="connsiteY3" fmla="*/ 145 h 1241570"/>
              <a:gd name="connsiteX4" fmla="*/ 1537395 w 1537395"/>
              <a:gd name="connsiteY4" fmla="*/ 161803 h 1241570"/>
              <a:gd name="connsiteX5" fmla="*/ 1537395 w 1537395"/>
              <a:gd name="connsiteY5" fmla="*/ 1079912 h 1241570"/>
              <a:gd name="connsiteX6" fmla="*/ 1375737 w 1537395"/>
              <a:gd name="connsiteY6" fmla="*/ 1241570 h 1241570"/>
              <a:gd name="connsiteX7" fmla="*/ 173466 w 1537395"/>
              <a:gd name="connsiteY7" fmla="*/ 1241570 h 1241570"/>
              <a:gd name="connsiteX8" fmla="*/ 11808 w 1537395"/>
              <a:gd name="connsiteY8" fmla="*/ 1079912 h 1241570"/>
              <a:gd name="connsiteX9" fmla="*/ 11808 w 1537395"/>
              <a:gd name="connsiteY9" fmla="*/ 161803 h 1241570"/>
              <a:gd name="connsiteX0" fmla="*/ 346 w 1525933"/>
              <a:gd name="connsiteY0" fmla="*/ 161803 h 1241570"/>
              <a:gd name="connsiteX1" fmla="*/ 862 w 1525933"/>
              <a:gd name="connsiteY1" fmla="*/ 0 h 1241570"/>
              <a:gd name="connsiteX2" fmla="*/ 162004 w 1525933"/>
              <a:gd name="connsiteY2" fmla="*/ 145 h 1241570"/>
              <a:gd name="connsiteX3" fmla="*/ 1364275 w 1525933"/>
              <a:gd name="connsiteY3" fmla="*/ 145 h 1241570"/>
              <a:gd name="connsiteX4" fmla="*/ 1525933 w 1525933"/>
              <a:gd name="connsiteY4" fmla="*/ 161803 h 1241570"/>
              <a:gd name="connsiteX5" fmla="*/ 1525933 w 1525933"/>
              <a:gd name="connsiteY5" fmla="*/ 1079912 h 1241570"/>
              <a:gd name="connsiteX6" fmla="*/ 1364275 w 1525933"/>
              <a:gd name="connsiteY6" fmla="*/ 1241570 h 1241570"/>
              <a:gd name="connsiteX7" fmla="*/ 162004 w 1525933"/>
              <a:gd name="connsiteY7" fmla="*/ 1241570 h 1241570"/>
              <a:gd name="connsiteX8" fmla="*/ 346 w 1525933"/>
              <a:gd name="connsiteY8" fmla="*/ 1079912 h 1241570"/>
              <a:gd name="connsiteX9" fmla="*/ 346 w 1525933"/>
              <a:gd name="connsiteY9" fmla="*/ 161803 h 1241570"/>
              <a:gd name="connsiteX0" fmla="*/ 872 w 1526459"/>
              <a:gd name="connsiteY0" fmla="*/ 161803 h 1241570"/>
              <a:gd name="connsiteX1" fmla="*/ 1388 w 1526459"/>
              <a:gd name="connsiteY1" fmla="*/ 0 h 1241570"/>
              <a:gd name="connsiteX2" fmla="*/ 162530 w 1526459"/>
              <a:gd name="connsiteY2" fmla="*/ 145 h 1241570"/>
              <a:gd name="connsiteX3" fmla="*/ 1364801 w 1526459"/>
              <a:gd name="connsiteY3" fmla="*/ 145 h 1241570"/>
              <a:gd name="connsiteX4" fmla="*/ 1526459 w 1526459"/>
              <a:gd name="connsiteY4" fmla="*/ 161803 h 1241570"/>
              <a:gd name="connsiteX5" fmla="*/ 1526459 w 1526459"/>
              <a:gd name="connsiteY5" fmla="*/ 1079912 h 1241570"/>
              <a:gd name="connsiteX6" fmla="*/ 1364801 w 1526459"/>
              <a:gd name="connsiteY6" fmla="*/ 1241570 h 1241570"/>
              <a:gd name="connsiteX7" fmla="*/ 162530 w 1526459"/>
              <a:gd name="connsiteY7" fmla="*/ 1241570 h 1241570"/>
              <a:gd name="connsiteX8" fmla="*/ 872 w 1526459"/>
              <a:gd name="connsiteY8" fmla="*/ 1079912 h 1241570"/>
              <a:gd name="connsiteX9" fmla="*/ 872 w 1526459"/>
              <a:gd name="connsiteY9" fmla="*/ 161803 h 1241570"/>
              <a:gd name="connsiteX0" fmla="*/ 470 w 1526057"/>
              <a:gd name="connsiteY0" fmla="*/ 161803 h 1241570"/>
              <a:gd name="connsiteX1" fmla="*/ 986 w 1526057"/>
              <a:gd name="connsiteY1" fmla="*/ 0 h 1241570"/>
              <a:gd name="connsiteX2" fmla="*/ 162128 w 1526057"/>
              <a:gd name="connsiteY2" fmla="*/ 145 h 1241570"/>
              <a:gd name="connsiteX3" fmla="*/ 1364399 w 1526057"/>
              <a:gd name="connsiteY3" fmla="*/ 145 h 1241570"/>
              <a:gd name="connsiteX4" fmla="*/ 1526057 w 1526057"/>
              <a:gd name="connsiteY4" fmla="*/ 161803 h 1241570"/>
              <a:gd name="connsiteX5" fmla="*/ 1526057 w 1526057"/>
              <a:gd name="connsiteY5" fmla="*/ 1079912 h 1241570"/>
              <a:gd name="connsiteX6" fmla="*/ 1364399 w 1526057"/>
              <a:gd name="connsiteY6" fmla="*/ 1241570 h 1241570"/>
              <a:gd name="connsiteX7" fmla="*/ 162128 w 1526057"/>
              <a:gd name="connsiteY7" fmla="*/ 1241570 h 1241570"/>
              <a:gd name="connsiteX8" fmla="*/ 470 w 1526057"/>
              <a:gd name="connsiteY8" fmla="*/ 1079912 h 1241570"/>
              <a:gd name="connsiteX9" fmla="*/ 470 w 1526057"/>
              <a:gd name="connsiteY9" fmla="*/ 161803 h 1241570"/>
              <a:gd name="connsiteX0" fmla="*/ 649 w 1526236"/>
              <a:gd name="connsiteY0" fmla="*/ 161803 h 1241570"/>
              <a:gd name="connsiteX1" fmla="*/ 1165 w 1526236"/>
              <a:gd name="connsiteY1" fmla="*/ 0 h 1241570"/>
              <a:gd name="connsiteX2" fmla="*/ 162307 w 1526236"/>
              <a:gd name="connsiteY2" fmla="*/ 145 h 1241570"/>
              <a:gd name="connsiteX3" fmla="*/ 1364578 w 1526236"/>
              <a:gd name="connsiteY3" fmla="*/ 145 h 1241570"/>
              <a:gd name="connsiteX4" fmla="*/ 1526236 w 1526236"/>
              <a:gd name="connsiteY4" fmla="*/ 161803 h 1241570"/>
              <a:gd name="connsiteX5" fmla="*/ 1526236 w 1526236"/>
              <a:gd name="connsiteY5" fmla="*/ 1079912 h 1241570"/>
              <a:gd name="connsiteX6" fmla="*/ 1364578 w 1526236"/>
              <a:gd name="connsiteY6" fmla="*/ 1241570 h 1241570"/>
              <a:gd name="connsiteX7" fmla="*/ 162307 w 1526236"/>
              <a:gd name="connsiteY7" fmla="*/ 1241570 h 1241570"/>
              <a:gd name="connsiteX8" fmla="*/ 649 w 1526236"/>
              <a:gd name="connsiteY8" fmla="*/ 1079912 h 1241570"/>
              <a:gd name="connsiteX9" fmla="*/ 649 w 1526236"/>
              <a:gd name="connsiteY9" fmla="*/ 161803 h 1241570"/>
              <a:gd name="connsiteX0" fmla="*/ 268 w 1525855"/>
              <a:gd name="connsiteY0" fmla="*/ 161803 h 1241570"/>
              <a:gd name="connsiteX1" fmla="*/ 784 w 1525855"/>
              <a:gd name="connsiteY1" fmla="*/ 0 h 1241570"/>
              <a:gd name="connsiteX2" fmla="*/ 161926 w 1525855"/>
              <a:gd name="connsiteY2" fmla="*/ 145 h 1241570"/>
              <a:gd name="connsiteX3" fmla="*/ 1364197 w 1525855"/>
              <a:gd name="connsiteY3" fmla="*/ 145 h 1241570"/>
              <a:gd name="connsiteX4" fmla="*/ 1525855 w 1525855"/>
              <a:gd name="connsiteY4" fmla="*/ 161803 h 1241570"/>
              <a:gd name="connsiteX5" fmla="*/ 1525855 w 1525855"/>
              <a:gd name="connsiteY5" fmla="*/ 1079912 h 1241570"/>
              <a:gd name="connsiteX6" fmla="*/ 1364197 w 1525855"/>
              <a:gd name="connsiteY6" fmla="*/ 1241570 h 1241570"/>
              <a:gd name="connsiteX7" fmla="*/ 161926 w 1525855"/>
              <a:gd name="connsiteY7" fmla="*/ 1241570 h 1241570"/>
              <a:gd name="connsiteX8" fmla="*/ 268 w 1525855"/>
              <a:gd name="connsiteY8" fmla="*/ 1079912 h 1241570"/>
              <a:gd name="connsiteX9" fmla="*/ 268 w 1525855"/>
              <a:gd name="connsiteY9" fmla="*/ 161803 h 1241570"/>
              <a:gd name="connsiteX0" fmla="*/ 359 w 1525946"/>
              <a:gd name="connsiteY0" fmla="*/ 161803 h 1241570"/>
              <a:gd name="connsiteX1" fmla="*/ 253 w 1525946"/>
              <a:gd name="connsiteY1" fmla="*/ 0 h 1241570"/>
              <a:gd name="connsiteX2" fmla="*/ 162017 w 1525946"/>
              <a:gd name="connsiteY2" fmla="*/ 145 h 1241570"/>
              <a:gd name="connsiteX3" fmla="*/ 1364288 w 1525946"/>
              <a:gd name="connsiteY3" fmla="*/ 145 h 1241570"/>
              <a:gd name="connsiteX4" fmla="*/ 1525946 w 1525946"/>
              <a:gd name="connsiteY4" fmla="*/ 161803 h 1241570"/>
              <a:gd name="connsiteX5" fmla="*/ 1525946 w 1525946"/>
              <a:gd name="connsiteY5" fmla="*/ 1079912 h 1241570"/>
              <a:gd name="connsiteX6" fmla="*/ 1364288 w 1525946"/>
              <a:gd name="connsiteY6" fmla="*/ 1241570 h 1241570"/>
              <a:gd name="connsiteX7" fmla="*/ 162017 w 1525946"/>
              <a:gd name="connsiteY7" fmla="*/ 1241570 h 1241570"/>
              <a:gd name="connsiteX8" fmla="*/ 359 w 1525946"/>
              <a:gd name="connsiteY8" fmla="*/ 1079912 h 1241570"/>
              <a:gd name="connsiteX9" fmla="*/ 359 w 1525946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364035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25693" h="1241570">
                <a:moveTo>
                  <a:pt x="106" y="161803"/>
                </a:moveTo>
                <a:cubicBezTo>
                  <a:pt x="-210" y="159620"/>
                  <a:pt x="409" y="7672"/>
                  <a:pt x="0" y="0"/>
                </a:cubicBezTo>
                <a:cubicBezTo>
                  <a:pt x="6219" y="388"/>
                  <a:pt x="110655" y="450"/>
                  <a:pt x="161764" y="145"/>
                </a:cubicBezTo>
                <a:lnTo>
                  <a:pt x="1364035" y="145"/>
                </a:lnTo>
                <a:cubicBezTo>
                  <a:pt x="1453316" y="145"/>
                  <a:pt x="1525693" y="72522"/>
                  <a:pt x="1525693" y="161803"/>
                </a:cubicBezTo>
                <a:lnTo>
                  <a:pt x="1525693" y="1079912"/>
                </a:lnTo>
                <a:cubicBezTo>
                  <a:pt x="1525693" y="1169193"/>
                  <a:pt x="1453316" y="1241570"/>
                  <a:pt x="1364035" y="1241570"/>
                </a:cubicBezTo>
                <a:lnTo>
                  <a:pt x="161764" y="1241570"/>
                </a:lnTo>
                <a:cubicBezTo>
                  <a:pt x="72483" y="1241570"/>
                  <a:pt x="106" y="1169193"/>
                  <a:pt x="106" y="1079912"/>
                </a:cubicBezTo>
                <a:lnTo>
                  <a:pt x="106" y="1618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tIns="0" bIns="252000" anchor="b"/>
          <a:lstStyle>
            <a:lvl1pPr marL="0" indent="0" algn="ctr">
              <a:buNone/>
              <a:defRPr sz="2806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nl-NL" noProof="0"/>
          </a:p>
        </p:txBody>
      </p:sp>
      <p:sp>
        <p:nvSpPr>
          <p:cNvPr id="30" name="Tijdelijke aanduiding voor tekst 2">
            <a:extLst>
              <a:ext uri="{FF2B5EF4-FFF2-40B4-BE49-F238E27FC236}">
                <a16:creationId xmlns:a16="http://schemas.microsoft.com/office/drawing/2014/main" id="{9D2AC618-ACAD-484E-BBCB-91B7EBF7B70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533803" y="13275428"/>
            <a:ext cx="25627524" cy="5476873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089185" y="2382"/>
                </a:lnTo>
                <a:cubicBezTo>
                  <a:pt x="7208841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08841" y="1240632"/>
                  <a:pt x="7089185" y="1240632"/>
                </a:cubicBezTo>
                <a:lnTo>
                  <a:pt x="216824" y="1240632"/>
                </a:lnTo>
                <a:cubicBezTo>
                  <a:pt x="9716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>
              <a:spcAft>
                <a:spcPts val="0"/>
              </a:spcAft>
              <a:defRPr sz="4209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31" name="Tijdelijke aanduiding voor afbeelding 6">
            <a:extLst>
              <a:ext uri="{FF2B5EF4-FFF2-40B4-BE49-F238E27FC236}">
                <a16:creationId xmlns:a16="http://schemas.microsoft.com/office/drawing/2014/main" id="{6EAA7FFB-E40E-4744-8AF0-0E4BEE5C22A0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1696814" y="13269468"/>
            <a:ext cx="5345254" cy="5474264"/>
          </a:xfrm>
          <a:custGeom>
            <a:avLst/>
            <a:gdLst>
              <a:gd name="connsiteX0" fmla="*/ 0 w 1525587"/>
              <a:gd name="connsiteY0" fmla="*/ 161658 h 1241425"/>
              <a:gd name="connsiteX1" fmla="*/ 161658 w 1525587"/>
              <a:gd name="connsiteY1" fmla="*/ 0 h 1241425"/>
              <a:gd name="connsiteX2" fmla="*/ 1363929 w 1525587"/>
              <a:gd name="connsiteY2" fmla="*/ 0 h 1241425"/>
              <a:gd name="connsiteX3" fmla="*/ 1525587 w 1525587"/>
              <a:gd name="connsiteY3" fmla="*/ 161658 h 1241425"/>
              <a:gd name="connsiteX4" fmla="*/ 1525587 w 1525587"/>
              <a:gd name="connsiteY4" fmla="*/ 1079767 h 1241425"/>
              <a:gd name="connsiteX5" fmla="*/ 1363929 w 1525587"/>
              <a:gd name="connsiteY5" fmla="*/ 1241425 h 1241425"/>
              <a:gd name="connsiteX6" fmla="*/ 161658 w 1525587"/>
              <a:gd name="connsiteY6" fmla="*/ 1241425 h 1241425"/>
              <a:gd name="connsiteX7" fmla="*/ 0 w 1525587"/>
              <a:gd name="connsiteY7" fmla="*/ 1079767 h 1241425"/>
              <a:gd name="connsiteX8" fmla="*/ 0 w 1525587"/>
              <a:gd name="connsiteY8" fmla="*/ 161658 h 1241425"/>
              <a:gd name="connsiteX0" fmla="*/ 0 w 1525587"/>
              <a:gd name="connsiteY0" fmla="*/ 161658 h 1241425"/>
              <a:gd name="connsiteX1" fmla="*/ 42862 w 1525587"/>
              <a:gd name="connsiteY1" fmla="*/ 48418 h 1241425"/>
              <a:gd name="connsiteX2" fmla="*/ 161658 w 1525587"/>
              <a:gd name="connsiteY2" fmla="*/ 0 h 1241425"/>
              <a:gd name="connsiteX3" fmla="*/ 1363929 w 1525587"/>
              <a:gd name="connsiteY3" fmla="*/ 0 h 1241425"/>
              <a:gd name="connsiteX4" fmla="*/ 1525587 w 1525587"/>
              <a:gd name="connsiteY4" fmla="*/ 161658 h 1241425"/>
              <a:gd name="connsiteX5" fmla="*/ 1525587 w 1525587"/>
              <a:gd name="connsiteY5" fmla="*/ 1079767 h 1241425"/>
              <a:gd name="connsiteX6" fmla="*/ 1363929 w 1525587"/>
              <a:gd name="connsiteY6" fmla="*/ 1241425 h 1241425"/>
              <a:gd name="connsiteX7" fmla="*/ 161658 w 1525587"/>
              <a:gd name="connsiteY7" fmla="*/ 1241425 h 1241425"/>
              <a:gd name="connsiteX8" fmla="*/ 0 w 1525587"/>
              <a:gd name="connsiteY8" fmla="*/ 1079767 h 1241425"/>
              <a:gd name="connsiteX9" fmla="*/ 0 w 1525587"/>
              <a:gd name="connsiteY9" fmla="*/ 161658 h 1241425"/>
              <a:gd name="connsiteX0" fmla="*/ 8672 w 1534259"/>
              <a:gd name="connsiteY0" fmla="*/ 165982 h 1245749"/>
              <a:gd name="connsiteX1" fmla="*/ 11053 w 1534259"/>
              <a:gd name="connsiteY1" fmla="*/ 12261 h 1245749"/>
              <a:gd name="connsiteX2" fmla="*/ 170330 w 1534259"/>
              <a:gd name="connsiteY2" fmla="*/ 4324 h 1245749"/>
              <a:gd name="connsiteX3" fmla="*/ 1372601 w 1534259"/>
              <a:gd name="connsiteY3" fmla="*/ 4324 h 1245749"/>
              <a:gd name="connsiteX4" fmla="*/ 1534259 w 1534259"/>
              <a:gd name="connsiteY4" fmla="*/ 165982 h 1245749"/>
              <a:gd name="connsiteX5" fmla="*/ 1534259 w 1534259"/>
              <a:gd name="connsiteY5" fmla="*/ 1084091 h 1245749"/>
              <a:gd name="connsiteX6" fmla="*/ 1372601 w 1534259"/>
              <a:gd name="connsiteY6" fmla="*/ 1245749 h 1245749"/>
              <a:gd name="connsiteX7" fmla="*/ 170330 w 1534259"/>
              <a:gd name="connsiteY7" fmla="*/ 1245749 h 1245749"/>
              <a:gd name="connsiteX8" fmla="*/ 8672 w 1534259"/>
              <a:gd name="connsiteY8" fmla="*/ 1084091 h 1245749"/>
              <a:gd name="connsiteX9" fmla="*/ 8672 w 1534259"/>
              <a:gd name="connsiteY9" fmla="*/ 165982 h 1245749"/>
              <a:gd name="connsiteX0" fmla="*/ 8672 w 1534259"/>
              <a:gd name="connsiteY0" fmla="*/ 167890 h 1247657"/>
              <a:gd name="connsiteX1" fmla="*/ 11053 w 1534259"/>
              <a:gd name="connsiteY1" fmla="*/ 14169 h 1247657"/>
              <a:gd name="connsiteX2" fmla="*/ 170330 w 1534259"/>
              <a:gd name="connsiteY2" fmla="*/ 6232 h 1247657"/>
              <a:gd name="connsiteX3" fmla="*/ 1372601 w 1534259"/>
              <a:gd name="connsiteY3" fmla="*/ 6232 h 1247657"/>
              <a:gd name="connsiteX4" fmla="*/ 1534259 w 1534259"/>
              <a:gd name="connsiteY4" fmla="*/ 167890 h 1247657"/>
              <a:gd name="connsiteX5" fmla="*/ 1534259 w 1534259"/>
              <a:gd name="connsiteY5" fmla="*/ 1085999 h 1247657"/>
              <a:gd name="connsiteX6" fmla="*/ 1372601 w 1534259"/>
              <a:gd name="connsiteY6" fmla="*/ 1247657 h 1247657"/>
              <a:gd name="connsiteX7" fmla="*/ 170330 w 1534259"/>
              <a:gd name="connsiteY7" fmla="*/ 1247657 h 1247657"/>
              <a:gd name="connsiteX8" fmla="*/ 8672 w 1534259"/>
              <a:gd name="connsiteY8" fmla="*/ 1085999 h 1247657"/>
              <a:gd name="connsiteX9" fmla="*/ 8672 w 1534259"/>
              <a:gd name="connsiteY9" fmla="*/ 167890 h 1247657"/>
              <a:gd name="connsiteX0" fmla="*/ 8672 w 1534259"/>
              <a:gd name="connsiteY0" fmla="*/ 161658 h 1241425"/>
              <a:gd name="connsiteX1" fmla="*/ 11053 w 1534259"/>
              <a:gd name="connsiteY1" fmla="*/ 7937 h 1241425"/>
              <a:gd name="connsiteX2" fmla="*/ 170330 w 1534259"/>
              <a:gd name="connsiteY2" fmla="*/ 0 h 1241425"/>
              <a:gd name="connsiteX3" fmla="*/ 1372601 w 1534259"/>
              <a:gd name="connsiteY3" fmla="*/ 0 h 1241425"/>
              <a:gd name="connsiteX4" fmla="*/ 1534259 w 1534259"/>
              <a:gd name="connsiteY4" fmla="*/ 161658 h 1241425"/>
              <a:gd name="connsiteX5" fmla="*/ 1534259 w 1534259"/>
              <a:gd name="connsiteY5" fmla="*/ 1079767 h 1241425"/>
              <a:gd name="connsiteX6" fmla="*/ 1372601 w 1534259"/>
              <a:gd name="connsiteY6" fmla="*/ 1241425 h 1241425"/>
              <a:gd name="connsiteX7" fmla="*/ 170330 w 1534259"/>
              <a:gd name="connsiteY7" fmla="*/ 1241425 h 1241425"/>
              <a:gd name="connsiteX8" fmla="*/ 8672 w 1534259"/>
              <a:gd name="connsiteY8" fmla="*/ 1079767 h 1241425"/>
              <a:gd name="connsiteX9" fmla="*/ 8672 w 1534259"/>
              <a:gd name="connsiteY9" fmla="*/ 161658 h 124142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3668 h 1243435"/>
              <a:gd name="connsiteX1" fmla="*/ 10644 w 1535715"/>
              <a:gd name="connsiteY1" fmla="*/ 0 h 1243435"/>
              <a:gd name="connsiteX2" fmla="*/ 171786 w 1535715"/>
              <a:gd name="connsiteY2" fmla="*/ 2010 h 1243435"/>
              <a:gd name="connsiteX3" fmla="*/ 1374057 w 1535715"/>
              <a:gd name="connsiteY3" fmla="*/ 2010 h 1243435"/>
              <a:gd name="connsiteX4" fmla="*/ 1535715 w 1535715"/>
              <a:gd name="connsiteY4" fmla="*/ 163668 h 1243435"/>
              <a:gd name="connsiteX5" fmla="*/ 1535715 w 1535715"/>
              <a:gd name="connsiteY5" fmla="*/ 1081777 h 1243435"/>
              <a:gd name="connsiteX6" fmla="*/ 1374057 w 1535715"/>
              <a:gd name="connsiteY6" fmla="*/ 1243435 h 1243435"/>
              <a:gd name="connsiteX7" fmla="*/ 171786 w 1535715"/>
              <a:gd name="connsiteY7" fmla="*/ 1243435 h 1243435"/>
              <a:gd name="connsiteX8" fmla="*/ 10128 w 1535715"/>
              <a:gd name="connsiteY8" fmla="*/ 1081777 h 1243435"/>
              <a:gd name="connsiteX9" fmla="*/ 10128 w 1535715"/>
              <a:gd name="connsiteY9" fmla="*/ 163668 h 124343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1808 w 1537395"/>
              <a:gd name="connsiteY0" fmla="*/ 161803 h 1241570"/>
              <a:gd name="connsiteX1" fmla="*/ 12324 w 1537395"/>
              <a:gd name="connsiteY1" fmla="*/ 0 h 1241570"/>
              <a:gd name="connsiteX2" fmla="*/ 173466 w 1537395"/>
              <a:gd name="connsiteY2" fmla="*/ 145 h 1241570"/>
              <a:gd name="connsiteX3" fmla="*/ 1375737 w 1537395"/>
              <a:gd name="connsiteY3" fmla="*/ 145 h 1241570"/>
              <a:gd name="connsiteX4" fmla="*/ 1537395 w 1537395"/>
              <a:gd name="connsiteY4" fmla="*/ 161803 h 1241570"/>
              <a:gd name="connsiteX5" fmla="*/ 1537395 w 1537395"/>
              <a:gd name="connsiteY5" fmla="*/ 1079912 h 1241570"/>
              <a:gd name="connsiteX6" fmla="*/ 1375737 w 1537395"/>
              <a:gd name="connsiteY6" fmla="*/ 1241570 h 1241570"/>
              <a:gd name="connsiteX7" fmla="*/ 173466 w 1537395"/>
              <a:gd name="connsiteY7" fmla="*/ 1241570 h 1241570"/>
              <a:gd name="connsiteX8" fmla="*/ 11808 w 1537395"/>
              <a:gd name="connsiteY8" fmla="*/ 1079912 h 1241570"/>
              <a:gd name="connsiteX9" fmla="*/ 11808 w 1537395"/>
              <a:gd name="connsiteY9" fmla="*/ 161803 h 1241570"/>
              <a:gd name="connsiteX0" fmla="*/ 346 w 1525933"/>
              <a:gd name="connsiteY0" fmla="*/ 161803 h 1241570"/>
              <a:gd name="connsiteX1" fmla="*/ 862 w 1525933"/>
              <a:gd name="connsiteY1" fmla="*/ 0 h 1241570"/>
              <a:gd name="connsiteX2" fmla="*/ 162004 w 1525933"/>
              <a:gd name="connsiteY2" fmla="*/ 145 h 1241570"/>
              <a:gd name="connsiteX3" fmla="*/ 1364275 w 1525933"/>
              <a:gd name="connsiteY3" fmla="*/ 145 h 1241570"/>
              <a:gd name="connsiteX4" fmla="*/ 1525933 w 1525933"/>
              <a:gd name="connsiteY4" fmla="*/ 161803 h 1241570"/>
              <a:gd name="connsiteX5" fmla="*/ 1525933 w 1525933"/>
              <a:gd name="connsiteY5" fmla="*/ 1079912 h 1241570"/>
              <a:gd name="connsiteX6" fmla="*/ 1364275 w 1525933"/>
              <a:gd name="connsiteY6" fmla="*/ 1241570 h 1241570"/>
              <a:gd name="connsiteX7" fmla="*/ 162004 w 1525933"/>
              <a:gd name="connsiteY7" fmla="*/ 1241570 h 1241570"/>
              <a:gd name="connsiteX8" fmla="*/ 346 w 1525933"/>
              <a:gd name="connsiteY8" fmla="*/ 1079912 h 1241570"/>
              <a:gd name="connsiteX9" fmla="*/ 346 w 1525933"/>
              <a:gd name="connsiteY9" fmla="*/ 161803 h 1241570"/>
              <a:gd name="connsiteX0" fmla="*/ 872 w 1526459"/>
              <a:gd name="connsiteY0" fmla="*/ 161803 h 1241570"/>
              <a:gd name="connsiteX1" fmla="*/ 1388 w 1526459"/>
              <a:gd name="connsiteY1" fmla="*/ 0 h 1241570"/>
              <a:gd name="connsiteX2" fmla="*/ 162530 w 1526459"/>
              <a:gd name="connsiteY2" fmla="*/ 145 h 1241570"/>
              <a:gd name="connsiteX3" fmla="*/ 1364801 w 1526459"/>
              <a:gd name="connsiteY3" fmla="*/ 145 h 1241570"/>
              <a:gd name="connsiteX4" fmla="*/ 1526459 w 1526459"/>
              <a:gd name="connsiteY4" fmla="*/ 161803 h 1241570"/>
              <a:gd name="connsiteX5" fmla="*/ 1526459 w 1526459"/>
              <a:gd name="connsiteY5" fmla="*/ 1079912 h 1241570"/>
              <a:gd name="connsiteX6" fmla="*/ 1364801 w 1526459"/>
              <a:gd name="connsiteY6" fmla="*/ 1241570 h 1241570"/>
              <a:gd name="connsiteX7" fmla="*/ 162530 w 1526459"/>
              <a:gd name="connsiteY7" fmla="*/ 1241570 h 1241570"/>
              <a:gd name="connsiteX8" fmla="*/ 872 w 1526459"/>
              <a:gd name="connsiteY8" fmla="*/ 1079912 h 1241570"/>
              <a:gd name="connsiteX9" fmla="*/ 872 w 1526459"/>
              <a:gd name="connsiteY9" fmla="*/ 161803 h 1241570"/>
              <a:gd name="connsiteX0" fmla="*/ 470 w 1526057"/>
              <a:gd name="connsiteY0" fmla="*/ 161803 h 1241570"/>
              <a:gd name="connsiteX1" fmla="*/ 986 w 1526057"/>
              <a:gd name="connsiteY1" fmla="*/ 0 h 1241570"/>
              <a:gd name="connsiteX2" fmla="*/ 162128 w 1526057"/>
              <a:gd name="connsiteY2" fmla="*/ 145 h 1241570"/>
              <a:gd name="connsiteX3" fmla="*/ 1364399 w 1526057"/>
              <a:gd name="connsiteY3" fmla="*/ 145 h 1241570"/>
              <a:gd name="connsiteX4" fmla="*/ 1526057 w 1526057"/>
              <a:gd name="connsiteY4" fmla="*/ 161803 h 1241570"/>
              <a:gd name="connsiteX5" fmla="*/ 1526057 w 1526057"/>
              <a:gd name="connsiteY5" fmla="*/ 1079912 h 1241570"/>
              <a:gd name="connsiteX6" fmla="*/ 1364399 w 1526057"/>
              <a:gd name="connsiteY6" fmla="*/ 1241570 h 1241570"/>
              <a:gd name="connsiteX7" fmla="*/ 162128 w 1526057"/>
              <a:gd name="connsiteY7" fmla="*/ 1241570 h 1241570"/>
              <a:gd name="connsiteX8" fmla="*/ 470 w 1526057"/>
              <a:gd name="connsiteY8" fmla="*/ 1079912 h 1241570"/>
              <a:gd name="connsiteX9" fmla="*/ 470 w 1526057"/>
              <a:gd name="connsiteY9" fmla="*/ 161803 h 1241570"/>
              <a:gd name="connsiteX0" fmla="*/ 649 w 1526236"/>
              <a:gd name="connsiteY0" fmla="*/ 161803 h 1241570"/>
              <a:gd name="connsiteX1" fmla="*/ 1165 w 1526236"/>
              <a:gd name="connsiteY1" fmla="*/ 0 h 1241570"/>
              <a:gd name="connsiteX2" fmla="*/ 162307 w 1526236"/>
              <a:gd name="connsiteY2" fmla="*/ 145 h 1241570"/>
              <a:gd name="connsiteX3" fmla="*/ 1364578 w 1526236"/>
              <a:gd name="connsiteY3" fmla="*/ 145 h 1241570"/>
              <a:gd name="connsiteX4" fmla="*/ 1526236 w 1526236"/>
              <a:gd name="connsiteY4" fmla="*/ 161803 h 1241570"/>
              <a:gd name="connsiteX5" fmla="*/ 1526236 w 1526236"/>
              <a:gd name="connsiteY5" fmla="*/ 1079912 h 1241570"/>
              <a:gd name="connsiteX6" fmla="*/ 1364578 w 1526236"/>
              <a:gd name="connsiteY6" fmla="*/ 1241570 h 1241570"/>
              <a:gd name="connsiteX7" fmla="*/ 162307 w 1526236"/>
              <a:gd name="connsiteY7" fmla="*/ 1241570 h 1241570"/>
              <a:gd name="connsiteX8" fmla="*/ 649 w 1526236"/>
              <a:gd name="connsiteY8" fmla="*/ 1079912 h 1241570"/>
              <a:gd name="connsiteX9" fmla="*/ 649 w 1526236"/>
              <a:gd name="connsiteY9" fmla="*/ 161803 h 1241570"/>
              <a:gd name="connsiteX0" fmla="*/ 268 w 1525855"/>
              <a:gd name="connsiteY0" fmla="*/ 161803 h 1241570"/>
              <a:gd name="connsiteX1" fmla="*/ 784 w 1525855"/>
              <a:gd name="connsiteY1" fmla="*/ 0 h 1241570"/>
              <a:gd name="connsiteX2" fmla="*/ 161926 w 1525855"/>
              <a:gd name="connsiteY2" fmla="*/ 145 h 1241570"/>
              <a:gd name="connsiteX3" fmla="*/ 1364197 w 1525855"/>
              <a:gd name="connsiteY3" fmla="*/ 145 h 1241570"/>
              <a:gd name="connsiteX4" fmla="*/ 1525855 w 1525855"/>
              <a:gd name="connsiteY4" fmla="*/ 161803 h 1241570"/>
              <a:gd name="connsiteX5" fmla="*/ 1525855 w 1525855"/>
              <a:gd name="connsiteY5" fmla="*/ 1079912 h 1241570"/>
              <a:gd name="connsiteX6" fmla="*/ 1364197 w 1525855"/>
              <a:gd name="connsiteY6" fmla="*/ 1241570 h 1241570"/>
              <a:gd name="connsiteX7" fmla="*/ 161926 w 1525855"/>
              <a:gd name="connsiteY7" fmla="*/ 1241570 h 1241570"/>
              <a:gd name="connsiteX8" fmla="*/ 268 w 1525855"/>
              <a:gd name="connsiteY8" fmla="*/ 1079912 h 1241570"/>
              <a:gd name="connsiteX9" fmla="*/ 268 w 1525855"/>
              <a:gd name="connsiteY9" fmla="*/ 161803 h 1241570"/>
              <a:gd name="connsiteX0" fmla="*/ 359 w 1525946"/>
              <a:gd name="connsiteY0" fmla="*/ 161803 h 1241570"/>
              <a:gd name="connsiteX1" fmla="*/ 253 w 1525946"/>
              <a:gd name="connsiteY1" fmla="*/ 0 h 1241570"/>
              <a:gd name="connsiteX2" fmla="*/ 162017 w 1525946"/>
              <a:gd name="connsiteY2" fmla="*/ 145 h 1241570"/>
              <a:gd name="connsiteX3" fmla="*/ 1364288 w 1525946"/>
              <a:gd name="connsiteY3" fmla="*/ 145 h 1241570"/>
              <a:gd name="connsiteX4" fmla="*/ 1525946 w 1525946"/>
              <a:gd name="connsiteY4" fmla="*/ 161803 h 1241570"/>
              <a:gd name="connsiteX5" fmla="*/ 1525946 w 1525946"/>
              <a:gd name="connsiteY5" fmla="*/ 1079912 h 1241570"/>
              <a:gd name="connsiteX6" fmla="*/ 1364288 w 1525946"/>
              <a:gd name="connsiteY6" fmla="*/ 1241570 h 1241570"/>
              <a:gd name="connsiteX7" fmla="*/ 162017 w 1525946"/>
              <a:gd name="connsiteY7" fmla="*/ 1241570 h 1241570"/>
              <a:gd name="connsiteX8" fmla="*/ 359 w 1525946"/>
              <a:gd name="connsiteY8" fmla="*/ 1079912 h 1241570"/>
              <a:gd name="connsiteX9" fmla="*/ 359 w 1525946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364035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25693" h="1241570">
                <a:moveTo>
                  <a:pt x="106" y="161803"/>
                </a:moveTo>
                <a:cubicBezTo>
                  <a:pt x="-210" y="159620"/>
                  <a:pt x="409" y="7672"/>
                  <a:pt x="0" y="0"/>
                </a:cubicBezTo>
                <a:cubicBezTo>
                  <a:pt x="6219" y="388"/>
                  <a:pt x="110655" y="450"/>
                  <a:pt x="161764" y="145"/>
                </a:cubicBezTo>
                <a:lnTo>
                  <a:pt x="1364035" y="145"/>
                </a:lnTo>
                <a:cubicBezTo>
                  <a:pt x="1453316" y="145"/>
                  <a:pt x="1525693" y="72522"/>
                  <a:pt x="1525693" y="161803"/>
                </a:cubicBezTo>
                <a:lnTo>
                  <a:pt x="1525693" y="1079912"/>
                </a:lnTo>
                <a:cubicBezTo>
                  <a:pt x="1525693" y="1169193"/>
                  <a:pt x="1453316" y="1241570"/>
                  <a:pt x="1364035" y="1241570"/>
                </a:cubicBezTo>
                <a:lnTo>
                  <a:pt x="161764" y="1241570"/>
                </a:lnTo>
                <a:cubicBezTo>
                  <a:pt x="72483" y="1241570"/>
                  <a:pt x="106" y="1169193"/>
                  <a:pt x="106" y="1079912"/>
                </a:cubicBezTo>
                <a:lnTo>
                  <a:pt x="106" y="1618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tIns="0" bIns="252000" anchor="b"/>
          <a:lstStyle>
            <a:lvl1pPr marL="0" indent="0" algn="ctr">
              <a:buNone/>
              <a:defRPr sz="2806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nl-NL" noProof="0"/>
          </a:p>
        </p:txBody>
      </p:sp>
      <p:sp>
        <p:nvSpPr>
          <p:cNvPr id="32" name="Tijdelijke aanduiding voor tekst 2">
            <a:extLst>
              <a:ext uri="{FF2B5EF4-FFF2-40B4-BE49-F238E27FC236}">
                <a16:creationId xmlns:a16="http://schemas.microsoft.com/office/drawing/2014/main" id="{F4636EEB-5D3E-40A6-BA1D-52AAF0683C6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533803" y="20234339"/>
            <a:ext cx="25627524" cy="5476873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089185" y="2382"/>
                </a:lnTo>
                <a:cubicBezTo>
                  <a:pt x="7208841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08841" y="1240632"/>
                  <a:pt x="7089185" y="1240632"/>
                </a:cubicBezTo>
                <a:lnTo>
                  <a:pt x="216824" y="1240632"/>
                </a:lnTo>
                <a:cubicBezTo>
                  <a:pt x="9716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>
              <a:spcAft>
                <a:spcPts val="0"/>
              </a:spcAft>
              <a:defRPr sz="4209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33" name="Tijdelijke aanduiding voor afbeelding 6">
            <a:extLst>
              <a:ext uri="{FF2B5EF4-FFF2-40B4-BE49-F238E27FC236}">
                <a16:creationId xmlns:a16="http://schemas.microsoft.com/office/drawing/2014/main" id="{E282FF1F-8DC9-4A36-8B0E-4868FD1C3CCE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1696814" y="20228383"/>
            <a:ext cx="5345254" cy="5474264"/>
          </a:xfrm>
          <a:custGeom>
            <a:avLst/>
            <a:gdLst>
              <a:gd name="connsiteX0" fmla="*/ 0 w 1525587"/>
              <a:gd name="connsiteY0" fmla="*/ 161658 h 1241425"/>
              <a:gd name="connsiteX1" fmla="*/ 161658 w 1525587"/>
              <a:gd name="connsiteY1" fmla="*/ 0 h 1241425"/>
              <a:gd name="connsiteX2" fmla="*/ 1363929 w 1525587"/>
              <a:gd name="connsiteY2" fmla="*/ 0 h 1241425"/>
              <a:gd name="connsiteX3" fmla="*/ 1525587 w 1525587"/>
              <a:gd name="connsiteY3" fmla="*/ 161658 h 1241425"/>
              <a:gd name="connsiteX4" fmla="*/ 1525587 w 1525587"/>
              <a:gd name="connsiteY4" fmla="*/ 1079767 h 1241425"/>
              <a:gd name="connsiteX5" fmla="*/ 1363929 w 1525587"/>
              <a:gd name="connsiteY5" fmla="*/ 1241425 h 1241425"/>
              <a:gd name="connsiteX6" fmla="*/ 161658 w 1525587"/>
              <a:gd name="connsiteY6" fmla="*/ 1241425 h 1241425"/>
              <a:gd name="connsiteX7" fmla="*/ 0 w 1525587"/>
              <a:gd name="connsiteY7" fmla="*/ 1079767 h 1241425"/>
              <a:gd name="connsiteX8" fmla="*/ 0 w 1525587"/>
              <a:gd name="connsiteY8" fmla="*/ 161658 h 1241425"/>
              <a:gd name="connsiteX0" fmla="*/ 0 w 1525587"/>
              <a:gd name="connsiteY0" fmla="*/ 161658 h 1241425"/>
              <a:gd name="connsiteX1" fmla="*/ 42862 w 1525587"/>
              <a:gd name="connsiteY1" fmla="*/ 48418 h 1241425"/>
              <a:gd name="connsiteX2" fmla="*/ 161658 w 1525587"/>
              <a:gd name="connsiteY2" fmla="*/ 0 h 1241425"/>
              <a:gd name="connsiteX3" fmla="*/ 1363929 w 1525587"/>
              <a:gd name="connsiteY3" fmla="*/ 0 h 1241425"/>
              <a:gd name="connsiteX4" fmla="*/ 1525587 w 1525587"/>
              <a:gd name="connsiteY4" fmla="*/ 161658 h 1241425"/>
              <a:gd name="connsiteX5" fmla="*/ 1525587 w 1525587"/>
              <a:gd name="connsiteY5" fmla="*/ 1079767 h 1241425"/>
              <a:gd name="connsiteX6" fmla="*/ 1363929 w 1525587"/>
              <a:gd name="connsiteY6" fmla="*/ 1241425 h 1241425"/>
              <a:gd name="connsiteX7" fmla="*/ 161658 w 1525587"/>
              <a:gd name="connsiteY7" fmla="*/ 1241425 h 1241425"/>
              <a:gd name="connsiteX8" fmla="*/ 0 w 1525587"/>
              <a:gd name="connsiteY8" fmla="*/ 1079767 h 1241425"/>
              <a:gd name="connsiteX9" fmla="*/ 0 w 1525587"/>
              <a:gd name="connsiteY9" fmla="*/ 161658 h 1241425"/>
              <a:gd name="connsiteX0" fmla="*/ 8672 w 1534259"/>
              <a:gd name="connsiteY0" fmla="*/ 165982 h 1245749"/>
              <a:gd name="connsiteX1" fmla="*/ 11053 w 1534259"/>
              <a:gd name="connsiteY1" fmla="*/ 12261 h 1245749"/>
              <a:gd name="connsiteX2" fmla="*/ 170330 w 1534259"/>
              <a:gd name="connsiteY2" fmla="*/ 4324 h 1245749"/>
              <a:gd name="connsiteX3" fmla="*/ 1372601 w 1534259"/>
              <a:gd name="connsiteY3" fmla="*/ 4324 h 1245749"/>
              <a:gd name="connsiteX4" fmla="*/ 1534259 w 1534259"/>
              <a:gd name="connsiteY4" fmla="*/ 165982 h 1245749"/>
              <a:gd name="connsiteX5" fmla="*/ 1534259 w 1534259"/>
              <a:gd name="connsiteY5" fmla="*/ 1084091 h 1245749"/>
              <a:gd name="connsiteX6" fmla="*/ 1372601 w 1534259"/>
              <a:gd name="connsiteY6" fmla="*/ 1245749 h 1245749"/>
              <a:gd name="connsiteX7" fmla="*/ 170330 w 1534259"/>
              <a:gd name="connsiteY7" fmla="*/ 1245749 h 1245749"/>
              <a:gd name="connsiteX8" fmla="*/ 8672 w 1534259"/>
              <a:gd name="connsiteY8" fmla="*/ 1084091 h 1245749"/>
              <a:gd name="connsiteX9" fmla="*/ 8672 w 1534259"/>
              <a:gd name="connsiteY9" fmla="*/ 165982 h 1245749"/>
              <a:gd name="connsiteX0" fmla="*/ 8672 w 1534259"/>
              <a:gd name="connsiteY0" fmla="*/ 167890 h 1247657"/>
              <a:gd name="connsiteX1" fmla="*/ 11053 w 1534259"/>
              <a:gd name="connsiteY1" fmla="*/ 14169 h 1247657"/>
              <a:gd name="connsiteX2" fmla="*/ 170330 w 1534259"/>
              <a:gd name="connsiteY2" fmla="*/ 6232 h 1247657"/>
              <a:gd name="connsiteX3" fmla="*/ 1372601 w 1534259"/>
              <a:gd name="connsiteY3" fmla="*/ 6232 h 1247657"/>
              <a:gd name="connsiteX4" fmla="*/ 1534259 w 1534259"/>
              <a:gd name="connsiteY4" fmla="*/ 167890 h 1247657"/>
              <a:gd name="connsiteX5" fmla="*/ 1534259 w 1534259"/>
              <a:gd name="connsiteY5" fmla="*/ 1085999 h 1247657"/>
              <a:gd name="connsiteX6" fmla="*/ 1372601 w 1534259"/>
              <a:gd name="connsiteY6" fmla="*/ 1247657 h 1247657"/>
              <a:gd name="connsiteX7" fmla="*/ 170330 w 1534259"/>
              <a:gd name="connsiteY7" fmla="*/ 1247657 h 1247657"/>
              <a:gd name="connsiteX8" fmla="*/ 8672 w 1534259"/>
              <a:gd name="connsiteY8" fmla="*/ 1085999 h 1247657"/>
              <a:gd name="connsiteX9" fmla="*/ 8672 w 1534259"/>
              <a:gd name="connsiteY9" fmla="*/ 167890 h 1247657"/>
              <a:gd name="connsiteX0" fmla="*/ 8672 w 1534259"/>
              <a:gd name="connsiteY0" fmla="*/ 161658 h 1241425"/>
              <a:gd name="connsiteX1" fmla="*/ 11053 w 1534259"/>
              <a:gd name="connsiteY1" fmla="*/ 7937 h 1241425"/>
              <a:gd name="connsiteX2" fmla="*/ 170330 w 1534259"/>
              <a:gd name="connsiteY2" fmla="*/ 0 h 1241425"/>
              <a:gd name="connsiteX3" fmla="*/ 1372601 w 1534259"/>
              <a:gd name="connsiteY3" fmla="*/ 0 h 1241425"/>
              <a:gd name="connsiteX4" fmla="*/ 1534259 w 1534259"/>
              <a:gd name="connsiteY4" fmla="*/ 161658 h 1241425"/>
              <a:gd name="connsiteX5" fmla="*/ 1534259 w 1534259"/>
              <a:gd name="connsiteY5" fmla="*/ 1079767 h 1241425"/>
              <a:gd name="connsiteX6" fmla="*/ 1372601 w 1534259"/>
              <a:gd name="connsiteY6" fmla="*/ 1241425 h 1241425"/>
              <a:gd name="connsiteX7" fmla="*/ 170330 w 1534259"/>
              <a:gd name="connsiteY7" fmla="*/ 1241425 h 1241425"/>
              <a:gd name="connsiteX8" fmla="*/ 8672 w 1534259"/>
              <a:gd name="connsiteY8" fmla="*/ 1079767 h 1241425"/>
              <a:gd name="connsiteX9" fmla="*/ 8672 w 1534259"/>
              <a:gd name="connsiteY9" fmla="*/ 161658 h 124142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3668 h 1243435"/>
              <a:gd name="connsiteX1" fmla="*/ 10644 w 1535715"/>
              <a:gd name="connsiteY1" fmla="*/ 0 h 1243435"/>
              <a:gd name="connsiteX2" fmla="*/ 171786 w 1535715"/>
              <a:gd name="connsiteY2" fmla="*/ 2010 h 1243435"/>
              <a:gd name="connsiteX3" fmla="*/ 1374057 w 1535715"/>
              <a:gd name="connsiteY3" fmla="*/ 2010 h 1243435"/>
              <a:gd name="connsiteX4" fmla="*/ 1535715 w 1535715"/>
              <a:gd name="connsiteY4" fmla="*/ 163668 h 1243435"/>
              <a:gd name="connsiteX5" fmla="*/ 1535715 w 1535715"/>
              <a:gd name="connsiteY5" fmla="*/ 1081777 h 1243435"/>
              <a:gd name="connsiteX6" fmla="*/ 1374057 w 1535715"/>
              <a:gd name="connsiteY6" fmla="*/ 1243435 h 1243435"/>
              <a:gd name="connsiteX7" fmla="*/ 171786 w 1535715"/>
              <a:gd name="connsiteY7" fmla="*/ 1243435 h 1243435"/>
              <a:gd name="connsiteX8" fmla="*/ 10128 w 1535715"/>
              <a:gd name="connsiteY8" fmla="*/ 1081777 h 1243435"/>
              <a:gd name="connsiteX9" fmla="*/ 10128 w 1535715"/>
              <a:gd name="connsiteY9" fmla="*/ 163668 h 124343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1808 w 1537395"/>
              <a:gd name="connsiteY0" fmla="*/ 161803 h 1241570"/>
              <a:gd name="connsiteX1" fmla="*/ 12324 w 1537395"/>
              <a:gd name="connsiteY1" fmla="*/ 0 h 1241570"/>
              <a:gd name="connsiteX2" fmla="*/ 173466 w 1537395"/>
              <a:gd name="connsiteY2" fmla="*/ 145 h 1241570"/>
              <a:gd name="connsiteX3" fmla="*/ 1375737 w 1537395"/>
              <a:gd name="connsiteY3" fmla="*/ 145 h 1241570"/>
              <a:gd name="connsiteX4" fmla="*/ 1537395 w 1537395"/>
              <a:gd name="connsiteY4" fmla="*/ 161803 h 1241570"/>
              <a:gd name="connsiteX5" fmla="*/ 1537395 w 1537395"/>
              <a:gd name="connsiteY5" fmla="*/ 1079912 h 1241570"/>
              <a:gd name="connsiteX6" fmla="*/ 1375737 w 1537395"/>
              <a:gd name="connsiteY6" fmla="*/ 1241570 h 1241570"/>
              <a:gd name="connsiteX7" fmla="*/ 173466 w 1537395"/>
              <a:gd name="connsiteY7" fmla="*/ 1241570 h 1241570"/>
              <a:gd name="connsiteX8" fmla="*/ 11808 w 1537395"/>
              <a:gd name="connsiteY8" fmla="*/ 1079912 h 1241570"/>
              <a:gd name="connsiteX9" fmla="*/ 11808 w 1537395"/>
              <a:gd name="connsiteY9" fmla="*/ 161803 h 1241570"/>
              <a:gd name="connsiteX0" fmla="*/ 346 w 1525933"/>
              <a:gd name="connsiteY0" fmla="*/ 161803 h 1241570"/>
              <a:gd name="connsiteX1" fmla="*/ 862 w 1525933"/>
              <a:gd name="connsiteY1" fmla="*/ 0 h 1241570"/>
              <a:gd name="connsiteX2" fmla="*/ 162004 w 1525933"/>
              <a:gd name="connsiteY2" fmla="*/ 145 h 1241570"/>
              <a:gd name="connsiteX3" fmla="*/ 1364275 w 1525933"/>
              <a:gd name="connsiteY3" fmla="*/ 145 h 1241570"/>
              <a:gd name="connsiteX4" fmla="*/ 1525933 w 1525933"/>
              <a:gd name="connsiteY4" fmla="*/ 161803 h 1241570"/>
              <a:gd name="connsiteX5" fmla="*/ 1525933 w 1525933"/>
              <a:gd name="connsiteY5" fmla="*/ 1079912 h 1241570"/>
              <a:gd name="connsiteX6" fmla="*/ 1364275 w 1525933"/>
              <a:gd name="connsiteY6" fmla="*/ 1241570 h 1241570"/>
              <a:gd name="connsiteX7" fmla="*/ 162004 w 1525933"/>
              <a:gd name="connsiteY7" fmla="*/ 1241570 h 1241570"/>
              <a:gd name="connsiteX8" fmla="*/ 346 w 1525933"/>
              <a:gd name="connsiteY8" fmla="*/ 1079912 h 1241570"/>
              <a:gd name="connsiteX9" fmla="*/ 346 w 1525933"/>
              <a:gd name="connsiteY9" fmla="*/ 161803 h 1241570"/>
              <a:gd name="connsiteX0" fmla="*/ 872 w 1526459"/>
              <a:gd name="connsiteY0" fmla="*/ 161803 h 1241570"/>
              <a:gd name="connsiteX1" fmla="*/ 1388 w 1526459"/>
              <a:gd name="connsiteY1" fmla="*/ 0 h 1241570"/>
              <a:gd name="connsiteX2" fmla="*/ 162530 w 1526459"/>
              <a:gd name="connsiteY2" fmla="*/ 145 h 1241570"/>
              <a:gd name="connsiteX3" fmla="*/ 1364801 w 1526459"/>
              <a:gd name="connsiteY3" fmla="*/ 145 h 1241570"/>
              <a:gd name="connsiteX4" fmla="*/ 1526459 w 1526459"/>
              <a:gd name="connsiteY4" fmla="*/ 161803 h 1241570"/>
              <a:gd name="connsiteX5" fmla="*/ 1526459 w 1526459"/>
              <a:gd name="connsiteY5" fmla="*/ 1079912 h 1241570"/>
              <a:gd name="connsiteX6" fmla="*/ 1364801 w 1526459"/>
              <a:gd name="connsiteY6" fmla="*/ 1241570 h 1241570"/>
              <a:gd name="connsiteX7" fmla="*/ 162530 w 1526459"/>
              <a:gd name="connsiteY7" fmla="*/ 1241570 h 1241570"/>
              <a:gd name="connsiteX8" fmla="*/ 872 w 1526459"/>
              <a:gd name="connsiteY8" fmla="*/ 1079912 h 1241570"/>
              <a:gd name="connsiteX9" fmla="*/ 872 w 1526459"/>
              <a:gd name="connsiteY9" fmla="*/ 161803 h 1241570"/>
              <a:gd name="connsiteX0" fmla="*/ 470 w 1526057"/>
              <a:gd name="connsiteY0" fmla="*/ 161803 h 1241570"/>
              <a:gd name="connsiteX1" fmla="*/ 986 w 1526057"/>
              <a:gd name="connsiteY1" fmla="*/ 0 h 1241570"/>
              <a:gd name="connsiteX2" fmla="*/ 162128 w 1526057"/>
              <a:gd name="connsiteY2" fmla="*/ 145 h 1241570"/>
              <a:gd name="connsiteX3" fmla="*/ 1364399 w 1526057"/>
              <a:gd name="connsiteY3" fmla="*/ 145 h 1241570"/>
              <a:gd name="connsiteX4" fmla="*/ 1526057 w 1526057"/>
              <a:gd name="connsiteY4" fmla="*/ 161803 h 1241570"/>
              <a:gd name="connsiteX5" fmla="*/ 1526057 w 1526057"/>
              <a:gd name="connsiteY5" fmla="*/ 1079912 h 1241570"/>
              <a:gd name="connsiteX6" fmla="*/ 1364399 w 1526057"/>
              <a:gd name="connsiteY6" fmla="*/ 1241570 h 1241570"/>
              <a:gd name="connsiteX7" fmla="*/ 162128 w 1526057"/>
              <a:gd name="connsiteY7" fmla="*/ 1241570 h 1241570"/>
              <a:gd name="connsiteX8" fmla="*/ 470 w 1526057"/>
              <a:gd name="connsiteY8" fmla="*/ 1079912 h 1241570"/>
              <a:gd name="connsiteX9" fmla="*/ 470 w 1526057"/>
              <a:gd name="connsiteY9" fmla="*/ 161803 h 1241570"/>
              <a:gd name="connsiteX0" fmla="*/ 649 w 1526236"/>
              <a:gd name="connsiteY0" fmla="*/ 161803 h 1241570"/>
              <a:gd name="connsiteX1" fmla="*/ 1165 w 1526236"/>
              <a:gd name="connsiteY1" fmla="*/ 0 h 1241570"/>
              <a:gd name="connsiteX2" fmla="*/ 162307 w 1526236"/>
              <a:gd name="connsiteY2" fmla="*/ 145 h 1241570"/>
              <a:gd name="connsiteX3" fmla="*/ 1364578 w 1526236"/>
              <a:gd name="connsiteY3" fmla="*/ 145 h 1241570"/>
              <a:gd name="connsiteX4" fmla="*/ 1526236 w 1526236"/>
              <a:gd name="connsiteY4" fmla="*/ 161803 h 1241570"/>
              <a:gd name="connsiteX5" fmla="*/ 1526236 w 1526236"/>
              <a:gd name="connsiteY5" fmla="*/ 1079912 h 1241570"/>
              <a:gd name="connsiteX6" fmla="*/ 1364578 w 1526236"/>
              <a:gd name="connsiteY6" fmla="*/ 1241570 h 1241570"/>
              <a:gd name="connsiteX7" fmla="*/ 162307 w 1526236"/>
              <a:gd name="connsiteY7" fmla="*/ 1241570 h 1241570"/>
              <a:gd name="connsiteX8" fmla="*/ 649 w 1526236"/>
              <a:gd name="connsiteY8" fmla="*/ 1079912 h 1241570"/>
              <a:gd name="connsiteX9" fmla="*/ 649 w 1526236"/>
              <a:gd name="connsiteY9" fmla="*/ 161803 h 1241570"/>
              <a:gd name="connsiteX0" fmla="*/ 268 w 1525855"/>
              <a:gd name="connsiteY0" fmla="*/ 161803 h 1241570"/>
              <a:gd name="connsiteX1" fmla="*/ 784 w 1525855"/>
              <a:gd name="connsiteY1" fmla="*/ 0 h 1241570"/>
              <a:gd name="connsiteX2" fmla="*/ 161926 w 1525855"/>
              <a:gd name="connsiteY2" fmla="*/ 145 h 1241570"/>
              <a:gd name="connsiteX3" fmla="*/ 1364197 w 1525855"/>
              <a:gd name="connsiteY3" fmla="*/ 145 h 1241570"/>
              <a:gd name="connsiteX4" fmla="*/ 1525855 w 1525855"/>
              <a:gd name="connsiteY4" fmla="*/ 161803 h 1241570"/>
              <a:gd name="connsiteX5" fmla="*/ 1525855 w 1525855"/>
              <a:gd name="connsiteY5" fmla="*/ 1079912 h 1241570"/>
              <a:gd name="connsiteX6" fmla="*/ 1364197 w 1525855"/>
              <a:gd name="connsiteY6" fmla="*/ 1241570 h 1241570"/>
              <a:gd name="connsiteX7" fmla="*/ 161926 w 1525855"/>
              <a:gd name="connsiteY7" fmla="*/ 1241570 h 1241570"/>
              <a:gd name="connsiteX8" fmla="*/ 268 w 1525855"/>
              <a:gd name="connsiteY8" fmla="*/ 1079912 h 1241570"/>
              <a:gd name="connsiteX9" fmla="*/ 268 w 1525855"/>
              <a:gd name="connsiteY9" fmla="*/ 161803 h 1241570"/>
              <a:gd name="connsiteX0" fmla="*/ 359 w 1525946"/>
              <a:gd name="connsiteY0" fmla="*/ 161803 h 1241570"/>
              <a:gd name="connsiteX1" fmla="*/ 253 w 1525946"/>
              <a:gd name="connsiteY1" fmla="*/ 0 h 1241570"/>
              <a:gd name="connsiteX2" fmla="*/ 162017 w 1525946"/>
              <a:gd name="connsiteY2" fmla="*/ 145 h 1241570"/>
              <a:gd name="connsiteX3" fmla="*/ 1364288 w 1525946"/>
              <a:gd name="connsiteY3" fmla="*/ 145 h 1241570"/>
              <a:gd name="connsiteX4" fmla="*/ 1525946 w 1525946"/>
              <a:gd name="connsiteY4" fmla="*/ 161803 h 1241570"/>
              <a:gd name="connsiteX5" fmla="*/ 1525946 w 1525946"/>
              <a:gd name="connsiteY5" fmla="*/ 1079912 h 1241570"/>
              <a:gd name="connsiteX6" fmla="*/ 1364288 w 1525946"/>
              <a:gd name="connsiteY6" fmla="*/ 1241570 h 1241570"/>
              <a:gd name="connsiteX7" fmla="*/ 162017 w 1525946"/>
              <a:gd name="connsiteY7" fmla="*/ 1241570 h 1241570"/>
              <a:gd name="connsiteX8" fmla="*/ 359 w 1525946"/>
              <a:gd name="connsiteY8" fmla="*/ 1079912 h 1241570"/>
              <a:gd name="connsiteX9" fmla="*/ 359 w 1525946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364035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25693" h="1241570">
                <a:moveTo>
                  <a:pt x="106" y="161803"/>
                </a:moveTo>
                <a:cubicBezTo>
                  <a:pt x="-210" y="159620"/>
                  <a:pt x="409" y="7672"/>
                  <a:pt x="0" y="0"/>
                </a:cubicBezTo>
                <a:cubicBezTo>
                  <a:pt x="6219" y="388"/>
                  <a:pt x="110655" y="450"/>
                  <a:pt x="161764" y="145"/>
                </a:cubicBezTo>
                <a:lnTo>
                  <a:pt x="1364035" y="145"/>
                </a:lnTo>
                <a:cubicBezTo>
                  <a:pt x="1453316" y="145"/>
                  <a:pt x="1525693" y="72522"/>
                  <a:pt x="1525693" y="161803"/>
                </a:cubicBezTo>
                <a:lnTo>
                  <a:pt x="1525693" y="1079912"/>
                </a:lnTo>
                <a:cubicBezTo>
                  <a:pt x="1525693" y="1169193"/>
                  <a:pt x="1453316" y="1241570"/>
                  <a:pt x="1364035" y="1241570"/>
                </a:cubicBezTo>
                <a:lnTo>
                  <a:pt x="161764" y="1241570"/>
                </a:lnTo>
                <a:cubicBezTo>
                  <a:pt x="72483" y="1241570"/>
                  <a:pt x="106" y="1169193"/>
                  <a:pt x="106" y="1079912"/>
                </a:cubicBezTo>
                <a:lnTo>
                  <a:pt x="106" y="1618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tIns="0" bIns="252000" anchor="b"/>
          <a:lstStyle>
            <a:lvl1pPr marL="0" indent="0" algn="ctr">
              <a:buNone/>
              <a:defRPr sz="2806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nl-NL" noProof="0"/>
          </a:p>
        </p:txBody>
      </p:sp>
      <p:grpSp>
        <p:nvGrpSpPr>
          <p:cNvPr id="98" name="Groep 77">
            <a:extLst>
              <a:ext uri="{FF2B5EF4-FFF2-40B4-BE49-F238E27FC236}">
                <a16:creationId xmlns:a16="http://schemas.microsoft.com/office/drawing/2014/main" id="{36CF6C6E-1D1A-4765-B440-AC99DEBA79E4}"/>
              </a:ext>
            </a:extLst>
          </p:cNvPr>
          <p:cNvGrpSpPr/>
          <p:nvPr userDrawn="1"/>
        </p:nvGrpSpPr>
        <p:grpSpPr>
          <a:xfrm>
            <a:off x="43467414" y="0"/>
            <a:ext cx="13065546" cy="24210246"/>
            <a:chOff x="12391601" y="0"/>
            <a:chExt cx="3724699" cy="5484152"/>
          </a:xfrm>
        </p:grpSpPr>
        <p:sp>
          <p:nvSpPr>
            <p:cNvPr id="99" name="Rechthoek 78">
              <a:extLst>
                <a:ext uri="{FF2B5EF4-FFF2-40B4-BE49-F238E27FC236}">
                  <a16:creationId xmlns:a16="http://schemas.microsoft.com/office/drawing/2014/main" id="{3FB3DA4A-49C7-47C0-8216-784B55BB393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100" name="Ovaal 79">
              <a:extLst>
                <a:ext uri="{FF2B5EF4-FFF2-40B4-BE49-F238E27FC236}">
                  <a16:creationId xmlns:a16="http://schemas.microsoft.com/office/drawing/2014/main" id="{95835028-FD7B-4401-B98A-74578806C7A1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80">
              <a:extLst>
                <a:ext uri="{FF2B5EF4-FFF2-40B4-BE49-F238E27FC236}">
                  <a16:creationId xmlns:a16="http://schemas.microsoft.com/office/drawing/2014/main" id="{79C1CABA-42BC-4D1F-BF1A-B55441F8017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81">
              <a:extLst>
                <a:ext uri="{FF2B5EF4-FFF2-40B4-BE49-F238E27FC236}">
                  <a16:creationId xmlns:a16="http://schemas.microsoft.com/office/drawing/2014/main" id="{8E8E79C4-A963-441C-A371-B4B19AD30FE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82">
              <a:extLst>
                <a:ext uri="{FF2B5EF4-FFF2-40B4-BE49-F238E27FC236}">
                  <a16:creationId xmlns:a16="http://schemas.microsoft.com/office/drawing/2014/main" id="{0850B024-9D29-423B-943A-CE327ABDC468}"/>
                </a:ext>
              </a:extLst>
            </p:cNvPr>
            <p:cNvSpPr/>
            <p:nvPr userDrawn="1"/>
          </p:nvSpPr>
          <p:spPr>
            <a:xfrm>
              <a:off x="12757282" y="432552"/>
              <a:ext cx="335901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fbeelding door deze te selecteren en op 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m een nieuwe afbeelding in te voegen.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83">
              <a:extLst>
                <a:ext uri="{FF2B5EF4-FFF2-40B4-BE49-F238E27FC236}">
                  <a16:creationId xmlns:a16="http://schemas.microsoft.com/office/drawing/2014/main" id="{38C84B88-68F1-4F0A-A4DD-DBE8AB0B6FB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84">
              <a:extLst>
                <a:ext uri="{FF2B5EF4-FFF2-40B4-BE49-F238E27FC236}">
                  <a16:creationId xmlns:a16="http://schemas.microsoft.com/office/drawing/2014/main" id="{4979BE6B-C556-4371-85AE-6F394B77646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85">
              <a:extLst>
                <a:ext uri="{FF2B5EF4-FFF2-40B4-BE49-F238E27FC236}">
                  <a16:creationId xmlns:a16="http://schemas.microsoft.com/office/drawing/2014/main" id="{CAF6F14F-14CA-48DA-8995-0FA61D6E8045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1" name="Rechthoek 119">
                <a:extLst>
                  <a:ext uri="{FF2B5EF4-FFF2-40B4-BE49-F238E27FC236}">
                    <a16:creationId xmlns:a16="http://schemas.microsoft.com/office/drawing/2014/main" id="{4902E440-1B17-4EC3-B940-FD4185BAFF5D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172" name="Rechte verbindingslijn 120">
                <a:extLst>
                  <a:ext uri="{FF2B5EF4-FFF2-40B4-BE49-F238E27FC236}">
                    <a16:creationId xmlns:a16="http://schemas.microsoft.com/office/drawing/2014/main" id="{C8480132-BCE5-4A39-A8E9-12F42A981BE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3" name="Gelijkbenige driehoek 121">
                <a:extLst>
                  <a:ext uri="{FF2B5EF4-FFF2-40B4-BE49-F238E27FC236}">
                    <a16:creationId xmlns:a16="http://schemas.microsoft.com/office/drawing/2014/main" id="{F3A6B288-A2CD-4D8A-8EA2-947C39AB44F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7" name="Groep 86">
              <a:extLst>
                <a:ext uri="{FF2B5EF4-FFF2-40B4-BE49-F238E27FC236}">
                  <a16:creationId xmlns:a16="http://schemas.microsoft.com/office/drawing/2014/main" id="{64EC50E0-07F5-4AC2-AF6E-B6A5143A2BFA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145" name="Rechthoek 113">
                <a:extLst>
                  <a:ext uri="{FF2B5EF4-FFF2-40B4-BE49-F238E27FC236}">
                    <a16:creationId xmlns:a16="http://schemas.microsoft.com/office/drawing/2014/main" id="{83816C4C-4BD5-4749-ADBC-2E7B61172B19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6" name="Ovaal 114">
                <a:extLst>
                  <a:ext uri="{FF2B5EF4-FFF2-40B4-BE49-F238E27FC236}">
                    <a16:creationId xmlns:a16="http://schemas.microsoft.com/office/drawing/2014/main" id="{ACFEAC87-13F7-44CA-9E0B-68D031009BE3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7" name="Vrije vorm: vorm 115">
                <a:extLst>
                  <a:ext uri="{FF2B5EF4-FFF2-40B4-BE49-F238E27FC236}">
                    <a16:creationId xmlns:a16="http://schemas.microsoft.com/office/drawing/2014/main" id="{ABC0308E-7743-4151-B79D-A69C7DBA2FE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Rechthoek: afgeronde hoeken 116">
                <a:extLst>
                  <a:ext uri="{FF2B5EF4-FFF2-40B4-BE49-F238E27FC236}">
                    <a16:creationId xmlns:a16="http://schemas.microsoft.com/office/drawing/2014/main" id="{D660C710-BE6A-465A-B164-DB53036696AD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69" name="Rechte verbindingslijn 117">
                <a:extLst>
                  <a:ext uri="{FF2B5EF4-FFF2-40B4-BE49-F238E27FC236}">
                    <a16:creationId xmlns:a16="http://schemas.microsoft.com/office/drawing/2014/main" id="{199FF578-564E-4F76-86C5-18A8186A92D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70" name="Rechte verbindingslijn 118">
                <a:extLst>
                  <a:ext uri="{FF2B5EF4-FFF2-40B4-BE49-F238E27FC236}">
                    <a16:creationId xmlns:a16="http://schemas.microsoft.com/office/drawing/2014/main" id="{D95BFB2A-126D-4432-BB08-64835042BD53}"/>
                  </a:ext>
                </a:extLst>
              </p:cNvPr>
              <p:cNvCxnSpPr>
                <a:cxnSpLocks/>
                <a:stCxn id="168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grpSp>
          <p:nvGrpSpPr>
            <p:cNvPr id="108" name="Groep 87">
              <a:extLst>
                <a:ext uri="{FF2B5EF4-FFF2-40B4-BE49-F238E27FC236}">
                  <a16:creationId xmlns:a16="http://schemas.microsoft.com/office/drawing/2014/main" id="{C8B0E368-2137-4373-A07E-F78EEEFC3081}"/>
                </a:ext>
              </a:extLst>
            </p:cNvPr>
            <p:cNvGrpSpPr/>
            <p:nvPr userDrawn="1"/>
          </p:nvGrpSpPr>
          <p:grpSpPr>
            <a:xfrm>
              <a:off x="12391601" y="2643684"/>
              <a:ext cx="3183678" cy="2840468"/>
              <a:chOff x="12952763" y="4572241"/>
              <a:chExt cx="3183678" cy="2840468"/>
            </a:xfrm>
          </p:grpSpPr>
          <p:grpSp>
            <p:nvGrpSpPr>
              <p:cNvPr id="109" name="Meer informatie">
                <a:extLst>
                  <a:ext uri="{FF2B5EF4-FFF2-40B4-BE49-F238E27FC236}">
                    <a16:creationId xmlns:a16="http://schemas.microsoft.com/office/drawing/2014/main" id="{6F170A1F-5BBE-4D6B-B212-16AD3ECA86B8}"/>
                  </a:ext>
                </a:extLst>
              </p:cNvPr>
              <p:cNvGrpSpPr/>
              <p:nvPr userDrawn="1"/>
            </p:nvGrpSpPr>
            <p:grpSpPr>
              <a:xfrm>
                <a:off x="12957926" y="6629436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41" name="Freeform 101">
                  <a:extLst>
                    <a:ext uri="{FF2B5EF4-FFF2-40B4-BE49-F238E27FC236}">
                      <a16:creationId xmlns:a16="http://schemas.microsoft.com/office/drawing/2014/main" id="{95EBA78B-B606-4FD5-8049-C1E7269320C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3859" noProof="0"/>
                </a:p>
              </p:txBody>
            </p:sp>
            <p:sp>
              <p:nvSpPr>
                <p:cNvPr id="142" name="Rechthoek 111">
                  <a:extLst>
                    <a:ext uri="{FF2B5EF4-FFF2-40B4-BE49-F238E27FC236}">
                      <a16:creationId xmlns:a16="http://schemas.microsoft.com/office/drawing/2014/main" id="{1CB3772C-015A-4BFE-B8E6-5F060ACFD903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3207489" eaLnBrk="1" fontAlgn="auto" latinLnBrk="0" hangingPunct="1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Meer weten?</a:t>
                  </a:r>
                  <a:b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a naar dia </a:t>
                  </a:r>
                  <a:r>
                    <a:rPr kumimoji="0" lang="nl-NL" sz="3859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´Instructie dia: YouTube links´</a:t>
                  </a: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deze in de diavoorstelling en klik op de gewenste video link.</a:t>
                  </a:r>
                </a:p>
              </p:txBody>
            </p:sp>
            <p:cxnSp>
              <p:nvCxnSpPr>
                <p:cNvPr id="144" name="Rechte verbindingslijn 112">
                  <a:extLst>
                    <a:ext uri="{FF2B5EF4-FFF2-40B4-BE49-F238E27FC236}">
                      <a16:creationId xmlns:a16="http://schemas.microsoft.com/office/drawing/2014/main" id="{2556A137-FBB5-4954-80C0-E17457B99F7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10" name="Rechte verbindingslijn 89">
                <a:extLst>
                  <a:ext uri="{FF2B5EF4-FFF2-40B4-BE49-F238E27FC236}">
                    <a16:creationId xmlns:a16="http://schemas.microsoft.com/office/drawing/2014/main" id="{304B37AD-C96F-4E2B-A93C-A8C3EC49828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958423" y="651155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111" name="Ovaal 90">
                <a:extLst>
                  <a:ext uri="{FF2B5EF4-FFF2-40B4-BE49-F238E27FC236}">
                    <a16:creationId xmlns:a16="http://schemas.microsoft.com/office/drawing/2014/main" id="{D52859B2-5D19-49E3-8411-44D4C4F9315D}"/>
                  </a:ext>
                </a:extLst>
              </p:cNvPr>
              <p:cNvSpPr/>
              <p:nvPr userDrawn="1"/>
            </p:nvSpPr>
            <p:spPr>
              <a:xfrm>
                <a:off x="12952763" y="4690403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320748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12" name="Rechthoek 91">
                <a:extLst>
                  <a:ext uri="{FF2B5EF4-FFF2-40B4-BE49-F238E27FC236}">
                    <a16:creationId xmlns:a16="http://schemas.microsoft.com/office/drawing/2014/main" id="{633610E9-9CB2-4026-86EC-65B330063E77}"/>
                  </a:ext>
                </a:extLst>
              </p:cNvPr>
              <p:cNvSpPr/>
              <p:nvPr userDrawn="1"/>
            </p:nvSpPr>
            <p:spPr>
              <a:xfrm>
                <a:off x="13318445" y="4756466"/>
                <a:ext cx="2817996" cy="887319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Om de afbeelding te schalen of bij te snijden, ga naar de tab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Hulpmiddelen voor afbeeldingen - Opmaak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 en klik op de knop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Bijsnijden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Schaal met de bolletjes de afbeelding en met de hoekjes het afbeeldingskader.</a:t>
                </a:r>
                <a:endPara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13" name="Rechte verbindingslijn 92">
                <a:extLst>
                  <a:ext uri="{FF2B5EF4-FFF2-40B4-BE49-F238E27FC236}">
                    <a16:creationId xmlns:a16="http://schemas.microsoft.com/office/drawing/2014/main" id="{64B6EB9A-BA00-4FAA-A071-9E6EF7010BC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958423" y="457224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114" name="Groep 93">
                <a:extLst>
                  <a:ext uri="{FF2B5EF4-FFF2-40B4-BE49-F238E27FC236}">
                    <a16:creationId xmlns:a16="http://schemas.microsoft.com/office/drawing/2014/main" id="{6F930AD3-DC0F-4159-9382-D873A520C172}"/>
                  </a:ext>
                </a:extLst>
              </p:cNvPr>
              <p:cNvGrpSpPr/>
              <p:nvPr userDrawn="1"/>
            </p:nvGrpSpPr>
            <p:grpSpPr>
              <a:xfrm>
                <a:off x="13257676" y="5773610"/>
                <a:ext cx="514284" cy="612917"/>
                <a:chOff x="12682980" y="3403271"/>
                <a:chExt cx="622284" cy="741637"/>
              </a:xfrm>
            </p:grpSpPr>
            <p:grpSp>
              <p:nvGrpSpPr>
                <p:cNvPr id="115" name="Groep 94">
                  <a:extLst>
                    <a:ext uri="{FF2B5EF4-FFF2-40B4-BE49-F238E27FC236}">
                      <a16:creationId xmlns:a16="http://schemas.microsoft.com/office/drawing/2014/main" id="{853B3095-54E2-4529-8570-1293DA0CC153}"/>
                    </a:ext>
                  </a:extLst>
                </p:cNvPr>
                <p:cNvGrpSpPr/>
                <p:nvPr userDrawn="1"/>
              </p:nvGrpSpPr>
              <p:grpSpPr>
                <a:xfrm>
                  <a:off x="12771568" y="3403271"/>
                  <a:ext cx="467138" cy="448459"/>
                  <a:chOff x="12782195" y="3403271"/>
                  <a:chExt cx="467138" cy="448459"/>
                </a:xfrm>
              </p:grpSpPr>
              <p:grpSp>
                <p:nvGrpSpPr>
                  <p:cNvPr id="118" name="Groep 97">
                    <a:extLst>
                      <a:ext uri="{FF2B5EF4-FFF2-40B4-BE49-F238E27FC236}">
                        <a16:creationId xmlns:a16="http://schemas.microsoft.com/office/drawing/2014/main" id="{19F2E613-C7BE-41DD-BF51-FA96E7D7E00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2782195" y="3403271"/>
                    <a:ext cx="412967" cy="393910"/>
                    <a:chOff x="13554906" y="3320143"/>
                    <a:chExt cx="443906" cy="423422"/>
                  </a:xfrm>
                </p:grpSpPr>
                <p:grpSp>
                  <p:nvGrpSpPr>
                    <p:cNvPr id="134" name="Groep 104">
                      <a:extLst>
                        <a:ext uri="{FF2B5EF4-FFF2-40B4-BE49-F238E27FC236}">
                          <a16:creationId xmlns:a16="http://schemas.microsoft.com/office/drawing/2014/main" id="{52429507-38F3-4E9E-8450-6F5B48C34F0C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3554906" y="3320143"/>
                      <a:ext cx="443906" cy="423422"/>
                      <a:chOff x="12909684" y="1276177"/>
                      <a:chExt cx="443906" cy="423422"/>
                    </a:xfrm>
                  </p:grpSpPr>
                  <p:sp>
                    <p:nvSpPr>
                      <p:cNvPr id="138" name="Rechthoek 107">
                        <a:extLst>
                          <a:ext uri="{FF2B5EF4-FFF2-40B4-BE49-F238E27FC236}">
                            <a16:creationId xmlns:a16="http://schemas.microsoft.com/office/drawing/2014/main" id="{A8E6BCC9-5C76-4A72-9754-82EE294361B1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2918700" y="1285299"/>
                        <a:ext cx="434890" cy="414300"/>
                      </a:xfrm>
                      <a:prstGeom prst="rect">
                        <a:avLst/>
                      </a:prstGeom>
                      <a:noFill/>
                      <a:ln w="12700">
                        <a:solidFill>
                          <a:srgbClr val="818181"/>
                        </a:solidFill>
                        <a:prstDash val="dash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2105"/>
                          </a:spcBef>
                          <a:spcAft>
                            <a:spcPts val="2105"/>
                          </a:spcAft>
                        </a:pPr>
                        <a:endParaRPr lang="nl-NL" sz="2806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139" name="Rechthoek 108">
                        <a:extLst>
                          <a:ext uri="{FF2B5EF4-FFF2-40B4-BE49-F238E27FC236}">
                            <a16:creationId xmlns:a16="http://schemas.microsoft.com/office/drawing/2014/main" id="{9D7B8A50-5B3F-4914-9043-965D6F76CE32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2909684" y="1276177"/>
                        <a:ext cx="261629" cy="257808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12700">
                        <a:solidFill>
                          <a:srgbClr val="81818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2105"/>
                          </a:spcBef>
                          <a:spcAft>
                            <a:spcPts val="2105"/>
                          </a:spcAft>
                        </a:pPr>
                        <a:endParaRPr lang="nl-NL" sz="2806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140" name="Ovaal 109">
                        <a:extLst>
                          <a:ext uri="{FF2B5EF4-FFF2-40B4-BE49-F238E27FC236}">
                            <a16:creationId xmlns:a16="http://schemas.microsoft.com/office/drawing/2014/main" id="{8DDF8ECC-166C-4897-8622-374E97AA8163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3069071" y="1308734"/>
                        <a:ext cx="72187" cy="72188"/>
                      </a:xfrm>
                      <a:prstGeom prst="ellipse">
                        <a:avLst/>
                      </a:prstGeom>
                      <a:solidFill>
                        <a:srgbClr val="ECC679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="horz" wrap="square" lIns="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l"/>
                        <a:endParaRPr lang="nl-NL" sz="3509" b="1" noProof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  <p:pic>
                  <p:nvPicPr>
                    <p:cNvPr id="135" name="Afbeelding 105">
                      <a:extLst>
                        <a:ext uri="{FF2B5EF4-FFF2-40B4-BE49-F238E27FC236}">
                          <a16:creationId xmlns:a16="http://schemas.microsoft.com/office/drawing/2014/main" id="{0F5F8622-2778-4F8C-AC1D-88E1E161214B}"/>
                        </a:ext>
                      </a:extLst>
                    </p:cNvPr>
                    <p:cNvPicPr>
                      <a:picLocks noChangeAspect="1"/>
                    </p:cNvPicPr>
                    <p:nvPr userDrawn="1"/>
                  </p:nvPicPr>
                  <p:blipFill>
                    <a:blip r:embed="rId2" cstate="screen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3567296" y="3424991"/>
                      <a:ext cx="173367" cy="14022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36" name="Afbeelding 106">
                      <a:extLst>
                        <a:ext uri="{FF2B5EF4-FFF2-40B4-BE49-F238E27FC236}">
                          <a16:creationId xmlns:a16="http://schemas.microsoft.com/office/drawing/2014/main" id="{58579FE3-F702-4936-B25F-18EB6AB3B960}"/>
                        </a:ext>
                      </a:extLst>
                    </p:cNvPr>
                    <p:cNvPicPr>
                      <a:picLocks noChangeAspect="1"/>
                    </p:cNvPicPr>
                    <p:nvPr userDrawn="1"/>
                  </p:nvPicPr>
                  <p:blipFill>
                    <a:blip r:embed="rId4" cstate="screen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5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flipH="1">
                      <a:off x="13635598" y="3454393"/>
                      <a:ext cx="173366" cy="111424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119" name="Groep 98">
                    <a:extLst>
                      <a:ext uri="{FF2B5EF4-FFF2-40B4-BE49-F238E27FC236}">
                        <a16:creationId xmlns:a16="http://schemas.microsoft.com/office/drawing/2014/main" id="{5BCE9AD3-A1F5-4676-AE07-6D2867FC0E8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103513" y="3705278"/>
                    <a:ext cx="145820" cy="146452"/>
                    <a:chOff x="13096169" y="3602288"/>
                    <a:chExt cx="145820" cy="146452"/>
                  </a:xfrm>
                </p:grpSpPr>
                <p:sp>
                  <p:nvSpPr>
                    <p:cNvPr id="123" name="Rechthoek 102">
                      <a:extLst>
                        <a:ext uri="{FF2B5EF4-FFF2-40B4-BE49-F238E27FC236}">
                          <a16:creationId xmlns:a16="http://schemas.microsoft.com/office/drawing/2014/main" id="{C66784CF-651F-43D0-BF9C-C7DBF4D112DE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96169" y="360228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33" name="Rechthoek 103">
                      <a:extLst>
                        <a:ext uri="{FF2B5EF4-FFF2-40B4-BE49-F238E27FC236}">
                          <a16:creationId xmlns:a16="http://schemas.microsoft.com/office/drawing/2014/main" id="{65FAB179-32F6-43C5-9722-A5EBEF267DAF}"/>
                        </a:ext>
                      </a:extLst>
                    </p:cNvPr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grpSp>
                <p:nvGrpSpPr>
                  <p:cNvPr id="120" name="Groep 99">
                    <a:extLst>
                      <a:ext uri="{FF2B5EF4-FFF2-40B4-BE49-F238E27FC236}">
                        <a16:creationId xmlns:a16="http://schemas.microsoft.com/office/drawing/2014/main" id="{77D4D063-EAC2-4078-A0EE-2D5AAA880B6C}"/>
                      </a:ext>
                    </a:extLst>
                  </p:cNvPr>
                  <p:cNvGrpSpPr/>
                  <p:nvPr userDrawn="1"/>
                </p:nvGrpSpPr>
                <p:grpSpPr>
                  <a:xfrm rot="10800000">
                    <a:off x="13061402" y="3665668"/>
                    <a:ext cx="145820" cy="146461"/>
                    <a:chOff x="13096169" y="3602248"/>
                    <a:chExt cx="145820" cy="146461"/>
                  </a:xfrm>
                </p:grpSpPr>
                <p:sp>
                  <p:nvSpPr>
                    <p:cNvPr id="121" name="Rechthoek 100">
                      <a:extLst>
                        <a:ext uri="{FF2B5EF4-FFF2-40B4-BE49-F238E27FC236}">
                          <a16:creationId xmlns:a16="http://schemas.microsoft.com/office/drawing/2014/main" id="{C143E68D-5638-4CCB-AC3B-AEEC5571CCB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96169" y="360224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22" name="Rechthoek 101">
                      <a:extLst>
                        <a:ext uri="{FF2B5EF4-FFF2-40B4-BE49-F238E27FC236}">
                          <a16:creationId xmlns:a16="http://schemas.microsoft.com/office/drawing/2014/main" id="{38AAB217-F950-4294-9A14-451F149F0D0E}"/>
                        </a:ext>
                      </a:extLst>
                    </p:cNvPr>
                    <p:cNvSpPr/>
                    <p:nvPr userDrawn="1"/>
                  </p:nvSpPr>
                  <p:spPr>
                    <a:xfrm rot="5400000">
                      <a:off x="13037453" y="3661605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  <p:sp>
              <p:nvSpPr>
                <p:cNvPr id="116" name="Rechthoek 95">
                  <a:extLst>
                    <a:ext uri="{FF2B5EF4-FFF2-40B4-BE49-F238E27FC236}">
                      <a16:creationId xmlns:a16="http://schemas.microsoft.com/office/drawing/2014/main" id="{8B0331BE-413D-4F8C-8037-03308E0C944C}"/>
                    </a:ext>
                  </a:extLst>
                </p:cNvPr>
                <p:cNvSpPr/>
                <p:nvPr userDrawn="1"/>
              </p:nvSpPr>
              <p:spPr>
                <a:xfrm>
                  <a:off x="12682980" y="3889920"/>
                  <a:ext cx="622284" cy="16117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r>
                    <a:rPr lang="nl-NL" sz="3158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Bijsnijden</a:t>
                  </a:r>
                </a:p>
              </p:txBody>
            </p:sp>
            <p:sp>
              <p:nvSpPr>
                <p:cNvPr id="117" name="Gelijkbenige driehoek 96">
                  <a:extLst>
                    <a:ext uri="{FF2B5EF4-FFF2-40B4-BE49-F238E27FC236}">
                      <a16:creationId xmlns:a16="http://schemas.microsoft.com/office/drawing/2014/main" id="{E256B01D-D616-46E5-B171-4AE5BDBE58D2}"/>
                    </a:ext>
                  </a:extLst>
                </p:cNvPr>
                <p:cNvSpPr/>
                <p:nvPr userDrawn="1"/>
              </p:nvSpPr>
              <p:spPr>
                <a:xfrm rot="10800000">
                  <a:off x="12950688" y="4093761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pic>
        <p:nvPicPr>
          <p:cNvPr id="202" name="Afbeelding 201">
            <a:extLst>
              <a:ext uri="{FF2B5EF4-FFF2-40B4-BE49-F238E27FC236}">
                <a16:creationId xmlns:a16="http://schemas.microsoft.com/office/drawing/2014/main" id="{889F0510-046E-4908-9005-B0269FC547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4945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kaders + Uitleg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grpSp>
        <p:nvGrpSpPr>
          <p:cNvPr id="38" name="GRID" hidden="1">
            <a:extLst>
              <a:ext uri="{FF2B5EF4-FFF2-40B4-BE49-F238E27FC236}">
                <a16:creationId xmlns:a16="http://schemas.microsoft.com/office/drawing/2014/main" id="{51D5F7E8-69F8-47AD-81F5-1645C97607C1}"/>
              </a:ext>
            </a:extLst>
          </p:cNvPr>
          <p:cNvGrpSpPr/>
          <p:nvPr userDrawn="1"/>
        </p:nvGrpSpPr>
        <p:grpSpPr>
          <a:xfrm>
            <a:off x="5" y="0"/>
            <a:ext cx="42767261" cy="30275213"/>
            <a:chOff x="0" y="0"/>
            <a:chExt cx="12192003" cy="6858000"/>
          </a:xfrm>
        </p:grpSpPr>
        <p:sp>
          <p:nvSpPr>
            <p:cNvPr id="39" name="Rechthoek 38">
              <a:extLst>
                <a:ext uri="{FF2B5EF4-FFF2-40B4-BE49-F238E27FC236}">
                  <a16:creationId xmlns:a16="http://schemas.microsoft.com/office/drawing/2014/main" id="{71DB2C92-E6A8-4532-98F6-C917E7F5CD17}"/>
                </a:ext>
              </a:extLst>
            </p:cNvPr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0" name="Rechthoek 39">
              <a:extLst>
                <a:ext uri="{FF2B5EF4-FFF2-40B4-BE49-F238E27FC236}">
                  <a16:creationId xmlns:a16="http://schemas.microsoft.com/office/drawing/2014/main" id="{1283F161-5F8A-45E1-A9F2-F823FC1CB0A5}"/>
                </a:ext>
              </a:extLst>
            </p:cNvPr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1" name="Rechthoek 40">
              <a:extLst>
                <a:ext uri="{FF2B5EF4-FFF2-40B4-BE49-F238E27FC236}">
                  <a16:creationId xmlns:a16="http://schemas.microsoft.com/office/drawing/2014/main" id="{E25AE021-76F4-4113-9019-FB3CB3351AD2}"/>
                </a:ext>
              </a:extLst>
            </p:cNvPr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2" name="Rechthoek 41">
              <a:extLst>
                <a:ext uri="{FF2B5EF4-FFF2-40B4-BE49-F238E27FC236}">
                  <a16:creationId xmlns:a16="http://schemas.microsoft.com/office/drawing/2014/main" id="{4F56F574-960D-4395-B98C-5F49ED9EF418}"/>
                </a:ext>
              </a:extLst>
            </p:cNvPr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34E307D0-CCA0-4BDF-BC5F-E19838E9F7DA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4" name="Rechthoek 43">
              <a:extLst>
                <a:ext uri="{FF2B5EF4-FFF2-40B4-BE49-F238E27FC236}">
                  <a16:creationId xmlns:a16="http://schemas.microsoft.com/office/drawing/2014/main" id="{2AEE0B25-FBCC-4048-A2C0-6D97C3E7FEB7}"/>
                </a:ext>
              </a:extLst>
            </p:cNvPr>
            <p:cNvSpPr/>
            <p:nvPr userDrawn="1"/>
          </p:nvSpPr>
          <p:spPr>
            <a:xfrm rot="5400000">
              <a:off x="5895976" y="-108104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endParaRPr lang="nl-NL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endParaRPr lang="nl-NL" noProof="0"/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8"/>
            <a:ext cx="707315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0D7B9878-B8FD-4C53-84A0-30824F06295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33807" y="6316512"/>
            <a:ext cx="26489657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 marL="0" indent="0">
              <a:buNone/>
              <a:defRPr sz="4209"/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7F82B2D1-AD00-49E7-AE45-05F1D50B110A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696819" y="6310559"/>
            <a:ext cx="5345591" cy="3935014"/>
          </a:xfrm>
          <a:custGeom>
            <a:avLst/>
            <a:gdLst>
              <a:gd name="connsiteX0" fmla="*/ 0 w 1525587"/>
              <a:gd name="connsiteY0" fmla="*/ 161658 h 1241425"/>
              <a:gd name="connsiteX1" fmla="*/ 161658 w 1525587"/>
              <a:gd name="connsiteY1" fmla="*/ 0 h 1241425"/>
              <a:gd name="connsiteX2" fmla="*/ 1363929 w 1525587"/>
              <a:gd name="connsiteY2" fmla="*/ 0 h 1241425"/>
              <a:gd name="connsiteX3" fmla="*/ 1525587 w 1525587"/>
              <a:gd name="connsiteY3" fmla="*/ 161658 h 1241425"/>
              <a:gd name="connsiteX4" fmla="*/ 1525587 w 1525587"/>
              <a:gd name="connsiteY4" fmla="*/ 1079767 h 1241425"/>
              <a:gd name="connsiteX5" fmla="*/ 1363929 w 1525587"/>
              <a:gd name="connsiteY5" fmla="*/ 1241425 h 1241425"/>
              <a:gd name="connsiteX6" fmla="*/ 161658 w 1525587"/>
              <a:gd name="connsiteY6" fmla="*/ 1241425 h 1241425"/>
              <a:gd name="connsiteX7" fmla="*/ 0 w 1525587"/>
              <a:gd name="connsiteY7" fmla="*/ 1079767 h 1241425"/>
              <a:gd name="connsiteX8" fmla="*/ 0 w 1525587"/>
              <a:gd name="connsiteY8" fmla="*/ 161658 h 1241425"/>
              <a:gd name="connsiteX0" fmla="*/ 0 w 1525587"/>
              <a:gd name="connsiteY0" fmla="*/ 161658 h 1241425"/>
              <a:gd name="connsiteX1" fmla="*/ 42862 w 1525587"/>
              <a:gd name="connsiteY1" fmla="*/ 48418 h 1241425"/>
              <a:gd name="connsiteX2" fmla="*/ 161658 w 1525587"/>
              <a:gd name="connsiteY2" fmla="*/ 0 h 1241425"/>
              <a:gd name="connsiteX3" fmla="*/ 1363929 w 1525587"/>
              <a:gd name="connsiteY3" fmla="*/ 0 h 1241425"/>
              <a:gd name="connsiteX4" fmla="*/ 1525587 w 1525587"/>
              <a:gd name="connsiteY4" fmla="*/ 161658 h 1241425"/>
              <a:gd name="connsiteX5" fmla="*/ 1525587 w 1525587"/>
              <a:gd name="connsiteY5" fmla="*/ 1079767 h 1241425"/>
              <a:gd name="connsiteX6" fmla="*/ 1363929 w 1525587"/>
              <a:gd name="connsiteY6" fmla="*/ 1241425 h 1241425"/>
              <a:gd name="connsiteX7" fmla="*/ 161658 w 1525587"/>
              <a:gd name="connsiteY7" fmla="*/ 1241425 h 1241425"/>
              <a:gd name="connsiteX8" fmla="*/ 0 w 1525587"/>
              <a:gd name="connsiteY8" fmla="*/ 1079767 h 1241425"/>
              <a:gd name="connsiteX9" fmla="*/ 0 w 1525587"/>
              <a:gd name="connsiteY9" fmla="*/ 161658 h 1241425"/>
              <a:gd name="connsiteX0" fmla="*/ 8672 w 1534259"/>
              <a:gd name="connsiteY0" fmla="*/ 165982 h 1245749"/>
              <a:gd name="connsiteX1" fmla="*/ 11053 w 1534259"/>
              <a:gd name="connsiteY1" fmla="*/ 12261 h 1245749"/>
              <a:gd name="connsiteX2" fmla="*/ 170330 w 1534259"/>
              <a:gd name="connsiteY2" fmla="*/ 4324 h 1245749"/>
              <a:gd name="connsiteX3" fmla="*/ 1372601 w 1534259"/>
              <a:gd name="connsiteY3" fmla="*/ 4324 h 1245749"/>
              <a:gd name="connsiteX4" fmla="*/ 1534259 w 1534259"/>
              <a:gd name="connsiteY4" fmla="*/ 165982 h 1245749"/>
              <a:gd name="connsiteX5" fmla="*/ 1534259 w 1534259"/>
              <a:gd name="connsiteY5" fmla="*/ 1084091 h 1245749"/>
              <a:gd name="connsiteX6" fmla="*/ 1372601 w 1534259"/>
              <a:gd name="connsiteY6" fmla="*/ 1245749 h 1245749"/>
              <a:gd name="connsiteX7" fmla="*/ 170330 w 1534259"/>
              <a:gd name="connsiteY7" fmla="*/ 1245749 h 1245749"/>
              <a:gd name="connsiteX8" fmla="*/ 8672 w 1534259"/>
              <a:gd name="connsiteY8" fmla="*/ 1084091 h 1245749"/>
              <a:gd name="connsiteX9" fmla="*/ 8672 w 1534259"/>
              <a:gd name="connsiteY9" fmla="*/ 165982 h 1245749"/>
              <a:gd name="connsiteX0" fmla="*/ 8672 w 1534259"/>
              <a:gd name="connsiteY0" fmla="*/ 167890 h 1247657"/>
              <a:gd name="connsiteX1" fmla="*/ 11053 w 1534259"/>
              <a:gd name="connsiteY1" fmla="*/ 14169 h 1247657"/>
              <a:gd name="connsiteX2" fmla="*/ 170330 w 1534259"/>
              <a:gd name="connsiteY2" fmla="*/ 6232 h 1247657"/>
              <a:gd name="connsiteX3" fmla="*/ 1372601 w 1534259"/>
              <a:gd name="connsiteY3" fmla="*/ 6232 h 1247657"/>
              <a:gd name="connsiteX4" fmla="*/ 1534259 w 1534259"/>
              <a:gd name="connsiteY4" fmla="*/ 167890 h 1247657"/>
              <a:gd name="connsiteX5" fmla="*/ 1534259 w 1534259"/>
              <a:gd name="connsiteY5" fmla="*/ 1085999 h 1247657"/>
              <a:gd name="connsiteX6" fmla="*/ 1372601 w 1534259"/>
              <a:gd name="connsiteY6" fmla="*/ 1247657 h 1247657"/>
              <a:gd name="connsiteX7" fmla="*/ 170330 w 1534259"/>
              <a:gd name="connsiteY7" fmla="*/ 1247657 h 1247657"/>
              <a:gd name="connsiteX8" fmla="*/ 8672 w 1534259"/>
              <a:gd name="connsiteY8" fmla="*/ 1085999 h 1247657"/>
              <a:gd name="connsiteX9" fmla="*/ 8672 w 1534259"/>
              <a:gd name="connsiteY9" fmla="*/ 167890 h 1247657"/>
              <a:gd name="connsiteX0" fmla="*/ 8672 w 1534259"/>
              <a:gd name="connsiteY0" fmla="*/ 161658 h 1241425"/>
              <a:gd name="connsiteX1" fmla="*/ 11053 w 1534259"/>
              <a:gd name="connsiteY1" fmla="*/ 7937 h 1241425"/>
              <a:gd name="connsiteX2" fmla="*/ 170330 w 1534259"/>
              <a:gd name="connsiteY2" fmla="*/ 0 h 1241425"/>
              <a:gd name="connsiteX3" fmla="*/ 1372601 w 1534259"/>
              <a:gd name="connsiteY3" fmla="*/ 0 h 1241425"/>
              <a:gd name="connsiteX4" fmla="*/ 1534259 w 1534259"/>
              <a:gd name="connsiteY4" fmla="*/ 161658 h 1241425"/>
              <a:gd name="connsiteX5" fmla="*/ 1534259 w 1534259"/>
              <a:gd name="connsiteY5" fmla="*/ 1079767 h 1241425"/>
              <a:gd name="connsiteX6" fmla="*/ 1372601 w 1534259"/>
              <a:gd name="connsiteY6" fmla="*/ 1241425 h 1241425"/>
              <a:gd name="connsiteX7" fmla="*/ 170330 w 1534259"/>
              <a:gd name="connsiteY7" fmla="*/ 1241425 h 1241425"/>
              <a:gd name="connsiteX8" fmla="*/ 8672 w 1534259"/>
              <a:gd name="connsiteY8" fmla="*/ 1079767 h 1241425"/>
              <a:gd name="connsiteX9" fmla="*/ 8672 w 1534259"/>
              <a:gd name="connsiteY9" fmla="*/ 161658 h 124142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3668 h 1243435"/>
              <a:gd name="connsiteX1" fmla="*/ 10644 w 1535715"/>
              <a:gd name="connsiteY1" fmla="*/ 0 h 1243435"/>
              <a:gd name="connsiteX2" fmla="*/ 171786 w 1535715"/>
              <a:gd name="connsiteY2" fmla="*/ 2010 h 1243435"/>
              <a:gd name="connsiteX3" fmla="*/ 1374057 w 1535715"/>
              <a:gd name="connsiteY3" fmla="*/ 2010 h 1243435"/>
              <a:gd name="connsiteX4" fmla="*/ 1535715 w 1535715"/>
              <a:gd name="connsiteY4" fmla="*/ 163668 h 1243435"/>
              <a:gd name="connsiteX5" fmla="*/ 1535715 w 1535715"/>
              <a:gd name="connsiteY5" fmla="*/ 1081777 h 1243435"/>
              <a:gd name="connsiteX6" fmla="*/ 1374057 w 1535715"/>
              <a:gd name="connsiteY6" fmla="*/ 1243435 h 1243435"/>
              <a:gd name="connsiteX7" fmla="*/ 171786 w 1535715"/>
              <a:gd name="connsiteY7" fmla="*/ 1243435 h 1243435"/>
              <a:gd name="connsiteX8" fmla="*/ 10128 w 1535715"/>
              <a:gd name="connsiteY8" fmla="*/ 1081777 h 1243435"/>
              <a:gd name="connsiteX9" fmla="*/ 10128 w 1535715"/>
              <a:gd name="connsiteY9" fmla="*/ 163668 h 124343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1808 w 1537395"/>
              <a:gd name="connsiteY0" fmla="*/ 161803 h 1241570"/>
              <a:gd name="connsiteX1" fmla="*/ 12324 w 1537395"/>
              <a:gd name="connsiteY1" fmla="*/ 0 h 1241570"/>
              <a:gd name="connsiteX2" fmla="*/ 173466 w 1537395"/>
              <a:gd name="connsiteY2" fmla="*/ 145 h 1241570"/>
              <a:gd name="connsiteX3" fmla="*/ 1375737 w 1537395"/>
              <a:gd name="connsiteY3" fmla="*/ 145 h 1241570"/>
              <a:gd name="connsiteX4" fmla="*/ 1537395 w 1537395"/>
              <a:gd name="connsiteY4" fmla="*/ 161803 h 1241570"/>
              <a:gd name="connsiteX5" fmla="*/ 1537395 w 1537395"/>
              <a:gd name="connsiteY5" fmla="*/ 1079912 h 1241570"/>
              <a:gd name="connsiteX6" fmla="*/ 1375737 w 1537395"/>
              <a:gd name="connsiteY6" fmla="*/ 1241570 h 1241570"/>
              <a:gd name="connsiteX7" fmla="*/ 173466 w 1537395"/>
              <a:gd name="connsiteY7" fmla="*/ 1241570 h 1241570"/>
              <a:gd name="connsiteX8" fmla="*/ 11808 w 1537395"/>
              <a:gd name="connsiteY8" fmla="*/ 1079912 h 1241570"/>
              <a:gd name="connsiteX9" fmla="*/ 11808 w 1537395"/>
              <a:gd name="connsiteY9" fmla="*/ 161803 h 1241570"/>
              <a:gd name="connsiteX0" fmla="*/ 346 w 1525933"/>
              <a:gd name="connsiteY0" fmla="*/ 161803 h 1241570"/>
              <a:gd name="connsiteX1" fmla="*/ 862 w 1525933"/>
              <a:gd name="connsiteY1" fmla="*/ 0 h 1241570"/>
              <a:gd name="connsiteX2" fmla="*/ 162004 w 1525933"/>
              <a:gd name="connsiteY2" fmla="*/ 145 h 1241570"/>
              <a:gd name="connsiteX3" fmla="*/ 1364275 w 1525933"/>
              <a:gd name="connsiteY3" fmla="*/ 145 h 1241570"/>
              <a:gd name="connsiteX4" fmla="*/ 1525933 w 1525933"/>
              <a:gd name="connsiteY4" fmla="*/ 161803 h 1241570"/>
              <a:gd name="connsiteX5" fmla="*/ 1525933 w 1525933"/>
              <a:gd name="connsiteY5" fmla="*/ 1079912 h 1241570"/>
              <a:gd name="connsiteX6" fmla="*/ 1364275 w 1525933"/>
              <a:gd name="connsiteY6" fmla="*/ 1241570 h 1241570"/>
              <a:gd name="connsiteX7" fmla="*/ 162004 w 1525933"/>
              <a:gd name="connsiteY7" fmla="*/ 1241570 h 1241570"/>
              <a:gd name="connsiteX8" fmla="*/ 346 w 1525933"/>
              <a:gd name="connsiteY8" fmla="*/ 1079912 h 1241570"/>
              <a:gd name="connsiteX9" fmla="*/ 346 w 1525933"/>
              <a:gd name="connsiteY9" fmla="*/ 161803 h 1241570"/>
              <a:gd name="connsiteX0" fmla="*/ 872 w 1526459"/>
              <a:gd name="connsiteY0" fmla="*/ 161803 h 1241570"/>
              <a:gd name="connsiteX1" fmla="*/ 1388 w 1526459"/>
              <a:gd name="connsiteY1" fmla="*/ 0 h 1241570"/>
              <a:gd name="connsiteX2" fmla="*/ 162530 w 1526459"/>
              <a:gd name="connsiteY2" fmla="*/ 145 h 1241570"/>
              <a:gd name="connsiteX3" fmla="*/ 1364801 w 1526459"/>
              <a:gd name="connsiteY3" fmla="*/ 145 h 1241570"/>
              <a:gd name="connsiteX4" fmla="*/ 1526459 w 1526459"/>
              <a:gd name="connsiteY4" fmla="*/ 161803 h 1241570"/>
              <a:gd name="connsiteX5" fmla="*/ 1526459 w 1526459"/>
              <a:gd name="connsiteY5" fmla="*/ 1079912 h 1241570"/>
              <a:gd name="connsiteX6" fmla="*/ 1364801 w 1526459"/>
              <a:gd name="connsiteY6" fmla="*/ 1241570 h 1241570"/>
              <a:gd name="connsiteX7" fmla="*/ 162530 w 1526459"/>
              <a:gd name="connsiteY7" fmla="*/ 1241570 h 1241570"/>
              <a:gd name="connsiteX8" fmla="*/ 872 w 1526459"/>
              <a:gd name="connsiteY8" fmla="*/ 1079912 h 1241570"/>
              <a:gd name="connsiteX9" fmla="*/ 872 w 1526459"/>
              <a:gd name="connsiteY9" fmla="*/ 161803 h 1241570"/>
              <a:gd name="connsiteX0" fmla="*/ 470 w 1526057"/>
              <a:gd name="connsiteY0" fmla="*/ 161803 h 1241570"/>
              <a:gd name="connsiteX1" fmla="*/ 986 w 1526057"/>
              <a:gd name="connsiteY1" fmla="*/ 0 h 1241570"/>
              <a:gd name="connsiteX2" fmla="*/ 162128 w 1526057"/>
              <a:gd name="connsiteY2" fmla="*/ 145 h 1241570"/>
              <a:gd name="connsiteX3" fmla="*/ 1364399 w 1526057"/>
              <a:gd name="connsiteY3" fmla="*/ 145 h 1241570"/>
              <a:gd name="connsiteX4" fmla="*/ 1526057 w 1526057"/>
              <a:gd name="connsiteY4" fmla="*/ 161803 h 1241570"/>
              <a:gd name="connsiteX5" fmla="*/ 1526057 w 1526057"/>
              <a:gd name="connsiteY5" fmla="*/ 1079912 h 1241570"/>
              <a:gd name="connsiteX6" fmla="*/ 1364399 w 1526057"/>
              <a:gd name="connsiteY6" fmla="*/ 1241570 h 1241570"/>
              <a:gd name="connsiteX7" fmla="*/ 162128 w 1526057"/>
              <a:gd name="connsiteY7" fmla="*/ 1241570 h 1241570"/>
              <a:gd name="connsiteX8" fmla="*/ 470 w 1526057"/>
              <a:gd name="connsiteY8" fmla="*/ 1079912 h 1241570"/>
              <a:gd name="connsiteX9" fmla="*/ 470 w 1526057"/>
              <a:gd name="connsiteY9" fmla="*/ 161803 h 1241570"/>
              <a:gd name="connsiteX0" fmla="*/ 649 w 1526236"/>
              <a:gd name="connsiteY0" fmla="*/ 161803 h 1241570"/>
              <a:gd name="connsiteX1" fmla="*/ 1165 w 1526236"/>
              <a:gd name="connsiteY1" fmla="*/ 0 h 1241570"/>
              <a:gd name="connsiteX2" fmla="*/ 162307 w 1526236"/>
              <a:gd name="connsiteY2" fmla="*/ 145 h 1241570"/>
              <a:gd name="connsiteX3" fmla="*/ 1364578 w 1526236"/>
              <a:gd name="connsiteY3" fmla="*/ 145 h 1241570"/>
              <a:gd name="connsiteX4" fmla="*/ 1526236 w 1526236"/>
              <a:gd name="connsiteY4" fmla="*/ 161803 h 1241570"/>
              <a:gd name="connsiteX5" fmla="*/ 1526236 w 1526236"/>
              <a:gd name="connsiteY5" fmla="*/ 1079912 h 1241570"/>
              <a:gd name="connsiteX6" fmla="*/ 1364578 w 1526236"/>
              <a:gd name="connsiteY6" fmla="*/ 1241570 h 1241570"/>
              <a:gd name="connsiteX7" fmla="*/ 162307 w 1526236"/>
              <a:gd name="connsiteY7" fmla="*/ 1241570 h 1241570"/>
              <a:gd name="connsiteX8" fmla="*/ 649 w 1526236"/>
              <a:gd name="connsiteY8" fmla="*/ 1079912 h 1241570"/>
              <a:gd name="connsiteX9" fmla="*/ 649 w 1526236"/>
              <a:gd name="connsiteY9" fmla="*/ 161803 h 1241570"/>
              <a:gd name="connsiteX0" fmla="*/ 268 w 1525855"/>
              <a:gd name="connsiteY0" fmla="*/ 161803 h 1241570"/>
              <a:gd name="connsiteX1" fmla="*/ 784 w 1525855"/>
              <a:gd name="connsiteY1" fmla="*/ 0 h 1241570"/>
              <a:gd name="connsiteX2" fmla="*/ 161926 w 1525855"/>
              <a:gd name="connsiteY2" fmla="*/ 145 h 1241570"/>
              <a:gd name="connsiteX3" fmla="*/ 1364197 w 1525855"/>
              <a:gd name="connsiteY3" fmla="*/ 145 h 1241570"/>
              <a:gd name="connsiteX4" fmla="*/ 1525855 w 1525855"/>
              <a:gd name="connsiteY4" fmla="*/ 161803 h 1241570"/>
              <a:gd name="connsiteX5" fmla="*/ 1525855 w 1525855"/>
              <a:gd name="connsiteY5" fmla="*/ 1079912 h 1241570"/>
              <a:gd name="connsiteX6" fmla="*/ 1364197 w 1525855"/>
              <a:gd name="connsiteY6" fmla="*/ 1241570 h 1241570"/>
              <a:gd name="connsiteX7" fmla="*/ 161926 w 1525855"/>
              <a:gd name="connsiteY7" fmla="*/ 1241570 h 1241570"/>
              <a:gd name="connsiteX8" fmla="*/ 268 w 1525855"/>
              <a:gd name="connsiteY8" fmla="*/ 1079912 h 1241570"/>
              <a:gd name="connsiteX9" fmla="*/ 268 w 1525855"/>
              <a:gd name="connsiteY9" fmla="*/ 161803 h 1241570"/>
              <a:gd name="connsiteX0" fmla="*/ 359 w 1525946"/>
              <a:gd name="connsiteY0" fmla="*/ 161803 h 1241570"/>
              <a:gd name="connsiteX1" fmla="*/ 253 w 1525946"/>
              <a:gd name="connsiteY1" fmla="*/ 0 h 1241570"/>
              <a:gd name="connsiteX2" fmla="*/ 162017 w 1525946"/>
              <a:gd name="connsiteY2" fmla="*/ 145 h 1241570"/>
              <a:gd name="connsiteX3" fmla="*/ 1364288 w 1525946"/>
              <a:gd name="connsiteY3" fmla="*/ 145 h 1241570"/>
              <a:gd name="connsiteX4" fmla="*/ 1525946 w 1525946"/>
              <a:gd name="connsiteY4" fmla="*/ 161803 h 1241570"/>
              <a:gd name="connsiteX5" fmla="*/ 1525946 w 1525946"/>
              <a:gd name="connsiteY5" fmla="*/ 1079912 h 1241570"/>
              <a:gd name="connsiteX6" fmla="*/ 1364288 w 1525946"/>
              <a:gd name="connsiteY6" fmla="*/ 1241570 h 1241570"/>
              <a:gd name="connsiteX7" fmla="*/ 162017 w 1525946"/>
              <a:gd name="connsiteY7" fmla="*/ 1241570 h 1241570"/>
              <a:gd name="connsiteX8" fmla="*/ 359 w 1525946"/>
              <a:gd name="connsiteY8" fmla="*/ 1079912 h 1241570"/>
              <a:gd name="connsiteX9" fmla="*/ 359 w 1525946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364035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414898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414898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414898 w 1525693"/>
              <a:gd name="connsiteY6" fmla="*/ 1232717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  <a:gd name="connsiteX0" fmla="*/ 106 w 1525718"/>
              <a:gd name="connsiteY0" fmla="*/ 161803 h 1241570"/>
              <a:gd name="connsiteX1" fmla="*/ 0 w 1525718"/>
              <a:gd name="connsiteY1" fmla="*/ 0 h 1241570"/>
              <a:gd name="connsiteX2" fmla="*/ 161764 w 1525718"/>
              <a:gd name="connsiteY2" fmla="*/ 145 h 1241570"/>
              <a:gd name="connsiteX3" fmla="*/ 1414898 w 1525718"/>
              <a:gd name="connsiteY3" fmla="*/ 145 h 1241570"/>
              <a:gd name="connsiteX4" fmla="*/ 1525693 w 1525718"/>
              <a:gd name="connsiteY4" fmla="*/ 161803 h 1241570"/>
              <a:gd name="connsiteX5" fmla="*/ 1525693 w 1525718"/>
              <a:gd name="connsiteY5" fmla="*/ 1079912 h 1241570"/>
              <a:gd name="connsiteX6" fmla="*/ 1440330 w 1525718"/>
              <a:gd name="connsiteY6" fmla="*/ 1232717 h 1241570"/>
              <a:gd name="connsiteX7" fmla="*/ 161764 w 1525718"/>
              <a:gd name="connsiteY7" fmla="*/ 1241570 h 1241570"/>
              <a:gd name="connsiteX8" fmla="*/ 106 w 1525718"/>
              <a:gd name="connsiteY8" fmla="*/ 1079912 h 1241570"/>
              <a:gd name="connsiteX9" fmla="*/ 106 w 1525718"/>
              <a:gd name="connsiteY9" fmla="*/ 161803 h 1241570"/>
              <a:gd name="connsiteX0" fmla="*/ 106 w 1525718"/>
              <a:gd name="connsiteY0" fmla="*/ 161803 h 1241570"/>
              <a:gd name="connsiteX1" fmla="*/ 0 w 1525718"/>
              <a:gd name="connsiteY1" fmla="*/ 0 h 1241570"/>
              <a:gd name="connsiteX2" fmla="*/ 161764 w 1525718"/>
              <a:gd name="connsiteY2" fmla="*/ 145 h 1241570"/>
              <a:gd name="connsiteX3" fmla="*/ 1414898 w 1525718"/>
              <a:gd name="connsiteY3" fmla="*/ 145 h 1241570"/>
              <a:gd name="connsiteX4" fmla="*/ 1525693 w 1525718"/>
              <a:gd name="connsiteY4" fmla="*/ 161803 h 1241570"/>
              <a:gd name="connsiteX5" fmla="*/ 1525693 w 1525718"/>
              <a:gd name="connsiteY5" fmla="*/ 1079912 h 1241570"/>
              <a:gd name="connsiteX6" fmla="*/ 1440330 w 1525718"/>
              <a:gd name="connsiteY6" fmla="*/ 1239358 h 1241570"/>
              <a:gd name="connsiteX7" fmla="*/ 161764 w 1525718"/>
              <a:gd name="connsiteY7" fmla="*/ 1241570 h 1241570"/>
              <a:gd name="connsiteX8" fmla="*/ 106 w 1525718"/>
              <a:gd name="connsiteY8" fmla="*/ 1079912 h 1241570"/>
              <a:gd name="connsiteX9" fmla="*/ 106 w 1525718"/>
              <a:gd name="connsiteY9" fmla="*/ 161803 h 1241570"/>
              <a:gd name="connsiteX0" fmla="*/ 106 w 1525718"/>
              <a:gd name="connsiteY0" fmla="*/ 161803 h 1241570"/>
              <a:gd name="connsiteX1" fmla="*/ 0 w 1525718"/>
              <a:gd name="connsiteY1" fmla="*/ 0 h 1241570"/>
              <a:gd name="connsiteX2" fmla="*/ 161764 w 1525718"/>
              <a:gd name="connsiteY2" fmla="*/ 145 h 1241570"/>
              <a:gd name="connsiteX3" fmla="*/ 1414898 w 1525718"/>
              <a:gd name="connsiteY3" fmla="*/ 145 h 1241570"/>
              <a:gd name="connsiteX4" fmla="*/ 1525693 w 1525718"/>
              <a:gd name="connsiteY4" fmla="*/ 161803 h 1241570"/>
              <a:gd name="connsiteX5" fmla="*/ 1525693 w 1525718"/>
              <a:gd name="connsiteY5" fmla="*/ 1079912 h 1241570"/>
              <a:gd name="connsiteX6" fmla="*/ 1440330 w 1525718"/>
              <a:gd name="connsiteY6" fmla="*/ 1232717 h 1241570"/>
              <a:gd name="connsiteX7" fmla="*/ 161764 w 1525718"/>
              <a:gd name="connsiteY7" fmla="*/ 1241570 h 1241570"/>
              <a:gd name="connsiteX8" fmla="*/ 106 w 1525718"/>
              <a:gd name="connsiteY8" fmla="*/ 1079912 h 1241570"/>
              <a:gd name="connsiteX9" fmla="*/ 106 w 1525718"/>
              <a:gd name="connsiteY9" fmla="*/ 161803 h 1241570"/>
              <a:gd name="connsiteX0" fmla="*/ 106 w 1525718"/>
              <a:gd name="connsiteY0" fmla="*/ 161803 h 1241570"/>
              <a:gd name="connsiteX1" fmla="*/ 0 w 1525718"/>
              <a:gd name="connsiteY1" fmla="*/ 0 h 1241570"/>
              <a:gd name="connsiteX2" fmla="*/ 161764 w 1525718"/>
              <a:gd name="connsiteY2" fmla="*/ 145 h 1241570"/>
              <a:gd name="connsiteX3" fmla="*/ 1414898 w 1525718"/>
              <a:gd name="connsiteY3" fmla="*/ 145 h 1241570"/>
              <a:gd name="connsiteX4" fmla="*/ 1525693 w 1525718"/>
              <a:gd name="connsiteY4" fmla="*/ 161803 h 1241570"/>
              <a:gd name="connsiteX5" fmla="*/ 1525693 w 1525718"/>
              <a:gd name="connsiteY5" fmla="*/ 1079912 h 1241570"/>
              <a:gd name="connsiteX6" fmla="*/ 1440330 w 1525718"/>
              <a:gd name="connsiteY6" fmla="*/ 1232717 h 1241570"/>
              <a:gd name="connsiteX7" fmla="*/ 161764 w 1525718"/>
              <a:gd name="connsiteY7" fmla="*/ 1241570 h 1241570"/>
              <a:gd name="connsiteX8" fmla="*/ 106 w 1525718"/>
              <a:gd name="connsiteY8" fmla="*/ 1079912 h 1241570"/>
              <a:gd name="connsiteX9" fmla="*/ 106 w 1525718"/>
              <a:gd name="connsiteY9" fmla="*/ 161803 h 1241570"/>
              <a:gd name="connsiteX0" fmla="*/ 106 w 1525718"/>
              <a:gd name="connsiteY0" fmla="*/ 161803 h 1241570"/>
              <a:gd name="connsiteX1" fmla="*/ 0 w 1525718"/>
              <a:gd name="connsiteY1" fmla="*/ 0 h 1241570"/>
              <a:gd name="connsiteX2" fmla="*/ 161764 w 1525718"/>
              <a:gd name="connsiteY2" fmla="*/ 145 h 1241570"/>
              <a:gd name="connsiteX3" fmla="*/ 1414898 w 1525718"/>
              <a:gd name="connsiteY3" fmla="*/ 145 h 1241570"/>
              <a:gd name="connsiteX4" fmla="*/ 1525693 w 1525718"/>
              <a:gd name="connsiteY4" fmla="*/ 161803 h 1241570"/>
              <a:gd name="connsiteX5" fmla="*/ 1525693 w 1525718"/>
              <a:gd name="connsiteY5" fmla="*/ 1079912 h 1241570"/>
              <a:gd name="connsiteX6" fmla="*/ 1440330 w 1525718"/>
              <a:gd name="connsiteY6" fmla="*/ 1239358 h 1241570"/>
              <a:gd name="connsiteX7" fmla="*/ 161764 w 1525718"/>
              <a:gd name="connsiteY7" fmla="*/ 1241570 h 1241570"/>
              <a:gd name="connsiteX8" fmla="*/ 106 w 1525718"/>
              <a:gd name="connsiteY8" fmla="*/ 1079912 h 1241570"/>
              <a:gd name="connsiteX9" fmla="*/ 106 w 1525718"/>
              <a:gd name="connsiteY9" fmla="*/ 161803 h 1241570"/>
              <a:gd name="connsiteX0" fmla="*/ 106 w 1525718"/>
              <a:gd name="connsiteY0" fmla="*/ 161803 h 1241570"/>
              <a:gd name="connsiteX1" fmla="*/ 0 w 1525718"/>
              <a:gd name="connsiteY1" fmla="*/ 0 h 1241570"/>
              <a:gd name="connsiteX2" fmla="*/ 161764 w 1525718"/>
              <a:gd name="connsiteY2" fmla="*/ 145 h 1241570"/>
              <a:gd name="connsiteX3" fmla="*/ 1414898 w 1525718"/>
              <a:gd name="connsiteY3" fmla="*/ 145 h 1241570"/>
              <a:gd name="connsiteX4" fmla="*/ 1525693 w 1525718"/>
              <a:gd name="connsiteY4" fmla="*/ 161803 h 1241570"/>
              <a:gd name="connsiteX5" fmla="*/ 1525693 w 1525718"/>
              <a:gd name="connsiteY5" fmla="*/ 1079912 h 1241570"/>
              <a:gd name="connsiteX6" fmla="*/ 1440330 w 1525718"/>
              <a:gd name="connsiteY6" fmla="*/ 1229398 h 1241570"/>
              <a:gd name="connsiteX7" fmla="*/ 161764 w 1525718"/>
              <a:gd name="connsiteY7" fmla="*/ 1241570 h 1241570"/>
              <a:gd name="connsiteX8" fmla="*/ 106 w 1525718"/>
              <a:gd name="connsiteY8" fmla="*/ 1079912 h 1241570"/>
              <a:gd name="connsiteX9" fmla="*/ 106 w 1525718"/>
              <a:gd name="connsiteY9" fmla="*/ 161803 h 1241570"/>
              <a:gd name="connsiteX0" fmla="*/ 106 w 1525789"/>
              <a:gd name="connsiteY0" fmla="*/ 161803 h 1249317"/>
              <a:gd name="connsiteX1" fmla="*/ 0 w 1525789"/>
              <a:gd name="connsiteY1" fmla="*/ 0 h 1249317"/>
              <a:gd name="connsiteX2" fmla="*/ 161764 w 1525789"/>
              <a:gd name="connsiteY2" fmla="*/ 145 h 1249317"/>
              <a:gd name="connsiteX3" fmla="*/ 1414898 w 1525789"/>
              <a:gd name="connsiteY3" fmla="*/ 145 h 1249317"/>
              <a:gd name="connsiteX4" fmla="*/ 1525693 w 1525789"/>
              <a:gd name="connsiteY4" fmla="*/ 161803 h 1249317"/>
              <a:gd name="connsiteX5" fmla="*/ 1525693 w 1525789"/>
              <a:gd name="connsiteY5" fmla="*/ 1079912 h 1249317"/>
              <a:gd name="connsiteX6" fmla="*/ 1442714 w 1525789"/>
              <a:gd name="connsiteY6" fmla="*/ 1249317 h 1249317"/>
              <a:gd name="connsiteX7" fmla="*/ 161764 w 1525789"/>
              <a:gd name="connsiteY7" fmla="*/ 1241570 h 1249317"/>
              <a:gd name="connsiteX8" fmla="*/ 106 w 1525789"/>
              <a:gd name="connsiteY8" fmla="*/ 1079912 h 1249317"/>
              <a:gd name="connsiteX9" fmla="*/ 106 w 1525789"/>
              <a:gd name="connsiteY9" fmla="*/ 161803 h 1249317"/>
              <a:gd name="connsiteX0" fmla="*/ 106 w 1525789"/>
              <a:gd name="connsiteY0" fmla="*/ 161803 h 1242677"/>
              <a:gd name="connsiteX1" fmla="*/ 0 w 1525789"/>
              <a:gd name="connsiteY1" fmla="*/ 0 h 1242677"/>
              <a:gd name="connsiteX2" fmla="*/ 161764 w 1525789"/>
              <a:gd name="connsiteY2" fmla="*/ 145 h 1242677"/>
              <a:gd name="connsiteX3" fmla="*/ 1414898 w 1525789"/>
              <a:gd name="connsiteY3" fmla="*/ 145 h 1242677"/>
              <a:gd name="connsiteX4" fmla="*/ 1525693 w 1525789"/>
              <a:gd name="connsiteY4" fmla="*/ 161803 h 1242677"/>
              <a:gd name="connsiteX5" fmla="*/ 1525693 w 1525789"/>
              <a:gd name="connsiteY5" fmla="*/ 1079912 h 1242677"/>
              <a:gd name="connsiteX6" fmla="*/ 1442714 w 1525789"/>
              <a:gd name="connsiteY6" fmla="*/ 1242677 h 1242677"/>
              <a:gd name="connsiteX7" fmla="*/ 161764 w 1525789"/>
              <a:gd name="connsiteY7" fmla="*/ 1241570 h 1242677"/>
              <a:gd name="connsiteX8" fmla="*/ 106 w 1525789"/>
              <a:gd name="connsiteY8" fmla="*/ 1079912 h 1242677"/>
              <a:gd name="connsiteX9" fmla="*/ 106 w 1525789"/>
              <a:gd name="connsiteY9" fmla="*/ 161803 h 1242677"/>
              <a:gd name="connsiteX0" fmla="*/ 106 w 1525789"/>
              <a:gd name="connsiteY0" fmla="*/ 161803 h 1242677"/>
              <a:gd name="connsiteX1" fmla="*/ 0 w 1525789"/>
              <a:gd name="connsiteY1" fmla="*/ 0 h 1242677"/>
              <a:gd name="connsiteX2" fmla="*/ 161764 w 1525789"/>
              <a:gd name="connsiteY2" fmla="*/ 145 h 1242677"/>
              <a:gd name="connsiteX3" fmla="*/ 1414898 w 1525789"/>
              <a:gd name="connsiteY3" fmla="*/ 145 h 1242677"/>
              <a:gd name="connsiteX4" fmla="*/ 1525693 w 1525789"/>
              <a:gd name="connsiteY4" fmla="*/ 161803 h 1242677"/>
              <a:gd name="connsiteX5" fmla="*/ 1525693 w 1525789"/>
              <a:gd name="connsiteY5" fmla="*/ 1079912 h 1242677"/>
              <a:gd name="connsiteX6" fmla="*/ 1442714 w 1525789"/>
              <a:gd name="connsiteY6" fmla="*/ 1242677 h 1242677"/>
              <a:gd name="connsiteX7" fmla="*/ 130769 w 1525789"/>
              <a:gd name="connsiteY7" fmla="*/ 1241570 h 1242677"/>
              <a:gd name="connsiteX8" fmla="*/ 106 w 1525789"/>
              <a:gd name="connsiteY8" fmla="*/ 1079912 h 1242677"/>
              <a:gd name="connsiteX9" fmla="*/ 106 w 1525789"/>
              <a:gd name="connsiteY9" fmla="*/ 161803 h 1242677"/>
              <a:gd name="connsiteX0" fmla="*/ 106 w 1525789"/>
              <a:gd name="connsiteY0" fmla="*/ 161803 h 1242677"/>
              <a:gd name="connsiteX1" fmla="*/ 0 w 1525789"/>
              <a:gd name="connsiteY1" fmla="*/ 0 h 1242677"/>
              <a:gd name="connsiteX2" fmla="*/ 161764 w 1525789"/>
              <a:gd name="connsiteY2" fmla="*/ 145 h 1242677"/>
              <a:gd name="connsiteX3" fmla="*/ 1414898 w 1525789"/>
              <a:gd name="connsiteY3" fmla="*/ 145 h 1242677"/>
              <a:gd name="connsiteX4" fmla="*/ 1525693 w 1525789"/>
              <a:gd name="connsiteY4" fmla="*/ 161803 h 1242677"/>
              <a:gd name="connsiteX5" fmla="*/ 1525693 w 1525789"/>
              <a:gd name="connsiteY5" fmla="*/ 1079912 h 1242677"/>
              <a:gd name="connsiteX6" fmla="*/ 1442714 w 1525789"/>
              <a:gd name="connsiteY6" fmla="*/ 1242677 h 1242677"/>
              <a:gd name="connsiteX7" fmla="*/ 118848 w 1525789"/>
              <a:gd name="connsiteY7" fmla="*/ 1241570 h 1242677"/>
              <a:gd name="connsiteX8" fmla="*/ 106 w 1525789"/>
              <a:gd name="connsiteY8" fmla="*/ 1079912 h 1242677"/>
              <a:gd name="connsiteX9" fmla="*/ 106 w 1525789"/>
              <a:gd name="connsiteY9" fmla="*/ 161803 h 1242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25789" h="1242677">
                <a:moveTo>
                  <a:pt x="106" y="161803"/>
                </a:moveTo>
                <a:cubicBezTo>
                  <a:pt x="-210" y="159620"/>
                  <a:pt x="409" y="7672"/>
                  <a:pt x="0" y="0"/>
                </a:cubicBezTo>
                <a:cubicBezTo>
                  <a:pt x="6219" y="388"/>
                  <a:pt x="110655" y="450"/>
                  <a:pt x="161764" y="145"/>
                </a:cubicBezTo>
                <a:lnTo>
                  <a:pt x="1414898" y="145"/>
                </a:lnTo>
                <a:cubicBezTo>
                  <a:pt x="1504179" y="145"/>
                  <a:pt x="1525693" y="72522"/>
                  <a:pt x="1525693" y="161803"/>
                </a:cubicBezTo>
                <a:lnTo>
                  <a:pt x="1525693" y="1079912"/>
                </a:lnTo>
                <a:cubicBezTo>
                  <a:pt x="1525693" y="1169193"/>
                  <a:pt x="1531995" y="1242677"/>
                  <a:pt x="1442714" y="1242677"/>
                </a:cubicBezTo>
                <a:lnTo>
                  <a:pt x="118848" y="1241570"/>
                </a:lnTo>
                <a:cubicBezTo>
                  <a:pt x="29567" y="1241570"/>
                  <a:pt x="106" y="1169193"/>
                  <a:pt x="106" y="1079912"/>
                </a:cubicBezTo>
                <a:lnTo>
                  <a:pt x="106" y="1618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144000" anchor="b"/>
          <a:lstStyle>
            <a:lvl1pPr marL="0" indent="0" algn="ctr">
              <a:buNone/>
              <a:defRPr sz="2806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nl-NL" noProof="0"/>
          </a:p>
        </p:txBody>
      </p:sp>
      <p:sp>
        <p:nvSpPr>
          <p:cNvPr id="31" name="Tijdelijke aanduiding voor afbeelding 6">
            <a:extLst>
              <a:ext uri="{FF2B5EF4-FFF2-40B4-BE49-F238E27FC236}">
                <a16:creationId xmlns:a16="http://schemas.microsoft.com/office/drawing/2014/main" id="{6EAA7FFB-E40E-4744-8AF0-0E4BEE5C22A0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1696814" y="11466943"/>
            <a:ext cx="5345254" cy="3931509"/>
          </a:xfrm>
          <a:custGeom>
            <a:avLst/>
            <a:gdLst>
              <a:gd name="connsiteX0" fmla="*/ 0 w 1525587"/>
              <a:gd name="connsiteY0" fmla="*/ 161658 h 1241425"/>
              <a:gd name="connsiteX1" fmla="*/ 161658 w 1525587"/>
              <a:gd name="connsiteY1" fmla="*/ 0 h 1241425"/>
              <a:gd name="connsiteX2" fmla="*/ 1363929 w 1525587"/>
              <a:gd name="connsiteY2" fmla="*/ 0 h 1241425"/>
              <a:gd name="connsiteX3" fmla="*/ 1525587 w 1525587"/>
              <a:gd name="connsiteY3" fmla="*/ 161658 h 1241425"/>
              <a:gd name="connsiteX4" fmla="*/ 1525587 w 1525587"/>
              <a:gd name="connsiteY4" fmla="*/ 1079767 h 1241425"/>
              <a:gd name="connsiteX5" fmla="*/ 1363929 w 1525587"/>
              <a:gd name="connsiteY5" fmla="*/ 1241425 h 1241425"/>
              <a:gd name="connsiteX6" fmla="*/ 161658 w 1525587"/>
              <a:gd name="connsiteY6" fmla="*/ 1241425 h 1241425"/>
              <a:gd name="connsiteX7" fmla="*/ 0 w 1525587"/>
              <a:gd name="connsiteY7" fmla="*/ 1079767 h 1241425"/>
              <a:gd name="connsiteX8" fmla="*/ 0 w 1525587"/>
              <a:gd name="connsiteY8" fmla="*/ 161658 h 1241425"/>
              <a:gd name="connsiteX0" fmla="*/ 0 w 1525587"/>
              <a:gd name="connsiteY0" fmla="*/ 161658 h 1241425"/>
              <a:gd name="connsiteX1" fmla="*/ 42862 w 1525587"/>
              <a:gd name="connsiteY1" fmla="*/ 48418 h 1241425"/>
              <a:gd name="connsiteX2" fmla="*/ 161658 w 1525587"/>
              <a:gd name="connsiteY2" fmla="*/ 0 h 1241425"/>
              <a:gd name="connsiteX3" fmla="*/ 1363929 w 1525587"/>
              <a:gd name="connsiteY3" fmla="*/ 0 h 1241425"/>
              <a:gd name="connsiteX4" fmla="*/ 1525587 w 1525587"/>
              <a:gd name="connsiteY4" fmla="*/ 161658 h 1241425"/>
              <a:gd name="connsiteX5" fmla="*/ 1525587 w 1525587"/>
              <a:gd name="connsiteY5" fmla="*/ 1079767 h 1241425"/>
              <a:gd name="connsiteX6" fmla="*/ 1363929 w 1525587"/>
              <a:gd name="connsiteY6" fmla="*/ 1241425 h 1241425"/>
              <a:gd name="connsiteX7" fmla="*/ 161658 w 1525587"/>
              <a:gd name="connsiteY7" fmla="*/ 1241425 h 1241425"/>
              <a:gd name="connsiteX8" fmla="*/ 0 w 1525587"/>
              <a:gd name="connsiteY8" fmla="*/ 1079767 h 1241425"/>
              <a:gd name="connsiteX9" fmla="*/ 0 w 1525587"/>
              <a:gd name="connsiteY9" fmla="*/ 161658 h 1241425"/>
              <a:gd name="connsiteX0" fmla="*/ 8672 w 1534259"/>
              <a:gd name="connsiteY0" fmla="*/ 165982 h 1245749"/>
              <a:gd name="connsiteX1" fmla="*/ 11053 w 1534259"/>
              <a:gd name="connsiteY1" fmla="*/ 12261 h 1245749"/>
              <a:gd name="connsiteX2" fmla="*/ 170330 w 1534259"/>
              <a:gd name="connsiteY2" fmla="*/ 4324 h 1245749"/>
              <a:gd name="connsiteX3" fmla="*/ 1372601 w 1534259"/>
              <a:gd name="connsiteY3" fmla="*/ 4324 h 1245749"/>
              <a:gd name="connsiteX4" fmla="*/ 1534259 w 1534259"/>
              <a:gd name="connsiteY4" fmla="*/ 165982 h 1245749"/>
              <a:gd name="connsiteX5" fmla="*/ 1534259 w 1534259"/>
              <a:gd name="connsiteY5" fmla="*/ 1084091 h 1245749"/>
              <a:gd name="connsiteX6" fmla="*/ 1372601 w 1534259"/>
              <a:gd name="connsiteY6" fmla="*/ 1245749 h 1245749"/>
              <a:gd name="connsiteX7" fmla="*/ 170330 w 1534259"/>
              <a:gd name="connsiteY7" fmla="*/ 1245749 h 1245749"/>
              <a:gd name="connsiteX8" fmla="*/ 8672 w 1534259"/>
              <a:gd name="connsiteY8" fmla="*/ 1084091 h 1245749"/>
              <a:gd name="connsiteX9" fmla="*/ 8672 w 1534259"/>
              <a:gd name="connsiteY9" fmla="*/ 165982 h 1245749"/>
              <a:gd name="connsiteX0" fmla="*/ 8672 w 1534259"/>
              <a:gd name="connsiteY0" fmla="*/ 167890 h 1247657"/>
              <a:gd name="connsiteX1" fmla="*/ 11053 w 1534259"/>
              <a:gd name="connsiteY1" fmla="*/ 14169 h 1247657"/>
              <a:gd name="connsiteX2" fmla="*/ 170330 w 1534259"/>
              <a:gd name="connsiteY2" fmla="*/ 6232 h 1247657"/>
              <a:gd name="connsiteX3" fmla="*/ 1372601 w 1534259"/>
              <a:gd name="connsiteY3" fmla="*/ 6232 h 1247657"/>
              <a:gd name="connsiteX4" fmla="*/ 1534259 w 1534259"/>
              <a:gd name="connsiteY4" fmla="*/ 167890 h 1247657"/>
              <a:gd name="connsiteX5" fmla="*/ 1534259 w 1534259"/>
              <a:gd name="connsiteY5" fmla="*/ 1085999 h 1247657"/>
              <a:gd name="connsiteX6" fmla="*/ 1372601 w 1534259"/>
              <a:gd name="connsiteY6" fmla="*/ 1247657 h 1247657"/>
              <a:gd name="connsiteX7" fmla="*/ 170330 w 1534259"/>
              <a:gd name="connsiteY7" fmla="*/ 1247657 h 1247657"/>
              <a:gd name="connsiteX8" fmla="*/ 8672 w 1534259"/>
              <a:gd name="connsiteY8" fmla="*/ 1085999 h 1247657"/>
              <a:gd name="connsiteX9" fmla="*/ 8672 w 1534259"/>
              <a:gd name="connsiteY9" fmla="*/ 167890 h 1247657"/>
              <a:gd name="connsiteX0" fmla="*/ 8672 w 1534259"/>
              <a:gd name="connsiteY0" fmla="*/ 161658 h 1241425"/>
              <a:gd name="connsiteX1" fmla="*/ 11053 w 1534259"/>
              <a:gd name="connsiteY1" fmla="*/ 7937 h 1241425"/>
              <a:gd name="connsiteX2" fmla="*/ 170330 w 1534259"/>
              <a:gd name="connsiteY2" fmla="*/ 0 h 1241425"/>
              <a:gd name="connsiteX3" fmla="*/ 1372601 w 1534259"/>
              <a:gd name="connsiteY3" fmla="*/ 0 h 1241425"/>
              <a:gd name="connsiteX4" fmla="*/ 1534259 w 1534259"/>
              <a:gd name="connsiteY4" fmla="*/ 161658 h 1241425"/>
              <a:gd name="connsiteX5" fmla="*/ 1534259 w 1534259"/>
              <a:gd name="connsiteY5" fmla="*/ 1079767 h 1241425"/>
              <a:gd name="connsiteX6" fmla="*/ 1372601 w 1534259"/>
              <a:gd name="connsiteY6" fmla="*/ 1241425 h 1241425"/>
              <a:gd name="connsiteX7" fmla="*/ 170330 w 1534259"/>
              <a:gd name="connsiteY7" fmla="*/ 1241425 h 1241425"/>
              <a:gd name="connsiteX8" fmla="*/ 8672 w 1534259"/>
              <a:gd name="connsiteY8" fmla="*/ 1079767 h 1241425"/>
              <a:gd name="connsiteX9" fmla="*/ 8672 w 1534259"/>
              <a:gd name="connsiteY9" fmla="*/ 161658 h 124142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3668 h 1243435"/>
              <a:gd name="connsiteX1" fmla="*/ 10644 w 1535715"/>
              <a:gd name="connsiteY1" fmla="*/ 0 h 1243435"/>
              <a:gd name="connsiteX2" fmla="*/ 171786 w 1535715"/>
              <a:gd name="connsiteY2" fmla="*/ 2010 h 1243435"/>
              <a:gd name="connsiteX3" fmla="*/ 1374057 w 1535715"/>
              <a:gd name="connsiteY3" fmla="*/ 2010 h 1243435"/>
              <a:gd name="connsiteX4" fmla="*/ 1535715 w 1535715"/>
              <a:gd name="connsiteY4" fmla="*/ 163668 h 1243435"/>
              <a:gd name="connsiteX5" fmla="*/ 1535715 w 1535715"/>
              <a:gd name="connsiteY5" fmla="*/ 1081777 h 1243435"/>
              <a:gd name="connsiteX6" fmla="*/ 1374057 w 1535715"/>
              <a:gd name="connsiteY6" fmla="*/ 1243435 h 1243435"/>
              <a:gd name="connsiteX7" fmla="*/ 171786 w 1535715"/>
              <a:gd name="connsiteY7" fmla="*/ 1243435 h 1243435"/>
              <a:gd name="connsiteX8" fmla="*/ 10128 w 1535715"/>
              <a:gd name="connsiteY8" fmla="*/ 1081777 h 1243435"/>
              <a:gd name="connsiteX9" fmla="*/ 10128 w 1535715"/>
              <a:gd name="connsiteY9" fmla="*/ 163668 h 124343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1808 w 1537395"/>
              <a:gd name="connsiteY0" fmla="*/ 161803 h 1241570"/>
              <a:gd name="connsiteX1" fmla="*/ 12324 w 1537395"/>
              <a:gd name="connsiteY1" fmla="*/ 0 h 1241570"/>
              <a:gd name="connsiteX2" fmla="*/ 173466 w 1537395"/>
              <a:gd name="connsiteY2" fmla="*/ 145 h 1241570"/>
              <a:gd name="connsiteX3" fmla="*/ 1375737 w 1537395"/>
              <a:gd name="connsiteY3" fmla="*/ 145 h 1241570"/>
              <a:gd name="connsiteX4" fmla="*/ 1537395 w 1537395"/>
              <a:gd name="connsiteY4" fmla="*/ 161803 h 1241570"/>
              <a:gd name="connsiteX5" fmla="*/ 1537395 w 1537395"/>
              <a:gd name="connsiteY5" fmla="*/ 1079912 h 1241570"/>
              <a:gd name="connsiteX6" fmla="*/ 1375737 w 1537395"/>
              <a:gd name="connsiteY6" fmla="*/ 1241570 h 1241570"/>
              <a:gd name="connsiteX7" fmla="*/ 173466 w 1537395"/>
              <a:gd name="connsiteY7" fmla="*/ 1241570 h 1241570"/>
              <a:gd name="connsiteX8" fmla="*/ 11808 w 1537395"/>
              <a:gd name="connsiteY8" fmla="*/ 1079912 h 1241570"/>
              <a:gd name="connsiteX9" fmla="*/ 11808 w 1537395"/>
              <a:gd name="connsiteY9" fmla="*/ 161803 h 1241570"/>
              <a:gd name="connsiteX0" fmla="*/ 346 w 1525933"/>
              <a:gd name="connsiteY0" fmla="*/ 161803 h 1241570"/>
              <a:gd name="connsiteX1" fmla="*/ 862 w 1525933"/>
              <a:gd name="connsiteY1" fmla="*/ 0 h 1241570"/>
              <a:gd name="connsiteX2" fmla="*/ 162004 w 1525933"/>
              <a:gd name="connsiteY2" fmla="*/ 145 h 1241570"/>
              <a:gd name="connsiteX3" fmla="*/ 1364275 w 1525933"/>
              <a:gd name="connsiteY3" fmla="*/ 145 h 1241570"/>
              <a:gd name="connsiteX4" fmla="*/ 1525933 w 1525933"/>
              <a:gd name="connsiteY4" fmla="*/ 161803 h 1241570"/>
              <a:gd name="connsiteX5" fmla="*/ 1525933 w 1525933"/>
              <a:gd name="connsiteY5" fmla="*/ 1079912 h 1241570"/>
              <a:gd name="connsiteX6" fmla="*/ 1364275 w 1525933"/>
              <a:gd name="connsiteY6" fmla="*/ 1241570 h 1241570"/>
              <a:gd name="connsiteX7" fmla="*/ 162004 w 1525933"/>
              <a:gd name="connsiteY7" fmla="*/ 1241570 h 1241570"/>
              <a:gd name="connsiteX8" fmla="*/ 346 w 1525933"/>
              <a:gd name="connsiteY8" fmla="*/ 1079912 h 1241570"/>
              <a:gd name="connsiteX9" fmla="*/ 346 w 1525933"/>
              <a:gd name="connsiteY9" fmla="*/ 161803 h 1241570"/>
              <a:gd name="connsiteX0" fmla="*/ 872 w 1526459"/>
              <a:gd name="connsiteY0" fmla="*/ 161803 h 1241570"/>
              <a:gd name="connsiteX1" fmla="*/ 1388 w 1526459"/>
              <a:gd name="connsiteY1" fmla="*/ 0 h 1241570"/>
              <a:gd name="connsiteX2" fmla="*/ 162530 w 1526459"/>
              <a:gd name="connsiteY2" fmla="*/ 145 h 1241570"/>
              <a:gd name="connsiteX3" fmla="*/ 1364801 w 1526459"/>
              <a:gd name="connsiteY3" fmla="*/ 145 h 1241570"/>
              <a:gd name="connsiteX4" fmla="*/ 1526459 w 1526459"/>
              <a:gd name="connsiteY4" fmla="*/ 161803 h 1241570"/>
              <a:gd name="connsiteX5" fmla="*/ 1526459 w 1526459"/>
              <a:gd name="connsiteY5" fmla="*/ 1079912 h 1241570"/>
              <a:gd name="connsiteX6" fmla="*/ 1364801 w 1526459"/>
              <a:gd name="connsiteY6" fmla="*/ 1241570 h 1241570"/>
              <a:gd name="connsiteX7" fmla="*/ 162530 w 1526459"/>
              <a:gd name="connsiteY7" fmla="*/ 1241570 h 1241570"/>
              <a:gd name="connsiteX8" fmla="*/ 872 w 1526459"/>
              <a:gd name="connsiteY8" fmla="*/ 1079912 h 1241570"/>
              <a:gd name="connsiteX9" fmla="*/ 872 w 1526459"/>
              <a:gd name="connsiteY9" fmla="*/ 161803 h 1241570"/>
              <a:gd name="connsiteX0" fmla="*/ 470 w 1526057"/>
              <a:gd name="connsiteY0" fmla="*/ 161803 h 1241570"/>
              <a:gd name="connsiteX1" fmla="*/ 986 w 1526057"/>
              <a:gd name="connsiteY1" fmla="*/ 0 h 1241570"/>
              <a:gd name="connsiteX2" fmla="*/ 162128 w 1526057"/>
              <a:gd name="connsiteY2" fmla="*/ 145 h 1241570"/>
              <a:gd name="connsiteX3" fmla="*/ 1364399 w 1526057"/>
              <a:gd name="connsiteY3" fmla="*/ 145 h 1241570"/>
              <a:gd name="connsiteX4" fmla="*/ 1526057 w 1526057"/>
              <a:gd name="connsiteY4" fmla="*/ 161803 h 1241570"/>
              <a:gd name="connsiteX5" fmla="*/ 1526057 w 1526057"/>
              <a:gd name="connsiteY5" fmla="*/ 1079912 h 1241570"/>
              <a:gd name="connsiteX6" fmla="*/ 1364399 w 1526057"/>
              <a:gd name="connsiteY6" fmla="*/ 1241570 h 1241570"/>
              <a:gd name="connsiteX7" fmla="*/ 162128 w 1526057"/>
              <a:gd name="connsiteY7" fmla="*/ 1241570 h 1241570"/>
              <a:gd name="connsiteX8" fmla="*/ 470 w 1526057"/>
              <a:gd name="connsiteY8" fmla="*/ 1079912 h 1241570"/>
              <a:gd name="connsiteX9" fmla="*/ 470 w 1526057"/>
              <a:gd name="connsiteY9" fmla="*/ 161803 h 1241570"/>
              <a:gd name="connsiteX0" fmla="*/ 649 w 1526236"/>
              <a:gd name="connsiteY0" fmla="*/ 161803 h 1241570"/>
              <a:gd name="connsiteX1" fmla="*/ 1165 w 1526236"/>
              <a:gd name="connsiteY1" fmla="*/ 0 h 1241570"/>
              <a:gd name="connsiteX2" fmla="*/ 162307 w 1526236"/>
              <a:gd name="connsiteY2" fmla="*/ 145 h 1241570"/>
              <a:gd name="connsiteX3" fmla="*/ 1364578 w 1526236"/>
              <a:gd name="connsiteY3" fmla="*/ 145 h 1241570"/>
              <a:gd name="connsiteX4" fmla="*/ 1526236 w 1526236"/>
              <a:gd name="connsiteY4" fmla="*/ 161803 h 1241570"/>
              <a:gd name="connsiteX5" fmla="*/ 1526236 w 1526236"/>
              <a:gd name="connsiteY5" fmla="*/ 1079912 h 1241570"/>
              <a:gd name="connsiteX6" fmla="*/ 1364578 w 1526236"/>
              <a:gd name="connsiteY6" fmla="*/ 1241570 h 1241570"/>
              <a:gd name="connsiteX7" fmla="*/ 162307 w 1526236"/>
              <a:gd name="connsiteY7" fmla="*/ 1241570 h 1241570"/>
              <a:gd name="connsiteX8" fmla="*/ 649 w 1526236"/>
              <a:gd name="connsiteY8" fmla="*/ 1079912 h 1241570"/>
              <a:gd name="connsiteX9" fmla="*/ 649 w 1526236"/>
              <a:gd name="connsiteY9" fmla="*/ 161803 h 1241570"/>
              <a:gd name="connsiteX0" fmla="*/ 268 w 1525855"/>
              <a:gd name="connsiteY0" fmla="*/ 161803 h 1241570"/>
              <a:gd name="connsiteX1" fmla="*/ 784 w 1525855"/>
              <a:gd name="connsiteY1" fmla="*/ 0 h 1241570"/>
              <a:gd name="connsiteX2" fmla="*/ 161926 w 1525855"/>
              <a:gd name="connsiteY2" fmla="*/ 145 h 1241570"/>
              <a:gd name="connsiteX3" fmla="*/ 1364197 w 1525855"/>
              <a:gd name="connsiteY3" fmla="*/ 145 h 1241570"/>
              <a:gd name="connsiteX4" fmla="*/ 1525855 w 1525855"/>
              <a:gd name="connsiteY4" fmla="*/ 161803 h 1241570"/>
              <a:gd name="connsiteX5" fmla="*/ 1525855 w 1525855"/>
              <a:gd name="connsiteY5" fmla="*/ 1079912 h 1241570"/>
              <a:gd name="connsiteX6" fmla="*/ 1364197 w 1525855"/>
              <a:gd name="connsiteY6" fmla="*/ 1241570 h 1241570"/>
              <a:gd name="connsiteX7" fmla="*/ 161926 w 1525855"/>
              <a:gd name="connsiteY7" fmla="*/ 1241570 h 1241570"/>
              <a:gd name="connsiteX8" fmla="*/ 268 w 1525855"/>
              <a:gd name="connsiteY8" fmla="*/ 1079912 h 1241570"/>
              <a:gd name="connsiteX9" fmla="*/ 268 w 1525855"/>
              <a:gd name="connsiteY9" fmla="*/ 161803 h 1241570"/>
              <a:gd name="connsiteX0" fmla="*/ 359 w 1525946"/>
              <a:gd name="connsiteY0" fmla="*/ 161803 h 1241570"/>
              <a:gd name="connsiteX1" fmla="*/ 253 w 1525946"/>
              <a:gd name="connsiteY1" fmla="*/ 0 h 1241570"/>
              <a:gd name="connsiteX2" fmla="*/ 162017 w 1525946"/>
              <a:gd name="connsiteY2" fmla="*/ 145 h 1241570"/>
              <a:gd name="connsiteX3" fmla="*/ 1364288 w 1525946"/>
              <a:gd name="connsiteY3" fmla="*/ 145 h 1241570"/>
              <a:gd name="connsiteX4" fmla="*/ 1525946 w 1525946"/>
              <a:gd name="connsiteY4" fmla="*/ 161803 h 1241570"/>
              <a:gd name="connsiteX5" fmla="*/ 1525946 w 1525946"/>
              <a:gd name="connsiteY5" fmla="*/ 1079912 h 1241570"/>
              <a:gd name="connsiteX6" fmla="*/ 1364288 w 1525946"/>
              <a:gd name="connsiteY6" fmla="*/ 1241570 h 1241570"/>
              <a:gd name="connsiteX7" fmla="*/ 162017 w 1525946"/>
              <a:gd name="connsiteY7" fmla="*/ 1241570 h 1241570"/>
              <a:gd name="connsiteX8" fmla="*/ 359 w 1525946"/>
              <a:gd name="connsiteY8" fmla="*/ 1079912 h 1241570"/>
              <a:gd name="connsiteX9" fmla="*/ 359 w 1525946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364035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25693" h="1241570">
                <a:moveTo>
                  <a:pt x="106" y="161803"/>
                </a:moveTo>
                <a:cubicBezTo>
                  <a:pt x="-210" y="159620"/>
                  <a:pt x="409" y="7672"/>
                  <a:pt x="0" y="0"/>
                </a:cubicBezTo>
                <a:cubicBezTo>
                  <a:pt x="6219" y="388"/>
                  <a:pt x="110655" y="450"/>
                  <a:pt x="161764" y="145"/>
                </a:cubicBezTo>
                <a:lnTo>
                  <a:pt x="1364035" y="145"/>
                </a:lnTo>
                <a:cubicBezTo>
                  <a:pt x="1453316" y="145"/>
                  <a:pt x="1525693" y="72522"/>
                  <a:pt x="1525693" y="161803"/>
                </a:cubicBezTo>
                <a:lnTo>
                  <a:pt x="1525693" y="1079912"/>
                </a:lnTo>
                <a:cubicBezTo>
                  <a:pt x="1525693" y="1169193"/>
                  <a:pt x="1453316" y="1241570"/>
                  <a:pt x="1364035" y="1241570"/>
                </a:cubicBezTo>
                <a:lnTo>
                  <a:pt x="161764" y="1241570"/>
                </a:lnTo>
                <a:cubicBezTo>
                  <a:pt x="72483" y="1241570"/>
                  <a:pt x="106" y="1169193"/>
                  <a:pt x="106" y="1079912"/>
                </a:cubicBezTo>
                <a:lnTo>
                  <a:pt x="106" y="1618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144000" anchor="b"/>
          <a:lstStyle>
            <a:lvl1pPr marL="0" indent="0" algn="ctr">
              <a:buNone/>
              <a:defRPr sz="2806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nl-NL" noProof="0"/>
          </a:p>
        </p:txBody>
      </p:sp>
      <p:sp>
        <p:nvSpPr>
          <p:cNvPr id="33" name="Tijdelijke aanduiding voor afbeelding 6">
            <a:extLst>
              <a:ext uri="{FF2B5EF4-FFF2-40B4-BE49-F238E27FC236}">
                <a16:creationId xmlns:a16="http://schemas.microsoft.com/office/drawing/2014/main" id="{E282FF1F-8DC9-4A36-8B0E-4868FD1C3CCE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1696814" y="16623326"/>
            <a:ext cx="5345254" cy="3931509"/>
          </a:xfrm>
          <a:custGeom>
            <a:avLst/>
            <a:gdLst>
              <a:gd name="connsiteX0" fmla="*/ 0 w 1525587"/>
              <a:gd name="connsiteY0" fmla="*/ 161658 h 1241425"/>
              <a:gd name="connsiteX1" fmla="*/ 161658 w 1525587"/>
              <a:gd name="connsiteY1" fmla="*/ 0 h 1241425"/>
              <a:gd name="connsiteX2" fmla="*/ 1363929 w 1525587"/>
              <a:gd name="connsiteY2" fmla="*/ 0 h 1241425"/>
              <a:gd name="connsiteX3" fmla="*/ 1525587 w 1525587"/>
              <a:gd name="connsiteY3" fmla="*/ 161658 h 1241425"/>
              <a:gd name="connsiteX4" fmla="*/ 1525587 w 1525587"/>
              <a:gd name="connsiteY4" fmla="*/ 1079767 h 1241425"/>
              <a:gd name="connsiteX5" fmla="*/ 1363929 w 1525587"/>
              <a:gd name="connsiteY5" fmla="*/ 1241425 h 1241425"/>
              <a:gd name="connsiteX6" fmla="*/ 161658 w 1525587"/>
              <a:gd name="connsiteY6" fmla="*/ 1241425 h 1241425"/>
              <a:gd name="connsiteX7" fmla="*/ 0 w 1525587"/>
              <a:gd name="connsiteY7" fmla="*/ 1079767 h 1241425"/>
              <a:gd name="connsiteX8" fmla="*/ 0 w 1525587"/>
              <a:gd name="connsiteY8" fmla="*/ 161658 h 1241425"/>
              <a:gd name="connsiteX0" fmla="*/ 0 w 1525587"/>
              <a:gd name="connsiteY0" fmla="*/ 161658 h 1241425"/>
              <a:gd name="connsiteX1" fmla="*/ 42862 w 1525587"/>
              <a:gd name="connsiteY1" fmla="*/ 48418 h 1241425"/>
              <a:gd name="connsiteX2" fmla="*/ 161658 w 1525587"/>
              <a:gd name="connsiteY2" fmla="*/ 0 h 1241425"/>
              <a:gd name="connsiteX3" fmla="*/ 1363929 w 1525587"/>
              <a:gd name="connsiteY3" fmla="*/ 0 h 1241425"/>
              <a:gd name="connsiteX4" fmla="*/ 1525587 w 1525587"/>
              <a:gd name="connsiteY4" fmla="*/ 161658 h 1241425"/>
              <a:gd name="connsiteX5" fmla="*/ 1525587 w 1525587"/>
              <a:gd name="connsiteY5" fmla="*/ 1079767 h 1241425"/>
              <a:gd name="connsiteX6" fmla="*/ 1363929 w 1525587"/>
              <a:gd name="connsiteY6" fmla="*/ 1241425 h 1241425"/>
              <a:gd name="connsiteX7" fmla="*/ 161658 w 1525587"/>
              <a:gd name="connsiteY7" fmla="*/ 1241425 h 1241425"/>
              <a:gd name="connsiteX8" fmla="*/ 0 w 1525587"/>
              <a:gd name="connsiteY8" fmla="*/ 1079767 h 1241425"/>
              <a:gd name="connsiteX9" fmla="*/ 0 w 1525587"/>
              <a:gd name="connsiteY9" fmla="*/ 161658 h 1241425"/>
              <a:gd name="connsiteX0" fmla="*/ 8672 w 1534259"/>
              <a:gd name="connsiteY0" fmla="*/ 165982 h 1245749"/>
              <a:gd name="connsiteX1" fmla="*/ 11053 w 1534259"/>
              <a:gd name="connsiteY1" fmla="*/ 12261 h 1245749"/>
              <a:gd name="connsiteX2" fmla="*/ 170330 w 1534259"/>
              <a:gd name="connsiteY2" fmla="*/ 4324 h 1245749"/>
              <a:gd name="connsiteX3" fmla="*/ 1372601 w 1534259"/>
              <a:gd name="connsiteY3" fmla="*/ 4324 h 1245749"/>
              <a:gd name="connsiteX4" fmla="*/ 1534259 w 1534259"/>
              <a:gd name="connsiteY4" fmla="*/ 165982 h 1245749"/>
              <a:gd name="connsiteX5" fmla="*/ 1534259 w 1534259"/>
              <a:gd name="connsiteY5" fmla="*/ 1084091 h 1245749"/>
              <a:gd name="connsiteX6" fmla="*/ 1372601 w 1534259"/>
              <a:gd name="connsiteY6" fmla="*/ 1245749 h 1245749"/>
              <a:gd name="connsiteX7" fmla="*/ 170330 w 1534259"/>
              <a:gd name="connsiteY7" fmla="*/ 1245749 h 1245749"/>
              <a:gd name="connsiteX8" fmla="*/ 8672 w 1534259"/>
              <a:gd name="connsiteY8" fmla="*/ 1084091 h 1245749"/>
              <a:gd name="connsiteX9" fmla="*/ 8672 w 1534259"/>
              <a:gd name="connsiteY9" fmla="*/ 165982 h 1245749"/>
              <a:gd name="connsiteX0" fmla="*/ 8672 w 1534259"/>
              <a:gd name="connsiteY0" fmla="*/ 167890 h 1247657"/>
              <a:gd name="connsiteX1" fmla="*/ 11053 w 1534259"/>
              <a:gd name="connsiteY1" fmla="*/ 14169 h 1247657"/>
              <a:gd name="connsiteX2" fmla="*/ 170330 w 1534259"/>
              <a:gd name="connsiteY2" fmla="*/ 6232 h 1247657"/>
              <a:gd name="connsiteX3" fmla="*/ 1372601 w 1534259"/>
              <a:gd name="connsiteY3" fmla="*/ 6232 h 1247657"/>
              <a:gd name="connsiteX4" fmla="*/ 1534259 w 1534259"/>
              <a:gd name="connsiteY4" fmla="*/ 167890 h 1247657"/>
              <a:gd name="connsiteX5" fmla="*/ 1534259 w 1534259"/>
              <a:gd name="connsiteY5" fmla="*/ 1085999 h 1247657"/>
              <a:gd name="connsiteX6" fmla="*/ 1372601 w 1534259"/>
              <a:gd name="connsiteY6" fmla="*/ 1247657 h 1247657"/>
              <a:gd name="connsiteX7" fmla="*/ 170330 w 1534259"/>
              <a:gd name="connsiteY7" fmla="*/ 1247657 h 1247657"/>
              <a:gd name="connsiteX8" fmla="*/ 8672 w 1534259"/>
              <a:gd name="connsiteY8" fmla="*/ 1085999 h 1247657"/>
              <a:gd name="connsiteX9" fmla="*/ 8672 w 1534259"/>
              <a:gd name="connsiteY9" fmla="*/ 167890 h 1247657"/>
              <a:gd name="connsiteX0" fmla="*/ 8672 w 1534259"/>
              <a:gd name="connsiteY0" fmla="*/ 161658 h 1241425"/>
              <a:gd name="connsiteX1" fmla="*/ 11053 w 1534259"/>
              <a:gd name="connsiteY1" fmla="*/ 7937 h 1241425"/>
              <a:gd name="connsiteX2" fmla="*/ 170330 w 1534259"/>
              <a:gd name="connsiteY2" fmla="*/ 0 h 1241425"/>
              <a:gd name="connsiteX3" fmla="*/ 1372601 w 1534259"/>
              <a:gd name="connsiteY3" fmla="*/ 0 h 1241425"/>
              <a:gd name="connsiteX4" fmla="*/ 1534259 w 1534259"/>
              <a:gd name="connsiteY4" fmla="*/ 161658 h 1241425"/>
              <a:gd name="connsiteX5" fmla="*/ 1534259 w 1534259"/>
              <a:gd name="connsiteY5" fmla="*/ 1079767 h 1241425"/>
              <a:gd name="connsiteX6" fmla="*/ 1372601 w 1534259"/>
              <a:gd name="connsiteY6" fmla="*/ 1241425 h 1241425"/>
              <a:gd name="connsiteX7" fmla="*/ 170330 w 1534259"/>
              <a:gd name="connsiteY7" fmla="*/ 1241425 h 1241425"/>
              <a:gd name="connsiteX8" fmla="*/ 8672 w 1534259"/>
              <a:gd name="connsiteY8" fmla="*/ 1079767 h 1241425"/>
              <a:gd name="connsiteX9" fmla="*/ 8672 w 1534259"/>
              <a:gd name="connsiteY9" fmla="*/ 161658 h 124142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3668 h 1243435"/>
              <a:gd name="connsiteX1" fmla="*/ 10644 w 1535715"/>
              <a:gd name="connsiteY1" fmla="*/ 0 h 1243435"/>
              <a:gd name="connsiteX2" fmla="*/ 171786 w 1535715"/>
              <a:gd name="connsiteY2" fmla="*/ 2010 h 1243435"/>
              <a:gd name="connsiteX3" fmla="*/ 1374057 w 1535715"/>
              <a:gd name="connsiteY3" fmla="*/ 2010 h 1243435"/>
              <a:gd name="connsiteX4" fmla="*/ 1535715 w 1535715"/>
              <a:gd name="connsiteY4" fmla="*/ 163668 h 1243435"/>
              <a:gd name="connsiteX5" fmla="*/ 1535715 w 1535715"/>
              <a:gd name="connsiteY5" fmla="*/ 1081777 h 1243435"/>
              <a:gd name="connsiteX6" fmla="*/ 1374057 w 1535715"/>
              <a:gd name="connsiteY6" fmla="*/ 1243435 h 1243435"/>
              <a:gd name="connsiteX7" fmla="*/ 171786 w 1535715"/>
              <a:gd name="connsiteY7" fmla="*/ 1243435 h 1243435"/>
              <a:gd name="connsiteX8" fmla="*/ 10128 w 1535715"/>
              <a:gd name="connsiteY8" fmla="*/ 1081777 h 1243435"/>
              <a:gd name="connsiteX9" fmla="*/ 10128 w 1535715"/>
              <a:gd name="connsiteY9" fmla="*/ 163668 h 124343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1808 w 1537395"/>
              <a:gd name="connsiteY0" fmla="*/ 161803 h 1241570"/>
              <a:gd name="connsiteX1" fmla="*/ 12324 w 1537395"/>
              <a:gd name="connsiteY1" fmla="*/ 0 h 1241570"/>
              <a:gd name="connsiteX2" fmla="*/ 173466 w 1537395"/>
              <a:gd name="connsiteY2" fmla="*/ 145 h 1241570"/>
              <a:gd name="connsiteX3" fmla="*/ 1375737 w 1537395"/>
              <a:gd name="connsiteY3" fmla="*/ 145 h 1241570"/>
              <a:gd name="connsiteX4" fmla="*/ 1537395 w 1537395"/>
              <a:gd name="connsiteY4" fmla="*/ 161803 h 1241570"/>
              <a:gd name="connsiteX5" fmla="*/ 1537395 w 1537395"/>
              <a:gd name="connsiteY5" fmla="*/ 1079912 h 1241570"/>
              <a:gd name="connsiteX6" fmla="*/ 1375737 w 1537395"/>
              <a:gd name="connsiteY6" fmla="*/ 1241570 h 1241570"/>
              <a:gd name="connsiteX7" fmla="*/ 173466 w 1537395"/>
              <a:gd name="connsiteY7" fmla="*/ 1241570 h 1241570"/>
              <a:gd name="connsiteX8" fmla="*/ 11808 w 1537395"/>
              <a:gd name="connsiteY8" fmla="*/ 1079912 h 1241570"/>
              <a:gd name="connsiteX9" fmla="*/ 11808 w 1537395"/>
              <a:gd name="connsiteY9" fmla="*/ 161803 h 1241570"/>
              <a:gd name="connsiteX0" fmla="*/ 346 w 1525933"/>
              <a:gd name="connsiteY0" fmla="*/ 161803 h 1241570"/>
              <a:gd name="connsiteX1" fmla="*/ 862 w 1525933"/>
              <a:gd name="connsiteY1" fmla="*/ 0 h 1241570"/>
              <a:gd name="connsiteX2" fmla="*/ 162004 w 1525933"/>
              <a:gd name="connsiteY2" fmla="*/ 145 h 1241570"/>
              <a:gd name="connsiteX3" fmla="*/ 1364275 w 1525933"/>
              <a:gd name="connsiteY3" fmla="*/ 145 h 1241570"/>
              <a:gd name="connsiteX4" fmla="*/ 1525933 w 1525933"/>
              <a:gd name="connsiteY4" fmla="*/ 161803 h 1241570"/>
              <a:gd name="connsiteX5" fmla="*/ 1525933 w 1525933"/>
              <a:gd name="connsiteY5" fmla="*/ 1079912 h 1241570"/>
              <a:gd name="connsiteX6" fmla="*/ 1364275 w 1525933"/>
              <a:gd name="connsiteY6" fmla="*/ 1241570 h 1241570"/>
              <a:gd name="connsiteX7" fmla="*/ 162004 w 1525933"/>
              <a:gd name="connsiteY7" fmla="*/ 1241570 h 1241570"/>
              <a:gd name="connsiteX8" fmla="*/ 346 w 1525933"/>
              <a:gd name="connsiteY8" fmla="*/ 1079912 h 1241570"/>
              <a:gd name="connsiteX9" fmla="*/ 346 w 1525933"/>
              <a:gd name="connsiteY9" fmla="*/ 161803 h 1241570"/>
              <a:gd name="connsiteX0" fmla="*/ 872 w 1526459"/>
              <a:gd name="connsiteY0" fmla="*/ 161803 h 1241570"/>
              <a:gd name="connsiteX1" fmla="*/ 1388 w 1526459"/>
              <a:gd name="connsiteY1" fmla="*/ 0 h 1241570"/>
              <a:gd name="connsiteX2" fmla="*/ 162530 w 1526459"/>
              <a:gd name="connsiteY2" fmla="*/ 145 h 1241570"/>
              <a:gd name="connsiteX3" fmla="*/ 1364801 w 1526459"/>
              <a:gd name="connsiteY3" fmla="*/ 145 h 1241570"/>
              <a:gd name="connsiteX4" fmla="*/ 1526459 w 1526459"/>
              <a:gd name="connsiteY4" fmla="*/ 161803 h 1241570"/>
              <a:gd name="connsiteX5" fmla="*/ 1526459 w 1526459"/>
              <a:gd name="connsiteY5" fmla="*/ 1079912 h 1241570"/>
              <a:gd name="connsiteX6" fmla="*/ 1364801 w 1526459"/>
              <a:gd name="connsiteY6" fmla="*/ 1241570 h 1241570"/>
              <a:gd name="connsiteX7" fmla="*/ 162530 w 1526459"/>
              <a:gd name="connsiteY7" fmla="*/ 1241570 h 1241570"/>
              <a:gd name="connsiteX8" fmla="*/ 872 w 1526459"/>
              <a:gd name="connsiteY8" fmla="*/ 1079912 h 1241570"/>
              <a:gd name="connsiteX9" fmla="*/ 872 w 1526459"/>
              <a:gd name="connsiteY9" fmla="*/ 161803 h 1241570"/>
              <a:gd name="connsiteX0" fmla="*/ 470 w 1526057"/>
              <a:gd name="connsiteY0" fmla="*/ 161803 h 1241570"/>
              <a:gd name="connsiteX1" fmla="*/ 986 w 1526057"/>
              <a:gd name="connsiteY1" fmla="*/ 0 h 1241570"/>
              <a:gd name="connsiteX2" fmla="*/ 162128 w 1526057"/>
              <a:gd name="connsiteY2" fmla="*/ 145 h 1241570"/>
              <a:gd name="connsiteX3" fmla="*/ 1364399 w 1526057"/>
              <a:gd name="connsiteY3" fmla="*/ 145 h 1241570"/>
              <a:gd name="connsiteX4" fmla="*/ 1526057 w 1526057"/>
              <a:gd name="connsiteY4" fmla="*/ 161803 h 1241570"/>
              <a:gd name="connsiteX5" fmla="*/ 1526057 w 1526057"/>
              <a:gd name="connsiteY5" fmla="*/ 1079912 h 1241570"/>
              <a:gd name="connsiteX6" fmla="*/ 1364399 w 1526057"/>
              <a:gd name="connsiteY6" fmla="*/ 1241570 h 1241570"/>
              <a:gd name="connsiteX7" fmla="*/ 162128 w 1526057"/>
              <a:gd name="connsiteY7" fmla="*/ 1241570 h 1241570"/>
              <a:gd name="connsiteX8" fmla="*/ 470 w 1526057"/>
              <a:gd name="connsiteY8" fmla="*/ 1079912 h 1241570"/>
              <a:gd name="connsiteX9" fmla="*/ 470 w 1526057"/>
              <a:gd name="connsiteY9" fmla="*/ 161803 h 1241570"/>
              <a:gd name="connsiteX0" fmla="*/ 649 w 1526236"/>
              <a:gd name="connsiteY0" fmla="*/ 161803 h 1241570"/>
              <a:gd name="connsiteX1" fmla="*/ 1165 w 1526236"/>
              <a:gd name="connsiteY1" fmla="*/ 0 h 1241570"/>
              <a:gd name="connsiteX2" fmla="*/ 162307 w 1526236"/>
              <a:gd name="connsiteY2" fmla="*/ 145 h 1241570"/>
              <a:gd name="connsiteX3" fmla="*/ 1364578 w 1526236"/>
              <a:gd name="connsiteY3" fmla="*/ 145 h 1241570"/>
              <a:gd name="connsiteX4" fmla="*/ 1526236 w 1526236"/>
              <a:gd name="connsiteY4" fmla="*/ 161803 h 1241570"/>
              <a:gd name="connsiteX5" fmla="*/ 1526236 w 1526236"/>
              <a:gd name="connsiteY5" fmla="*/ 1079912 h 1241570"/>
              <a:gd name="connsiteX6" fmla="*/ 1364578 w 1526236"/>
              <a:gd name="connsiteY6" fmla="*/ 1241570 h 1241570"/>
              <a:gd name="connsiteX7" fmla="*/ 162307 w 1526236"/>
              <a:gd name="connsiteY7" fmla="*/ 1241570 h 1241570"/>
              <a:gd name="connsiteX8" fmla="*/ 649 w 1526236"/>
              <a:gd name="connsiteY8" fmla="*/ 1079912 h 1241570"/>
              <a:gd name="connsiteX9" fmla="*/ 649 w 1526236"/>
              <a:gd name="connsiteY9" fmla="*/ 161803 h 1241570"/>
              <a:gd name="connsiteX0" fmla="*/ 268 w 1525855"/>
              <a:gd name="connsiteY0" fmla="*/ 161803 h 1241570"/>
              <a:gd name="connsiteX1" fmla="*/ 784 w 1525855"/>
              <a:gd name="connsiteY1" fmla="*/ 0 h 1241570"/>
              <a:gd name="connsiteX2" fmla="*/ 161926 w 1525855"/>
              <a:gd name="connsiteY2" fmla="*/ 145 h 1241570"/>
              <a:gd name="connsiteX3" fmla="*/ 1364197 w 1525855"/>
              <a:gd name="connsiteY3" fmla="*/ 145 h 1241570"/>
              <a:gd name="connsiteX4" fmla="*/ 1525855 w 1525855"/>
              <a:gd name="connsiteY4" fmla="*/ 161803 h 1241570"/>
              <a:gd name="connsiteX5" fmla="*/ 1525855 w 1525855"/>
              <a:gd name="connsiteY5" fmla="*/ 1079912 h 1241570"/>
              <a:gd name="connsiteX6" fmla="*/ 1364197 w 1525855"/>
              <a:gd name="connsiteY6" fmla="*/ 1241570 h 1241570"/>
              <a:gd name="connsiteX7" fmla="*/ 161926 w 1525855"/>
              <a:gd name="connsiteY7" fmla="*/ 1241570 h 1241570"/>
              <a:gd name="connsiteX8" fmla="*/ 268 w 1525855"/>
              <a:gd name="connsiteY8" fmla="*/ 1079912 h 1241570"/>
              <a:gd name="connsiteX9" fmla="*/ 268 w 1525855"/>
              <a:gd name="connsiteY9" fmla="*/ 161803 h 1241570"/>
              <a:gd name="connsiteX0" fmla="*/ 359 w 1525946"/>
              <a:gd name="connsiteY0" fmla="*/ 161803 h 1241570"/>
              <a:gd name="connsiteX1" fmla="*/ 253 w 1525946"/>
              <a:gd name="connsiteY1" fmla="*/ 0 h 1241570"/>
              <a:gd name="connsiteX2" fmla="*/ 162017 w 1525946"/>
              <a:gd name="connsiteY2" fmla="*/ 145 h 1241570"/>
              <a:gd name="connsiteX3" fmla="*/ 1364288 w 1525946"/>
              <a:gd name="connsiteY3" fmla="*/ 145 h 1241570"/>
              <a:gd name="connsiteX4" fmla="*/ 1525946 w 1525946"/>
              <a:gd name="connsiteY4" fmla="*/ 161803 h 1241570"/>
              <a:gd name="connsiteX5" fmla="*/ 1525946 w 1525946"/>
              <a:gd name="connsiteY5" fmla="*/ 1079912 h 1241570"/>
              <a:gd name="connsiteX6" fmla="*/ 1364288 w 1525946"/>
              <a:gd name="connsiteY6" fmla="*/ 1241570 h 1241570"/>
              <a:gd name="connsiteX7" fmla="*/ 162017 w 1525946"/>
              <a:gd name="connsiteY7" fmla="*/ 1241570 h 1241570"/>
              <a:gd name="connsiteX8" fmla="*/ 359 w 1525946"/>
              <a:gd name="connsiteY8" fmla="*/ 1079912 h 1241570"/>
              <a:gd name="connsiteX9" fmla="*/ 359 w 1525946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364035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25693" h="1241570">
                <a:moveTo>
                  <a:pt x="106" y="161803"/>
                </a:moveTo>
                <a:cubicBezTo>
                  <a:pt x="-210" y="159620"/>
                  <a:pt x="409" y="7672"/>
                  <a:pt x="0" y="0"/>
                </a:cubicBezTo>
                <a:cubicBezTo>
                  <a:pt x="6219" y="388"/>
                  <a:pt x="110655" y="450"/>
                  <a:pt x="161764" y="145"/>
                </a:cubicBezTo>
                <a:lnTo>
                  <a:pt x="1364035" y="145"/>
                </a:lnTo>
                <a:cubicBezTo>
                  <a:pt x="1453316" y="145"/>
                  <a:pt x="1525693" y="72522"/>
                  <a:pt x="1525693" y="161803"/>
                </a:cubicBezTo>
                <a:lnTo>
                  <a:pt x="1525693" y="1079912"/>
                </a:lnTo>
                <a:cubicBezTo>
                  <a:pt x="1525693" y="1169193"/>
                  <a:pt x="1453316" y="1241570"/>
                  <a:pt x="1364035" y="1241570"/>
                </a:cubicBezTo>
                <a:lnTo>
                  <a:pt x="161764" y="1241570"/>
                </a:lnTo>
                <a:cubicBezTo>
                  <a:pt x="72483" y="1241570"/>
                  <a:pt x="106" y="1169193"/>
                  <a:pt x="106" y="1079912"/>
                </a:cubicBezTo>
                <a:lnTo>
                  <a:pt x="106" y="1618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144000" anchor="b"/>
          <a:lstStyle>
            <a:lvl1pPr marL="0" indent="0" algn="ctr">
              <a:buNone/>
              <a:defRPr sz="2806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nl-NL" noProof="0"/>
          </a:p>
        </p:txBody>
      </p:sp>
      <p:sp>
        <p:nvSpPr>
          <p:cNvPr id="158" name="Tijdelijke aanduiding voor afbeelding 6">
            <a:extLst>
              <a:ext uri="{FF2B5EF4-FFF2-40B4-BE49-F238E27FC236}">
                <a16:creationId xmlns:a16="http://schemas.microsoft.com/office/drawing/2014/main" id="{3BAEA7E3-4B93-482B-8197-4D73CC7255A6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1696814" y="21779706"/>
            <a:ext cx="5345254" cy="3931509"/>
          </a:xfrm>
          <a:custGeom>
            <a:avLst/>
            <a:gdLst>
              <a:gd name="connsiteX0" fmla="*/ 0 w 1525587"/>
              <a:gd name="connsiteY0" fmla="*/ 161658 h 1241425"/>
              <a:gd name="connsiteX1" fmla="*/ 161658 w 1525587"/>
              <a:gd name="connsiteY1" fmla="*/ 0 h 1241425"/>
              <a:gd name="connsiteX2" fmla="*/ 1363929 w 1525587"/>
              <a:gd name="connsiteY2" fmla="*/ 0 h 1241425"/>
              <a:gd name="connsiteX3" fmla="*/ 1525587 w 1525587"/>
              <a:gd name="connsiteY3" fmla="*/ 161658 h 1241425"/>
              <a:gd name="connsiteX4" fmla="*/ 1525587 w 1525587"/>
              <a:gd name="connsiteY4" fmla="*/ 1079767 h 1241425"/>
              <a:gd name="connsiteX5" fmla="*/ 1363929 w 1525587"/>
              <a:gd name="connsiteY5" fmla="*/ 1241425 h 1241425"/>
              <a:gd name="connsiteX6" fmla="*/ 161658 w 1525587"/>
              <a:gd name="connsiteY6" fmla="*/ 1241425 h 1241425"/>
              <a:gd name="connsiteX7" fmla="*/ 0 w 1525587"/>
              <a:gd name="connsiteY7" fmla="*/ 1079767 h 1241425"/>
              <a:gd name="connsiteX8" fmla="*/ 0 w 1525587"/>
              <a:gd name="connsiteY8" fmla="*/ 161658 h 1241425"/>
              <a:gd name="connsiteX0" fmla="*/ 0 w 1525587"/>
              <a:gd name="connsiteY0" fmla="*/ 161658 h 1241425"/>
              <a:gd name="connsiteX1" fmla="*/ 42862 w 1525587"/>
              <a:gd name="connsiteY1" fmla="*/ 48418 h 1241425"/>
              <a:gd name="connsiteX2" fmla="*/ 161658 w 1525587"/>
              <a:gd name="connsiteY2" fmla="*/ 0 h 1241425"/>
              <a:gd name="connsiteX3" fmla="*/ 1363929 w 1525587"/>
              <a:gd name="connsiteY3" fmla="*/ 0 h 1241425"/>
              <a:gd name="connsiteX4" fmla="*/ 1525587 w 1525587"/>
              <a:gd name="connsiteY4" fmla="*/ 161658 h 1241425"/>
              <a:gd name="connsiteX5" fmla="*/ 1525587 w 1525587"/>
              <a:gd name="connsiteY5" fmla="*/ 1079767 h 1241425"/>
              <a:gd name="connsiteX6" fmla="*/ 1363929 w 1525587"/>
              <a:gd name="connsiteY6" fmla="*/ 1241425 h 1241425"/>
              <a:gd name="connsiteX7" fmla="*/ 161658 w 1525587"/>
              <a:gd name="connsiteY7" fmla="*/ 1241425 h 1241425"/>
              <a:gd name="connsiteX8" fmla="*/ 0 w 1525587"/>
              <a:gd name="connsiteY8" fmla="*/ 1079767 h 1241425"/>
              <a:gd name="connsiteX9" fmla="*/ 0 w 1525587"/>
              <a:gd name="connsiteY9" fmla="*/ 161658 h 1241425"/>
              <a:gd name="connsiteX0" fmla="*/ 8672 w 1534259"/>
              <a:gd name="connsiteY0" fmla="*/ 165982 h 1245749"/>
              <a:gd name="connsiteX1" fmla="*/ 11053 w 1534259"/>
              <a:gd name="connsiteY1" fmla="*/ 12261 h 1245749"/>
              <a:gd name="connsiteX2" fmla="*/ 170330 w 1534259"/>
              <a:gd name="connsiteY2" fmla="*/ 4324 h 1245749"/>
              <a:gd name="connsiteX3" fmla="*/ 1372601 w 1534259"/>
              <a:gd name="connsiteY3" fmla="*/ 4324 h 1245749"/>
              <a:gd name="connsiteX4" fmla="*/ 1534259 w 1534259"/>
              <a:gd name="connsiteY4" fmla="*/ 165982 h 1245749"/>
              <a:gd name="connsiteX5" fmla="*/ 1534259 w 1534259"/>
              <a:gd name="connsiteY5" fmla="*/ 1084091 h 1245749"/>
              <a:gd name="connsiteX6" fmla="*/ 1372601 w 1534259"/>
              <a:gd name="connsiteY6" fmla="*/ 1245749 h 1245749"/>
              <a:gd name="connsiteX7" fmla="*/ 170330 w 1534259"/>
              <a:gd name="connsiteY7" fmla="*/ 1245749 h 1245749"/>
              <a:gd name="connsiteX8" fmla="*/ 8672 w 1534259"/>
              <a:gd name="connsiteY8" fmla="*/ 1084091 h 1245749"/>
              <a:gd name="connsiteX9" fmla="*/ 8672 w 1534259"/>
              <a:gd name="connsiteY9" fmla="*/ 165982 h 1245749"/>
              <a:gd name="connsiteX0" fmla="*/ 8672 w 1534259"/>
              <a:gd name="connsiteY0" fmla="*/ 167890 h 1247657"/>
              <a:gd name="connsiteX1" fmla="*/ 11053 w 1534259"/>
              <a:gd name="connsiteY1" fmla="*/ 14169 h 1247657"/>
              <a:gd name="connsiteX2" fmla="*/ 170330 w 1534259"/>
              <a:gd name="connsiteY2" fmla="*/ 6232 h 1247657"/>
              <a:gd name="connsiteX3" fmla="*/ 1372601 w 1534259"/>
              <a:gd name="connsiteY3" fmla="*/ 6232 h 1247657"/>
              <a:gd name="connsiteX4" fmla="*/ 1534259 w 1534259"/>
              <a:gd name="connsiteY4" fmla="*/ 167890 h 1247657"/>
              <a:gd name="connsiteX5" fmla="*/ 1534259 w 1534259"/>
              <a:gd name="connsiteY5" fmla="*/ 1085999 h 1247657"/>
              <a:gd name="connsiteX6" fmla="*/ 1372601 w 1534259"/>
              <a:gd name="connsiteY6" fmla="*/ 1247657 h 1247657"/>
              <a:gd name="connsiteX7" fmla="*/ 170330 w 1534259"/>
              <a:gd name="connsiteY7" fmla="*/ 1247657 h 1247657"/>
              <a:gd name="connsiteX8" fmla="*/ 8672 w 1534259"/>
              <a:gd name="connsiteY8" fmla="*/ 1085999 h 1247657"/>
              <a:gd name="connsiteX9" fmla="*/ 8672 w 1534259"/>
              <a:gd name="connsiteY9" fmla="*/ 167890 h 1247657"/>
              <a:gd name="connsiteX0" fmla="*/ 8672 w 1534259"/>
              <a:gd name="connsiteY0" fmla="*/ 161658 h 1241425"/>
              <a:gd name="connsiteX1" fmla="*/ 11053 w 1534259"/>
              <a:gd name="connsiteY1" fmla="*/ 7937 h 1241425"/>
              <a:gd name="connsiteX2" fmla="*/ 170330 w 1534259"/>
              <a:gd name="connsiteY2" fmla="*/ 0 h 1241425"/>
              <a:gd name="connsiteX3" fmla="*/ 1372601 w 1534259"/>
              <a:gd name="connsiteY3" fmla="*/ 0 h 1241425"/>
              <a:gd name="connsiteX4" fmla="*/ 1534259 w 1534259"/>
              <a:gd name="connsiteY4" fmla="*/ 161658 h 1241425"/>
              <a:gd name="connsiteX5" fmla="*/ 1534259 w 1534259"/>
              <a:gd name="connsiteY5" fmla="*/ 1079767 h 1241425"/>
              <a:gd name="connsiteX6" fmla="*/ 1372601 w 1534259"/>
              <a:gd name="connsiteY6" fmla="*/ 1241425 h 1241425"/>
              <a:gd name="connsiteX7" fmla="*/ 170330 w 1534259"/>
              <a:gd name="connsiteY7" fmla="*/ 1241425 h 1241425"/>
              <a:gd name="connsiteX8" fmla="*/ 8672 w 1534259"/>
              <a:gd name="connsiteY8" fmla="*/ 1079767 h 1241425"/>
              <a:gd name="connsiteX9" fmla="*/ 8672 w 1534259"/>
              <a:gd name="connsiteY9" fmla="*/ 161658 h 124142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3668 h 1243435"/>
              <a:gd name="connsiteX1" fmla="*/ 10644 w 1535715"/>
              <a:gd name="connsiteY1" fmla="*/ 0 h 1243435"/>
              <a:gd name="connsiteX2" fmla="*/ 171786 w 1535715"/>
              <a:gd name="connsiteY2" fmla="*/ 2010 h 1243435"/>
              <a:gd name="connsiteX3" fmla="*/ 1374057 w 1535715"/>
              <a:gd name="connsiteY3" fmla="*/ 2010 h 1243435"/>
              <a:gd name="connsiteX4" fmla="*/ 1535715 w 1535715"/>
              <a:gd name="connsiteY4" fmla="*/ 163668 h 1243435"/>
              <a:gd name="connsiteX5" fmla="*/ 1535715 w 1535715"/>
              <a:gd name="connsiteY5" fmla="*/ 1081777 h 1243435"/>
              <a:gd name="connsiteX6" fmla="*/ 1374057 w 1535715"/>
              <a:gd name="connsiteY6" fmla="*/ 1243435 h 1243435"/>
              <a:gd name="connsiteX7" fmla="*/ 171786 w 1535715"/>
              <a:gd name="connsiteY7" fmla="*/ 1243435 h 1243435"/>
              <a:gd name="connsiteX8" fmla="*/ 10128 w 1535715"/>
              <a:gd name="connsiteY8" fmla="*/ 1081777 h 1243435"/>
              <a:gd name="connsiteX9" fmla="*/ 10128 w 1535715"/>
              <a:gd name="connsiteY9" fmla="*/ 163668 h 124343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1808 w 1537395"/>
              <a:gd name="connsiteY0" fmla="*/ 161803 h 1241570"/>
              <a:gd name="connsiteX1" fmla="*/ 12324 w 1537395"/>
              <a:gd name="connsiteY1" fmla="*/ 0 h 1241570"/>
              <a:gd name="connsiteX2" fmla="*/ 173466 w 1537395"/>
              <a:gd name="connsiteY2" fmla="*/ 145 h 1241570"/>
              <a:gd name="connsiteX3" fmla="*/ 1375737 w 1537395"/>
              <a:gd name="connsiteY3" fmla="*/ 145 h 1241570"/>
              <a:gd name="connsiteX4" fmla="*/ 1537395 w 1537395"/>
              <a:gd name="connsiteY4" fmla="*/ 161803 h 1241570"/>
              <a:gd name="connsiteX5" fmla="*/ 1537395 w 1537395"/>
              <a:gd name="connsiteY5" fmla="*/ 1079912 h 1241570"/>
              <a:gd name="connsiteX6" fmla="*/ 1375737 w 1537395"/>
              <a:gd name="connsiteY6" fmla="*/ 1241570 h 1241570"/>
              <a:gd name="connsiteX7" fmla="*/ 173466 w 1537395"/>
              <a:gd name="connsiteY7" fmla="*/ 1241570 h 1241570"/>
              <a:gd name="connsiteX8" fmla="*/ 11808 w 1537395"/>
              <a:gd name="connsiteY8" fmla="*/ 1079912 h 1241570"/>
              <a:gd name="connsiteX9" fmla="*/ 11808 w 1537395"/>
              <a:gd name="connsiteY9" fmla="*/ 161803 h 1241570"/>
              <a:gd name="connsiteX0" fmla="*/ 346 w 1525933"/>
              <a:gd name="connsiteY0" fmla="*/ 161803 h 1241570"/>
              <a:gd name="connsiteX1" fmla="*/ 862 w 1525933"/>
              <a:gd name="connsiteY1" fmla="*/ 0 h 1241570"/>
              <a:gd name="connsiteX2" fmla="*/ 162004 w 1525933"/>
              <a:gd name="connsiteY2" fmla="*/ 145 h 1241570"/>
              <a:gd name="connsiteX3" fmla="*/ 1364275 w 1525933"/>
              <a:gd name="connsiteY3" fmla="*/ 145 h 1241570"/>
              <a:gd name="connsiteX4" fmla="*/ 1525933 w 1525933"/>
              <a:gd name="connsiteY4" fmla="*/ 161803 h 1241570"/>
              <a:gd name="connsiteX5" fmla="*/ 1525933 w 1525933"/>
              <a:gd name="connsiteY5" fmla="*/ 1079912 h 1241570"/>
              <a:gd name="connsiteX6" fmla="*/ 1364275 w 1525933"/>
              <a:gd name="connsiteY6" fmla="*/ 1241570 h 1241570"/>
              <a:gd name="connsiteX7" fmla="*/ 162004 w 1525933"/>
              <a:gd name="connsiteY7" fmla="*/ 1241570 h 1241570"/>
              <a:gd name="connsiteX8" fmla="*/ 346 w 1525933"/>
              <a:gd name="connsiteY8" fmla="*/ 1079912 h 1241570"/>
              <a:gd name="connsiteX9" fmla="*/ 346 w 1525933"/>
              <a:gd name="connsiteY9" fmla="*/ 161803 h 1241570"/>
              <a:gd name="connsiteX0" fmla="*/ 872 w 1526459"/>
              <a:gd name="connsiteY0" fmla="*/ 161803 h 1241570"/>
              <a:gd name="connsiteX1" fmla="*/ 1388 w 1526459"/>
              <a:gd name="connsiteY1" fmla="*/ 0 h 1241570"/>
              <a:gd name="connsiteX2" fmla="*/ 162530 w 1526459"/>
              <a:gd name="connsiteY2" fmla="*/ 145 h 1241570"/>
              <a:gd name="connsiteX3" fmla="*/ 1364801 w 1526459"/>
              <a:gd name="connsiteY3" fmla="*/ 145 h 1241570"/>
              <a:gd name="connsiteX4" fmla="*/ 1526459 w 1526459"/>
              <a:gd name="connsiteY4" fmla="*/ 161803 h 1241570"/>
              <a:gd name="connsiteX5" fmla="*/ 1526459 w 1526459"/>
              <a:gd name="connsiteY5" fmla="*/ 1079912 h 1241570"/>
              <a:gd name="connsiteX6" fmla="*/ 1364801 w 1526459"/>
              <a:gd name="connsiteY6" fmla="*/ 1241570 h 1241570"/>
              <a:gd name="connsiteX7" fmla="*/ 162530 w 1526459"/>
              <a:gd name="connsiteY7" fmla="*/ 1241570 h 1241570"/>
              <a:gd name="connsiteX8" fmla="*/ 872 w 1526459"/>
              <a:gd name="connsiteY8" fmla="*/ 1079912 h 1241570"/>
              <a:gd name="connsiteX9" fmla="*/ 872 w 1526459"/>
              <a:gd name="connsiteY9" fmla="*/ 161803 h 1241570"/>
              <a:gd name="connsiteX0" fmla="*/ 470 w 1526057"/>
              <a:gd name="connsiteY0" fmla="*/ 161803 h 1241570"/>
              <a:gd name="connsiteX1" fmla="*/ 986 w 1526057"/>
              <a:gd name="connsiteY1" fmla="*/ 0 h 1241570"/>
              <a:gd name="connsiteX2" fmla="*/ 162128 w 1526057"/>
              <a:gd name="connsiteY2" fmla="*/ 145 h 1241570"/>
              <a:gd name="connsiteX3" fmla="*/ 1364399 w 1526057"/>
              <a:gd name="connsiteY3" fmla="*/ 145 h 1241570"/>
              <a:gd name="connsiteX4" fmla="*/ 1526057 w 1526057"/>
              <a:gd name="connsiteY4" fmla="*/ 161803 h 1241570"/>
              <a:gd name="connsiteX5" fmla="*/ 1526057 w 1526057"/>
              <a:gd name="connsiteY5" fmla="*/ 1079912 h 1241570"/>
              <a:gd name="connsiteX6" fmla="*/ 1364399 w 1526057"/>
              <a:gd name="connsiteY6" fmla="*/ 1241570 h 1241570"/>
              <a:gd name="connsiteX7" fmla="*/ 162128 w 1526057"/>
              <a:gd name="connsiteY7" fmla="*/ 1241570 h 1241570"/>
              <a:gd name="connsiteX8" fmla="*/ 470 w 1526057"/>
              <a:gd name="connsiteY8" fmla="*/ 1079912 h 1241570"/>
              <a:gd name="connsiteX9" fmla="*/ 470 w 1526057"/>
              <a:gd name="connsiteY9" fmla="*/ 161803 h 1241570"/>
              <a:gd name="connsiteX0" fmla="*/ 649 w 1526236"/>
              <a:gd name="connsiteY0" fmla="*/ 161803 h 1241570"/>
              <a:gd name="connsiteX1" fmla="*/ 1165 w 1526236"/>
              <a:gd name="connsiteY1" fmla="*/ 0 h 1241570"/>
              <a:gd name="connsiteX2" fmla="*/ 162307 w 1526236"/>
              <a:gd name="connsiteY2" fmla="*/ 145 h 1241570"/>
              <a:gd name="connsiteX3" fmla="*/ 1364578 w 1526236"/>
              <a:gd name="connsiteY3" fmla="*/ 145 h 1241570"/>
              <a:gd name="connsiteX4" fmla="*/ 1526236 w 1526236"/>
              <a:gd name="connsiteY4" fmla="*/ 161803 h 1241570"/>
              <a:gd name="connsiteX5" fmla="*/ 1526236 w 1526236"/>
              <a:gd name="connsiteY5" fmla="*/ 1079912 h 1241570"/>
              <a:gd name="connsiteX6" fmla="*/ 1364578 w 1526236"/>
              <a:gd name="connsiteY6" fmla="*/ 1241570 h 1241570"/>
              <a:gd name="connsiteX7" fmla="*/ 162307 w 1526236"/>
              <a:gd name="connsiteY7" fmla="*/ 1241570 h 1241570"/>
              <a:gd name="connsiteX8" fmla="*/ 649 w 1526236"/>
              <a:gd name="connsiteY8" fmla="*/ 1079912 h 1241570"/>
              <a:gd name="connsiteX9" fmla="*/ 649 w 1526236"/>
              <a:gd name="connsiteY9" fmla="*/ 161803 h 1241570"/>
              <a:gd name="connsiteX0" fmla="*/ 268 w 1525855"/>
              <a:gd name="connsiteY0" fmla="*/ 161803 h 1241570"/>
              <a:gd name="connsiteX1" fmla="*/ 784 w 1525855"/>
              <a:gd name="connsiteY1" fmla="*/ 0 h 1241570"/>
              <a:gd name="connsiteX2" fmla="*/ 161926 w 1525855"/>
              <a:gd name="connsiteY2" fmla="*/ 145 h 1241570"/>
              <a:gd name="connsiteX3" fmla="*/ 1364197 w 1525855"/>
              <a:gd name="connsiteY3" fmla="*/ 145 h 1241570"/>
              <a:gd name="connsiteX4" fmla="*/ 1525855 w 1525855"/>
              <a:gd name="connsiteY4" fmla="*/ 161803 h 1241570"/>
              <a:gd name="connsiteX5" fmla="*/ 1525855 w 1525855"/>
              <a:gd name="connsiteY5" fmla="*/ 1079912 h 1241570"/>
              <a:gd name="connsiteX6" fmla="*/ 1364197 w 1525855"/>
              <a:gd name="connsiteY6" fmla="*/ 1241570 h 1241570"/>
              <a:gd name="connsiteX7" fmla="*/ 161926 w 1525855"/>
              <a:gd name="connsiteY7" fmla="*/ 1241570 h 1241570"/>
              <a:gd name="connsiteX8" fmla="*/ 268 w 1525855"/>
              <a:gd name="connsiteY8" fmla="*/ 1079912 h 1241570"/>
              <a:gd name="connsiteX9" fmla="*/ 268 w 1525855"/>
              <a:gd name="connsiteY9" fmla="*/ 161803 h 1241570"/>
              <a:gd name="connsiteX0" fmla="*/ 359 w 1525946"/>
              <a:gd name="connsiteY0" fmla="*/ 161803 h 1241570"/>
              <a:gd name="connsiteX1" fmla="*/ 253 w 1525946"/>
              <a:gd name="connsiteY1" fmla="*/ 0 h 1241570"/>
              <a:gd name="connsiteX2" fmla="*/ 162017 w 1525946"/>
              <a:gd name="connsiteY2" fmla="*/ 145 h 1241570"/>
              <a:gd name="connsiteX3" fmla="*/ 1364288 w 1525946"/>
              <a:gd name="connsiteY3" fmla="*/ 145 h 1241570"/>
              <a:gd name="connsiteX4" fmla="*/ 1525946 w 1525946"/>
              <a:gd name="connsiteY4" fmla="*/ 161803 h 1241570"/>
              <a:gd name="connsiteX5" fmla="*/ 1525946 w 1525946"/>
              <a:gd name="connsiteY5" fmla="*/ 1079912 h 1241570"/>
              <a:gd name="connsiteX6" fmla="*/ 1364288 w 1525946"/>
              <a:gd name="connsiteY6" fmla="*/ 1241570 h 1241570"/>
              <a:gd name="connsiteX7" fmla="*/ 162017 w 1525946"/>
              <a:gd name="connsiteY7" fmla="*/ 1241570 h 1241570"/>
              <a:gd name="connsiteX8" fmla="*/ 359 w 1525946"/>
              <a:gd name="connsiteY8" fmla="*/ 1079912 h 1241570"/>
              <a:gd name="connsiteX9" fmla="*/ 359 w 1525946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364035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25693" h="1241570">
                <a:moveTo>
                  <a:pt x="106" y="161803"/>
                </a:moveTo>
                <a:cubicBezTo>
                  <a:pt x="-210" y="159620"/>
                  <a:pt x="409" y="7672"/>
                  <a:pt x="0" y="0"/>
                </a:cubicBezTo>
                <a:cubicBezTo>
                  <a:pt x="6219" y="388"/>
                  <a:pt x="110655" y="450"/>
                  <a:pt x="161764" y="145"/>
                </a:cubicBezTo>
                <a:lnTo>
                  <a:pt x="1364035" y="145"/>
                </a:lnTo>
                <a:cubicBezTo>
                  <a:pt x="1453316" y="145"/>
                  <a:pt x="1525693" y="72522"/>
                  <a:pt x="1525693" y="161803"/>
                </a:cubicBezTo>
                <a:lnTo>
                  <a:pt x="1525693" y="1079912"/>
                </a:lnTo>
                <a:cubicBezTo>
                  <a:pt x="1525693" y="1169193"/>
                  <a:pt x="1453316" y="1241570"/>
                  <a:pt x="1364035" y="1241570"/>
                </a:cubicBezTo>
                <a:lnTo>
                  <a:pt x="161764" y="1241570"/>
                </a:lnTo>
                <a:cubicBezTo>
                  <a:pt x="72483" y="1241570"/>
                  <a:pt x="106" y="1169193"/>
                  <a:pt x="106" y="1079912"/>
                </a:cubicBezTo>
                <a:lnTo>
                  <a:pt x="106" y="1618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144000" anchor="b"/>
          <a:lstStyle>
            <a:lvl1pPr marL="0" indent="0" algn="ctr">
              <a:buNone/>
              <a:defRPr sz="2806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nl-NL" noProof="0"/>
          </a:p>
        </p:txBody>
      </p:sp>
      <p:sp>
        <p:nvSpPr>
          <p:cNvPr id="162" name="Tijdelijke aanduiding voor tekst 2">
            <a:extLst>
              <a:ext uri="{FF2B5EF4-FFF2-40B4-BE49-F238E27FC236}">
                <a16:creationId xmlns:a16="http://schemas.microsoft.com/office/drawing/2014/main" id="{7261898A-F5A9-4EF3-AA75-53FC19067F1D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533807" y="11466940"/>
            <a:ext cx="26489657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 marL="0" indent="0">
              <a:buNone/>
              <a:defRPr sz="4209"/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64" name="Tijdelijke aanduiding voor tekst 2">
            <a:extLst>
              <a:ext uri="{FF2B5EF4-FFF2-40B4-BE49-F238E27FC236}">
                <a16:creationId xmlns:a16="http://schemas.microsoft.com/office/drawing/2014/main" id="{F3B45119-1F04-468E-9C06-CB3EFB775B3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533807" y="16623324"/>
            <a:ext cx="26489657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 marL="0" indent="0">
              <a:buNone/>
              <a:defRPr sz="4209"/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66" name="Tijdelijke aanduiding voor tekst 2">
            <a:extLst>
              <a:ext uri="{FF2B5EF4-FFF2-40B4-BE49-F238E27FC236}">
                <a16:creationId xmlns:a16="http://schemas.microsoft.com/office/drawing/2014/main" id="{853D7205-234D-4794-8AC8-B9710AD7AFF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533807" y="21779704"/>
            <a:ext cx="26489657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 marL="0" indent="0">
              <a:buNone/>
              <a:defRPr sz="4209"/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grpSp>
        <p:nvGrpSpPr>
          <p:cNvPr id="24" name="Groep 77">
            <a:extLst>
              <a:ext uri="{FF2B5EF4-FFF2-40B4-BE49-F238E27FC236}">
                <a16:creationId xmlns:a16="http://schemas.microsoft.com/office/drawing/2014/main" id="{97085740-5F50-441B-B286-975E7F784D6E}"/>
              </a:ext>
            </a:extLst>
          </p:cNvPr>
          <p:cNvGrpSpPr/>
          <p:nvPr userDrawn="1"/>
        </p:nvGrpSpPr>
        <p:grpSpPr>
          <a:xfrm>
            <a:off x="43467414" y="0"/>
            <a:ext cx="13065546" cy="24210246"/>
            <a:chOff x="12391601" y="0"/>
            <a:chExt cx="3724699" cy="5484152"/>
          </a:xfrm>
        </p:grpSpPr>
        <p:sp>
          <p:nvSpPr>
            <p:cNvPr id="25" name="Rechthoek 78">
              <a:extLst>
                <a:ext uri="{FF2B5EF4-FFF2-40B4-BE49-F238E27FC236}">
                  <a16:creationId xmlns:a16="http://schemas.microsoft.com/office/drawing/2014/main" id="{08EE0EE7-9CBB-488C-A4A8-96FE315124EF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26" name="Ovaal 79">
              <a:extLst>
                <a:ext uri="{FF2B5EF4-FFF2-40B4-BE49-F238E27FC236}">
                  <a16:creationId xmlns:a16="http://schemas.microsoft.com/office/drawing/2014/main" id="{0309621B-3B70-4DB4-A0AC-3D08C1083917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7" name="Rechte verbindingslijn 80">
              <a:extLst>
                <a:ext uri="{FF2B5EF4-FFF2-40B4-BE49-F238E27FC236}">
                  <a16:creationId xmlns:a16="http://schemas.microsoft.com/office/drawing/2014/main" id="{595A5195-F77B-485F-B4B4-3B6693483EE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8" name="Rechte verbindingslijn 81">
              <a:extLst>
                <a:ext uri="{FF2B5EF4-FFF2-40B4-BE49-F238E27FC236}">
                  <a16:creationId xmlns:a16="http://schemas.microsoft.com/office/drawing/2014/main" id="{6E5EB08F-4D86-4B67-A2B6-51A9381697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0" name="Rechthoek 82">
              <a:extLst>
                <a:ext uri="{FF2B5EF4-FFF2-40B4-BE49-F238E27FC236}">
                  <a16:creationId xmlns:a16="http://schemas.microsoft.com/office/drawing/2014/main" id="{E2C07AA5-114A-4766-A4E1-D90863BC3CC0}"/>
                </a:ext>
              </a:extLst>
            </p:cNvPr>
            <p:cNvSpPr/>
            <p:nvPr userDrawn="1"/>
          </p:nvSpPr>
          <p:spPr>
            <a:xfrm>
              <a:off x="12757282" y="432552"/>
              <a:ext cx="335901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fbeelding door deze te selecteren en op 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m een nieuwe afbeelding in te voegen.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2" name="Ovaal 83">
              <a:extLst>
                <a:ext uri="{FF2B5EF4-FFF2-40B4-BE49-F238E27FC236}">
                  <a16:creationId xmlns:a16="http://schemas.microsoft.com/office/drawing/2014/main" id="{782FAFD6-0BC4-435A-BCDA-061DC4F9A15A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4" name="Rechthoek 84">
              <a:extLst>
                <a:ext uri="{FF2B5EF4-FFF2-40B4-BE49-F238E27FC236}">
                  <a16:creationId xmlns:a16="http://schemas.microsoft.com/office/drawing/2014/main" id="{F5C62566-713C-4226-AACA-50F6D0A41CA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" name="Groep 85">
              <a:extLst>
                <a:ext uri="{FF2B5EF4-FFF2-40B4-BE49-F238E27FC236}">
                  <a16:creationId xmlns:a16="http://schemas.microsoft.com/office/drawing/2014/main" id="{14699E00-C5BC-43D9-9335-55B37C71E20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79" name="Rechthoek 119">
                <a:extLst>
                  <a:ext uri="{FF2B5EF4-FFF2-40B4-BE49-F238E27FC236}">
                    <a16:creationId xmlns:a16="http://schemas.microsoft.com/office/drawing/2014/main" id="{DC26D3FF-0D90-4A96-AD14-03C81F0DDA3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80" name="Rechte verbindingslijn 120">
                <a:extLst>
                  <a:ext uri="{FF2B5EF4-FFF2-40B4-BE49-F238E27FC236}">
                    <a16:creationId xmlns:a16="http://schemas.microsoft.com/office/drawing/2014/main" id="{B07AFEE0-AAEB-4E58-9520-DCC13CFF98D1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81" name="Gelijkbenige driehoek 121">
                <a:extLst>
                  <a:ext uri="{FF2B5EF4-FFF2-40B4-BE49-F238E27FC236}">
                    <a16:creationId xmlns:a16="http://schemas.microsoft.com/office/drawing/2014/main" id="{B8C0303C-7A51-47C7-9AE7-D2F526F7C44C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6" name="Groep 86">
              <a:extLst>
                <a:ext uri="{FF2B5EF4-FFF2-40B4-BE49-F238E27FC236}">
                  <a16:creationId xmlns:a16="http://schemas.microsoft.com/office/drawing/2014/main" id="{5F8AD94C-7B9A-41A1-A702-7D82678117A5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73" name="Rechthoek 113">
                <a:extLst>
                  <a:ext uri="{FF2B5EF4-FFF2-40B4-BE49-F238E27FC236}">
                    <a16:creationId xmlns:a16="http://schemas.microsoft.com/office/drawing/2014/main" id="{346E73AA-9BD9-49B7-931F-EA7954EFD721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4" name="Ovaal 114">
                <a:extLst>
                  <a:ext uri="{FF2B5EF4-FFF2-40B4-BE49-F238E27FC236}">
                    <a16:creationId xmlns:a16="http://schemas.microsoft.com/office/drawing/2014/main" id="{F5CCB8D1-7824-4B2D-910C-C50602CD114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75" name="Vrije vorm: vorm 115">
                <a:extLst>
                  <a:ext uri="{FF2B5EF4-FFF2-40B4-BE49-F238E27FC236}">
                    <a16:creationId xmlns:a16="http://schemas.microsoft.com/office/drawing/2014/main" id="{D0E0CB0D-C57F-4504-B2B5-566C1025F1D6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76" name="Rechthoek: afgeronde hoeken 116">
                <a:extLst>
                  <a:ext uri="{FF2B5EF4-FFF2-40B4-BE49-F238E27FC236}">
                    <a16:creationId xmlns:a16="http://schemas.microsoft.com/office/drawing/2014/main" id="{79BE821C-E8A0-4E96-A63D-01EBCE8C737C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77" name="Rechte verbindingslijn 117">
                <a:extLst>
                  <a:ext uri="{FF2B5EF4-FFF2-40B4-BE49-F238E27FC236}">
                    <a16:creationId xmlns:a16="http://schemas.microsoft.com/office/drawing/2014/main" id="{DB12E892-8189-40EF-8A85-6A7EA311AAC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8" name="Rechte verbindingslijn 118">
                <a:extLst>
                  <a:ext uri="{FF2B5EF4-FFF2-40B4-BE49-F238E27FC236}">
                    <a16:creationId xmlns:a16="http://schemas.microsoft.com/office/drawing/2014/main" id="{31F44D82-3E86-49D6-AC54-94C660393E13}"/>
                  </a:ext>
                </a:extLst>
              </p:cNvPr>
              <p:cNvCxnSpPr>
                <a:cxnSpLocks/>
                <a:stCxn id="76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grpSp>
          <p:nvGrpSpPr>
            <p:cNvPr id="37" name="Groep 87">
              <a:extLst>
                <a:ext uri="{FF2B5EF4-FFF2-40B4-BE49-F238E27FC236}">
                  <a16:creationId xmlns:a16="http://schemas.microsoft.com/office/drawing/2014/main" id="{0092F181-8B0B-4A97-A26C-F195E4E82FC5}"/>
                </a:ext>
              </a:extLst>
            </p:cNvPr>
            <p:cNvGrpSpPr/>
            <p:nvPr userDrawn="1"/>
          </p:nvGrpSpPr>
          <p:grpSpPr>
            <a:xfrm>
              <a:off x="12391601" y="2643684"/>
              <a:ext cx="3183678" cy="2840468"/>
              <a:chOff x="12952763" y="4572241"/>
              <a:chExt cx="3183678" cy="2840468"/>
            </a:xfrm>
          </p:grpSpPr>
          <p:grpSp>
            <p:nvGrpSpPr>
              <p:cNvPr id="48" name="Meer informatie">
                <a:extLst>
                  <a:ext uri="{FF2B5EF4-FFF2-40B4-BE49-F238E27FC236}">
                    <a16:creationId xmlns:a16="http://schemas.microsoft.com/office/drawing/2014/main" id="{46F47CC9-3339-49C1-A35A-6D0DCFEDE159}"/>
                  </a:ext>
                </a:extLst>
              </p:cNvPr>
              <p:cNvGrpSpPr/>
              <p:nvPr userDrawn="1"/>
            </p:nvGrpSpPr>
            <p:grpSpPr>
              <a:xfrm>
                <a:off x="12957926" y="6629436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70" name="Freeform 101">
                  <a:extLst>
                    <a:ext uri="{FF2B5EF4-FFF2-40B4-BE49-F238E27FC236}">
                      <a16:creationId xmlns:a16="http://schemas.microsoft.com/office/drawing/2014/main" id="{4F3B90D8-5C83-46BB-8442-9E859CC6612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3859" noProof="0"/>
                </a:p>
              </p:txBody>
            </p:sp>
            <p:sp>
              <p:nvSpPr>
                <p:cNvPr id="71" name="Rechthoek 111">
                  <a:extLst>
                    <a:ext uri="{FF2B5EF4-FFF2-40B4-BE49-F238E27FC236}">
                      <a16:creationId xmlns:a16="http://schemas.microsoft.com/office/drawing/2014/main" id="{CDE70456-41E5-4DFC-8129-A3083862E9BC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3207489" eaLnBrk="1" fontAlgn="auto" latinLnBrk="0" hangingPunct="1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Meer weten?</a:t>
                  </a:r>
                  <a:b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a naar dia </a:t>
                  </a:r>
                  <a:r>
                    <a:rPr kumimoji="0" lang="nl-NL" sz="3859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´Instructie dia: YouTube links´</a:t>
                  </a: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deze in de diavoorstelling en klik op de gewenste video link.</a:t>
                  </a:r>
                </a:p>
              </p:txBody>
            </p:sp>
            <p:cxnSp>
              <p:nvCxnSpPr>
                <p:cNvPr id="72" name="Rechte verbindingslijn 112">
                  <a:extLst>
                    <a:ext uri="{FF2B5EF4-FFF2-40B4-BE49-F238E27FC236}">
                      <a16:creationId xmlns:a16="http://schemas.microsoft.com/office/drawing/2014/main" id="{99B0A9B0-D1F7-4E95-8F97-310800A65B4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49" name="Rechte verbindingslijn 89">
                <a:extLst>
                  <a:ext uri="{FF2B5EF4-FFF2-40B4-BE49-F238E27FC236}">
                    <a16:creationId xmlns:a16="http://schemas.microsoft.com/office/drawing/2014/main" id="{86A165B8-B7D0-4A07-BE9E-63819DD6249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958423" y="651155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50" name="Ovaal 90">
                <a:extLst>
                  <a:ext uri="{FF2B5EF4-FFF2-40B4-BE49-F238E27FC236}">
                    <a16:creationId xmlns:a16="http://schemas.microsoft.com/office/drawing/2014/main" id="{A5DEFE7F-75A6-4682-819F-443D4E4C7CFA}"/>
                  </a:ext>
                </a:extLst>
              </p:cNvPr>
              <p:cNvSpPr/>
              <p:nvPr userDrawn="1"/>
            </p:nvSpPr>
            <p:spPr>
              <a:xfrm>
                <a:off x="12952763" y="4690403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320748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1" name="Rechthoek 91">
                <a:extLst>
                  <a:ext uri="{FF2B5EF4-FFF2-40B4-BE49-F238E27FC236}">
                    <a16:creationId xmlns:a16="http://schemas.microsoft.com/office/drawing/2014/main" id="{59151D17-0759-43DE-AF90-3529903D9EB5}"/>
                  </a:ext>
                </a:extLst>
              </p:cNvPr>
              <p:cNvSpPr/>
              <p:nvPr userDrawn="1"/>
            </p:nvSpPr>
            <p:spPr>
              <a:xfrm>
                <a:off x="13318445" y="4756466"/>
                <a:ext cx="2817996" cy="887319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Om de afbeelding te schalen of bij te snijden, ga naar de tab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Hulpmiddelen voor afbeeldingen - Opmaak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 en klik op de knop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Bijsnijden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Schaal met de bolletjes de afbeelding en met de hoekjes het afbeeldingskader.</a:t>
                </a:r>
                <a:endPara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52" name="Rechte verbindingslijn 92">
                <a:extLst>
                  <a:ext uri="{FF2B5EF4-FFF2-40B4-BE49-F238E27FC236}">
                    <a16:creationId xmlns:a16="http://schemas.microsoft.com/office/drawing/2014/main" id="{71A8FFD9-B8B5-4511-8198-52DE5D02641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958423" y="457224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53" name="Groep 93">
                <a:extLst>
                  <a:ext uri="{FF2B5EF4-FFF2-40B4-BE49-F238E27FC236}">
                    <a16:creationId xmlns:a16="http://schemas.microsoft.com/office/drawing/2014/main" id="{526C11E9-F307-4840-91A5-57DC1CA903E0}"/>
                  </a:ext>
                </a:extLst>
              </p:cNvPr>
              <p:cNvGrpSpPr/>
              <p:nvPr userDrawn="1"/>
            </p:nvGrpSpPr>
            <p:grpSpPr>
              <a:xfrm>
                <a:off x="13257676" y="5773610"/>
                <a:ext cx="514284" cy="612917"/>
                <a:chOff x="12682980" y="3403271"/>
                <a:chExt cx="622284" cy="741637"/>
              </a:xfrm>
            </p:grpSpPr>
            <p:grpSp>
              <p:nvGrpSpPr>
                <p:cNvPr id="54" name="Groep 94">
                  <a:extLst>
                    <a:ext uri="{FF2B5EF4-FFF2-40B4-BE49-F238E27FC236}">
                      <a16:creationId xmlns:a16="http://schemas.microsoft.com/office/drawing/2014/main" id="{95A5E7B9-EC06-429E-9740-65D401D27AD4}"/>
                    </a:ext>
                  </a:extLst>
                </p:cNvPr>
                <p:cNvGrpSpPr/>
                <p:nvPr userDrawn="1"/>
              </p:nvGrpSpPr>
              <p:grpSpPr>
                <a:xfrm>
                  <a:off x="12771568" y="3403271"/>
                  <a:ext cx="467138" cy="448459"/>
                  <a:chOff x="12782195" y="3403271"/>
                  <a:chExt cx="467138" cy="448459"/>
                </a:xfrm>
              </p:grpSpPr>
              <p:grpSp>
                <p:nvGrpSpPr>
                  <p:cNvPr id="57" name="Groep 97">
                    <a:extLst>
                      <a:ext uri="{FF2B5EF4-FFF2-40B4-BE49-F238E27FC236}">
                        <a16:creationId xmlns:a16="http://schemas.microsoft.com/office/drawing/2014/main" id="{E2607B29-2789-42C4-9F57-642ECD64247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2782195" y="3403271"/>
                    <a:ext cx="412967" cy="393910"/>
                    <a:chOff x="13554906" y="3320143"/>
                    <a:chExt cx="443906" cy="423422"/>
                  </a:xfrm>
                </p:grpSpPr>
                <p:grpSp>
                  <p:nvGrpSpPr>
                    <p:cNvPr id="64" name="Groep 104">
                      <a:extLst>
                        <a:ext uri="{FF2B5EF4-FFF2-40B4-BE49-F238E27FC236}">
                          <a16:creationId xmlns:a16="http://schemas.microsoft.com/office/drawing/2014/main" id="{9D8BFFDC-3964-4F5C-8247-5ABF9FD11453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3554906" y="3320143"/>
                      <a:ext cx="443906" cy="423422"/>
                      <a:chOff x="12909684" y="1276177"/>
                      <a:chExt cx="443906" cy="423422"/>
                    </a:xfrm>
                  </p:grpSpPr>
                  <p:sp>
                    <p:nvSpPr>
                      <p:cNvPr id="67" name="Rechthoek 107">
                        <a:extLst>
                          <a:ext uri="{FF2B5EF4-FFF2-40B4-BE49-F238E27FC236}">
                            <a16:creationId xmlns:a16="http://schemas.microsoft.com/office/drawing/2014/main" id="{CD2A55FF-A46B-4661-9B7F-23AD0E518D9A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2918700" y="1285299"/>
                        <a:ext cx="434890" cy="414300"/>
                      </a:xfrm>
                      <a:prstGeom prst="rect">
                        <a:avLst/>
                      </a:prstGeom>
                      <a:noFill/>
                      <a:ln w="12700">
                        <a:solidFill>
                          <a:srgbClr val="818181"/>
                        </a:solidFill>
                        <a:prstDash val="dash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2105"/>
                          </a:spcBef>
                          <a:spcAft>
                            <a:spcPts val="2105"/>
                          </a:spcAft>
                        </a:pPr>
                        <a:endParaRPr lang="nl-NL" sz="2806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68" name="Rechthoek 108">
                        <a:extLst>
                          <a:ext uri="{FF2B5EF4-FFF2-40B4-BE49-F238E27FC236}">
                            <a16:creationId xmlns:a16="http://schemas.microsoft.com/office/drawing/2014/main" id="{7DE6CA22-FA69-48A0-A30F-1B03FF452AEB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2909684" y="1276177"/>
                        <a:ext cx="261629" cy="257808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12700">
                        <a:solidFill>
                          <a:srgbClr val="81818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2105"/>
                          </a:spcBef>
                          <a:spcAft>
                            <a:spcPts val="2105"/>
                          </a:spcAft>
                        </a:pPr>
                        <a:endParaRPr lang="nl-NL" sz="2806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69" name="Ovaal 109">
                        <a:extLst>
                          <a:ext uri="{FF2B5EF4-FFF2-40B4-BE49-F238E27FC236}">
                            <a16:creationId xmlns:a16="http://schemas.microsoft.com/office/drawing/2014/main" id="{E770EB0E-9FCB-4378-90F1-CE5A96CB8A84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3069071" y="1308734"/>
                        <a:ext cx="72187" cy="72188"/>
                      </a:xfrm>
                      <a:prstGeom prst="ellipse">
                        <a:avLst/>
                      </a:prstGeom>
                      <a:solidFill>
                        <a:srgbClr val="ECC679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="horz" wrap="square" lIns="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l"/>
                        <a:endParaRPr lang="nl-NL" sz="3509" b="1" noProof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  <p:pic>
                  <p:nvPicPr>
                    <p:cNvPr id="65" name="Afbeelding 105">
                      <a:extLst>
                        <a:ext uri="{FF2B5EF4-FFF2-40B4-BE49-F238E27FC236}">
                          <a16:creationId xmlns:a16="http://schemas.microsoft.com/office/drawing/2014/main" id="{A908E851-5DBE-41F9-B8D3-F4049A78A6F8}"/>
                        </a:ext>
                      </a:extLst>
                    </p:cNvPr>
                    <p:cNvPicPr>
                      <a:picLocks noChangeAspect="1"/>
                    </p:cNvPicPr>
                    <p:nvPr userDrawn="1"/>
                  </p:nvPicPr>
                  <p:blipFill>
                    <a:blip r:embed="rId2" cstate="screen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3567296" y="3424991"/>
                      <a:ext cx="173367" cy="14022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66" name="Afbeelding 106">
                      <a:extLst>
                        <a:ext uri="{FF2B5EF4-FFF2-40B4-BE49-F238E27FC236}">
                          <a16:creationId xmlns:a16="http://schemas.microsoft.com/office/drawing/2014/main" id="{33504082-DE75-41F9-A941-D892141DA144}"/>
                        </a:ext>
                      </a:extLst>
                    </p:cNvPr>
                    <p:cNvPicPr>
                      <a:picLocks noChangeAspect="1"/>
                    </p:cNvPicPr>
                    <p:nvPr userDrawn="1"/>
                  </p:nvPicPr>
                  <p:blipFill>
                    <a:blip r:embed="rId4" cstate="screen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5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flipH="1">
                      <a:off x="13635598" y="3454393"/>
                      <a:ext cx="173366" cy="111424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58" name="Groep 98">
                    <a:extLst>
                      <a:ext uri="{FF2B5EF4-FFF2-40B4-BE49-F238E27FC236}">
                        <a16:creationId xmlns:a16="http://schemas.microsoft.com/office/drawing/2014/main" id="{E05FAD33-582F-478C-B621-F8AB94A3EFF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103513" y="3705278"/>
                    <a:ext cx="145820" cy="146452"/>
                    <a:chOff x="13096169" y="3602288"/>
                    <a:chExt cx="145820" cy="146452"/>
                  </a:xfrm>
                </p:grpSpPr>
                <p:sp>
                  <p:nvSpPr>
                    <p:cNvPr id="62" name="Rechthoek 102">
                      <a:extLst>
                        <a:ext uri="{FF2B5EF4-FFF2-40B4-BE49-F238E27FC236}">
                          <a16:creationId xmlns:a16="http://schemas.microsoft.com/office/drawing/2014/main" id="{54C9EB89-249E-4D91-BF0A-963D2814762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96169" y="360228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3" name="Rechthoek 103">
                      <a:extLst>
                        <a:ext uri="{FF2B5EF4-FFF2-40B4-BE49-F238E27FC236}">
                          <a16:creationId xmlns:a16="http://schemas.microsoft.com/office/drawing/2014/main" id="{AD4BEEFB-7F67-492A-BE70-5693AECE2A2E}"/>
                        </a:ext>
                      </a:extLst>
                    </p:cNvPr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grpSp>
                <p:nvGrpSpPr>
                  <p:cNvPr id="59" name="Groep 99">
                    <a:extLst>
                      <a:ext uri="{FF2B5EF4-FFF2-40B4-BE49-F238E27FC236}">
                        <a16:creationId xmlns:a16="http://schemas.microsoft.com/office/drawing/2014/main" id="{DBA98214-9D86-4134-8CA6-4AC018C54C77}"/>
                      </a:ext>
                    </a:extLst>
                  </p:cNvPr>
                  <p:cNvGrpSpPr/>
                  <p:nvPr userDrawn="1"/>
                </p:nvGrpSpPr>
                <p:grpSpPr>
                  <a:xfrm rot="10800000">
                    <a:off x="13061402" y="3665668"/>
                    <a:ext cx="145820" cy="146461"/>
                    <a:chOff x="13096169" y="3602248"/>
                    <a:chExt cx="145820" cy="146461"/>
                  </a:xfrm>
                </p:grpSpPr>
                <p:sp>
                  <p:nvSpPr>
                    <p:cNvPr id="60" name="Rechthoek 100">
                      <a:extLst>
                        <a:ext uri="{FF2B5EF4-FFF2-40B4-BE49-F238E27FC236}">
                          <a16:creationId xmlns:a16="http://schemas.microsoft.com/office/drawing/2014/main" id="{ED580141-F5F4-4A8B-82E6-F8102185EF0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96169" y="360224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1" name="Rechthoek 101">
                      <a:extLst>
                        <a:ext uri="{FF2B5EF4-FFF2-40B4-BE49-F238E27FC236}">
                          <a16:creationId xmlns:a16="http://schemas.microsoft.com/office/drawing/2014/main" id="{1EC6A88F-C59D-407C-B40A-23D0643DA3C5}"/>
                        </a:ext>
                      </a:extLst>
                    </p:cNvPr>
                    <p:cNvSpPr/>
                    <p:nvPr userDrawn="1"/>
                  </p:nvSpPr>
                  <p:spPr>
                    <a:xfrm rot="5400000">
                      <a:off x="13037453" y="3661605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  <p:sp>
              <p:nvSpPr>
                <p:cNvPr id="55" name="Rechthoek 95">
                  <a:extLst>
                    <a:ext uri="{FF2B5EF4-FFF2-40B4-BE49-F238E27FC236}">
                      <a16:creationId xmlns:a16="http://schemas.microsoft.com/office/drawing/2014/main" id="{3210FEEE-416F-4ED2-9573-0D7AFC95E5F9}"/>
                    </a:ext>
                  </a:extLst>
                </p:cNvPr>
                <p:cNvSpPr/>
                <p:nvPr userDrawn="1"/>
              </p:nvSpPr>
              <p:spPr>
                <a:xfrm>
                  <a:off x="12682980" y="3889920"/>
                  <a:ext cx="622284" cy="16117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r>
                    <a:rPr lang="nl-NL" sz="3158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Bijsnijden</a:t>
                  </a:r>
                </a:p>
              </p:txBody>
            </p:sp>
            <p:sp>
              <p:nvSpPr>
                <p:cNvPr id="56" name="Gelijkbenige driehoek 96">
                  <a:extLst>
                    <a:ext uri="{FF2B5EF4-FFF2-40B4-BE49-F238E27FC236}">
                      <a16:creationId xmlns:a16="http://schemas.microsoft.com/office/drawing/2014/main" id="{BB343D76-EFA6-4D56-89B0-EA34F1C07AAA}"/>
                    </a:ext>
                  </a:extLst>
                </p:cNvPr>
                <p:cNvSpPr/>
                <p:nvPr userDrawn="1"/>
              </p:nvSpPr>
              <p:spPr>
                <a:xfrm rot="10800000">
                  <a:off x="12950688" y="4093761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pic>
        <p:nvPicPr>
          <p:cNvPr id="82" name="Afbeelding 81">
            <a:extLst>
              <a:ext uri="{FF2B5EF4-FFF2-40B4-BE49-F238E27FC236}">
                <a16:creationId xmlns:a16="http://schemas.microsoft.com/office/drawing/2014/main" id="{4267A6BF-8856-45AD-8DCE-2F7DFF35BC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8041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kaders + Uitleg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grpSp>
        <p:nvGrpSpPr>
          <p:cNvPr id="38" name="GRID" hidden="1">
            <a:extLst>
              <a:ext uri="{FF2B5EF4-FFF2-40B4-BE49-F238E27FC236}">
                <a16:creationId xmlns:a16="http://schemas.microsoft.com/office/drawing/2014/main" id="{51D5F7E8-69F8-47AD-81F5-1645C97607C1}"/>
              </a:ext>
            </a:extLst>
          </p:cNvPr>
          <p:cNvGrpSpPr/>
          <p:nvPr userDrawn="1"/>
        </p:nvGrpSpPr>
        <p:grpSpPr>
          <a:xfrm>
            <a:off x="5" y="0"/>
            <a:ext cx="42767261" cy="30275213"/>
            <a:chOff x="0" y="0"/>
            <a:chExt cx="12192003" cy="6858000"/>
          </a:xfrm>
        </p:grpSpPr>
        <p:sp>
          <p:nvSpPr>
            <p:cNvPr id="39" name="Rechthoek 38">
              <a:extLst>
                <a:ext uri="{FF2B5EF4-FFF2-40B4-BE49-F238E27FC236}">
                  <a16:creationId xmlns:a16="http://schemas.microsoft.com/office/drawing/2014/main" id="{71DB2C92-E6A8-4532-98F6-C917E7F5CD17}"/>
                </a:ext>
              </a:extLst>
            </p:cNvPr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0" name="Rechthoek 39">
              <a:extLst>
                <a:ext uri="{FF2B5EF4-FFF2-40B4-BE49-F238E27FC236}">
                  <a16:creationId xmlns:a16="http://schemas.microsoft.com/office/drawing/2014/main" id="{1283F161-5F8A-45E1-A9F2-F823FC1CB0A5}"/>
                </a:ext>
              </a:extLst>
            </p:cNvPr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1" name="Rechthoek 40">
              <a:extLst>
                <a:ext uri="{FF2B5EF4-FFF2-40B4-BE49-F238E27FC236}">
                  <a16:creationId xmlns:a16="http://schemas.microsoft.com/office/drawing/2014/main" id="{E25AE021-76F4-4113-9019-FB3CB3351AD2}"/>
                </a:ext>
              </a:extLst>
            </p:cNvPr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2" name="Rechthoek 41">
              <a:extLst>
                <a:ext uri="{FF2B5EF4-FFF2-40B4-BE49-F238E27FC236}">
                  <a16:creationId xmlns:a16="http://schemas.microsoft.com/office/drawing/2014/main" id="{4F56F574-960D-4395-B98C-5F49ED9EF418}"/>
                </a:ext>
              </a:extLst>
            </p:cNvPr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34E307D0-CCA0-4BDF-BC5F-E19838E9F7DA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4" name="Rechthoek 43">
              <a:extLst>
                <a:ext uri="{FF2B5EF4-FFF2-40B4-BE49-F238E27FC236}">
                  <a16:creationId xmlns:a16="http://schemas.microsoft.com/office/drawing/2014/main" id="{2AEE0B25-FBCC-4048-A2C0-6D97C3E7FEB7}"/>
                </a:ext>
              </a:extLst>
            </p:cNvPr>
            <p:cNvSpPr/>
            <p:nvPr userDrawn="1"/>
          </p:nvSpPr>
          <p:spPr>
            <a:xfrm rot="5400000">
              <a:off x="5895976" y="-108104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618A8028-D7C0-455A-B6A5-E5ECB2C2A8D6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Voettekst</a:t>
            </a:r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9" y="27329718"/>
            <a:ext cx="834509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1B658E1F-0E98-4ED4-B7E8-3A0C15D75D3F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687079" y="6308636"/>
            <a:ext cx="5345254" cy="5484109"/>
          </a:xfrm>
          <a:custGeom>
            <a:avLst/>
            <a:gdLst>
              <a:gd name="connsiteX0" fmla="*/ 0 w 6217773"/>
              <a:gd name="connsiteY0" fmla="*/ 631093 h 5069018"/>
              <a:gd name="connsiteX1" fmla="*/ 631093 w 6217773"/>
              <a:gd name="connsiteY1" fmla="*/ 0 h 5069018"/>
              <a:gd name="connsiteX2" fmla="*/ 5586680 w 6217773"/>
              <a:gd name="connsiteY2" fmla="*/ 0 h 5069018"/>
              <a:gd name="connsiteX3" fmla="*/ 6217773 w 6217773"/>
              <a:gd name="connsiteY3" fmla="*/ 631093 h 5069018"/>
              <a:gd name="connsiteX4" fmla="*/ 6217773 w 6217773"/>
              <a:gd name="connsiteY4" fmla="*/ 4437925 h 5069018"/>
              <a:gd name="connsiteX5" fmla="*/ 5586680 w 6217773"/>
              <a:gd name="connsiteY5" fmla="*/ 5069018 h 5069018"/>
              <a:gd name="connsiteX6" fmla="*/ 631093 w 6217773"/>
              <a:gd name="connsiteY6" fmla="*/ 5069018 h 5069018"/>
              <a:gd name="connsiteX7" fmla="*/ 0 w 6217773"/>
              <a:gd name="connsiteY7" fmla="*/ 4437925 h 5069018"/>
              <a:gd name="connsiteX8" fmla="*/ 0 w 6217773"/>
              <a:gd name="connsiteY8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31029 w 6248802"/>
              <a:gd name="connsiteY0" fmla="*/ 638400 h 5076325"/>
              <a:gd name="connsiteX1" fmla="*/ 35792 w 6248802"/>
              <a:gd name="connsiteY1" fmla="*/ 228 h 5076325"/>
              <a:gd name="connsiteX2" fmla="*/ 662122 w 6248802"/>
              <a:gd name="connsiteY2" fmla="*/ 7307 h 5076325"/>
              <a:gd name="connsiteX3" fmla="*/ 5617709 w 6248802"/>
              <a:gd name="connsiteY3" fmla="*/ 7307 h 5076325"/>
              <a:gd name="connsiteX4" fmla="*/ 6248802 w 6248802"/>
              <a:gd name="connsiteY4" fmla="*/ 638400 h 5076325"/>
              <a:gd name="connsiteX5" fmla="*/ 6248802 w 6248802"/>
              <a:gd name="connsiteY5" fmla="*/ 4445232 h 5076325"/>
              <a:gd name="connsiteX6" fmla="*/ 5617709 w 6248802"/>
              <a:gd name="connsiteY6" fmla="*/ 5076325 h 5076325"/>
              <a:gd name="connsiteX7" fmla="*/ 662122 w 6248802"/>
              <a:gd name="connsiteY7" fmla="*/ 5076325 h 5076325"/>
              <a:gd name="connsiteX8" fmla="*/ 31029 w 6248802"/>
              <a:gd name="connsiteY8" fmla="*/ 4445232 h 5076325"/>
              <a:gd name="connsiteX9" fmla="*/ 31029 w 6248802"/>
              <a:gd name="connsiteY9" fmla="*/ 638400 h 5076325"/>
              <a:gd name="connsiteX0" fmla="*/ 0 w 6217773"/>
              <a:gd name="connsiteY0" fmla="*/ 638860 h 5076785"/>
              <a:gd name="connsiteX1" fmla="*/ 4763 w 6217773"/>
              <a:gd name="connsiteY1" fmla="*/ 688 h 5076785"/>
              <a:gd name="connsiteX2" fmla="*/ 631093 w 6217773"/>
              <a:gd name="connsiteY2" fmla="*/ 7767 h 5076785"/>
              <a:gd name="connsiteX3" fmla="*/ 5586680 w 6217773"/>
              <a:gd name="connsiteY3" fmla="*/ 7767 h 5076785"/>
              <a:gd name="connsiteX4" fmla="*/ 6217773 w 6217773"/>
              <a:gd name="connsiteY4" fmla="*/ 638860 h 5076785"/>
              <a:gd name="connsiteX5" fmla="*/ 6217773 w 6217773"/>
              <a:gd name="connsiteY5" fmla="*/ 4445692 h 5076785"/>
              <a:gd name="connsiteX6" fmla="*/ 5586680 w 6217773"/>
              <a:gd name="connsiteY6" fmla="*/ 5076785 h 5076785"/>
              <a:gd name="connsiteX7" fmla="*/ 631093 w 6217773"/>
              <a:gd name="connsiteY7" fmla="*/ 5076785 h 5076785"/>
              <a:gd name="connsiteX8" fmla="*/ 0 w 6217773"/>
              <a:gd name="connsiteY8" fmla="*/ 4445692 h 5076785"/>
              <a:gd name="connsiteX9" fmla="*/ 0 w 6217773"/>
              <a:gd name="connsiteY9" fmla="*/ 638860 h 5076785"/>
              <a:gd name="connsiteX0" fmla="*/ 64 w 6217837"/>
              <a:gd name="connsiteY0" fmla="*/ 638860 h 5076785"/>
              <a:gd name="connsiteX1" fmla="*/ 4827 w 6217837"/>
              <a:gd name="connsiteY1" fmla="*/ 688 h 5076785"/>
              <a:gd name="connsiteX2" fmla="*/ 631157 w 6217837"/>
              <a:gd name="connsiteY2" fmla="*/ 7767 h 5076785"/>
              <a:gd name="connsiteX3" fmla="*/ 5586744 w 6217837"/>
              <a:gd name="connsiteY3" fmla="*/ 7767 h 5076785"/>
              <a:gd name="connsiteX4" fmla="*/ 6217837 w 6217837"/>
              <a:gd name="connsiteY4" fmla="*/ 638860 h 5076785"/>
              <a:gd name="connsiteX5" fmla="*/ 6217837 w 6217837"/>
              <a:gd name="connsiteY5" fmla="*/ 4445692 h 5076785"/>
              <a:gd name="connsiteX6" fmla="*/ 5586744 w 6217837"/>
              <a:gd name="connsiteY6" fmla="*/ 5076785 h 5076785"/>
              <a:gd name="connsiteX7" fmla="*/ 631157 w 6217837"/>
              <a:gd name="connsiteY7" fmla="*/ 5076785 h 5076785"/>
              <a:gd name="connsiteX8" fmla="*/ 64 w 6217837"/>
              <a:gd name="connsiteY8" fmla="*/ 4445692 h 5076785"/>
              <a:gd name="connsiteX9" fmla="*/ 64 w 6217837"/>
              <a:gd name="connsiteY9" fmla="*/ 638860 h 5076785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586744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17837" h="5069018">
                <a:moveTo>
                  <a:pt x="64" y="631093"/>
                </a:moveTo>
                <a:cubicBezTo>
                  <a:pt x="4033" y="467051"/>
                  <a:pt x="-5105" y="12378"/>
                  <a:pt x="4827" y="2446"/>
                </a:cubicBezTo>
                <a:cubicBezTo>
                  <a:pt x="11584" y="-1136"/>
                  <a:pt x="507287" y="937"/>
                  <a:pt x="631157" y="0"/>
                </a:cubicBezTo>
                <a:lnTo>
                  <a:pt x="5586744" y="0"/>
                </a:lnTo>
                <a:cubicBezTo>
                  <a:pt x="5935287" y="0"/>
                  <a:pt x="6217837" y="282550"/>
                  <a:pt x="6217837" y="631093"/>
                </a:cubicBezTo>
                <a:lnTo>
                  <a:pt x="6217837" y="4437925"/>
                </a:lnTo>
                <a:cubicBezTo>
                  <a:pt x="6217837" y="4786468"/>
                  <a:pt x="5935287" y="5069018"/>
                  <a:pt x="5586744" y="5069018"/>
                </a:cubicBezTo>
                <a:lnTo>
                  <a:pt x="631157" y="5069018"/>
                </a:lnTo>
                <a:cubicBezTo>
                  <a:pt x="282614" y="5069018"/>
                  <a:pt x="64" y="4786468"/>
                  <a:pt x="64" y="4437925"/>
                </a:cubicBezTo>
                <a:lnTo>
                  <a:pt x="64" y="631093"/>
                </a:lnTo>
                <a:close/>
              </a:path>
            </a:pathLst>
          </a:custGeom>
          <a:solidFill>
            <a:schemeClr val="bg2"/>
          </a:solidFill>
        </p:spPr>
        <p:txBody>
          <a:bodyPr lIns="360000" tIns="360000" rIns="360000" bIns="360000"/>
          <a:lstStyle>
            <a:lvl1pPr algn="ctr">
              <a:defRPr sz="4209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Punt 1</a:t>
            </a:r>
          </a:p>
        </p:txBody>
      </p:sp>
      <p:sp>
        <p:nvSpPr>
          <p:cNvPr id="24" name="Tijdelijke aanduiding voor tekst 3">
            <a:extLst>
              <a:ext uri="{FF2B5EF4-FFF2-40B4-BE49-F238E27FC236}">
                <a16:creationId xmlns:a16="http://schemas.microsoft.com/office/drawing/2014/main" id="{9403E59F-DA7E-493E-A75C-18B2CDC74E5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687079" y="13268192"/>
            <a:ext cx="5345254" cy="5484109"/>
          </a:xfrm>
          <a:custGeom>
            <a:avLst/>
            <a:gdLst>
              <a:gd name="connsiteX0" fmla="*/ 0 w 6217773"/>
              <a:gd name="connsiteY0" fmla="*/ 631093 h 5069018"/>
              <a:gd name="connsiteX1" fmla="*/ 631093 w 6217773"/>
              <a:gd name="connsiteY1" fmla="*/ 0 h 5069018"/>
              <a:gd name="connsiteX2" fmla="*/ 5586680 w 6217773"/>
              <a:gd name="connsiteY2" fmla="*/ 0 h 5069018"/>
              <a:gd name="connsiteX3" fmla="*/ 6217773 w 6217773"/>
              <a:gd name="connsiteY3" fmla="*/ 631093 h 5069018"/>
              <a:gd name="connsiteX4" fmla="*/ 6217773 w 6217773"/>
              <a:gd name="connsiteY4" fmla="*/ 4437925 h 5069018"/>
              <a:gd name="connsiteX5" fmla="*/ 5586680 w 6217773"/>
              <a:gd name="connsiteY5" fmla="*/ 5069018 h 5069018"/>
              <a:gd name="connsiteX6" fmla="*/ 631093 w 6217773"/>
              <a:gd name="connsiteY6" fmla="*/ 5069018 h 5069018"/>
              <a:gd name="connsiteX7" fmla="*/ 0 w 6217773"/>
              <a:gd name="connsiteY7" fmla="*/ 4437925 h 5069018"/>
              <a:gd name="connsiteX8" fmla="*/ 0 w 6217773"/>
              <a:gd name="connsiteY8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31029 w 6248802"/>
              <a:gd name="connsiteY0" fmla="*/ 638400 h 5076325"/>
              <a:gd name="connsiteX1" fmla="*/ 35792 w 6248802"/>
              <a:gd name="connsiteY1" fmla="*/ 228 h 5076325"/>
              <a:gd name="connsiteX2" fmla="*/ 662122 w 6248802"/>
              <a:gd name="connsiteY2" fmla="*/ 7307 h 5076325"/>
              <a:gd name="connsiteX3" fmla="*/ 5617709 w 6248802"/>
              <a:gd name="connsiteY3" fmla="*/ 7307 h 5076325"/>
              <a:gd name="connsiteX4" fmla="*/ 6248802 w 6248802"/>
              <a:gd name="connsiteY4" fmla="*/ 638400 h 5076325"/>
              <a:gd name="connsiteX5" fmla="*/ 6248802 w 6248802"/>
              <a:gd name="connsiteY5" fmla="*/ 4445232 h 5076325"/>
              <a:gd name="connsiteX6" fmla="*/ 5617709 w 6248802"/>
              <a:gd name="connsiteY6" fmla="*/ 5076325 h 5076325"/>
              <a:gd name="connsiteX7" fmla="*/ 662122 w 6248802"/>
              <a:gd name="connsiteY7" fmla="*/ 5076325 h 5076325"/>
              <a:gd name="connsiteX8" fmla="*/ 31029 w 6248802"/>
              <a:gd name="connsiteY8" fmla="*/ 4445232 h 5076325"/>
              <a:gd name="connsiteX9" fmla="*/ 31029 w 6248802"/>
              <a:gd name="connsiteY9" fmla="*/ 638400 h 5076325"/>
              <a:gd name="connsiteX0" fmla="*/ 0 w 6217773"/>
              <a:gd name="connsiteY0" fmla="*/ 638860 h 5076785"/>
              <a:gd name="connsiteX1" fmla="*/ 4763 w 6217773"/>
              <a:gd name="connsiteY1" fmla="*/ 688 h 5076785"/>
              <a:gd name="connsiteX2" fmla="*/ 631093 w 6217773"/>
              <a:gd name="connsiteY2" fmla="*/ 7767 h 5076785"/>
              <a:gd name="connsiteX3" fmla="*/ 5586680 w 6217773"/>
              <a:gd name="connsiteY3" fmla="*/ 7767 h 5076785"/>
              <a:gd name="connsiteX4" fmla="*/ 6217773 w 6217773"/>
              <a:gd name="connsiteY4" fmla="*/ 638860 h 5076785"/>
              <a:gd name="connsiteX5" fmla="*/ 6217773 w 6217773"/>
              <a:gd name="connsiteY5" fmla="*/ 4445692 h 5076785"/>
              <a:gd name="connsiteX6" fmla="*/ 5586680 w 6217773"/>
              <a:gd name="connsiteY6" fmla="*/ 5076785 h 5076785"/>
              <a:gd name="connsiteX7" fmla="*/ 631093 w 6217773"/>
              <a:gd name="connsiteY7" fmla="*/ 5076785 h 5076785"/>
              <a:gd name="connsiteX8" fmla="*/ 0 w 6217773"/>
              <a:gd name="connsiteY8" fmla="*/ 4445692 h 5076785"/>
              <a:gd name="connsiteX9" fmla="*/ 0 w 6217773"/>
              <a:gd name="connsiteY9" fmla="*/ 638860 h 5076785"/>
              <a:gd name="connsiteX0" fmla="*/ 64 w 6217837"/>
              <a:gd name="connsiteY0" fmla="*/ 638860 h 5076785"/>
              <a:gd name="connsiteX1" fmla="*/ 4827 w 6217837"/>
              <a:gd name="connsiteY1" fmla="*/ 688 h 5076785"/>
              <a:gd name="connsiteX2" fmla="*/ 631157 w 6217837"/>
              <a:gd name="connsiteY2" fmla="*/ 7767 h 5076785"/>
              <a:gd name="connsiteX3" fmla="*/ 5586744 w 6217837"/>
              <a:gd name="connsiteY3" fmla="*/ 7767 h 5076785"/>
              <a:gd name="connsiteX4" fmla="*/ 6217837 w 6217837"/>
              <a:gd name="connsiteY4" fmla="*/ 638860 h 5076785"/>
              <a:gd name="connsiteX5" fmla="*/ 6217837 w 6217837"/>
              <a:gd name="connsiteY5" fmla="*/ 4445692 h 5076785"/>
              <a:gd name="connsiteX6" fmla="*/ 5586744 w 6217837"/>
              <a:gd name="connsiteY6" fmla="*/ 5076785 h 5076785"/>
              <a:gd name="connsiteX7" fmla="*/ 631157 w 6217837"/>
              <a:gd name="connsiteY7" fmla="*/ 5076785 h 5076785"/>
              <a:gd name="connsiteX8" fmla="*/ 64 w 6217837"/>
              <a:gd name="connsiteY8" fmla="*/ 4445692 h 5076785"/>
              <a:gd name="connsiteX9" fmla="*/ 64 w 6217837"/>
              <a:gd name="connsiteY9" fmla="*/ 638860 h 5076785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586744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17837" h="5069018">
                <a:moveTo>
                  <a:pt x="64" y="631093"/>
                </a:moveTo>
                <a:cubicBezTo>
                  <a:pt x="4033" y="467051"/>
                  <a:pt x="-5105" y="12378"/>
                  <a:pt x="4827" y="2446"/>
                </a:cubicBezTo>
                <a:cubicBezTo>
                  <a:pt x="11584" y="-1136"/>
                  <a:pt x="507287" y="937"/>
                  <a:pt x="631157" y="0"/>
                </a:cubicBezTo>
                <a:lnTo>
                  <a:pt x="5586744" y="0"/>
                </a:lnTo>
                <a:cubicBezTo>
                  <a:pt x="5935287" y="0"/>
                  <a:pt x="6217837" y="282550"/>
                  <a:pt x="6217837" y="631093"/>
                </a:cubicBezTo>
                <a:lnTo>
                  <a:pt x="6217837" y="4437925"/>
                </a:lnTo>
                <a:cubicBezTo>
                  <a:pt x="6217837" y="4786468"/>
                  <a:pt x="5935287" y="5069018"/>
                  <a:pt x="5586744" y="5069018"/>
                </a:cubicBezTo>
                <a:lnTo>
                  <a:pt x="631157" y="5069018"/>
                </a:lnTo>
                <a:cubicBezTo>
                  <a:pt x="282614" y="5069018"/>
                  <a:pt x="64" y="4786468"/>
                  <a:pt x="64" y="4437925"/>
                </a:cubicBezTo>
                <a:lnTo>
                  <a:pt x="64" y="631093"/>
                </a:lnTo>
                <a:close/>
              </a:path>
            </a:pathLst>
          </a:custGeom>
          <a:solidFill>
            <a:schemeClr val="bg2"/>
          </a:solidFill>
        </p:spPr>
        <p:txBody>
          <a:bodyPr lIns="360000" tIns="360000" rIns="360000" bIns="360000"/>
          <a:lstStyle>
            <a:lvl1pPr algn="ctr">
              <a:defRPr sz="4209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Punt 2</a:t>
            </a:r>
          </a:p>
        </p:txBody>
      </p:sp>
      <p:sp>
        <p:nvSpPr>
          <p:cNvPr id="25" name="Tijdelijke aanduiding voor tekst 3">
            <a:extLst>
              <a:ext uri="{FF2B5EF4-FFF2-40B4-BE49-F238E27FC236}">
                <a16:creationId xmlns:a16="http://schemas.microsoft.com/office/drawing/2014/main" id="{18770FDC-CD6D-4A8D-A3C8-1090C7435D39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687079" y="20230721"/>
            <a:ext cx="5345254" cy="5484109"/>
          </a:xfrm>
          <a:custGeom>
            <a:avLst/>
            <a:gdLst>
              <a:gd name="connsiteX0" fmla="*/ 0 w 6217773"/>
              <a:gd name="connsiteY0" fmla="*/ 631093 h 5069018"/>
              <a:gd name="connsiteX1" fmla="*/ 631093 w 6217773"/>
              <a:gd name="connsiteY1" fmla="*/ 0 h 5069018"/>
              <a:gd name="connsiteX2" fmla="*/ 5586680 w 6217773"/>
              <a:gd name="connsiteY2" fmla="*/ 0 h 5069018"/>
              <a:gd name="connsiteX3" fmla="*/ 6217773 w 6217773"/>
              <a:gd name="connsiteY3" fmla="*/ 631093 h 5069018"/>
              <a:gd name="connsiteX4" fmla="*/ 6217773 w 6217773"/>
              <a:gd name="connsiteY4" fmla="*/ 4437925 h 5069018"/>
              <a:gd name="connsiteX5" fmla="*/ 5586680 w 6217773"/>
              <a:gd name="connsiteY5" fmla="*/ 5069018 h 5069018"/>
              <a:gd name="connsiteX6" fmla="*/ 631093 w 6217773"/>
              <a:gd name="connsiteY6" fmla="*/ 5069018 h 5069018"/>
              <a:gd name="connsiteX7" fmla="*/ 0 w 6217773"/>
              <a:gd name="connsiteY7" fmla="*/ 4437925 h 5069018"/>
              <a:gd name="connsiteX8" fmla="*/ 0 w 6217773"/>
              <a:gd name="connsiteY8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31029 w 6248802"/>
              <a:gd name="connsiteY0" fmla="*/ 638400 h 5076325"/>
              <a:gd name="connsiteX1" fmla="*/ 35792 w 6248802"/>
              <a:gd name="connsiteY1" fmla="*/ 228 h 5076325"/>
              <a:gd name="connsiteX2" fmla="*/ 662122 w 6248802"/>
              <a:gd name="connsiteY2" fmla="*/ 7307 h 5076325"/>
              <a:gd name="connsiteX3" fmla="*/ 5617709 w 6248802"/>
              <a:gd name="connsiteY3" fmla="*/ 7307 h 5076325"/>
              <a:gd name="connsiteX4" fmla="*/ 6248802 w 6248802"/>
              <a:gd name="connsiteY4" fmla="*/ 638400 h 5076325"/>
              <a:gd name="connsiteX5" fmla="*/ 6248802 w 6248802"/>
              <a:gd name="connsiteY5" fmla="*/ 4445232 h 5076325"/>
              <a:gd name="connsiteX6" fmla="*/ 5617709 w 6248802"/>
              <a:gd name="connsiteY6" fmla="*/ 5076325 h 5076325"/>
              <a:gd name="connsiteX7" fmla="*/ 662122 w 6248802"/>
              <a:gd name="connsiteY7" fmla="*/ 5076325 h 5076325"/>
              <a:gd name="connsiteX8" fmla="*/ 31029 w 6248802"/>
              <a:gd name="connsiteY8" fmla="*/ 4445232 h 5076325"/>
              <a:gd name="connsiteX9" fmla="*/ 31029 w 6248802"/>
              <a:gd name="connsiteY9" fmla="*/ 638400 h 5076325"/>
              <a:gd name="connsiteX0" fmla="*/ 0 w 6217773"/>
              <a:gd name="connsiteY0" fmla="*/ 638860 h 5076785"/>
              <a:gd name="connsiteX1" fmla="*/ 4763 w 6217773"/>
              <a:gd name="connsiteY1" fmla="*/ 688 h 5076785"/>
              <a:gd name="connsiteX2" fmla="*/ 631093 w 6217773"/>
              <a:gd name="connsiteY2" fmla="*/ 7767 h 5076785"/>
              <a:gd name="connsiteX3" fmla="*/ 5586680 w 6217773"/>
              <a:gd name="connsiteY3" fmla="*/ 7767 h 5076785"/>
              <a:gd name="connsiteX4" fmla="*/ 6217773 w 6217773"/>
              <a:gd name="connsiteY4" fmla="*/ 638860 h 5076785"/>
              <a:gd name="connsiteX5" fmla="*/ 6217773 w 6217773"/>
              <a:gd name="connsiteY5" fmla="*/ 4445692 h 5076785"/>
              <a:gd name="connsiteX6" fmla="*/ 5586680 w 6217773"/>
              <a:gd name="connsiteY6" fmla="*/ 5076785 h 5076785"/>
              <a:gd name="connsiteX7" fmla="*/ 631093 w 6217773"/>
              <a:gd name="connsiteY7" fmla="*/ 5076785 h 5076785"/>
              <a:gd name="connsiteX8" fmla="*/ 0 w 6217773"/>
              <a:gd name="connsiteY8" fmla="*/ 4445692 h 5076785"/>
              <a:gd name="connsiteX9" fmla="*/ 0 w 6217773"/>
              <a:gd name="connsiteY9" fmla="*/ 638860 h 5076785"/>
              <a:gd name="connsiteX0" fmla="*/ 64 w 6217837"/>
              <a:gd name="connsiteY0" fmla="*/ 638860 h 5076785"/>
              <a:gd name="connsiteX1" fmla="*/ 4827 w 6217837"/>
              <a:gd name="connsiteY1" fmla="*/ 688 h 5076785"/>
              <a:gd name="connsiteX2" fmla="*/ 631157 w 6217837"/>
              <a:gd name="connsiteY2" fmla="*/ 7767 h 5076785"/>
              <a:gd name="connsiteX3" fmla="*/ 5586744 w 6217837"/>
              <a:gd name="connsiteY3" fmla="*/ 7767 h 5076785"/>
              <a:gd name="connsiteX4" fmla="*/ 6217837 w 6217837"/>
              <a:gd name="connsiteY4" fmla="*/ 638860 h 5076785"/>
              <a:gd name="connsiteX5" fmla="*/ 6217837 w 6217837"/>
              <a:gd name="connsiteY5" fmla="*/ 4445692 h 5076785"/>
              <a:gd name="connsiteX6" fmla="*/ 5586744 w 6217837"/>
              <a:gd name="connsiteY6" fmla="*/ 5076785 h 5076785"/>
              <a:gd name="connsiteX7" fmla="*/ 631157 w 6217837"/>
              <a:gd name="connsiteY7" fmla="*/ 5076785 h 5076785"/>
              <a:gd name="connsiteX8" fmla="*/ 64 w 6217837"/>
              <a:gd name="connsiteY8" fmla="*/ 4445692 h 5076785"/>
              <a:gd name="connsiteX9" fmla="*/ 64 w 6217837"/>
              <a:gd name="connsiteY9" fmla="*/ 638860 h 5076785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586744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17837" h="5069018">
                <a:moveTo>
                  <a:pt x="64" y="631093"/>
                </a:moveTo>
                <a:cubicBezTo>
                  <a:pt x="4033" y="467051"/>
                  <a:pt x="-5105" y="12378"/>
                  <a:pt x="4827" y="2446"/>
                </a:cubicBezTo>
                <a:cubicBezTo>
                  <a:pt x="11584" y="-1136"/>
                  <a:pt x="507287" y="937"/>
                  <a:pt x="631157" y="0"/>
                </a:cubicBezTo>
                <a:lnTo>
                  <a:pt x="5586744" y="0"/>
                </a:lnTo>
                <a:cubicBezTo>
                  <a:pt x="5935287" y="0"/>
                  <a:pt x="6217837" y="282550"/>
                  <a:pt x="6217837" y="631093"/>
                </a:cubicBezTo>
                <a:lnTo>
                  <a:pt x="6217837" y="4437925"/>
                </a:lnTo>
                <a:cubicBezTo>
                  <a:pt x="6217837" y="4786468"/>
                  <a:pt x="5935287" y="5069018"/>
                  <a:pt x="5586744" y="5069018"/>
                </a:cubicBezTo>
                <a:lnTo>
                  <a:pt x="631157" y="5069018"/>
                </a:lnTo>
                <a:cubicBezTo>
                  <a:pt x="282614" y="5069018"/>
                  <a:pt x="64" y="4786468"/>
                  <a:pt x="64" y="4437925"/>
                </a:cubicBezTo>
                <a:lnTo>
                  <a:pt x="64" y="631093"/>
                </a:lnTo>
                <a:close/>
              </a:path>
            </a:pathLst>
          </a:custGeom>
          <a:solidFill>
            <a:schemeClr val="bg2"/>
          </a:solidFill>
        </p:spPr>
        <p:txBody>
          <a:bodyPr lIns="360000" tIns="360000" rIns="360000" bIns="360000"/>
          <a:lstStyle>
            <a:lvl1pPr algn="ctr">
              <a:defRPr sz="4209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Punt 3</a:t>
            </a:r>
          </a:p>
        </p:txBody>
      </p:sp>
      <p:sp>
        <p:nvSpPr>
          <p:cNvPr id="21" name="Tijdelijke aanduiding voor tekst 2">
            <a:extLst>
              <a:ext uri="{FF2B5EF4-FFF2-40B4-BE49-F238E27FC236}">
                <a16:creationId xmlns:a16="http://schemas.microsoft.com/office/drawing/2014/main" id="{93201188-BF14-4AD6-B8D4-12C6EDF4869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33803" y="6316510"/>
            <a:ext cx="25627524" cy="5476873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089185" y="2382"/>
                </a:lnTo>
                <a:cubicBezTo>
                  <a:pt x="7208841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08841" y="1240632"/>
                  <a:pt x="7089185" y="1240632"/>
                </a:cubicBezTo>
                <a:lnTo>
                  <a:pt x="216824" y="1240632"/>
                </a:lnTo>
                <a:cubicBezTo>
                  <a:pt x="9716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>
              <a:spcAft>
                <a:spcPts val="0"/>
              </a:spcAft>
              <a:defRPr sz="4209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6" name="Tijdelijke aanduiding voor tekst 2">
            <a:extLst>
              <a:ext uri="{FF2B5EF4-FFF2-40B4-BE49-F238E27FC236}">
                <a16:creationId xmlns:a16="http://schemas.microsoft.com/office/drawing/2014/main" id="{6BECFFED-1A12-4250-8E12-F2451314694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533803" y="13275428"/>
            <a:ext cx="25627524" cy="5476873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089185" y="2382"/>
                </a:lnTo>
                <a:cubicBezTo>
                  <a:pt x="7208841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08841" y="1240632"/>
                  <a:pt x="7089185" y="1240632"/>
                </a:cubicBezTo>
                <a:lnTo>
                  <a:pt x="216824" y="1240632"/>
                </a:lnTo>
                <a:cubicBezTo>
                  <a:pt x="9716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>
              <a:spcAft>
                <a:spcPts val="0"/>
              </a:spcAft>
              <a:defRPr sz="4209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7" name="Tijdelijke aanduiding voor tekst 2">
            <a:extLst>
              <a:ext uri="{FF2B5EF4-FFF2-40B4-BE49-F238E27FC236}">
                <a16:creationId xmlns:a16="http://schemas.microsoft.com/office/drawing/2014/main" id="{9A7B8253-F6CE-4FCD-AB4A-5EBAC3E7B2E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533803" y="20234339"/>
            <a:ext cx="25627524" cy="5476873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089185" y="2382"/>
                </a:lnTo>
                <a:cubicBezTo>
                  <a:pt x="7208841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08841" y="1240632"/>
                  <a:pt x="7089185" y="1240632"/>
                </a:cubicBezTo>
                <a:lnTo>
                  <a:pt x="216824" y="1240632"/>
                </a:lnTo>
                <a:cubicBezTo>
                  <a:pt x="9716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>
              <a:spcAft>
                <a:spcPts val="0"/>
              </a:spcAft>
              <a:defRPr sz="4209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pic>
        <p:nvPicPr>
          <p:cNvPr id="34" name="Afbeelding 33">
            <a:extLst>
              <a:ext uri="{FF2B5EF4-FFF2-40B4-BE49-F238E27FC236}">
                <a16:creationId xmlns:a16="http://schemas.microsoft.com/office/drawing/2014/main" id="{C1D6ADE6-9F8A-4FFA-9F89-B845469FFC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0064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kaders + Uitleg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Tijdelijke aanduiding voor tekst 3">
            <a:extLst>
              <a:ext uri="{FF2B5EF4-FFF2-40B4-BE49-F238E27FC236}">
                <a16:creationId xmlns:a16="http://schemas.microsoft.com/office/drawing/2014/main" id="{62C5E5DA-733C-4AA3-9467-0732E67E8A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687079" y="21776191"/>
            <a:ext cx="5345254" cy="3935018"/>
          </a:xfrm>
          <a:custGeom>
            <a:avLst/>
            <a:gdLst>
              <a:gd name="connsiteX0" fmla="*/ 0 w 6217773"/>
              <a:gd name="connsiteY0" fmla="*/ 631093 h 5069018"/>
              <a:gd name="connsiteX1" fmla="*/ 631093 w 6217773"/>
              <a:gd name="connsiteY1" fmla="*/ 0 h 5069018"/>
              <a:gd name="connsiteX2" fmla="*/ 5586680 w 6217773"/>
              <a:gd name="connsiteY2" fmla="*/ 0 h 5069018"/>
              <a:gd name="connsiteX3" fmla="*/ 6217773 w 6217773"/>
              <a:gd name="connsiteY3" fmla="*/ 631093 h 5069018"/>
              <a:gd name="connsiteX4" fmla="*/ 6217773 w 6217773"/>
              <a:gd name="connsiteY4" fmla="*/ 4437925 h 5069018"/>
              <a:gd name="connsiteX5" fmla="*/ 5586680 w 6217773"/>
              <a:gd name="connsiteY5" fmla="*/ 5069018 h 5069018"/>
              <a:gd name="connsiteX6" fmla="*/ 631093 w 6217773"/>
              <a:gd name="connsiteY6" fmla="*/ 5069018 h 5069018"/>
              <a:gd name="connsiteX7" fmla="*/ 0 w 6217773"/>
              <a:gd name="connsiteY7" fmla="*/ 4437925 h 5069018"/>
              <a:gd name="connsiteX8" fmla="*/ 0 w 6217773"/>
              <a:gd name="connsiteY8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31029 w 6248802"/>
              <a:gd name="connsiteY0" fmla="*/ 638400 h 5076325"/>
              <a:gd name="connsiteX1" fmla="*/ 35792 w 6248802"/>
              <a:gd name="connsiteY1" fmla="*/ 228 h 5076325"/>
              <a:gd name="connsiteX2" fmla="*/ 662122 w 6248802"/>
              <a:gd name="connsiteY2" fmla="*/ 7307 h 5076325"/>
              <a:gd name="connsiteX3" fmla="*/ 5617709 w 6248802"/>
              <a:gd name="connsiteY3" fmla="*/ 7307 h 5076325"/>
              <a:gd name="connsiteX4" fmla="*/ 6248802 w 6248802"/>
              <a:gd name="connsiteY4" fmla="*/ 638400 h 5076325"/>
              <a:gd name="connsiteX5" fmla="*/ 6248802 w 6248802"/>
              <a:gd name="connsiteY5" fmla="*/ 4445232 h 5076325"/>
              <a:gd name="connsiteX6" fmla="*/ 5617709 w 6248802"/>
              <a:gd name="connsiteY6" fmla="*/ 5076325 h 5076325"/>
              <a:gd name="connsiteX7" fmla="*/ 662122 w 6248802"/>
              <a:gd name="connsiteY7" fmla="*/ 5076325 h 5076325"/>
              <a:gd name="connsiteX8" fmla="*/ 31029 w 6248802"/>
              <a:gd name="connsiteY8" fmla="*/ 4445232 h 5076325"/>
              <a:gd name="connsiteX9" fmla="*/ 31029 w 6248802"/>
              <a:gd name="connsiteY9" fmla="*/ 638400 h 5076325"/>
              <a:gd name="connsiteX0" fmla="*/ 0 w 6217773"/>
              <a:gd name="connsiteY0" fmla="*/ 638860 h 5076785"/>
              <a:gd name="connsiteX1" fmla="*/ 4763 w 6217773"/>
              <a:gd name="connsiteY1" fmla="*/ 688 h 5076785"/>
              <a:gd name="connsiteX2" fmla="*/ 631093 w 6217773"/>
              <a:gd name="connsiteY2" fmla="*/ 7767 h 5076785"/>
              <a:gd name="connsiteX3" fmla="*/ 5586680 w 6217773"/>
              <a:gd name="connsiteY3" fmla="*/ 7767 h 5076785"/>
              <a:gd name="connsiteX4" fmla="*/ 6217773 w 6217773"/>
              <a:gd name="connsiteY4" fmla="*/ 638860 h 5076785"/>
              <a:gd name="connsiteX5" fmla="*/ 6217773 w 6217773"/>
              <a:gd name="connsiteY5" fmla="*/ 4445692 h 5076785"/>
              <a:gd name="connsiteX6" fmla="*/ 5586680 w 6217773"/>
              <a:gd name="connsiteY6" fmla="*/ 5076785 h 5076785"/>
              <a:gd name="connsiteX7" fmla="*/ 631093 w 6217773"/>
              <a:gd name="connsiteY7" fmla="*/ 5076785 h 5076785"/>
              <a:gd name="connsiteX8" fmla="*/ 0 w 6217773"/>
              <a:gd name="connsiteY8" fmla="*/ 4445692 h 5076785"/>
              <a:gd name="connsiteX9" fmla="*/ 0 w 6217773"/>
              <a:gd name="connsiteY9" fmla="*/ 638860 h 5076785"/>
              <a:gd name="connsiteX0" fmla="*/ 64 w 6217837"/>
              <a:gd name="connsiteY0" fmla="*/ 638860 h 5076785"/>
              <a:gd name="connsiteX1" fmla="*/ 4827 w 6217837"/>
              <a:gd name="connsiteY1" fmla="*/ 688 h 5076785"/>
              <a:gd name="connsiteX2" fmla="*/ 631157 w 6217837"/>
              <a:gd name="connsiteY2" fmla="*/ 7767 h 5076785"/>
              <a:gd name="connsiteX3" fmla="*/ 5586744 w 6217837"/>
              <a:gd name="connsiteY3" fmla="*/ 7767 h 5076785"/>
              <a:gd name="connsiteX4" fmla="*/ 6217837 w 6217837"/>
              <a:gd name="connsiteY4" fmla="*/ 638860 h 5076785"/>
              <a:gd name="connsiteX5" fmla="*/ 6217837 w 6217837"/>
              <a:gd name="connsiteY5" fmla="*/ 4445692 h 5076785"/>
              <a:gd name="connsiteX6" fmla="*/ 5586744 w 6217837"/>
              <a:gd name="connsiteY6" fmla="*/ 5076785 h 5076785"/>
              <a:gd name="connsiteX7" fmla="*/ 631157 w 6217837"/>
              <a:gd name="connsiteY7" fmla="*/ 5076785 h 5076785"/>
              <a:gd name="connsiteX8" fmla="*/ 64 w 6217837"/>
              <a:gd name="connsiteY8" fmla="*/ 4445692 h 5076785"/>
              <a:gd name="connsiteX9" fmla="*/ 64 w 6217837"/>
              <a:gd name="connsiteY9" fmla="*/ 638860 h 5076785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586744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19941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17837" h="5069018">
                <a:moveTo>
                  <a:pt x="64" y="631093"/>
                </a:moveTo>
                <a:cubicBezTo>
                  <a:pt x="4033" y="467051"/>
                  <a:pt x="-5105" y="12378"/>
                  <a:pt x="4827" y="2446"/>
                </a:cubicBezTo>
                <a:cubicBezTo>
                  <a:pt x="11584" y="-1136"/>
                  <a:pt x="507287" y="937"/>
                  <a:pt x="631157" y="0"/>
                </a:cubicBezTo>
                <a:lnTo>
                  <a:pt x="5819941" y="0"/>
                </a:lnTo>
                <a:cubicBezTo>
                  <a:pt x="6168484" y="0"/>
                  <a:pt x="6217837" y="282550"/>
                  <a:pt x="6217837" y="631093"/>
                </a:cubicBezTo>
                <a:lnTo>
                  <a:pt x="6217837" y="4437925"/>
                </a:lnTo>
                <a:cubicBezTo>
                  <a:pt x="6217837" y="4786468"/>
                  <a:pt x="6155528" y="5069018"/>
                  <a:pt x="5806985" y="5069018"/>
                </a:cubicBezTo>
                <a:lnTo>
                  <a:pt x="449783" y="5069018"/>
                </a:lnTo>
                <a:cubicBezTo>
                  <a:pt x="101240" y="5069018"/>
                  <a:pt x="64" y="4786468"/>
                  <a:pt x="64" y="4437925"/>
                </a:cubicBezTo>
                <a:lnTo>
                  <a:pt x="64" y="631093"/>
                </a:lnTo>
                <a:close/>
              </a:path>
            </a:pathLst>
          </a:custGeom>
          <a:solidFill>
            <a:schemeClr val="bg2"/>
          </a:solidFill>
        </p:spPr>
        <p:txBody>
          <a:bodyPr lIns="504000" tIns="252000" rIns="252000" bIns="360000"/>
          <a:lstStyle>
            <a:lvl1pPr>
              <a:defRPr sz="4209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Punt 4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grpSp>
        <p:nvGrpSpPr>
          <p:cNvPr id="38" name="GRID" hidden="1">
            <a:extLst>
              <a:ext uri="{FF2B5EF4-FFF2-40B4-BE49-F238E27FC236}">
                <a16:creationId xmlns:a16="http://schemas.microsoft.com/office/drawing/2014/main" id="{51D5F7E8-69F8-47AD-81F5-1645C97607C1}"/>
              </a:ext>
            </a:extLst>
          </p:cNvPr>
          <p:cNvGrpSpPr/>
          <p:nvPr userDrawn="1"/>
        </p:nvGrpSpPr>
        <p:grpSpPr>
          <a:xfrm>
            <a:off x="5" y="0"/>
            <a:ext cx="42767261" cy="30275213"/>
            <a:chOff x="0" y="0"/>
            <a:chExt cx="12192003" cy="6858000"/>
          </a:xfrm>
        </p:grpSpPr>
        <p:sp>
          <p:nvSpPr>
            <p:cNvPr id="39" name="Rechthoek 38">
              <a:extLst>
                <a:ext uri="{FF2B5EF4-FFF2-40B4-BE49-F238E27FC236}">
                  <a16:creationId xmlns:a16="http://schemas.microsoft.com/office/drawing/2014/main" id="{71DB2C92-E6A8-4532-98F6-C917E7F5CD17}"/>
                </a:ext>
              </a:extLst>
            </p:cNvPr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0" name="Rechthoek 39">
              <a:extLst>
                <a:ext uri="{FF2B5EF4-FFF2-40B4-BE49-F238E27FC236}">
                  <a16:creationId xmlns:a16="http://schemas.microsoft.com/office/drawing/2014/main" id="{1283F161-5F8A-45E1-A9F2-F823FC1CB0A5}"/>
                </a:ext>
              </a:extLst>
            </p:cNvPr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1" name="Rechthoek 40">
              <a:extLst>
                <a:ext uri="{FF2B5EF4-FFF2-40B4-BE49-F238E27FC236}">
                  <a16:creationId xmlns:a16="http://schemas.microsoft.com/office/drawing/2014/main" id="{E25AE021-76F4-4113-9019-FB3CB3351AD2}"/>
                </a:ext>
              </a:extLst>
            </p:cNvPr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2" name="Rechthoek 41">
              <a:extLst>
                <a:ext uri="{FF2B5EF4-FFF2-40B4-BE49-F238E27FC236}">
                  <a16:creationId xmlns:a16="http://schemas.microsoft.com/office/drawing/2014/main" id="{4F56F574-960D-4395-B98C-5F49ED9EF418}"/>
                </a:ext>
              </a:extLst>
            </p:cNvPr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34E307D0-CCA0-4BDF-BC5F-E19838E9F7DA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4" name="Rechthoek 43">
              <a:extLst>
                <a:ext uri="{FF2B5EF4-FFF2-40B4-BE49-F238E27FC236}">
                  <a16:creationId xmlns:a16="http://schemas.microsoft.com/office/drawing/2014/main" id="{2AEE0B25-FBCC-4048-A2C0-6D97C3E7FEB7}"/>
                </a:ext>
              </a:extLst>
            </p:cNvPr>
            <p:cNvSpPr/>
            <p:nvPr userDrawn="1"/>
          </p:nvSpPr>
          <p:spPr>
            <a:xfrm rot="5400000">
              <a:off x="5895976" y="-108104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endParaRPr lang="nl-NL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endParaRPr lang="nl-NL" noProof="0"/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8"/>
            <a:ext cx="707315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1B658E1F-0E98-4ED4-B7E8-3A0C15D75D3F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687079" y="6308642"/>
            <a:ext cx="5345254" cy="3935018"/>
          </a:xfrm>
          <a:custGeom>
            <a:avLst/>
            <a:gdLst>
              <a:gd name="connsiteX0" fmla="*/ 0 w 6217773"/>
              <a:gd name="connsiteY0" fmla="*/ 631093 h 5069018"/>
              <a:gd name="connsiteX1" fmla="*/ 631093 w 6217773"/>
              <a:gd name="connsiteY1" fmla="*/ 0 h 5069018"/>
              <a:gd name="connsiteX2" fmla="*/ 5586680 w 6217773"/>
              <a:gd name="connsiteY2" fmla="*/ 0 h 5069018"/>
              <a:gd name="connsiteX3" fmla="*/ 6217773 w 6217773"/>
              <a:gd name="connsiteY3" fmla="*/ 631093 h 5069018"/>
              <a:gd name="connsiteX4" fmla="*/ 6217773 w 6217773"/>
              <a:gd name="connsiteY4" fmla="*/ 4437925 h 5069018"/>
              <a:gd name="connsiteX5" fmla="*/ 5586680 w 6217773"/>
              <a:gd name="connsiteY5" fmla="*/ 5069018 h 5069018"/>
              <a:gd name="connsiteX6" fmla="*/ 631093 w 6217773"/>
              <a:gd name="connsiteY6" fmla="*/ 5069018 h 5069018"/>
              <a:gd name="connsiteX7" fmla="*/ 0 w 6217773"/>
              <a:gd name="connsiteY7" fmla="*/ 4437925 h 5069018"/>
              <a:gd name="connsiteX8" fmla="*/ 0 w 6217773"/>
              <a:gd name="connsiteY8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31029 w 6248802"/>
              <a:gd name="connsiteY0" fmla="*/ 638400 h 5076325"/>
              <a:gd name="connsiteX1" fmla="*/ 35792 w 6248802"/>
              <a:gd name="connsiteY1" fmla="*/ 228 h 5076325"/>
              <a:gd name="connsiteX2" fmla="*/ 662122 w 6248802"/>
              <a:gd name="connsiteY2" fmla="*/ 7307 h 5076325"/>
              <a:gd name="connsiteX3" fmla="*/ 5617709 w 6248802"/>
              <a:gd name="connsiteY3" fmla="*/ 7307 h 5076325"/>
              <a:gd name="connsiteX4" fmla="*/ 6248802 w 6248802"/>
              <a:gd name="connsiteY4" fmla="*/ 638400 h 5076325"/>
              <a:gd name="connsiteX5" fmla="*/ 6248802 w 6248802"/>
              <a:gd name="connsiteY5" fmla="*/ 4445232 h 5076325"/>
              <a:gd name="connsiteX6" fmla="*/ 5617709 w 6248802"/>
              <a:gd name="connsiteY6" fmla="*/ 5076325 h 5076325"/>
              <a:gd name="connsiteX7" fmla="*/ 662122 w 6248802"/>
              <a:gd name="connsiteY7" fmla="*/ 5076325 h 5076325"/>
              <a:gd name="connsiteX8" fmla="*/ 31029 w 6248802"/>
              <a:gd name="connsiteY8" fmla="*/ 4445232 h 5076325"/>
              <a:gd name="connsiteX9" fmla="*/ 31029 w 6248802"/>
              <a:gd name="connsiteY9" fmla="*/ 638400 h 5076325"/>
              <a:gd name="connsiteX0" fmla="*/ 0 w 6217773"/>
              <a:gd name="connsiteY0" fmla="*/ 638860 h 5076785"/>
              <a:gd name="connsiteX1" fmla="*/ 4763 w 6217773"/>
              <a:gd name="connsiteY1" fmla="*/ 688 h 5076785"/>
              <a:gd name="connsiteX2" fmla="*/ 631093 w 6217773"/>
              <a:gd name="connsiteY2" fmla="*/ 7767 h 5076785"/>
              <a:gd name="connsiteX3" fmla="*/ 5586680 w 6217773"/>
              <a:gd name="connsiteY3" fmla="*/ 7767 h 5076785"/>
              <a:gd name="connsiteX4" fmla="*/ 6217773 w 6217773"/>
              <a:gd name="connsiteY4" fmla="*/ 638860 h 5076785"/>
              <a:gd name="connsiteX5" fmla="*/ 6217773 w 6217773"/>
              <a:gd name="connsiteY5" fmla="*/ 4445692 h 5076785"/>
              <a:gd name="connsiteX6" fmla="*/ 5586680 w 6217773"/>
              <a:gd name="connsiteY6" fmla="*/ 5076785 h 5076785"/>
              <a:gd name="connsiteX7" fmla="*/ 631093 w 6217773"/>
              <a:gd name="connsiteY7" fmla="*/ 5076785 h 5076785"/>
              <a:gd name="connsiteX8" fmla="*/ 0 w 6217773"/>
              <a:gd name="connsiteY8" fmla="*/ 4445692 h 5076785"/>
              <a:gd name="connsiteX9" fmla="*/ 0 w 6217773"/>
              <a:gd name="connsiteY9" fmla="*/ 638860 h 5076785"/>
              <a:gd name="connsiteX0" fmla="*/ 64 w 6217837"/>
              <a:gd name="connsiteY0" fmla="*/ 638860 h 5076785"/>
              <a:gd name="connsiteX1" fmla="*/ 4827 w 6217837"/>
              <a:gd name="connsiteY1" fmla="*/ 688 h 5076785"/>
              <a:gd name="connsiteX2" fmla="*/ 631157 w 6217837"/>
              <a:gd name="connsiteY2" fmla="*/ 7767 h 5076785"/>
              <a:gd name="connsiteX3" fmla="*/ 5586744 w 6217837"/>
              <a:gd name="connsiteY3" fmla="*/ 7767 h 5076785"/>
              <a:gd name="connsiteX4" fmla="*/ 6217837 w 6217837"/>
              <a:gd name="connsiteY4" fmla="*/ 638860 h 5076785"/>
              <a:gd name="connsiteX5" fmla="*/ 6217837 w 6217837"/>
              <a:gd name="connsiteY5" fmla="*/ 4445692 h 5076785"/>
              <a:gd name="connsiteX6" fmla="*/ 5586744 w 6217837"/>
              <a:gd name="connsiteY6" fmla="*/ 5076785 h 5076785"/>
              <a:gd name="connsiteX7" fmla="*/ 631157 w 6217837"/>
              <a:gd name="connsiteY7" fmla="*/ 5076785 h 5076785"/>
              <a:gd name="connsiteX8" fmla="*/ 64 w 6217837"/>
              <a:gd name="connsiteY8" fmla="*/ 4445692 h 5076785"/>
              <a:gd name="connsiteX9" fmla="*/ 64 w 6217837"/>
              <a:gd name="connsiteY9" fmla="*/ 638860 h 5076785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586744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19941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17837" h="5069018">
                <a:moveTo>
                  <a:pt x="64" y="631093"/>
                </a:moveTo>
                <a:cubicBezTo>
                  <a:pt x="4033" y="467051"/>
                  <a:pt x="-5105" y="12378"/>
                  <a:pt x="4827" y="2446"/>
                </a:cubicBezTo>
                <a:cubicBezTo>
                  <a:pt x="11584" y="-1136"/>
                  <a:pt x="507287" y="937"/>
                  <a:pt x="631157" y="0"/>
                </a:cubicBezTo>
                <a:lnTo>
                  <a:pt x="5819941" y="0"/>
                </a:lnTo>
                <a:cubicBezTo>
                  <a:pt x="6168484" y="0"/>
                  <a:pt x="6217837" y="282550"/>
                  <a:pt x="6217837" y="631093"/>
                </a:cubicBezTo>
                <a:lnTo>
                  <a:pt x="6217837" y="4437925"/>
                </a:lnTo>
                <a:cubicBezTo>
                  <a:pt x="6217837" y="4786468"/>
                  <a:pt x="6155528" y="5069018"/>
                  <a:pt x="5806985" y="5069018"/>
                </a:cubicBezTo>
                <a:lnTo>
                  <a:pt x="449783" y="5069018"/>
                </a:lnTo>
                <a:cubicBezTo>
                  <a:pt x="101240" y="5069018"/>
                  <a:pt x="64" y="4786468"/>
                  <a:pt x="64" y="4437925"/>
                </a:cubicBezTo>
                <a:lnTo>
                  <a:pt x="64" y="631093"/>
                </a:lnTo>
                <a:close/>
              </a:path>
            </a:pathLst>
          </a:custGeom>
          <a:solidFill>
            <a:schemeClr val="bg2"/>
          </a:solidFill>
        </p:spPr>
        <p:txBody>
          <a:bodyPr lIns="504000" tIns="252000" rIns="252000" bIns="360000"/>
          <a:lstStyle>
            <a:lvl1pPr>
              <a:defRPr sz="4209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Punt 1</a:t>
            </a:r>
          </a:p>
        </p:txBody>
      </p:sp>
      <p:sp>
        <p:nvSpPr>
          <p:cNvPr id="163" name="Tijdelijke aanduiding voor tekst 3">
            <a:extLst>
              <a:ext uri="{FF2B5EF4-FFF2-40B4-BE49-F238E27FC236}">
                <a16:creationId xmlns:a16="http://schemas.microsoft.com/office/drawing/2014/main" id="{D63CF0FC-A378-4DBC-879D-CF2808176423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687079" y="11464491"/>
            <a:ext cx="5345254" cy="3935018"/>
          </a:xfrm>
          <a:custGeom>
            <a:avLst/>
            <a:gdLst>
              <a:gd name="connsiteX0" fmla="*/ 0 w 6217773"/>
              <a:gd name="connsiteY0" fmla="*/ 631093 h 5069018"/>
              <a:gd name="connsiteX1" fmla="*/ 631093 w 6217773"/>
              <a:gd name="connsiteY1" fmla="*/ 0 h 5069018"/>
              <a:gd name="connsiteX2" fmla="*/ 5586680 w 6217773"/>
              <a:gd name="connsiteY2" fmla="*/ 0 h 5069018"/>
              <a:gd name="connsiteX3" fmla="*/ 6217773 w 6217773"/>
              <a:gd name="connsiteY3" fmla="*/ 631093 h 5069018"/>
              <a:gd name="connsiteX4" fmla="*/ 6217773 w 6217773"/>
              <a:gd name="connsiteY4" fmla="*/ 4437925 h 5069018"/>
              <a:gd name="connsiteX5" fmla="*/ 5586680 w 6217773"/>
              <a:gd name="connsiteY5" fmla="*/ 5069018 h 5069018"/>
              <a:gd name="connsiteX6" fmla="*/ 631093 w 6217773"/>
              <a:gd name="connsiteY6" fmla="*/ 5069018 h 5069018"/>
              <a:gd name="connsiteX7" fmla="*/ 0 w 6217773"/>
              <a:gd name="connsiteY7" fmla="*/ 4437925 h 5069018"/>
              <a:gd name="connsiteX8" fmla="*/ 0 w 6217773"/>
              <a:gd name="connsiteY8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31029 w 6248802"/>
              <a:gd name="connsiteY0" fmla="*/ 638400 h 5076325"/>
              <a:gd name="connsiteX1" fmla="*/ 35792 w 6248802"/>
              <a:gd name="connsiteY1" fmla="*/ 228 h 5076325"/>
              <a:gd name="connsiteX2" fmla="*/ 662122 w 6248802"/>
              <a:gd name="connsiteY2" fmla="*/ 7307 h 5076325"/>
              <a:gd name="connsiteX3" fmla="*/ 5617709 w 6248802"/>
              <a:gd name="connsiteY3" fmla="*/ 7307 h 5076325"/>
              <a:gd name="connsiteX4" fmla="*/ 6248802 w 6248802"/>
              <a:gd name="connsiteY4" fmla="*/ 638400 h 5076325"/>
              <a:gd name="connsiteX5" fmla="*/ 6248802 w 6248802"/>
              <a:gd name="connsiteY5" fmla="*/ 4445232 h 5076325"/>
              <a:gd name="connsiteX6" fmla="*/ 5617709 w 6248802"/>
              <a:gd name="connsiteY6" fmla="*/ 5076325 h 5076325"/>
              <a:gd name="connsiteX7" fmla="*/ 662122 w 6248802"/>
              <a:gd name="connsiteY7" fmla="*/ 5076325 h 5076325"/>
              <a:gd name="connsiteX8" fmla="*/ 31029 w 6248802"/>
              <a:gd name="connsiteY8" fmla="*/ 4445232 h 5076325"/>
              <a:gd name="connsiteX9" fmla="*/ 31029 w 6248802"/>
              <a:gd name="connsiteY9" fmla="*/ 638400 h 5076325"/>
              <a:gd name="connsiteX0" fmla="*/ 0 w 6217773"/>
              <a:gd name="connsiteY0" fmla="*/ 638860 h 5076785"/>
              <a:gd name="connsiteX1" fmla="*/ 4763 w 6217773"/>
              <a:gd name="connsiteY1" fmla="*/ 688 h 5076785"/>
              <a:gd name="connsiteX2" fmla="*/ 631093 w 6217773"/>
              <a:gd name="connsiteY2" fmla="*/ 7767 h 5076785"/>
              <a:gd name="connsiteX3" fmla="*/ 5586680 w 6217773"/>
              <a:gd name="connsiteY3" fmla="*/ 7767 h 5076785"/>
              <a:gd name="connsiteX4" fmla="*/ 6217773 w 6217773"/>
              <a:gd name="connsiteY4" fmla="*/ 638860 h 5076785"/>
              <a:gd name="connsiteX5" fmla="*/ 6217773 w 6217773"/>
              <a:gd name="connsiteY5" fmla="*/ 4445692 h 5076785"/>
              <a:gd name="connsiteX6" fmla="*/ 5586680 w 6217773"/>
              <a:gd name="connsiteY6" fmla="*/ 5076785 h 5076785"/>
              <a:gd name="connsiteX7" fmla="*/ 631093 w 6217773"/>
              <a:gd name="connsiteY7" fmla="*/ 5076785 h 5076785"/>
              <a:gd name="connsiteX8" fmla="*/ 0 w 6217773"/>
              <a:gd name="connsiteY8" fmla="*/ 4445692 h 5076785"/>
              <a:gd name="connsiteX9" fmla="*/ 0 w 6217773"/>
              <a:gd name="connsiteY9" fmla="*/ 638860 h 5076785"/>
              <a:gd name="connsiteX0" fmla="*/ 64 w 6217837"/>
              <a:gd name="connsiteY0" fmla="*/ 638860 h 5076785"/>
              <a:gd name="connsiteX1" fmla="*/ 4827 w 6217837"/>
              <a:gd name="connsiteY1" fmla="*/ 688 h 5076785"/>
              <a:gd name="connsiteX2" fmla="*/ 631157 w 6217837"/>
              <a:gd name="connsiteY2" fmla="*/ 7767 h 5076785"/>
              <a:gd name="connsiteX3" fmla="*/ 5586744 w 6217837"/>
              <a:gd name="connsiteY3" fmla="*/ 7767 h 5076785"/>
              <a:gd name="connsiteX4" fmla="*/ 6217837 w 6217837"/>
              <a:gd name="connsiteY4" fmla="*/ 638860 h 5076785"/>
              <a:gd name="connsiteX5" fmla="*/ 6217837 w 6217837"/>
              <a:gd name="connsiteY5" fmla="*/ 4445692 h 5076785"/>
              <a:gd name="connsiteX6" fmla="*/ 5586744 w 6217837"/>
              <a:gd name="connsiteY6" fmla="*/ 5076785 h 5076785"/>
              <a:gd name="connsiteX7" fmla="*/ 631157 w 6217837"/>
              <a:gd name="connsiteY7" fmla="*/ 5076785 h 5076785"/>
              <a:gd name="connsiteX8" fmla="*/ 64 w 6217837"/>
              <a:gd name="connsiteY8" fmla="*/ 4445692 h 5076785"/>
              <a:gd name="connsiteX9" fmla="*/ 64 w 6217837"/>
              <a:gd name="connsiteY9" fmla="*/ 638860 h 5076785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586744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19941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17837" h="5069018">
                <a:moveTo>
                  <a:pt x="64" y="631093"/>
                </a:moveTo>
                <a:cubicBezTo>
                  <a:pt x="4033" y="467051"/>
                  <a:pt x="-5105" y="12378"/>
                  <a:pt x="4827" y="2446"/>
                </a:cubicBezTo>
                <a:cubicBezTo>
                  <a:pt x="11584" y="-1136"/>
                  <a:pt x="507287" y="937"/>
                  <a:pt x="631157" y="0"/>
                </a:cubicBezTo>
                <a:lnTo>
                  <a:pt x="5819941" y="0"/>
                </a:lnTo>
                <a:cubicBezTo>
                  <a:pt x="6168484" y="0"/>
                  <a:pt x="6217837" y="282550"/>
                  <a:pt x="6217837" y="631093"/>
                </a:cubicBezTo>
                <a:lnTo>
                  <a:pt x="6217837" y="4437925"/>
                </a:lnTo>
                <a:cubicBezTo>
                  <a:pt x="6217837" y="4786468"/>
                  <a:pt x="6155528" y="5069018"/>
                  <a:pt x="5806985" y="5069018"/>
                </a:cubicBezTo>
                <a:lnTo>
                  <a:pt x="449783" y="5069018"/>
                </a:lnTo>
                <a:cubicBezTo>
                  <a:pt x="101240" y="5069018"/>
                  <a:pt x="64" y="4786468"/>
                  <a:pt x="64" y="4437925"/>
                </a:cubicBezTo>
                <a:lnTo>
                  <a:pt x="64" y="631093"/>
                </a:lnTo>
                <a:close/>
              </a:path>
            </a:pathLst>
          </a:custGeom>
          <a:solidFill>
            <a:schemeClr val="bg2"/>
          </a:solidFill>
        </p:spPr>
        <p:txBody>
          <a:bodyPr lIns="504000" tIns="252000" rIns="252000" bIns="360000"/>
          <a:lstStyle>
            <a:lvl1pPr>
              <a:defRPr sz="4209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Punt 2</a:t>
            </a:r>
          </a:p>
        </p:txBody>
      </p:sp>
      <p:sp>
        <p:nvSpPr>
          <p:cNvPr id="164" name="Tijdelijke aanduiding voor tekst 3">
            <a:extLst>
              <a:ext uri="{FF2B5EF4-FFF2-40B4-BE49-F238E27FC236}">
                <a16:creationId xmlns:a16="http://schemas.microsoft.com/office/drawing/2014/main" id="{3D564F2E-B66A-44B1-BD7F-8488248EED5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687079" y="16620337"/>
            <a:ext cx="5345254" cy="3935018"/>
          </a:xfrm>
          <a:custGeom>
            <a:avLst/>
            <a:gdLst>
              <a:gd name="connsiteX0" fmla="*/ 0 w 6217773"/>
              <a:gd name="connsiteY0" fmla="*/ 631093 h 5069018"/>
              <a:gd name="connsiteX1" fmla="*/ 631093 w 6217773"/>
              <a:gd name="connsiteY1" fmla="*/ 0 h 5069018"/>
              <a:gd name="connsiteX2" fmla="*/ 5586680 w 6217773"/>
              <a:gd name="connsiteY2" fmla="*/ 0 h 5069018"/>
              <a:gd name="connsiteX3" fmla="*/ 6217773 w 6217773"/>
              <a:gd name="connsiteY3" fmla="*/ 631093 h 5069018"/>
              <a:gd name="connsiteX4" fmla="*/ 6217773 w 6217773"/>
              <a:gd name="connsiteY4" fmla="*/ 4437925 h 5069018"/>
              <a:gd name="connsiteX5" fmla="*/ 5586680 w 6217773"/>
              <a:gd name="connsiteY5" fmla="*/ 5069018 h 5069018"/>
              <a:gd name="connsiteX6" fmla="*/ 631093 w 6217773"/>
              <a:gd name="connsiteY6" fmla="*/ 5069018 h 5069018"/>
              <a:gd name="connsiteX7" fmla="*/ 0 w 6217773"/>
              <a:gd name="connsiteY7" fmla="*/ 4437925 h 5069018"/>
              <a:gd name="connsiteX8" fmla="*/ 0 w 6217773"/>
              <a:gd name="connsiteY8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31029 w 6248802"/>
              <a:gd name="connsiteY0" fmla="*/ 638400 h 5076325"/>
              <a:gd name="connsiteX1" fmla="*/ 35792 w 6248802"/>
              <a:gd name="connsiteY1" fmla="*/ 228 h 5076325"/>
              <a:gd name="connsiteX2" fmla="*/ 662122 w 6248802"/>
              <a:gd name="connsiteY2" fmla="*/ 7307 h 5076325"/>
              <a:gd name="connsiteX3" fmla="*/ 5617709 w 6248802"/>
              <a:gd name="connsiteY3" fmla="*/ 7307 h 5076325"/>
              <a:gd name="connsiteX4" fmla="*/ 6248802 w 6248802"/>
              <a:gd name="connsiteY4" fmla="*/ 638400 h 5076325"/>
              <a:gd name="connsiteX5" fmla="*/ 6248802 w 6248802"/>
              <a:gd name="connsiteY5" fmla="*/ 4445232 h 5076325"/>
              <a:gd name="connsiteX6" fmla="*/ 5617709 w 6248802"/>
              <a:gd name="connsiteY6" fmla="*/ 5076325 h 5076325"/>
              <a:gd name="connsiteX7" fmla="*/ 662122 w 6248802"/>
              <a:gd name="connsiteY7" fmla="*/ 5076325 h 5076325"/>
              <a:gd name="connsiteX8" fmla="*/ 31029 w 6248802"/>
              <a:gd name="connsiteY8" fmla="*/ 4445232 h 5076325"/>
              <a:gd name="connsiteX9" fmla="*/ 31029 w 6248802"/>
              <a:gd name="connsiteY9" fmla="*/ 638400 h 5076325"/>
              <a:gd name="connsiteX0" fmla="*/ 0 w 6217773"/>
              <a:gd name="connsiteY0" fmla="*/ 638860 h 5076785"/>
              <a:gd name="connsiteX1" fmla="*/ 4763 w 6217773"/>
              <a:gd name="connsiteY1" fmla="*/ 688 h 5076785"/>
              <a:gd name="connsiteX2" fmla="*/ 631093 w 6217773"/>
              <a:gd name="connsiteY2" fmla="*/ 7767 h 5076785"/>
              <a:gd name="connsiteX3" fmla="*/ 5586680 w 6217773"/>
              <a:gd name="connsiteY3" fmla="*/ 7767 h 5076785"/>
              <a:gd name="connsiteX4" fmla="*/ 6217773 w 6217773"/>
              <a:gd name="connsiteY4" fmla="*/ 638860 h 5076785"/>
              <a:gd name="connsiteX5" fmla="*/ 6217773 w 6217773"/>
              <a:gd name="connsiteY5" fmla="*/ 4445692 h 5076785"/>
              <a:gd name="connsiteX6" fmla="*/ 5586680 w 6217773"/>
              <a:gd name="connsiteY6" fmla="*/ 5076785 h 5076785"/>
              <a:gd name="connsiteX7" fmla="*/ 631093 w 6217773"/>
              <a:gd name="connsiteY7" fmla="*/ 5076785 h 5076785"/>
              <a:gd name="connsiteX8" fmla="*/ 0 w 6217773"/>
              <a:gd name="connsiteY8" fmla="*/ 4445692 h 5076785"/>
              <a:gd name="connsiteX9" fmla="*/ 0 w 6217773"/>
              <a:gd name="connsiteY9" fmla="*/ 638860 h 5076785"/>
              <a:gd name="connsiteX0" fmla="*/ 64 w 6217837"/>
              <a:gd name="connsiteY0" fmla="*/ 638860 h 5076785"/>
              <a:gd name="connsiteX1" fmla="*/ 4827 w 6217837"/>
              <a:gd name="connsiteY1" fmla="*/ 688 h 5076785"/>
              <a:gd name="connsiteX2" fmla="*/ 631157 w 6217837"/>
              <a:gd name="connsiteY2" fmla="*/ 7767 h 5076785"/>
              <a:gd name="connsiteX3" fmla="*/ 5586744 w 6217837"/>
              <a:gd name="connsiteY3" fmla="*/ 7767 h 5076785"/>
              <a:gd name="connsiteX4" fmla="*/ 6217837 w 6217837"/>
              <a:gd name="connsiteY4" fmla="*/ 638860 h 5076785"/>
              <a:gd name="connsiteX5" fmla="*/ 6217837 w 6217837"/>
              <a:gd name="connsiteY5" fmla="*/ 4445692 h 5076785"/>
              <a:gd name="connsiteX6" fmla="*/ 5586744 w 6217837"/>
              <a:gd name="connsiteY6" fmla="*/ 5076785 h 5076785"/>
              <a:gd name="connsiteX7" fmla="*/ 631157 w 6217837"/>
              <a:gd name="connsiteY7" fmla="*/ 5076785 h 5076785"/>
              <a:gd name="connsiteX8" fmla="*/ 64 w 6217837"/>
              <a:gd name="connsiteY8" fmla="*/ 4445692 h 5076785"/>
              <a:gd name="connsiteX9" fmla="*/ 64 w 6217837"/>
              <a:gd name="connsiteY9" fmla="*/ 638860 h 5076785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586744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19941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17837" h="5069018">
                <a:moveTo>
                  <a:pt x="64" y="631093"/>
                </a:moveTo>
                <a:cubicBezTo>
                  <a:pt x="4033" y="467051"/>
                  <a:pt x="-5105" y="12378"/>
                  <a:pt x="4827" y="2446"/>
                </a:cubicBezTo>
                <a:cubicBezTo>
                  <a:pt x="11584" y="-1136"/>
                  <a:pt x="507287" y="937"/>
                  <a:pt x="631157" y="0"/>
                </a:cubicBezTo>
                <a:lnTo>
                  <a:pt x="5819941" y="0"/>
                </a:lnTo>
                <a:cubicBezTo>
                  <a:pt x="6168484" y="0"/>
                  <a:pt x="6217837" y="282550"/>
                  <a:pt x="6217837" y="631093"/>
                </a:cubicBezTo>
                <a:lnTo>
                  <a:pt x="6217837" y="4437925"/>
                </a:lnTo>
                <a:cubicBezTo>
                  <a:pt x="6217837" y="4786468"/>
                  <a:pt x="6155528" y="5069018"/>
                  <a:pt x="5806985" y="5069018"/>
                </a:cubicBezTo>
                <a:lnTo>
                  <a:pt x="449783" y="5069018"/>
                </a:lnTo>
                <a:cubicBezTo>
                  <a:pt x="101240" y="5069018"/>
                  <a:pt x="64" y="4786468"/>
                  <a:pt x="64" y="4437925"/>
                </a:cubicBezTo>
                <a:lnTo>
                  <a:pt x="64" y="631093"/>
                </a:lnTo>
                <a:close/>
              </a:path>
            </a:pathLst>
          </a:custGeom>
          <a:solidFill>
            <a:schemeClr val="bg2"/>
          </a:solidFill>
        </p:spPr>
        <p:txBody>
          <a:bodyPr lIns="504000" tIns="252000" rIns="252000" bIns="360000"/>
          <a:lstStyle>
            <a:lvl1pPr>
              <a:defRPr sz="4209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Punt 3</a:t>
            </a:r>
          </a:p>
        </p:txBody>
      </p:sp>
      <p:sp>
        <p:nvSpPr>
          <p:cNvPr id="160" name="Tijdelijke aanduiding voor tekst 2">
            <a:extLst>
              <a:ext uri="{FF2B5EF4-FFF2-40B4-BE49-F238E27FC236}">
                <a16:creationId xmlns:a16="http://schemas.microsoft.com/office/drawing/2014/main" id="{C8983519-A824-4AAD-84BE-E86BCCAA3C8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33807" y="6316512"/>
            <a:ext cx="26489657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 marL="0" indent="0">
              <a:buNone/>
              <a:defRPr sz="4209"/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61" name="Tijdelijke aanduiding voor tekst 2">
            <a:extLst>
              <a:ext uri="{FF2B5EF4-FFF2-40B4-BE49-F238E27FC236}">
                <a16:creationId xmlns:a16="http://schemas.microsoft.com/office/drawing/2014/main" id="{AE7372F4-5605-49B5-BFA6-75FB9F7F477F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533807" y="11466940"/>
            <a:ext cx="26489657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 marL="0" indent="0">
              <a:buNone/>
              <a:defRPr sz="4209"/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69" name="Tijdelijke aanduiding voor tekst 2">
            <a:extLst>
              <a:ext uri="{FF2B5EF4-FFF2-40B4-BE49-F238E27FC236}">
                <a16:creationId xmlns:a16="http://schemas.microsoft.com/office/drawing/2014/main" id="{6DF20755-33D3-4DFC-B8F1-88598EDF11D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533807" y="16623324"/>
            <a:ext cx="26489657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 marL="0" indent="0">
              <a:buNone/>
              <a:defRPr sz="4209"/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70" name="Tijdelijke aanduiding voor tekst 2">
            <a:extLst>
              <a:ext uri="{FF2B5EF4-FFF2-40B4-BE49-F238E27FC236}">
                <a16:creationId xmlns:a16="http://schemas.microsoft.com/office/drawing/2014/main" id="{E9ABA610-FA89-4787-B010-B4676D2C42C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533807" y="21779704"/>
            <a:ext cx="26489657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 marL="0" indent="0">
              <a:buNone/>
              <a:defRPr sz="4209"/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pic>
        <p:nvPicPr>
          <p:cNvPr id="24" name="Afbeelding 23">
            <a:extLst>
              <a:ext uri="{FF2B5EF4-FFF2-40B4-BE49-F238E27FC236}">
                <a16:creationId xmlns:a16="http://schemas.microsoft.com/office/drawing/2014/main" id="{E73F6112-D899-4F2E-A37F-7292DFE860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  <p:grpSp>
        <p:nvGrpSpPr>
          <p:cNvPr id="25" name="Instructie">
            <a:extLst>
              <a:ext uri="{FF2B5EF4-FFF2-40B4-BE49-F238E27FC236}">
                <a16:creationId xmlns:a16="http://schemas.microsoft.com/office/drawing/2014/main" id="{6B80ED24-686D-4703-833A-DFF98BF6FA34}"/>
              </a:ext>
            </a:extLst>
          </p:cNvPr>
          <p:cNvGrpSpPr/>
          <p:nvPr userDrawn="1"/>
        </p:nvGrpSpPr>
        <p:grpSpPr>
          <a:xfrm>
            <a:off x="43268722" y="0"/>
            <a:ext cx="11164508" cy="11743958"/>
            <a:chOff x="-3426088" y="4512342"/>
            <a:chExt cx="3182755" cy="2660264"/>
          </a:xfrm>
        </p:grpSpPr>
        <p:sp>
          <p:nvSpPr>
            <p:cNvPr id="26" name="Rechthoek 127">
              <a:extLst>
                <a:ext uri="{FF2B5EF4-FFF2-40B4-BE49-F238E27FC236}">
                  <a16:creationId xmlns:a16="http://schemas.microsoft.com/office/drawing/2014/main" id="{062D4B2D-434F-47B3-A870-0155931F969C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27" name="Rechte verbindingslijn 128">
              <a:extLst>
                <a:ext uri="{FF2B5EF4-FFF2-40B4-BE49-F238E27FC236}">
                  <a16:creationId xmlns:a16="http://schemas.microsoft.com/office/drawing/2014/main" id="{77436DFA-7D76-4055-A207-4850EC866E9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8" name="Rechthoek 130">
              <a:extLst>
                <a:ext uri="{FF2B5EF4-FFF2-40B4-BE49-F238E27FC236}">
                  <a16:creationId xmlns:a16="http://schemas.microsoft.com/office/drawing/2014/main" id="{BE66A822-8F0B-4E68-8DDB-CDDE9A5FFC2C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30" name="Rechthoek 133">
              <a:extLst>
                <a:ext uri="{FF2B5EF4-FFF2-40B4-BE49-F238E27FC236}">
                  <a16:creationId xmlns:a16="http://schemas.microsoft.com/office/drawing/2014/main" id="{994F4FAB-ECE6-40D4-A381-483634364B6A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31" name="Rechthoek 136">
              <a:extLst>
                <a:ext uri="{FF2B5EF4-FFF2-40B4-BE49-F238E27FC236}">
                  <a16:creationId xmlns:a16="http://schemas.microsoft.com/office/drawing/2014/main" id="{67AFAADF-A676-4765-A4AF-5B8C246FF961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32" name="Rechthoek 139">
              <a:extLst>
                <a:ext uri="{FF2B5EF4-FFF2-40B4-BE49-F238E27FC236}">
                  <a16:creationId xmlns:a16="http://schemas.microsoft.com/office/drawing/2014/main" id="{579184D9-BFD8-41CB-9056-6F3BD24C1777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33" name="Rechte verbindingslijn 140">
              <a:extLst>
                <a:ext uri="{FF2B5EF4-FFF2-40B4-BE49-F238E27FC236}">
                  <a16:creationId xmlns:a16="http://schemas.microsoft.com/office/drawing/2014/main" id="{76B4A990-530A-4CD6-983D-6A5661EEDE9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35697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-media + tekst 50%50%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1742377" y="6476687"/>
            <a:ext cx="39446169" cy="3973575"/>
          </a:xfrm>
        </p:spPr>
        <p:txBody>
          <a:bodyPr vert="horz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b="1">
                <a:solidFill>
                  <a:schemeClr val="bg2"/>
                </a:solidFill>
                <a:latin typeface="+mj-lt"/>
              </a:defRPr>
            </a:lvl1pPr>
            <a:lvl2pPr marL="0" indent="0">
              <a:lnSpc>
                <a:spcPct val="120000"/>
              </a:lnSpc>
              <a:spcAft>
                <a:spcPts val="0"/>
              </a:spcAft>
              <a:buNone/>
              <a:defRPr/>
            </a:lvl2pPr>
            <a:lvl3pPr marL="2199582" indent="-952226">
              <a:lnSpc>
                <a:spcPct val="70000"/>
              </a:lnSpc>
              <a:defRPr/>
            </a:lvl3pPr>
            <a:lvl4pPr>
              <a:lnSpc>
                <a:spcPct val="70000"/>
              </a:lnSpc>
              <a:defRPr/>
            </a:lvl4pPr>
            <a:lvl5pPr>
              <a:lnSpc>
                <a:spcPct val="70000"/>
              </a:lnSpc>
              <a:defRPr>
                <a:solidFill>
                  <a:schemeClr val="bg2"/>
                </a:solidFill>
              </a:defRPr>
            </a:lvl5pPr>
            <a:lvl6pPr marL="0" indent="0">
              <a:lnSpc>
                <a:spcPct val="70000"/>
              </a:lnSpc>
              <a:buFontTx/>
              <a:buNone/>
              <a:defRPr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34" name="Titel 1">
            <a:extLst>
              <a:ext uri="{FF2B5EF4-FFF2-40B4-BE49-F238E27FC236}">
                <a16:creationId xmlns:a16="http://schemas.microsoft.com/office/drawing/2014/main" id="{53A6CE20-1E7A-4F87-96EC-7E964AA913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41" name="Tijdelijke aanduiding voor tekst 14">
            <a:extLst>
              <a:ext uri="{FF2B5EF4-FFF2-40B4-BE49-F238E27FC236}">
                <a16:creationId xmlns:a16="http://schemas.microsoft.com/office/drawing/2014/main" id="{4B035891-3F3E-4E86-9D5A-96D1E3B9D0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grpSp>
        <p:nvGrpSpPr>
          <p:cNvPr id="50" name="GRID" hidden="1">
            <a:extLst>
              <a:ext uri="{FF2B5EF4-FFF2-40B4-BE49-F238E27FC236}">
                <a16:creationId xmlns:a16="http://schemas.microsoft.com/office/drawing/2014/main" id="{C59E2946-118D-4C01-970E-FC9CE00C6395}"/>
              </a:ext>
            </a:extLst>
          </p:cNvPr>
          <p:cNvGrpSpPr/>
          <p:nvPr userDrawn="1"/>
        </p:nvGrpSpPr>
        <p:grpSpPr>
          <a:xfrm>
            <a:off x="5" y="0"/>
            <a:ext cx="42767261" cy="30275213"/>
            <a:chOff x="0" y="0"/>
            <a:chExt cx="12192003" cy="6858000"/>
          </a:xfrm>
        </p:grpSpPr>
        <p:sp>
          <p:nvSpPr>
            <p:cNvPr id="51" name="Rechthoek 50">
              <a:extLst>
                <a:ext uri="{FF2B5EF4-FFF2-40B4-BE49-F238E27FC236}">
                  <a16:creationId xmlns:a16="http://schemas.microsoft.com/office/drawing/2014/main" id="{E2414C7D-389F-487F-9221-8D96900B448B}"/>
                </a:ext>
              </a:extLst>
            </p:cNvPr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52" name="Rechthoek 51">
              <a:extLst>
                <a:ext uri="{FF2B5EF4-FFF2-40B4-BE49-F238E27FC236}">
                  <a16:creationId xmlns:a16="http://schemas.microsoft.com/office/drawing/2014/main" id="{A8F1195A-80D2-4EBF-8EE2-23A21E134CE7}"/>
                </a:ext>
              </a:extLst>
            </p:cNvPr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53" name="Rechthoek 52">
              <a:extLst>
                <a:ext uri="{FF2B5EF4-FFF2-40B4-BE49-F238E27FC236}">
                  <a16:creationId xmlns:a16="http://schemas.microsoft.com/office/drawing/2014/main" id="{CA706088-94D0-49B2-9F47-CD39731ED611}"/>
                </a:ext>
              </a:extLst>
            </p:cNvPr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54" name="Rechthoek 53">
              <a:extLst>
                <a:ext uri="{FF2B5EF4-FFF2-40B4-BE49-F238E27FC236}">
                  <a16:creationId xmlns:a16="http://schemas.microsoft.com/office/drawing/2014/main" id="{6701A262-4D8B-4596-BEA3-1CDEA9A29D2D}"/>
                </a:ext>
              </a:extLst>
            </p:cNvPr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55" name="Rechthoek 54">
              <a:extLst>
                <a:ext uri="{FF2B5EF4-FFF2-40B4-BE49-F238E27FC236}">
                  <a16:creationId xmlns:a16="http://schemas.microsoft.com/office/drawing/2014/main" id="{3961D0F0-38E3-4745-BB91-8DF2B41B9EC6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56" name="Rechthoek 55">
              <a:extLst>
                <a:ext uri="{FF2B5EF4-FFF2-40B4-BE49-F238E27FC236}">
                  <a16:creationId xmlns:a16="http://schemas.microsoft.com/office/drawing/2014/main" id="{F082B6D4-918A-42B7-99B3-3B8D5AD389F5}"/>
                </a:ext>
              </a:extLst>
            </p:cNvPr>
            <p:cNvSpPr/>
            <p:nvPr userDrawn="1"/>
          </p:nvSpPr>
          <p:spPr>
            <a:xfrm rot="5400000">
              <a:off x="5895976" y="-108104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6D9780EE-AC3E-4C16-9B20-B0A0803E6ED4}"/>
                </a:ext>
              </a:extLst>
            </p:cNvPr>
            <p:cNvSpPr/>
            <p:nvPr userDrawn="1"/>
          </p:nvSpPr>
          <p:spPr>
            <a:xfrm rot="5400000">
              <a:off x="5895976" y="-3728182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FBFCF26E-9F29-4558-9176-F149D8C8577D}"/>
                </a:ext>
              </a:extLst>
            </p:cNvPr>
            <p:cNvSpPr/>
            <p:nvPr userDrawn="1"/>
          </p:nvSpPr>
          <p:spPr>
            <a:xfrm>
              <a:off x="603936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58" name="Tijdelijke aanduiding voor voettekst 4">
            <a:extLst>
              <a:ext uri="{FF2B5EF4-FFF2-40B4-BE49-F238E27FC236}">
                <a16:creationId xmlns:a16="http://schemas.microsoft.com/office/drawing/2014/main" id="{0E659B60-CF7C-460A-A879-0DDBF9C652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endParaRPr lang="nl-NL" noProof="0"/>
          </a:p>
        </p:txBody>
      </p:sp>
      <p:sp>
        <p:nvSpPr>
          <p:cNvPr id="59" name="Tijdelijke aanduiding voor dianummer 5">
            <a:extLst>
              <a:ext uri="{FF2B5EF4-FFF2-40B4-BE49-F238E27FC236}">
                <a16:creationId xmlns:a16="http://schemas.microsoft.com/office/drawing/2014/main" id="{F1A38C1E-7B15-4C30-B676-08D9095C1F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8"/>
            <a:ext cx="707315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26" name="Tijdelijke aanduiding voor inhoud 3">
            <a:extLst>
              <a:ext uri="{FF2B5EF4-FFF2-40B4-BE49-F238E27FC236}">
                <a16:creationId xmlns:a16="http://schemas.microsoft.com/office/drawing/2014/main" id="{D2E8F4BF-FD5F-4F05-BB33-AC3E7EF96F6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22826085" y="11156982"/>
            <a:ext cx="18368190" cy="14394742"/>
          </a:xfrm>
          <a:solidFill>
            <a:schemeClr val="bg1">
              <a:lumMod val="95000"/>
            </a:schemeClr>
          </a:solidFill>
        </p:spPr>
        <p:txBody>
          <a:bodyPr vert="horz" lIns="180000" tIns="180000" rIns="180000" bIns="180000" rtlCol="0">
            <a:normAutofit/>
          </a:bodyPr>
          <a:lstStyle>
            <a:lvl1pPr algn="l">
              <a:defRPr lang="nl-NL" sz="4209" b="0" i="0" smtClean="0">
                <a:latin typeface="+mj-lt"/>
              </a:defRPr>
            </a:lvl1pPr>
            <a:lvl2pPr>
              <a:defRPr lang="nl-NL" smtClean="0"/>
            </a:lvl2pPr>
            <a:lvl3pPr>
              <a:defRPr lang="nl-NL" smtClean="0"/>
            </a:lvl3pPr>
            <a:lvl4pPr>
              <a:defRPr lang="nl-NL" smtClean="0"/>
            </a:lvl4pPr>
            <a:lvl5pPr>
              <a:defRPr lang="nl-NL"/>
            </a:lvl5pPr>
          </a:lstStyle>
          <a:p>
            <a:pPr marL="0" lvl="0" indent="0" algn="ctr">
              <a:buNone/>
            </a:pPr>
            <a:r>
              <a:rPr lang="nl-NL" noProof="0"/>
              <a:t>Klik op één van de iconen</a:t>
            </a:r>
            <a:br>
              <a:rPr lang="nl-NL" noProof="0"/>
            </a:br>
            <a:r>
              <a:rPr lang="nl-NL" noProof="0"/>
              <a:t>om een media in te vullen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3DFC91BB-AEF5-43B4-84CF-C6590D01D3E3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22820351" y="11157673"/>
            <a:ext cx="18373922" cy="14394049"/>
          </a:xfrm>
          <a:solidFill>
            <a:schemeClr val="bg1">
              <a:lumMod val="95000"/>
            </a:schemeClr>
          </a:solidFill>
        </p:spPr>
        <p:txBody>
          <a:bodyPr lIns="180000" tIns="180000" rIns="180000" bIns="180000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 sz="4911" b="1">
                <a:solidFill>
                  <a:schemeClr val="bg2"/>
                </a:solidFill>
              </a:defRPr>
            </a:lvl1pPr>
            <a:lvl2pPr marL="0" indent="0">
              <a:spcAft>
                <a:spcPts val="0"/>
              </a:spcAft>
              <a:buNone/>
              <a:defRPr sz="4209"/>
            </a:lvl2pPr>
            <a:lvl3pPr marL="1247357" indent="-623677">
              <a:spcAft>
                <a:spcPts val="0"/>
              </a:spcAft>
              <a:defRPr sz="4209"/>
            </a:lvl3pPr>
            <a:lvl4pPr marL="1002340" indent="-1002340"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à"/>
              <a:defRPr sz="4209"/>
            </a:lvl4pPr>
            <a:lvl5pPr>
              <a:spcAft>
                <a:spcPts val="4209"/>
              </a:spcAft>
              <a:defRPr sz="4911"/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0" name="Tijdelijke aanduiding voor inhoud 3">
            <a:extLst>
              <a:ext uri="{FF2B5EF4-FFF2-40B4-BE49-F238E27FC236}">
                <a16:creationId xmlns:a16="http://schemas.microsoft.com/office/drawing/2014/main" id="{011BE011-FD19-4C53-988E-6F68943521B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1742373" y="11157673"/>
            <a:ext cx="18373922" cy="14394049"/>
          </a:xfrm>
          <a:solidFill>
            <a:schemeClr val="bg1">
              <a:lumMod val="95000"/>
            </a:schemeClr>
          </a:solidFill>
        </p:spPr>
        <p:txBody>
          <a:bodyPr lIns="180000" tIns="180000" rIns="180000" bIns="18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 sz="4911" b="1">
                <a:solidFill>
                  <a:schemeClr val="bg2"/>
                </a:solidFill>
              </a:defRPr>
            </a:lvl1pPr>
            <a:lvl2pPr marL="0" indent="0">
              <a:spcAft>
                <a:spcPts val="0"/>
              </a:spcAft>
              <a:buNone/>
              <a:defRPr sz="4209"/>
            </a:lvl2pPr>
            <a:lvl3pPr marL="1247357" indent="-623677">
              <a:spcAft>
                <a:spcPts val="0"/>
              </a:spcAft>
              <a:defRPr sz="4209"/>
            </a:lvl3pPr>
            <a:lvl4pPr marL="1002340" indent="-1002340"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à"/>
              <a:defRPr sz="4209"/>
            </a:lvl4pPr>
            <a:lvl5pPr>
              <a:spcAft>
                <a:spcPts val="4209"/>
              </a:spcAft>
              <a:defRPr sz="4911"/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nl-NL" noProof="0"/>
              <a:t>Klik om tekst in te voegen</a:t>
            </a:r>
          </a:p>
          <a:p>
            <a:pPr lvl="0"/>
            <a:endParaRPr lang="nl-NL" noProof="0"/>
          </a:p>
        </p:txBody>
      </p:sp>
      <p:grpSp>
        <p:nvGrpSpPr>
          <p:cNvPr id="23" name="Instructie">
            <a:extLst>
              <a:ext uri="{FF2B5EF4-FFF2-40B4-BE49-F238E27FC236}">
                <a16:creationId xmlns:a16="http://schemas.microsoft.com/office/drawing/2014/main" id="{969EA301-B913-4643-9ABD-180EFDB46534}"/>
              </a:ext>
            </a:extLst>
          </p:cNvPr>
          <p:cNvGrpSpPr/>
          <p:nvPr userDrawn="1"/>
        </p:nvGrpSpPr>
        <p:grpSpPr>
          <a:xfrm>
            <a:off x="43467416" y="3"/>
            <a:ext cx="11167745" cy="17428095"/>
            <a:chOff x="12391601" y="0"/>
            <a:chExt cx="3183678" cy="3947846"/>
          </a:xfrm>
        </p:grpSpPr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671A3C21-2740-4EB0-9EFD-9D2F7EC6FB9E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SmartArt invoegen/veranderen</a:t>
              </a:r>
            </a:p>
          </p:txBody>
        </p:sp>
        <p:sp>
          <p:nvSpPr>
            <p:cNvPr id="25" name="Ovaal 24">
              <a:extLst>
                <a:ext uri="{FF2B5EF4-FFF2-40B4-BE49-F238E27FC236}">
                  <a16:creationId xmlns:a16="http://schemas.microsoft.com/office/drawing/2014/main" id="{F3BC5726-1C08-4F05-B026-F3EFEB5D15A7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7" name="Rechte verbindingslijn 26">
              <a:extLst>
                <a:ext uri="{FF2B5EF4-FFF2-40B4-BE49-F238E27FC236}">
                  <a16:creationId xmlns:a16="http://schemas.microsoft.com/office/drawing/2014/main" id="{710F43EA-6B64-44B0-A291-485624C9AE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8" name="Rechte verbindingslijn 27">
              <a:extLst>
                <a:ext uri="{FF2B5EF4-FFF2-40B4-BE49-F238E27FC236}">
                  <a16:creationId xmlns:a16="http://schemas.microsoft.com/office/drawing/2014/main" id="{E09EE25D-EE60-42D7-A9E7-C5DD7B052EB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16A7D4DE-E8D0-42C4-82F1-6E9D4792E020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het bestaande SmartArt object d.m.v.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knop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Klik op het pictogram om een nieuw object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0" name="Rechte verbindingslijn 29">
              <a:extLst>
                <a:ext uri="{FF2B5EF4-FFF2-40B4-BE49-F238E27FC236}">
                  <a16:creationId xmlns:a16="http://schemas.microsoft.com/office/drawing/2014/main" id="{3DAC510A-CCEA-4C67-80F5-91B5DB4266B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947846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1" name="Ovaal 30">
              <a:extLst>
                <a:ext uri="{FF2B5EF4-FFF2-40B4-BE49-F238E27FC236}">
                  <a16:creationId xmlns:a16="http://schemas.microsoft.com/office/drawing/2014/main" id="{599A7A1A-AC9F-4335-9BBF-F7F10ACE59B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2" name="Rechthoek 31">
              <a:extLst>
                <a:ext uri="{FF2B5EF4-FFF2-40B4-BE49-F238E27FC236}">
                  <a16:creationId xmlns:a16="http://schemas.microsoft.com/office/drawing/2014/main" id="{FC429184-DD71-4C45-9AE9-EC6D4DDF83A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aan de linker kant van het venster het gewenste type en vervolgens het gewenste objecten klik op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3" name="Groep 32">
              <a:extLst>
                <a:ext uri="{FF2B5EF4-FFF2-40B4-BE49-F238E27FC236}">
                  <a16:creationId xmlns:a16="http://schemas.microsoft.com/office/drawing/2014/main" id="{AF3004DB-BC64-4750-94C3-119F8F8A0392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60" name="Rechthoek 59">
                <a:extLst>
                  <a:ext uri="{FF2B5EF4-FFF2-40B4-BE49-F238E27FC236}">
                    <a16:creationId xmlns:a16="http://schemas.microsoft.com/office/drawing/2014/main" id="{8117F592-BBC9-433D-A383-3FAA32C7BB0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61" name="Rechte verbindingslijn 60">
                <a:extLst>
                  <a:ext uri="{FF2B5EF4-FFF2-40B4-BE49-F238E27FC236}">
                    <a16:creationId xmlns:a16="http://schemas.microsoft.com/office/drawing/2014/main" id="{64C97D7B-D416-4CB8-988A-E030848DB9F9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62" name="Gelijkbenige driehoek 61">
                <a:extLst>
                  <a:ext uri="{FF2B5EF4-FFF2-40B4-BE49-F238E27FC236}">
                    <a16:creationId xmlns:a16="http://schemas.microsoft.com/office/drawing/2014/main" id="{E9931FC1-FE37-449E-85C9-20F1E0A2A853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5" name="Ovaal 34">
              <a:extLst>
                <a:ext uri="{FF2B5EF4-FFF2-40B4-BE49-F238E27FC236}">
                  <a16:creationId xmlns:a16="http://schemas.microsoft.com/office/drawing/2014/main" id="{403294EC-1214-4265-BF57-7F02819C38B2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" name="Rechthoek 35">
              <a:extLst>
                <a:ext uri="{FF2B5EF4-FFF2-40B4-BE49-F238E27FC236}">
                  <a16:creationId xmlns:a16="http://schemas.microsoft.com/office/drawing/2014/main" id="{7CCC7F87-B043-4C9B-962A-2BFE1EC696DF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ulpmiddelen voor SmartArt - Opmaak’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kunnen opvulkleuren en lijnkleuren aangepast worden.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der de tab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tart’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kan o.a. de tekstopmaak worden gewijzigd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" name="Rechte verbindingslijn 36">
              <a:extLst>
                <a:ext uri="{FF2B5EF4-FFF2-40B4-BE49-F238E27FC236}">
                  <a16:creationId xmlns:a16="http://schemas.microsoft.com/office/drawing/2014/main" id="{4EA2C6E2-1BD9-4FC0-9202-F35C5F46679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" name="Groep 37">
              <a:extLst>
                <a:ext uri="{FF2B5EF4-FFF2-40B4-BE49-F238E27FC236}">
                  <a16:creationId xmlns:a16="http://schemas.microsoft.com/office/drawing/2014/main" id="{20880509-B8A3-4761-B4E3-14EEE63E71A9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39" name="Pijl: punthaak 38">
                <a:extLst>
                  <a:ext uri="{FF2B5EF4-FFF2-40B4-BE49-F238E27FC236}">
                    <a16:creationId xmlns:a16="http://schemas.microsoft.com/office/drawing/2014/main" id="{F82DBB84-5BFC-4D76-A29E-E1030376D7D0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A8F93624-F9B6-420B-AEFC-DAA83308AE10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42" name="Groep 41">
                <a:extLst>
                  <a:ext uri="{FF2B5EF4-FFF2-40B4-BE49-F238E27FC236}">
                    <a16:creationId xmlns:a16="http://schemas.microsoft.com/office/drawing/2014/main" id="{6D01A9BB-A323-4B22-94AA-B37B07E22AD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49" name="Ovaal 48">
                  <a:extLst>
                    <a:ext uri="{FF2B5EF4-FFF2-40B4-BE49-F238E27FC236}">
                      <a16:creationId xmlns:a16="http://schemas.microsoft.com/office/drawing/2014/main" id="{E258FA11-22E2-49D3-A8E5-83DA1680A660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57" name="Rechte verbindingslijn 56">
                  <a:extLst>
                    <a:ext uri="{FF2B5EF4-FFF2-40B4-BE49-F238E27FC236}">
                      <a16:creationId xmlns:a16="http://schemas.microsoft.com/office/drawing/2014/main" id="{7ACF1F81-6476-4EEC-8068-788F2A7ACD30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43" name="Groep 42">
                <a:extLst>
                  <a:ext uri="{FF2B5EF4-FFF2-40B4-BE49-F238E27FC236}">
                    <a16:creationId xmlns:a16="http://schemas.microsoft.com/office/drawing/2014/main" id="{EF97AA14-53A2-4BFC-B45F-476F5004D488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47" name="Ovaal 46">
                  <a:extLst>
                    <a:ext uri="{FF2B5EF4-FFF2-40B4-BE49-F238E27FC236}">
                      <a16:creationId xmlns:a16="http://schemas.microsoft.com/office/drawing/2014/main" id="{32C1C2A0-E77D-4E49-9818-18CA943D6700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48" name="Rechte verbindingslijn 47">
                  <a:extLst>
                    <a:ext uri="{FF2B5EF4-FFF2-40B4-BE49-F238E27FC236}">
                      <a16:creationId xmlns:a16="http://schemas.microsoft.com/office/drawing/2014/main" id="{219F074F-C4DC-40EC-A4E3-73D2F77F52C7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44" name="Groep 43">
                <a:extLst>
                  <a:ext uri="{FF2B5EF4-FFF2-40B4-BE49-F238E27FC236}">
                    <a16:creationId xmlns:a16="http://schemas.microsoft.com/office/drawing/2014/main" id="{30A68E1B-82DB-4868-BC90-521430CA2057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45" name="Ovaal 44">
                  <a:extLst>
                    <a:ext uri="{FF2B5EF4-FFF2-40B4-BE49-F238E27FC236}">
                      <a16:creationId xmlns:a16="http://schemas.microsoft.com/office/drawing/2014/main" id="{DCED931A-9F11-4F84-B19A-DB412A998567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46" name="Rechte verbindingslijn 45">
                  <a:extLst>
                    <a:ext uri="{FF2B5EF4-FFF2-40B4-BE49-F238E27FC236}">
                      <a16:creationId xmlns:a16="http://schemas.microsoft.com/office/drawing/2014/main" id="{A0679111-00FC-40BF-8A13-5C1FE834D7B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63" name="Afbeelding 62">
            <a:extLst>
              <a:ext uri="{FF2B5EF4-FFF2-40B4-BE49-F238E27FC236}">
                <a16:creationId xmlns:a16="http://schemas.microsoft.com/office/drawing/2014/main" id="{520D55F0-1946-40CA-BE77-284D34AB78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258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 Balken 8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-5567" y="6476684"/>
            <a:ext cx="42767257" cy="23798534"/>
          </a:xfrm>
          <a:solidFill>
            <a:schemeClr val="bg1">
              <a:lumMod val="95000"/>
            </a:schemeClr>
          </a:solidFill>
        </p:spPr>
        <p:txBody>
          <a:bodyPr tIns="1080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0" name="Tijdelijke aanduiding voor voettekst 4">
            <a:extLst>
              <a:ext uri="{FF2B5EF4-FFF2-40B4-BE49-F238E27FC236}">
                <a16:creationId xmlns:a16="http://schemas.microsoft.com/office/drawing/2014/main" id="{1DA20FBD-9D0F-4EAB-B12C-126591D8B7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6644E39-2AF2-4EA0-9C3F-28C89D5A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7" y="27329718"/>
            <a:ext cx="851960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7" name="Tijdelijke aanduiding voor tekst 14">
            <a:extLst>
              <a:ext uri="{FF2B5EF4-FFF2-40B4-BE49-F238E27FC236}">
                <a16:creationId xmlns:a16="http://schemas.microsoft.com/office/drawing/2014/main" id="{A6BF4B27-7FC5-4896-80CE-3BA6119B83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32" name="Tijdelijke aanduiding voor tekst 3">
            <a:extLst>
              <a:ext uri="{FF2B5EF4-FFF2-40B4-BE49-F238E27FC236}">
                <a16:creationId xmlns:a16="http://schemas.microsoft.com/office/drawing/2014/main" id="{54C989E9-FA4D-4EA9-9D83-ACEFB86E984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2673480" y="14733967"/>
            <a:ext cx="18310781" cy="2416918"/>
          </a:xfrm>
          <a:custGeom>
            <a:avLst/>
            <a:gdLst>
              <a:gd name="connsiteX0" fmla="*/ 0 w 6336000"/>
              <a:gd name="connsiteY0" fmla="*/ 34052 h 547200"/>
              <a:gd name="connsiteX1" fmla="*/ 34052 w 6336000"/>
              <a:gd name="connsiteY1" fmla="*/ 0 h 547200"/>
              <a:gd name="connsiteX2" fmla="*/ 6301948 w 6336000"/>
              <a:gd name="connsiteY2" fmla="*/ 0 h 547200"/>
              <a:gd name="connsiteX3" fmla="*/ 6336000 w 6336000"/>
              <a:gd name="connsiteY3" fmla="*/ 34052 h 547200"/>
              <a:gd name="connsiteX4" fmla="*/ 6336000 w 6336000"/>
              <a:gd name="connsiteY4" fmla="*/ 513148 h 547200"/>
              <a:gd name="connsiteX5" fmla="*/ 6301948 w 6336000"/>
              <a:gd name="connsiteY5" fmla="*/ 547200 h 547200"/>
              <a:gd name="connsiteX6" fmla="*/ 34052 w 6336000"/>
              <a:gd name="connsiteY6" fmla="*/ 547200 h 547200"/>
              <a:gd name="connsiteX7" fmla="*/ 0 w 6336000"/>
              <a:gd name="connsiteY7" fmla="*/ 513148 h 547200"/>
              <a:gd name="connsiteX8" fmla="*/ 0 w 6336000"/>
              <a:gd name="connsiteY8" fmla="*/ 34052 h 547200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0 w 6336000"/>
              <a:gd name="connsiteY0" fmla="*/ 44015 h 557163"/>
              <a:gd name="connsiteX1" fmla="*/ 4390 w 6336000"/>
              <a:gd name="connsiteY1" fmla="*/ 17721 h 557163"/>
              <a:gd name="connsiteX2" fmla="*/ 34052 w 6336000"/>
              <a:gd name="connsiteY2" fmla="*/ 9963 h 557163"/>
              <a:gd name="connsiteX3" fmla="*/ 6301948 w 6336000"/>
              <a:gd name="connsiteY3" fmla="*/ 9963 h 557163"/>
              <a:gd name="connsiteX4" fmla="*/ 6336000 w 6336000"/>
              <a:gd name="connsiteY4" fmla="*/ 44015 h 557163"/>
              <a:gd name="connsiteX5" fmla="*/ 6336000 w 6336000"/>
              <a:gd name="connsiteY5" fmla="*/ 523111 h 557163"/>
              <a:gd name="connsiteX6" fmla="*/ 6301948 w 6336000"/>
              <a:gd name="connsiteY6" fmla="*/ 557163 h 557163"/>
              <a:gd name="connsiteX7" fmla="*/ 34052 w 6336000"/>
              <a:gd name="connsiteY7" fmla="*/ 557163 h 557163"/>
              <a:gd name="connsiteX8" fmla="*/ 0 w 6336000"/>
              <a:gd name="connsiteY8" fmla="*/ 523111 h 557163"/>
              <a:gd name="connsiteX9" fmla="*/ 0 w 6336000"/>
              <a:gd name="connsiteY9" fmla="*/ 44015 h 557163"/>
              <a:gd name="connsiteX0" fmla="*/ 325 w 6336325"/>
              <a:gd name="connsiteY0" fmla="*/ 34265 h 547413"/>
              <a:gd name="connsiteX1" fmla="*/ 4715 w 6336325"/>
              <a:gd name="connsiteY1" fmla="*/ 7971 h 547413"/>
              <a:gd name="connsiteX2" fmla="*/ 34377 w 6336325"/>
              <a:gd name="connsiteY2" fmla="*/ 213 h 547413"/>
              <a:gd name="connsiteX3" fmla="*/ 6302273 w 6336325"/>
              <a:gd name="connsiteY3" fmla="*/ 213 h 547413"/>
              <a:gd name="connsiteX4" fmla="*/ 6336325 w 6336325"/>
              <a:gd name="connsiteY4" fmla="*/ 34265 h 547413"/>
              <a:gd name="connsiteX5" fmla="*/ 6336325 w 6336325"/>
              <a:gd name="connsiteY5" fmla="*/ 513361 h 547413"/>
              <a:gd name="connsiteX6" fmla="*/ 6302273 w 6336325"/>
              <a:gd name="connsiteY6" fmla="*/ 547413 h 547413"/>
              <a:gd name="connsiteX7" fmla="*/ 34377 w 6336325"/>
              <a:gd name="connsiteY7" fmla="*/ 547413 h 547413"/>
              <a:gd name="connsiteX8" fmla="*/ 325 w 6336325"/>
              <a:gd name="connsiteY8" fmla="*/ 513361 h 547413"/>
              <a:gd name="connsiteX9" fmla="*/ 325 w 6336325"/>
              <a:gd name="connsiteY9" fmla="*/ 34265 h 547413"/>
              <a:gd name="connsiteX0" fmla="*/ 2320 w 6338320"/>
              <a:gd name="connsiteY0" fmla="*/ 545788 h 579840"/>
              <a:gd name="connsiteX1" fmla="*/ 6710 w 6338320"/>
              <a:gd name="connsiteY1" fmla="*/ 40398 h 579840"/>
              <a:gd name="connsiteX2" fmla="*/ 36372 w 6338320"/>
              <a:gd name="connsiteY2" fmla="*/ 32640 h 579840"/>
              <a:gd name="connsiteX3" fmla="*/ 6304268 w 6338320"/>
              <a:gd name="connsiteY3" fmla="*/ 32640 h 579840"/>
              <a:gd name="connsiteX4" fmla="*/ 6338320 w 6338320"/>
              <a:gd name="connsiteY4" fmla="*/ 66692 h 579840"/>
              <a:gd name="connsiteX5" fmla="*/ 6338320 w 6338320"/>
              <a:gd name="connsiteY5" fmla="*/ 545788 h 579840"/>
              <a:gd name="connsiteX6" fmla="*/ 6304268 w 6338320"/>
              <a:gd name="connsiteY6" fmla="*/ 579840 h 579840"/>
              <a:gd name="connsiteX7" fmla="*/ 36372 w 6338320"/>
              <a:gd name="connsiteY7" fmla="*/ 579840 h 579840"/>
              <a:gd name="connsiteX8" fmla="*/ 2320 w 6338320"/>
              <a:gd name="connsiteY8" fmla="*/ 545788 h 579840"/>
              <a:gd name="connsiteX0" fmla="*/ 440580 w 6776580"/>
              <a:gd name="connsiteY0" fmla="*/ 545209 h 579261"/>
              <a:gd name="connsiteX1" fmla="*/ 440208 w 6776580"/>
              <a:gd name="connsiteY1" fmla="*/ 39819 h 579261"/>
              <a:gd name="connsiteX2" fmla="*/ 474632 w 6776580"/>
              <a:gd name="connsiteY2" fmla="*/ 32061 h 579261"/>
              <a:gd name="connsiteX3" fmla="*/ 6742528 w 6776580"/>
              <a:gd name="connsiteY3" fmla="*/ 32061 h 579261"/>
              <a:gd name="connsiteX4" fmla="*/ 6776580 w 6776580"/>
              <a:gd name="connsiteY4" fmla="*/ 66113 h 579261"/>
              <a:gd name="connsiteX5" fmla="*/ 6776580 w 6776580"/>
              <a:gd name="connsiteY5" fmla="*/ 545209 h 579261"/>
              <a:gd name="connsiteX6" fmla="*/ 6742528 w 6776580"/>
              <a:gd name="connsiteY6" fmla="*/ 579261 h 579261"/>
              <a:gd name="connsiteX7" fmla="*/ 474632 w 6776580"/>
              <a:gd name="connsiteY7" fmla="*/ 579261 h 579261"/>
              <a:gd name="connsiteX8" fmla="*/ 440580 w 6776580"/>
              <a:gd name="connsiteY8" fmla="*/ 545209 h 579261"/>
              <a:gd name="connsiteX0" fmla="*/ 4188 w 6340188"/>
              <a:gd name="connsiteY0" fmla="*/ 545788 h 579840"/>
              <a:gd name="connsiteX1" fmla="*/ 3816 w 6340188"/>
              <a:gd name="connsiteY1" fmla="*/ 40398 h 579840"/>
              <a:gd name="connsiteX2" fmla="*/ 38240 w 6340188"/>
              <a:gd name="connsiteY2" fmla="*/ 32640 h 579840"/>
              <a:gd name="connsiteX3" fmla="*/ 6306136 w 6340188"/>
              <a:gd name="connsiteY3" fmla="*/ 32640 h 579840"/>
              <a:gd name="connsiteX4" fmla="*/ 6340188 w 6340188"/>
              <a:gd name="connsiteY4" fmla="*/ 66692 h 579840"/>
              <a:gd name="connsiteX5" fmla="*/ 6340188 w 6340188"/>
              <a:gd name="connsiteY5" fmla="*/ 545788 h 579840"/>
              <a:gd name="connsiteX6" fmla="*/ 6306136 w 6340188"/>
              <a:gd name="connsiteY6" fmla="*/ 579840 h 579840"/>
              <a:gd name="connsiteX7" fmla="*/ 38240 w 6340188"/>
              <a:gd name="connsiteY7" fmla="*/ 579840 h 579840"/>
              <a:gd name="connsiteX8" fmla="*/ 4188 w 6340188"/>
              <a:gd name="connsiteY8" fmla="*/ 545788 h 579840"/>
              <a:gd name="connsiteX0" fmla="*/ 1984 w 6337984"/>
              <a:gd name="connsiteY0" fmla="*/ 513434 h 547486"/>
              <a:gd name="connsiteX1" fmla="*/ 1612 w 6337984"/>
              <a:gd name="connsiteY1" fmla="*/ 8044 h 547486"/>
              <a:gd name="connsiteX2" fmla="*/ 36036 w 6337984"/>
              <a:gd name="connsiteY2" fmla="*/ 286 h 547486"/>
              <a:gd name="connsiteX3" fmla="*/ 6303932 w 6337984"/>
              <a:gd name="connsiteY3" fmla="*/ 286 h 547486"/>
              <a:gd name="connsiteX4" fmla="*/ 6337984 w 6337984"/>
              <a:gd name="connsiteY4" fmla="*/ 34338 h 547486"/>
              <a:gd name="connsiteX5" fmla="*/ 6337984 w 6337984"/>
              <a:gd name="connsiteY5" fmla="*/ 513434 h 547486"/>
              <a:gd name="connsiteX6" fmla="*/ 6303932 w 6337984"/>
              <a:gd name="connsiteY6" fmla="*/ 547486 h 547486"/>
              <a:gd name="connsiteX7" fmla="*/ 36036 w 6337984"/>
              <a:gd name="connsiteY7" fmla="*/ 547486 h 547486"/>
              <a:gd name="connsiteX8" fmla="*/ 1984 w 6337984"/>
              <a:gd name="connsiteY8" fmla="*/ 513434 h 547486"/>
              <a:gd name="connsiteX0" fmla="*/ 443038 w 6779038"/>
              <a:gd name="connsiteY0" fmla="*/ 513148 h 547200"/>
              <a:gd name="connsiteX1" fmla="*/ 440285 w 6779038"/>
              <a:gd name="connsiteY1" fmla="*/ 7758 h 547200"/>
              <a:gd name="connsiteX2" fmla="*/ 477090 w 6779038"/>
              <a:gd name="connsiteY2" fmla="*/ 0 h 547200"/>
              <a:gd name="connsiteX3" fmla="*/ 6744986 w 6779038"/>
              <a:gd name="connsiteY3" fmla="*/ 0 h 547200"/>
              <a:gd name="connsiteX4" fmla="*/ 6779038 w 6779038"/>
              <a:gd name="connsiteY4" fmla="*/ 34052 h 547200"/>
              <a:gd name="connsiteX5" fmla="*/ 6779038 w 6779038"/>
              <a:gd name="connsiteY5" fmla="*/ 513148 h 547200"/>
              <a:gd name="connsiteX6" fmla="*/ 6744986 w 6779038"/>
              <a:gd name="connsiteY6" fmla="*/ 547200 h 547200"/>
              <a:gd name="connsiteX7" fmla="*/ 477090 w 6779038"/>
              <a:gd name="connsiteY7" fmla="*/ 547200 h 547200"/>
              <a:gd name="connsiteX8" fmla="*/ 443038 w 6779038"/>
              <a:gd name="connsiteY8" fmla="*/ 513148 h 547200"/>
              <a:gd name="connsiteX0" fmla="*/ 3229 w 6339229"/>
              <a:gd name="connsiteY0" fmla="*/ 513433 h 547485"/>
              <a:gd name="connsiteX1" fmla="*/ 476 w 6339229"/>
              <a:gd name="connsiteY1" fmla="*/ 8043 h 547485"/>
              <a:gd name="connsiteX2" fmla="*/ 37281 w 6339229"/>
              <a:gd name="connsiteY2" fmla="*/ 285 h 547485"/>
              <a:gd name="connsiteX3" fmla="*/ 6305177 w 6339229"/>
              <a:gd name="connsiteY3" fmla="*/ 285 h 547485"/>
              <a:gd name="connsiteX4" fmla="*/ 6339229 w 6339229"/>
              <a:gd name="connsiteY4" fmla="*/ 34337 h 547485"/>
              <a:gd name="connsiteX5" fmla="*/ 6339229 w 6339229"/>
              <a:gd name="connsiteY5" fmla="*/ 513433 h 547485"/>
              <a:gd name="connsiteX6" fmla="*/ 6305177 w 6339229"/>
              <a:gd name="connsiteY6" fmla="*/ 547485 h 547485"/>
              <a:gd name="connsiteX7" fmla="*/ 37281 w 6339229"/>
              <a:gd name="connsiteY7" fmla="*/ 547485 h 547485"/>
              <a:gd name="connsiteX8" fmla="*/ 3229 w 6339229"/>
              <a:gd name="connsiteY8" fmla="*/ 513433 h 547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339229" h="547485">
                <a:moveTo>
                  <a:pt x="3229" y="513433"/>
                </a:moveTo>
                <a:cubicBezTo>
                  <a:pt x="-1715" y="423526"/>
                  <a:pt x="1945" y="14987"/>
                  <a:pt x="476" y="8043"/>
                </a:cubicBezTo>
                <a:cubicBezTo>
                  <a:pt x="-993" y="1099"/>
                  <a:pt x="-1471" y="-803"/>
                  <a:pt x="37281" y="285"/>
                </a:cubicBezTo>
                <a:cubicBezTo>
                  <a:pt x="76033" y="1373"/>
                  <a:pt x="4215878" y="285"/>
                  <a:pt x="6305177" y="285"/>
                </a:cubicBezTo>
                <a:cubicBezTo>
                  <a:pt x="6323983" y="285"/>
                  <a:pt x="6339229" y="15531"/>
                  <a:pt x="6339229" y="34337"/>
                </a:cubicBezTo>
                <a:lnTo>
                  <a:pt x="6339229" y="513433"/>
                </a:lnTo>
                <a:cubicBezTo>
                  <a:pt x="6339229" y="532239"/>
                  <a:pt x="6323983" y="547485"/>
                  <a:pt x="6305177" y="547485"/>
                </a:cubicBezTo>
                <a:lnTo>
                  <a:pt x="37281" y="547485"/>
                </a:lnTo>
                <a:cubicBezTo>
                  <a:pt x="18475" y="547485"/>
                  <a:pt x="3229" y="532239"/>
                  <a:pt x="3229" y="513433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144000" tIns="144000" rIns="216000" bIns="216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3" name="Tijdelijke aanduiding voor datum 3">
            <a:extLst>
              <a:ext uri="{FF2B5EF4-FFF2-40B4-BE49-F238E27FC236}">
                <a16:creationId xmlns:a16="http://schemas.microsoft.com/office/drawing/2014/main" id="{BDC78B71-F098-49D0-A82C-26F4C2AFD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70796E-DDED-4E27-9226-E9660C071F14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153" name="Tijdelijke aanduiding voor tekst 3">
            <a:extLst>
              <a:ext uri="{FF2B5EF4-FFF2-40B4-BE49-F238E27FC236}">
                <a16:creationId xmlns:a16="http://schemas.microsoft.com/office/drawing/2014/main" id="{8A98C4B6-1A94-4159-9EB3-581D74066A8F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22673480" y="17557276"/>
            <a:ext cx="18310781" cy="2416918"/>
          </a:xfrm>
          <a:custGeom>
            <a:avLst/>
            <a:gdLst>
              <a:gd name="connsiteX0" fmla="*/ 0 w 6336000"/>
              <a:gd name="connsiteY0" fmla="*/ 34052 h 547200"/>
              <a:gd name="connsiteX1" fmla="*/ 34052 w 6336000"/>
              <a:gd name="connsiteY1" fmla="*/ 0 h 547200"/>
              <a:gd name="connsiteX2" fmla="*/ 6301948 w 6336000"/>
              <a:gd name="connsiteY2" fmla="*/ 0 h 547200"/>
              <a:gd name="connsiteX3" fmla="*/ 6336000 w 6336000"/>
              <a:gd name="connsiteY3" fmla="*/ 34052 h 547200"/>
              <a:gd name="connsiteX4" fmla="*/ 6336000 w 6336000"/>
              <a:gd name="connsiteY4" fmla="*/ 513148 h 547200"/>
              <a:gd name="connsiteX5" fmla="*/ 6301948 w 6336000"/>
              <a:gd name="connsiteY5" fmla="*/ 547200 h 547200"/>
              <a:gd name="connsiteX6" fmla="*/ 34052 w 6336000"/>
              <a:gd name="connsiteY6" fmla="*/ 547200 h 547200"/>
              <a:gd name="connsiteX7" fmla="*/ 0 w 6336000"/>
              <a:gd name="connsiteY7" fmla="*/ 513148 h 547200"/>
              <a:gd name="connsiteX8" fmla="*/ 0 w 6336000"/>
              <a:gd name="connsiteY8" fmla="*/ 34052 h 547200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0 w 6336000"/>
              <a:gd name="connsiteY0" fmla="*/ 44015 h 557163"/>
              <a:gd name="connsiteX1" fmla="*/ 4390 w 6336000"/>
              <a:gd name="connsiteY1" fmla="*/ 17721 h 557163"/>
              <a:gd name="connsiteX2" fmla="*/ 34052 w 6336000"/>
              <a:gd name="connsiteY2" fmla="*/ 9963 h 557163"/>
              <a:gd name="connsiteX3" fmla="*/ 6301948 w 6336000"/>
              <a:gd name="connsiteY3" fmla="*/ 9963 h 557163"/>
              <a:gd name="connsiteX4" fmla="*/ 6336000 w 6336000"/>
              <a:gd name="connsiteY4" fmla="*/ 44015 h 557163"/>
              <a:gd name="connsiteX5" fmla="*/ 6336000 w 6336000"/>
              <a:gd name="connsiteY5" fmla="*/ 523111 h 557163"/>
              <a:gd name="connsiteX6" fmla="*/ 6301948 w 6336000"/>
              <a:gd name="connsiteY6" fmla="*/ 557163 h 557163"/>
              <a:gd name="connsiteX7" fmla="*/ 34052 w 6336000"/>
              <a:gd name="connsiteY7" fmla="*/ 557163 h 557163"/>
              <a:gd name="connsiteX8" fmla="*/ 0 w 6336000"/>
              <a:gd name="connsiteY8" fmla="*/ 523111 h 557163"/>
              <a:gd name="connsiteX9" fmla="*/ 0 w 6336000"/>
              <a:gd name="connsiteY9" fmla="*/ 44015 h 557163"/>
              <a:gd name="connsiteX0" fmla="*/ 325 w 6336325"/>
              <a:gd name="connsiteY0" fmla="*/ 34265 h 547413"/>
              <a:gd name="connsiteX1" fmla="*/ 4715 w 6336325"/>
              <a:gd name="connsiteY1" fmla="*/ 7971 h 547413"/>
              <a:gd name="connsiteX2" fmla="*/ 34377 w 6336325"/>
              <a:gd name="connsiteY2" fmla="*/ 213 h 547413"/>
              <a:gd name="connsiteX3" fmla="*/ 6302273 w 6336325"/>
              <a:gd name="connsiteY3" fmla="*/ 213 h 547413"/>
              <a:gd name="connsiteX4" fmla="*/ 6336325 w 6336325"/>
              <a:gd name="connsiteY4" fmla="*/ 34265 h 547413"/>
              <a:gd name="connsiteX5" fmla="*/ 6336325 w 6336325"/>
              <a:gd name="connsiteY5" fmla="*/ 513361 h 547413"/>
              <a:gd name="connsiteX6" fmla="*/ 6302273 w 6336325"/>
              <a:gd name="connsiteY6" fmla="*/ 547413 h 547413"/>
              <a:gd name="connsiteX7" fmla="*/ 34377 w 6336325"/>
              <a:gd name="connsiteY7" fmla="*/ 547413 h 547413"/>
              <a:gd name="connsiteX8" fmla="*/ 325 w 6336325"/>
              <a:gd name="connsiteY8" fmla="*/ 513361 h 547413"/>
              <a:gd name="connsiteX9" fmla="*/ 325 w 6336325"/>
              <a:gd name="connsiteY9" fmla="*/ 34265 h 547413"/>
              <a:gd name="connsiteX0" fmla="*/ 2320 w 6338320"/>
              <a:gd name="connsiteY0" fmla="*/ 545788 h 579840"/>
              <a:gd name="connsiteX1" fmla="*/ 6710 w 6338320"/>
              <a:gd name="connsiteY1" fmla="*/ 40398 h 579840"/>
              <a:gd name="connsiteX2" fmla="*/ 36372 w 6338320"/>
              <a:gd name="connsiteY2" fmla="*/ 32640 h 579840"/>
              <a:gd name="connsiteX3" fmla="*/ 6304268 w 6338320"/>
              <a:gd name="connsiteY3" fmla="*/ 32640 h 579840"/>
              <a:gd name="connsiteX4" fmla="*/ 6338320 w 6338320"/>
              <a:gd name="connsiteY4" fmla="*/ 66692 h 579840"/>
              <a:gd name="connsiteX5" fmla="*/ 6338320 w 6338320"/>
              <a:gd name="connsiteY5" fmla="*/ 545788 h 579840"/>
              <a:gd name="connsiteX6" fmla="*/ 6304268 w 6338320"/>
              <a:gd name="connsiteY6" fmla="*/ 579840 h 579840"/>
              <a:gd name="connsiteX7" fmla="*/ 36372 w 6338320"/>
              <a:gd name="connsiteY7" fmla="*/ 579840 h 579840"/>
              <a:gd name="connsiteX8" fmla="*/ 2320 w 6338320"/>
              <a:gd name="connsiteY8" fmla="*/ 545788 h 579840"/>
              <a:gd name="connsiteX0" fmla="*/ 440580 w 6776580"/>
              <a:gd name="connsiteY0" fmla="*/ 545209 h 579261"/>
              <a:gd name="connsiteX1" fmla="*/ 440208 w 6776580"/>
              <a:gd name="connsiteY1" fmla="*/ 39819 h 579261"/>
              <a:gd name="connsiteX2" fmla="*/ 474632 w 6776580"/>
              <a:gd name="connsiteY2" fmla="*/ 32061 h 579261"/>
              <a:gd name="connsiteX3" fmla="*/ 6742528 w 6776580"/>
              <a:gd name="connsiteY3" fmla="*/ 32061 h 579261"/>
              <a:gd name="connsiteX4" fmla="*/ 6776580 w 6776580"/>
              <a:gd name="connsiteY4" fmla="*/ 66113 h 579261"/>
              <a:gd name="connsiteX5" fmla="*/ 6776580 w 6776580"/>
              <a:gd name="connsiteY5" fmla="*/ 545209 h 579261"/>
              <a:gd name="connsiteX6" fmla="*/ 6742528 w 6776580"/>
              <a:gd name="connsiteY6" fmla="*/ 579261 h 579261"/>
              <a:gd name="connsiteX7" fmla="*/ 474632 w 6776580"/>
              <a:gd name="connsiteY7" fmla="*/ 579261 h 579261"/>
              <a:gd name="connsiteX8" fmla="*/ 440580 w 6776580"/>
              <a:gd name="connsiteY8" fmla="*/ 545209 h 579261"/>
              <a:gd name="connsiteX0" fmla="*/ 4188 w 6340188"/>
              <a:gd name="connsiteY0" fmla="*/ 545788 h 579840"/>
              <a:gd name="connsiteX1" fmla="*/ 3816 w 6340188"/>
              <a:gd name="connsiteY1" fmla="*/ 40398 h 579840"/>
              <a:gd name="connsiteX2" fmla="*/ 38240 w 6340188"/>
              <a:gd name="connsiteY2" fmla="*/ 32640 h 579840"/>
              <a:gd name="connsiteX3" fmla="*/ 6306136 w 6340188"/>
              <a:gd name="connsiteY3" fmla="*/ 32640 h 579840"/>
              <a:gd name="connsiteX4" fmla="*/ 6340188 w 6340188"/>
              <a:gd name="connsiteY4" fmla="*/ 66692 h 579840"/>
              <a:gd name="connsiteX5" fmla="*/ 6340188 w 6340188"/>
              <a:gd name="connsiteY5" fmla="*/ 545788 h 579840"/>
              <a:gd name="connsiteX6" fmla="*/ 6306136 w 6340188"/>
              <a:gd name="connsiteY6" fmla="*/ 579840 h 579840"/>
              <a:gd name="connsiteX7" fmla="*/ 38240 w 6340188"/>
              <a:gd name="connsiteY7" fmla="*/ 579840 h 579840"/>
              <a:gd name="connsiteX8" fmla="*/ 4188 w 6340188"/>
              <a:gd name="connsiteY8" fmla="*/ 545788 h 579840"/>
              <a:gd name="connsiteX0" fmla="*/ 1984 w 6337984"/>
              <a:gd name="connsiteY0" fmla="*/ 513434 h 547486"/>
              <a:gd name="connsiteX1" fmla="*/ 1612 w 6337984"/>
              <a:gd name="connsiteY1" fmla="*/ 8044 h 547486"/>
              <a:gd name="connsiteX2" fmla="*/ 36036 w 6337984"/>
              <a:gd name="connsiteY2" fmla="*/ 286 h 547486"/>
              <a:gd name="connsiteX3" fmla="*/ 6303932 w 6337984"/>
              <a:gd name="connsiteY3" fmla="*/ 286 h 547486"/>
              <a:gd name="connsiteX4" fmla="*/ 6337984 w 6337984"/>
              <a:gd name="connsiteY4" fmla="*/ 34338 h 547486"/>
              <a:gd name="connsiteX5" fmla="*/ 6337984 w 6337984"/>
              <a:gd name="connsiteY5" fmla="*/ 513434 h 547486"/>
              <a:gd name="connsiteX6" fmla="*/ 6303932 w 6337984"/>
              <a:gd name="connsiteY6" fmla="*/ 547486 h 547486"/>
              <a:gd name="connsiteX7" fmla="*/ 36036 w 6337984"/>
              <a:gd name="connsiteY7" fmla="*/ 547486 h 547486"/>
              <a:gd name="connsiteX8" fmla="*/ 1984 w 6337984"/>
              <a:gd name="connsiteY8" fmla="*/ 513434 h 547486"/>
              <a:gd name="connsiteX0" fmla="*/ 443038 w 6779038"/>
              <a:gd name="connsiteY0" fmla="*/ 513148 h 547200"/>
              <a:gd name="connsiteX1" fmla="*/ 440285 w 6779038"/>
              <a:gd name="connsiteY1" fmla="*/ 7758 h 547200"/>
              <a:gd name="connsiteX2" fmla="*/ 477090 w 6779038"/>
              <a:gd name="connsiteY2" fmla="*/ 0 h 547200"/>
              <a:gd name="connsiteX3" fmla="*/ 6744986 w 6779038"/>
              <a:gd name="connsiteY3" fmla="*/ 0 h 547200"/>
              <a:gd name="connsiteX4" fmla="*/ 6779038 w 6779038"/>
              <a:gd name="connsiteY4" fmla="*/ 34052 h 547200"/>
              <a:gd name="connsiteX5" fmla="*/ 6779038 w 6779038"/>
              <a:gd name="connsiteY5" fmla="*/ 513148 h 547200"/>
              <a:gd name="connsiteX6" fmla="*/ 6744986 w 6779038"/>
              <a:gd name="connsiteY6" fmla="*/ 547200 h 547200"/>
              <a:gd name="connsiteX7" fmla="*/ 477090 w 6779038"/>
              <a:gd name="connsiteY7" fmla="*/ 547200 h 547200"/>
              <a:gd name="connsiteX8" fmla="*/ 443038 w 6779038"/>
              <a:gd name="connsiteY8" fmla="*/ 513148 h 547200"/>
              <a:gd name="connsiteX0" fmla="*/ 3229 w 6339229"/>
              <a:gd name="connsiteY0" fmla="*/ 513433 h 547485"/>
              <a:gd name="connsiteX1" fmla="*/ 476 w 6339229"/>
              <a:gd name="connsiteY1" fmla="*/ 8043 h 547485"/>
              <a:gd name="connsiteX2" fmla="*/ 37281 w 6339229"/>
              <a:gd name="connsiteY2" fmla="*/ 285 h 547485"/>
              <a:gd name="connsiteX3" fmla="*/ 6305177 w 6339229"/>
              <a:gd name="connsiteY3" fmla="*/ 285 h 547485"/>
              <a:gd name="connsiteX4" fmla="*/ 6339229 w 6339229"/>
              <a:gd name="connsiteY4" fmla="*/ 34337 h 547485"/>
              <a:gd name="connsiteX5" fmla="*/ 6339229 w 6339229"/>
              <a:gd name="connsiteY5" fmla="*/ 513433 h 547485"/>
              <a:gd name="connsiteX6" fmla="*/ 6305177 w 6339229"/>
              <a:gd name="connsiteY6" fmla="*/ 547485 h 547485"/>
              <a:gd name="connsiteX7" fmla="*/ 37281 w 6339229"/>
              <a:gd name="connsiteY7" fmla="*/ 547485 h 547485"/>
              <a:gd name="connsiteX8" fmla="*/ 3229 w 6339229"/>
              <a:gd name="connsiteY8" fmla="*/ 513433 h 547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339229" h="547485">
                <a:moveTo>
                  <a:pt x="3229" y="513433"/>
                </a:moveTo>
                <a:cubicBezTo>
                  <a:pt x="-1715" y="423526"/>
                  <a:pt x="1945" y="14987"/>
                  <a:pt x="476" y="8043"/>
                </a:cubicBezTo>
                <a:cubicBezTo>
                  <a:pt x="-993" y="1099"/>
                  <a:pt x="-1471" y="-803"/>
                  <a:pt x="37281" y="285"/>
                </a:cubicBezTo>
                <a:cubicBezTo>
                  <a:pt x="76033" y="1373"/>
                  <a:pt x="4215878" y="285"/>
                  <a:pt x="6305177" y="285"/>
                </a:cubicBezTo>
                <a:cubicBezTo>
                  <a:pt x="6323983" y="285"/>
                  <a:pt x="6339229" y="15531"/>
                  <a:pt x="6339229" y="34337"/>
                </a:cubicBezTo>
                <a:lnTo>
                  <a:pt x="6339229" y="513433"/>
                </a:lnTo>
                <a:cubicBezTo>
                  <a:pt x="6339229" y="532239"/>
                  <a:pt x="6323983" y="547485"/>
                  <a:pt x="6305177" y="547485"/>
                </a:cubicBezTo>
                <a:lnTo>
                  <a:pt x="37281" y="547485"/>
                </a:lnTo>
                <a:cubicBezTo>
                  <a:pt x="18475" y="547485"/>
                  <a:pt x="3229" y="532239"/>
                  <a:pt x="3229" y="513433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144000" tIns="144000" rIns="216000" bIns="216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54" name="Tijdelijke aanduiding voor tekst 3">
            <a:extLst>
              <a:ext uri="{FF2B5EF4-FFF2-40B4-BE49-F238E27FC236}">
                <a16:creationId xmlns:a16="http://schemas.microsoft.com/office/drawing/2014/main" id="{FD32AE00-24ED-4295-A98C-4052E811CA7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22673480" y="20380583"/>
            <a:ext cx="18310781" cy="2416918"/>
          </a:xfrm>
          <a:custGeom>
            <a:avLst/>
            <a:gdLst>
              <a:gd name="connsiteX0" fmla="*/ 0 w 6336000"/>
              <a:gd name="connsiteY0" fmla="*/ 34052 h 547200"/>
              <a:gd name="connsiteX1" fmla="*/ 34052 w 6336000"/>
              <a:gd name="connsiteY1" fmla="*/ 0 h 547200"/>
              <a:gd name="connsiteX2" fmla="*/ 6301948 w 6336000"/>
              <a:gd name="connsiteY2" fmla="*/ 0 h 547200"/>
              <a:gd name="connsiteX3" fmla="*/ 6336000 w 6336000"/>
              <a:gd name="connsiteY3" fmla="*/ 34052 h 547200"/>
              <a:gd name="connsiteX4" fmla="*/ 6336000 w 6336000"/>
              <a:gd name="connsiteY4" fmla="*/ 513148 h 547200"/>
              <a:gd name="connsiteX5" fmla="*/ 6301948 w 6336000"/>
              <a:gd name="connsiteY5" fmla="*/ 547200 h 547200"/>
              <a:gd name="connsiteX6" fmla="*/ 34052 w 6336000"/>
              <a:gd name="connsiteY6" fmla="*/ 547200 h 547200"/>
              <a:gd name="connsiteX7" fmla="*/ 0 w 6336000"/>
              <a:gd name="connsiteY7" fmla="*/ 513148 h 547200"/>
              <a:gd name="connsiteX8" fmla="*/ 0 w 6336000"/>
              <a:gd name="connsiteY8" fmla="*/ 34052 h 547200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0 w 6336000"/>
              <a:gd name="connsiteY0" fmla="*/ 44015 h 557163"/>
              <a:gd name="connsiteX1" fmla="*/ 4390 w 6336000"/>
              <a:gd name="connsiteY1" fmla="*/ 17721 h 557163"/>
              <a:gd name="connsiteX2" fmla="*/ 34052 w 6336000"/>
              <a:gd name="connsiteY2" fmla="*/ 9963 h 557163"/>
              <a:gd name="connsiteX3" fmla="*/ 6301948 w 6336000"/>
              <a:gd name="connsiteY3" fmla="*/ 9963 h 557163"/>
              <a:gd name="connsiteX4" fmla="*/ 6336000 w 6336000"/>
              <a:gd name="connsiteY4" fmla="*/ 44015 h 557163"/>
              <a:gd name="connsiteX5" fmla="*/ 6336000 w 6336000"/>
              <a:gd name="connsiteY5" fmla="*/ 523111 h 557163"/>
              <a:gd name="connsiteX6" fmla="*/ 6301948 w 6336000"/>
              <a:gd name="connsiteY6" fmla="*/ 557163 h 557163"/>
              <a:gd name="connsiteX7" fmla="*/ 34052 w 6336000"/>
              <a:gd name="connsiteY7" fmla="*/ 557163 h 557163"/>
              <a:gd name="connsiteX8" fmla="*/ 0 w 6336000"/>
              <a:gd name="connsiteY8" fmla="*/ 523111 h 557163"/>
              <a:gd name="connsiteX9" fmla="*/ 0 w 6336000"/>
              <a:gd name="connsiteY9" fmla="*/ 44015 h 557163"/>
              <a:gd name="connsiteX0" fmla="*/ 325 w 6336325"/>
              <a:gd name="connsiteY0" fmla="*/ 34265 h 547413"/>
              <a:gd name="connsiteX1" fmla="*/ 4715 w 6336325"/>
              <a:gd name="connsiteY1" fmla="*/ 7971 h 547413"/>
              <a:gd name="connsiteX2" fmla="*/ 34377 w 6336325"/>
              <a:gd name="connsiteY2" fmla="*/ 213 h 547413"/>
              <a:gd name="connsiteX3" fmla="*/ 6302273 w 6336325"/>
              <a:gd name="connsiteY3" fmla="*/ 213 h 547413"/>
              <a:gd name="connsiteX4" fmla="*/ 6336325 w 6336325"/>
              <a:gd name="connsiteY4" fmla="*/ 34265 h 547413"/>
              <a:gd name="connsiteX5" fmla="*/ 6336325 w 6336325"/>
              <a:gd name="connsiteY5" fmla="*/ 513361 h 547413"/>
              <a:gd name="connsiteX6" fmla="*/ 6302273 w 6336325"/>
              <a:gd name="connsiteY6" fmla="*/ 547413 h 547413"/>
              <a:gd name="connsiteX7" fmla="*/ 34377 w 6336325"/>
              <a:gd name="connsiteY7" fmla="*/ 547413 h 547413"/>
              <a:gd name="connsiteX8" fmla="*/ 325 w 6336325"/>
              <a:gd name="connsiteY8" fmla="*/ 513361 h 547413"/>
              <a:gd name="connsiteX9" fmla="*/ 325 w 6336325"/>
              <a:gd name="connsiteY9" fmla="*/ 34265 h 547413"/>
              <a:gd name="connsiteX0" fmla="*/ 2320 w 6338320"/>
              <a:gd name="connsiteY0" fmla="*/ 545788 h 579840"/>
              <a:gd name="connsiteX1" fmla="*/ 6710 w 6338320"/>
              <a:gd name="connsiteY1" fmla="*/ 40398 h 579840"/>
              <a:gd name="connsiteX2" fmla="*/ 36372 w 6338320"/>
              <a:gd name="connsiteY2" fmla="*/ 32640 h 579840"/>
              <a:gd name="connsiteX3" fmla="*/ 6304268 w 6338320"/>
              <a:gd name="connsiteY3" fmla="*/ 32640 h 579840"/>
              <a:gd name="connsiteX4" fmla="*/ 6338320 w 6338320"/>
              <a:gd name="connsiteY4" fmla="*/ 66692 h 579840"/>
              <a:gd name="connsiteX5" fmla="*/ 6338320 w 6338320"/>
              <a:gd name="connsiteY5" fmla="*/ 545788 h 579840"/>
              <a:gd name="connsiteX6" fmla="*/ 6304268 w 6338320"/>
              <a:gd name="connsiteY6" fmla="*/ 579840 h 579840"/>
              <a:gd name="connsiteX7" fmla="*/ 36372 w 6338320"/>
              <a:gd name="connsiteY7" fmla="*/ 579840 h 579840"/>
              <a:gd name="connsiteX8" fmla="*/ 2320 w 6338320"/>
              <a:gd name="connsiteY8" fmla="*/ 545788 h 579840"/>
              <a:gd name="connsiteX0" fmla="*/ 440580 w 6776580"/>
              <a:gd name="connsiteY0" fmla="*/ 545209 h 579261"/>
              <a:gd name="connsiteX1" fmla="*/ 440208 w 6776580"/>
              <a:gd name="connsiteY1" fmla="*/ 39819 h 579261"/>
              <a:gd name="connsiteX2" fmla="*/ 474632 w 6776580"/>
              <a:gd name="connsiteY2" fmla="*/ 32061 h 579261"/>
              <a:gd name="connsiteX3" fmla="*/ 6742528 w 6776580"/>
              <a:gd name="connsiteY3" fmla="*/ 32061 h 579261"/>
              <a:gd name="connsiteX4" fmla="*/ 6776580 w 6776580"/>
              <a:gd name="connsiteY4" fmla="*/ 66113 h 579261"/>
              <a:gd name="connsiteX5" fmla="*/ 6776580 w 6776580"/>
              <a:gd name="connsiteY5" fmla="*/ 545209 h 579261"/>
              <a:gd name="connsiteX6" fmla="*/ 6742528 w 6776580"/>
              <a:gd name="connsiteY6" fmla="*/ 579261 h 579261"/>
              <a:gd name="connsiteX7" fmla="*/ 474632 w 6776580"/>
              <a:gd name="connsiteY7" fmla="*/ 579261 h 579261"/>
              <a:gd name="connsiteX8" fmla="*/ 440580 w 6776580"/>
              <a:gd name="connsiteY8" fmla="*/ 545209 h 579261"/>
              <a:gd name="connsiteX0" fmla="*/ 4188 w 6340188"/>
              <a:gd name="connsiteY0" fmla="*/ 545788 h 579840"/>
              <a:gd name="connsiteX1" fmla="*/ 3816 w 6340188"/>
              <a:gd name="connsiteY1" fmla="*/ 40398 h 579840"/>
              <a:gd name="connsiteX2" fmla="*/ 38240 w 6340188"/>
              <a:gd name="connsiteY2" fmla="*/ 32640 h 579840"/>
              <a:gd name="connsiteX3" fmla="*/ 6306136 w 6340188"/>
              <a:gd name="connsiteY3" fmla="*/ 32640 h 579840"/>
              <a:gd name="connsiteX4" fmla="*/ 6340188 w 6340188"/>
              <a:gd name="connsiteY4" fmla="*/ 66692 h 579840"/>
              <a:gd name="connsiteX5" fmla="*/ 6340188 w 6340188"/>
              <a:gd name="connsiteY5" fmla="*/ 545788 h 579840"/>
              <a:gd name="connsiteX6" fmla="*/ 6306136 w 6340188"/>
              <a:gd name="connsiteY6" fmla="*/ 579840 h 579840"/>
              <a:gd name="connsiteX7" fmla="*/ 38240 w 6340188"/>
              <a:gd name="connsiteY7" fmla="*/ 579840 h 579840"/>
              <a:gd name="connsiteX8" fmla="*/ 4188 w 6340188"/>
              <a:gd name="connsiteY8" fmla="*/ 545788 h 579840"/>
              <a:gd name="connsiteX0" fmla="*/ 1984 w 6337984"/>
              <a:gd name="connsiteY0" fmla="*/ 513434 h 547486"/>
              <a:gd name="connsiteX1" fmla="*/ 1612 w 6337984"/>
              <a:gd name="connsiteY1" fmla="*/ 8044 h 547486"/>
              <a:gd name="connsiteX2" fmla="*/ 36036 w 6337984"/>
              <a:gd name="connsiteY2" fmla="*/ 286 h 547486"/>
              <a:gd name="connsiteX3" fmla="*/ 6303932 w 6337984"/>
              <a:gd name="connsiteY3" fmla="*/ 286 h 547486"/>
              <a:gd name="connsiteX4" fmla="*/ 6337984 w 6337984"/>
              <a:gd name="connsiteY4" fmla="*/ 34338 h 547486"/>
              <a:gd name="connsiteX5" fmla="*/ 6337984 w 6337984"/>
              <a:gd name="connsiteY5" fmla="*/ 513434 h 547486"/>
              <a:gd name="connsiteX6" fmla="*/ 6303932 w 6337984"/>
              <a:gd name="connsiteY6" fmla="*/ 547486 h 547486"/>
              <a:gd name="connsiteX7" fmla="*/ 36036 w 6337984"/>
              <a:gd name="connsiteY7" fmla="*/ 547486 h 547486"/>
              <a:gd name="connsiteX8" fmla="*/ 1984 w 6337984"/>
              <a:gd name="connsiteY8" fmla="*/ 513434 h 547486"/>
              <a:gd name="connsiteX0" fmla="*/ 443038 w 6779038"/>
              <a:gd name="connsiteY0" fmla="*/ 513148 h 547200"/>
              <a:gd name="connsiteX1" fmla="*/ 440285 w 6779038"/>
              <a:gd name="connsiteY1" fmla="*/ 7758 h 547200"/>
              <a:gd name="connsiteX2" fmla="*/ 477090 w 6779038"/>
              <a:gd name="connsiteY2" fmla="*/ 0 h 547200"/>
              <a:gd name="connsiteX3" fmla="*/ 6744986 w 6779038"/>
              <a:gd name="connsiteY3" fmla="*/ 0 h 547200"/>
              <a:gd name="connsiteX4" fmla="*/ 6779038 w 6779038"/>
              <a:gd name="connsiteY4" fmla="*/ 34052 h 547200"/>
              <a:gd name="connsiteX5" fmla="*/ 6779038 w 6779038"/>
              <a:gd name="connsiteY5" fmla="*/ 513148 h 547200"/>
              <a:gd name="connsiteX6" fmla="*/ 6744986 w 6779038"/>
              <a:gd name="connsiteY6" fmla="*/ 547200 h 547200"/>
              <a:gd name="connsiteX7" fmla="*/ 477090 w 6779038"/>
              <a:gd name="connsiteY7" fmla="*/ 547200 h 547200"/>
              <a:gd name="connsiteX8" fmla="*/ 443038 w 6779038"/>
              <a:gd name="connsiteY8" fmla="*/ 513148 h 547200"/>
              <a:gd name="connsiteX0" fmla="*/ 3229 w 6339229"/>
              <a:gd name="connsiteY0" fmla="*/ 513433 h 547485"/>
              <a:gd name="connsiteX1" fmla="*/ 476 w 6339229"/>
              <a:gd name="connsiteY1" fmla="*/ 8043 h 547485"/>
              <a:gd name="connsiteX2" fmla="*/ 37281 w 6339229"/>
              <a:gd name="connsiteY2" fmla="*/ 285 h 547485"/>
              <a:gd name="connsiteX3" fmla="*/ 6305177 w 6339229"/>
              <a:gd name="connsiteY3" fmla="*/ 285 h 547485"/>
              <a:gd name="connsiteX4" fmla="*/ 6339229 w 6339229"/>
              <a:gd name="connsiteY4" fmla="*/ 34337 h 547485"/>
              <a:gd name="connsiteX5" fmla="*/ 6339229 w 6339229"/>
              <a:gd name="connsiteY5" fmla="*/ 513433 h 547485"/>
              <a:gd name="connsiteX6" fmla="*/ 6305177 w 6339229"/>
              <a:gd name="connsiteY6" fmla="*/ 547485 h 547485"/>
              <a:gd name="connsiteX7" fmla="*/ 37281 w 6339229"/>
              <a:gd name="connsiteY7" fmla="*/ 547485 h 547485"/>
              <a:gd name="connsiteX8" fmla="*/ 3229 w 6339229"/>
              <a:gd name="connsiteY8" fmla="*/ 513433 h 547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339229" h="547485">
                <a:moveTo>
                  <a:pt x="3229" y="513433"/>
                </a:moveTo>
                <a:cubicBezTo>
                  <a:pt x="-1715" y="423526"/>
                  <a:pt x="1945" y="14987"/>
                  <a:pt x="476" y="8043"/>
                </a:cubicBezTo>
                <a:cubicBezTo>
                  <a:pt x="-993" y="1099"/>
                  <a:pt x="-1471" y="-803"/>
                  <a:pt x="37281" y="285"/>
                </a:cubicBezTo>
                <a:cubicBezTo>
                  <a:pt x="76033" y="1373"/>
                  <a:pt x="4215878" y="285"/>
                  <a:pt x="6305177" y="285"/>
                </a:cubicBezTo>
                <a:cubicBezTo>
                  <a:pt x="6323983" y="285"/>
                  <a:pt x="6339229" y="15531"/>
                  <a:pt x="6339229" y="34337"/>
                </a:cubicBezTo>
                <a:lnTo>
                  <a:pt x="6339229" y="513433"/>
                </a:lnTo>
                <a:cubicBezTo>
                  <a:pt x="6339229" y="532239"/>
                  <a:pt x="6323983" y="547485"/>
                  <a:pt x="6305177" y="547485"/>
                </a:cubicBezTo>
                <a:lnTo>
                  <a:pt x="37281" y="547485"/>
                </a:lnTo>
                <a:cubicBezTo>
                  <a:pt x="18475" y="547485"/>
                  <a:pt x="3229" y="532239"/>
                  <a:pt x="3229" y="513433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144000" tIns="144000" rIns="216000" bIns="216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55" name="Tijdelijke aanduiding voor tekst 3">
            <a:extLst>
              <a:ext uri="{FF2B5EF4-FFF2-40B4-BE49-F238E27FC236}">
                <a16:creationId xmlns:a16="http://schemas.microsoft.com/office/drawing/2014/main" id="{995A4DD9-A511-424A-A6EF-3EFF4DF1BE8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2673480" y="23203883"/>
            <a:ext cx="18310781" cy="2416918"/>
          </a:xfrm>
          <a:custGeom>
            <a:avLst/>
            <a:gdLst>
              <a:gd name="connsiteX0" fmla="*/ 0 w 6336000"/>
              <a:gd name="connsiteY0" fmla="*/ 34052 h 547200"/>
              <a:gd name="connsiteX1" fmla="*/ 34052 w 6336000"/>
              <a:gd name="connsiteY1" fmla="*/ 0 h 547200"/>
              <a:gd name="connsiteX2" fmla="*/ 6301948 w 6336000"/>
              <a:gd name="connsiteY2" fmla="*/ 0 h 547200"/>
              <a:gd name="connsiteX3" fmla="*/ 6336000 w 6336000"/>
              <a:gd name="connsiteY3" fmla="*/ 34052 h 547200"/>
              <a:gd name="connsiteX4" fmla="*/ 6336000 w 6336000"/>
              <a:gd name="connsiteY4" fmla="*/ 513148 h 547200"/>
              <a:gd name="connsiteX5" fmla="*/ 6301948 w 6336000"/>
              <a:gd name="connsiteY5" fmla="*/ 547200 h 547200"/>
              <a:gd name="connsiteX6" fmla="*/ 34052 w 6336000"/>
              <a:gd name="connsiteY6" fmla="*/ 547200 h 547200"/>
              <a:gd name="connsiteX7" fmla="*/ 0 w 6336000"/>
              <a:gd name="connsiteY7" fmla="*/ 513148 h 547200"/>
              <a:gd name="connsiteX8" fmla="*/ 0 w 6336000"/>
              <a:gd name="connsiteY8" fmla="*/ 34052 h 547200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0 w 6336000"/>
              <a:gd name="connsiteY0" fmla="*/ 44015 h 557163"/>
              <a:gd name="connsiteX1" fmla="*/ 4390 w 6336000"/>
              <a:gd name="connsiteY1" fmla="*/ 17721 h 557163"/>
              <a:gd name="connsiteX2" fmla="*/ 34052 w 6336000"/>
              <a:gd name="connsiteY2" fmla="*/ 9963 h 557163"/>
              <a:gd name="connsiteX3" fmla="*/ 6301948 w 6336000"/>
              <a:gd name="connsiteY3" fmla="*/ 9963 h 557163"/>
              <a:gd name="connsiteX4" fmla="*/ 6336000 w 6336000"/>
              <a:gd name="connsiteY4" fmla="*/ 44015 h 557163"/>
              <a:gd name="connsiteX5" fmla="*/ 6336000 w 6336000"/>
              <a:gd name="connsiteY5" fmla="*/ 523111 h 557163"/>
              <a:gd name="connsiteX6" fmla="*/ 6301948 w 6336000"/>
              <a:gd name="connsiteY6" fmla="*/ 557163 h 557163"/>
              <a:gd name="connsiteX7" fmla="*/ 34052 w 6336000"/>
              <a:gd name="connsiteY7" fmla="*/ 557163 h 557163"/>
              <a:gd name="connsiteX8" fmla="*/ 0 w 6336000"/>
              <a:gd name="connsiteY8" fmla="*/ 523111 h 557163"/>
              <a:gd name="connsiteX9" fmla="*/ 0 w 6336000"/>
              <a:gd name="connsiteY9" fmla="*/ 44015 h 557163"/>
              <a:gd name="connsiteX0" fmla="*/ 325 w 6336325"/>
              <a:gd name="connsiteY0" fmla="*/ 34265 h 547413"/>
              <a:gd name="connsiteX1" fmla="*/ 4715 w 6336325"/>
              <a:gd name="connsiteY1" fmla="*/ 7971 h 547413"/>
              <a:gd name="connsiteX2" fmla="*/ 34377 w 6336325"/>
              <a:gd name="connsiteY2" fmla="*/ 213 h 547413"/>
              <a:gd name="connsiteX3" fmla="*/ 6302273 w 6336325"/>
              <a:gd name="connsiteY3" fmla="*/ 213 h 547413"/>
              <a:gd name="connsiteX4" fmla="*/ 6336325 w 6336325"/>
              <a:gd name="connsiteY4" fmla="*/ 34265 h 547413"/>
              <a:gd name="connsiteX5" fmla="*/ 6336325 w 6336325"/>
              <a:gd name="connsiteY5" fmla="*/ 513361 h 547413"/>
              <a:gd name="connsiteX6" fmla="*/ 6302273 w 6336325"/>
              <a:gd name="connsiteY6" fmla="*/ 547413 h 547413"/>
              <a:gd name="connsiteX7" fmla="*/ 34377 w 6336325"/>
              <a:gd name="connsiteY7" fmla="*/ 547413 h 547413"/>
              <a:gd name="connsiteX8" fmla="*/ 325 w 6336325"/>
              <a:gd name="connsiteY8" fmla="*/ 513361 h 547413"/>
              <a:gd name="connsiteX9" fmla="*/ 325 w 6336325"/>
              <a:gd name="connsiteY9" fmla="*/ 34265 h 547413"/>
              <a:gd name="connsiteX0" fmla="*/ 2320 w 6338320"/>
              <a:gd name="connsiteY0" fmla="*/ 545788 h 579840"/>
              <a:gd name="connsiteX1" fmla="*/ 6710 w 6338320"/>
              <a:gd name="connsiteY1" fmla="*/ 40398 h 579840"/>
              <a:gd name="connsiteX2" fmla="*/ 36372 w 6338320"/>
              <a:gd name="connsiteY2" fmla="*/ 32640 h 579840"/>
              <a:gd name="connsiteX3" fmla="*/ 6304268 w 6338320"/>
              <a:gd name="connsiteY3" fmla="*/ 32640 h 579840"/>
              <a:gd name="connsiteX4" fmla="*/ 6338320 w 6338320"/>
              <a:gd name="connsiteY4" fmla="*/ 66692 h 579840"/>
              <a:gd name="connsiteX5" fmla="*/ 6338320 w 6338320"/>
              <a:gd name="connsiteY5" fmla="*/ 545788 h 579840"/>
              <a:gd name="connsiteX6" fmla="*/ 6304268 w 6338320"/>
              <a:gd name="connsiteY6" fmla="*/ 579840 h 579840"/>
              <a:gd name="connsiteX7" fmla="*/ 36372 w 6338320"/>
              <a:gd name="connsiteY7" fmla="*/ 579840 h 579840"/>
              <a:gd name="connsiteX8" fmla="*/ 2320 w 6338320"/>
              <a:gd name="connsiteY8" fmla="*/ 545788 h 579840"/>
              <a:gd name="connsiteX0" fmla="*/ 440580 w 6776580"/>
              <a:gd name="connsiteY0" fmla="*/ 545209 h 579261"/>
              <a:gd name="connsiteX1" fmla="*/ 440208 w 6776580"/>
              <a:gd name="connsiteY1" fmla="*/ 39819 h 579261"/>
              <a:gd name="connsiteX2" fmla="*/ 474632 w 6776580"/>
              <a:gd name="connsiteY2" fmla="*/ 32061 h 579261"/>
              <a:gd name="connsiteX3" fmla="*/ 6742528 w 6776580"/>
              <a:gd name="connsiteY3" fmla="*/ 32061 h 579261"/>
              <a:gd name="connsiteX4" fmla="*/ 6776580 w 6776580"/>
              <a:gd name="connsiteY4" fmla="*/ 66113 h 579261"/>
              <a:gd name="connsiteX5" fmla="*/ 6776580 w 6776580"/>
              <a:gd name="connsiteY5" fmla="*/ 545209 h 579261"/>
              <a:gd name="connsiteX6" fmla="*/ 6742528 w 6776580"/>
              <a:gd name="connsiteY6" fmla="*/ 579261 h 579261"/>
              <a:gd name="connsiteX7" fmla="*/ 474632 w 6776580"/>
              <a:gd name="connsiteY7" fmla="*/ 579261 h 579261"/>
              <a:gd name="connsiteX8" fmla="*/ 440580 w 6776580"/>
              <a:gd name="connsiteY8" fmla="*/ 545209 h 579261"/>
              <a:gd name="connsiteX0" fmla="*/ 4188 w 6340188"/>
              <a:gd name="connsiteY0" fmla="*/ 545788 h 579840"/>
              <a:gd name="connsiteX1" fmla="*/ 3816 w 6340188"/>
              <a:gd name="connsiteY1" fmla="*/ 40398 h 579840"/>
              <a:gd name="connsiteX2" fmla="*/ 38240 w 6340188"/>
              <a:gd name="connsiteY2" fmla="*/ 32640 h 579840"/>
              <a:gd name="connsiteX3" fmla="*/ 6306136 w 6340188"/>
              <a:gd name="connsiteY3" fmla="*/ 32640 h 579840"/>
              <a:gd name="connsiteX4" fmla="*/ 6340188 w 6340188"/>
              <a:gd name="connsiteY4" fmla="*/ 66692 h 579840"/>
              <a:gd name="connsiteX5" fmla="*/ 6340188 w 6340188"/>
              <a:gd name="connsiteY5" fmla="*/ 545788 h 579840"/>
              <a:gd name="connsiteX6" fmla="*/ 6306136 w 6340188"/>
              <a:gd name="connsiteY6" fmla="*/ 579840 h 579840"/>
              <a:gd name="connsiteX7" fmla="*/ 38240 w 6340188"/>
              <a:gd name="connsiteY7" fmla="*/ 579840 h 579840"/>
              <a:gd name="connsiteX8" fmla="*/ 4188 w 6340188"/>
              <a:gd name="connsiteY8" fmla="*/ 545788 h 579840"/>
              <a:gd name="connsiteX0" fmla="*/ 1984 w 6337984"/>
              <a:gd name="connsiteY0" fmla="*/ 513434 h 547486"/>
              <a:gd name="connsiteX1" fmla="*/ 1612 w 6337984"/>
              <a:gd name="connsiteY1" fmla="*/ 8044 h 547486"/>
              <a:gd name="connsiteX2" fmla="*/ 36036 w 6337984"/>
              <a:gd name="connsiteY2" fmla="*/ 286 h 547486"/>
              <a:gd name="connsiteX3" fmla="*/ 6303932 w 6337984"/>
              <a:gd name="connsiteY3" fmla="*/ 286 h 547486"/>
              <a:gd name="connsiteX4" fmla="*/ 6337984 w 6337984"/>
              <a:gd name="connsiteY4" fmla="*/ 34338 h 547486"/>
              <a:gd name="connsiteX5" fmla="*/ 6337984 w 6337984"/>
              <a:gd name="connsiteY5" fmla="*/ 513434 h 547486"/>
              <a:gd name="connsiteX6" fmla="*/ 6303932 w 6337984"/>
              <a:gd name="connsiteY6" fmla="*/ 547486 h 547486"/>
              <a:gd name="connsiteX7" fmla="*/ 36036 w 6337984"/>
              <a:gd name="connsiteY7" fmla="*/ 547486 h 547486"/>
              <a:gd name="connsiteX8" fmla="*/ 1984 w 6337984"/>
              <a:gd name="connsiteY8" fmla="*/ 513434 h 547486"/>
              <a:gd name="connsiteX0" fmla="*/ 443038 w 6779038"/>
              <a:gd name="connsiteY0" fmla="*/ 513148 h 547200"/>
              <a:gd name="connsiteX1" fmla="*/ 440285 w 6779038"/>
              <a:gd name="connsiteY1" fmla="*/ 7758 h 547200"/>
              <a:gd name="connsiteX2" fmla="*/ 477090 w 6779038"/>
              <a:gd name="connsiteY2" fmla="*/ 0 h 547200"/>
              <a:gd name="connsiteX3" fmla="*/ 6744986 w 6779038"/>
              <a:gd name="connsiteY3" fmla="*/ 0 h 547200"/>
              <a:gd name="connsiteX4" fmla="*/ 6779038 w 6779038"/>
              <a:gd name="connsiteY4" fmla="*/ 34052 h 547200"/>
              <a:gd name="connsiteX5" fmla="*/ 6779038 w 6779038"/>
              <a:gd name="connsiteY5" fmla="*/ 513148 h 547200"/>
              <a:gd name="connsiteX6" fmla="*/ 6744986 w 6779038"/>
              <a:gd name="connsiteY6" fmla="*/ 547200 h 547200"/>
              <a:gd name="connsiteX7" fmla="*/ 477090 w 6779038"/>
              <a:gd name="connsiteY7" fmla="*/ 547200 h 547200"/>
              <a:gd name="connsiteX8" fmla="*/ 443038 w 6779038"/>
              <a:gd name="connsiteY8" fmla="*/ 513148 h 547200"/>
              <a:gd name="connsiteX0" fmla="*/ 3229 w 6339229"/>
              <a:gd name="connsiteY0" fmla="*/ 513433 h 547485"/>
              <a:gd name="connsiteX1" fmla="*/ 476 w 6339229"/>
              <a:gd name="connsiteY1" fmla="*/ 8043 h 547485"/>
              <a:gd name="connsiteX2" fmla="*/ 37281 w 6339229"/>
              <a:gd name="connsiteY2" fmla="*/ 285 h 547485"/>
              <a:gd name="connsiteX3" fmla="*/ 6305177 w 6339229"/>
              <a:gd name="connsiteY3" fmla="*/ 285 h 547485"/>
              <a:gd name="connsiteX4" fmla="*/ 6339229 w 6339229"/>
              <a:gd name="connsiteY4" fmla="*/ 34337 h 547485"/>
              <a:gd name="connsiteX5" fmla="*/ 6339229 w 6339229"/>
              <a:gd name="connsiteY5" fmla="*/ 513433 h 547485"/>
              <a:gd name="connsiteX6" fmla="*/ 6305177 w 6339229"/>
              <a:gd name="connsiteY6" fmla="*/ 547485 h 547485"/>
              <a:gd name="connsiteX7" fmla="*/ 37281 w 6339229"/>
              <a:gd name="connsiteY7" fmla="*/ 547485 h 547485"/>
              <a:gd name="connsiteX8" fmla="*/ 3229 w 6339229"/>
              <a:gd name="connsiteY8" fmla="*/ 513433 h 547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339229" h="547485">
                <a:moveTo>
                  <a:pt x="3229" y="513433"/>
                </a:moveTo>
                <a:cubicBezTo>
                  <a:pt x="-1715" y="423526"/>
                  <a:pt x="1945" y="14987"/>
                  <a:pt x="476" y="8043"/>
                </a:cubicBezTo>
                <a:cubicBezTo>
                  <a:pt x="-993" y="1099"/>
                  <a:pt x="-1471" y="-803"/>
                  <a:pt x="37281" y="285"/>
                </a:cubicBezTo>
                <a:cubicBezTo>
                  <a:pt x="76033" y="1373"/>
                  <a:pt x="4215878" y="285"/>
                  <a:pt x="6305177" y="285"/>
                </a:cubicBezTo>
                <a:cubicBezTo>
                  <a:pt x="6323983" y="285"/>
                  <a:pt x="6339229" y="15531"/>
                  <a:pt x="6339229" y="34337"/>
                </a:cubicBezTo>
                <a:lnTo>
                  <a:pt x="6339229" y="513433"/>
                </a:lnTo>
                <a:cubicBezTo>
                  <a:pt x="6339229" y="532239"/>
                  <a:pt x="6323983" y="547485"/>
                  <a:pt x="6305177" y="547485"/>
                </a:cubicBezTo>
                <a:lnTo>
                  <a:pt x="37281" y="547485"/>
                </a:lnTo>
                <a:cubicBezTo>
                  <a:pt x="18475" y="547485"/>
                  <a:pt x="3229" y="532239"/>
                  <a:pt x="3229" y="513433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144000" tIns="144000" rIns="216000" bIns="216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grpSp>
        <p:nvGrpSpPr>
          <p:cNvPr id="167" name="Groep 258">
            <a:extLst>
              <a:ext uri="{FF2B5EF4-FFF2-40B4-BE49-F238E27FC236}">
                <a16:creationId xmlns:a16="http://schemas.microsoft.com/office/drawing/2014/main" id="{FE18E7C9-5F3C-41EF-BF34-D683CD93781B}"/>
              </a:ext>
            </a:extLst>
          </p:cNvPr>
          <p:cNvGrpSpPr/>
          <p:nvPr userDrawn="1"/>
        </p:nvGrpSpPr>
        <p:grpSpPr>
          <a:xfrm>
            <a:off x="43467416" y="5"/>
            <a:ext cx="11167745" cy="23084356"/>
            <a:chOff x="12391601" y="0"/>
            <a:chExt cx="3183678" cy="5229113"/>
          </a:xfrm>
        </p:grpSpPr>
        <p:grpSp>
          <p:nvGrpSpPr>
            <p:cNvPr id="168" name="Meer informatie">
              <a:extLst>
                <a:ext uri="{FF2B5EF4-FFF2-40B4-BE49-F238E27FC236}">
                  <a16:creationId xmlns:a16="http://schemas.microsoft.com/office/drawing/2014/main" id="{0F7A2FB2-D7BB-48FE-8D4F-62B9A176ED81}"/>
                </a:ext>
              </a:extLst>
            </p:cNvPr>
            <p:cNvGrpSpPr/>
            <p:nvPr userDrawn="1"/>
          </p:nvGrpSpPr>
          <p:grpSpPr>
            <a:xfrm>
              <a:off x="12396764" y="4445840"/>
              <a:ext cx="3178515" cy="783273"/>
              <a:chOff x="-3741486" y="3386444"/>
              <a:chExt cx="3178515" cy="783273"/>
            </a:xfrm>
          </p:grpSpPr>
          <p:sp>
            <p:nvSpPr>
              <p:cNvPr id="229" name="Freeform 101">
                <a:extLst>
                  <a:ext uri="{FF2B5EF4-FFF2-40B4-BE49-F238E27FC236}">
                    <a16:creationId xmlns:a16="http://schemas.microsoft.com/office/drawing/2014/main" id="{0031DDF7-C28C-4806-A86F-2013C6A9F7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230" name="Rechthoek 306">
                <a:extLst>
                  <a:ext uri="{FF2B5EF4-FFF2-40B4-BE49-F238E27FC236}">
                    <a16:creationId xmlns:a16="http://schemas.microsoft.com/office/drawing/2014/main" id="{4B4FF802-0062-4182-A927-B60762328980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45" name="Rechte verbindingslijn 307">
                <a:extLst>
                  <a:ext uri="{FF2B5EF4-FFF2-40B4-BE49-F238E27FC236}">
                    <a16:creationId xmlns:a16="http://schemas.microsoft.com/office/drawing/2014/main" id="{3A2592B0-6D7A-45E7-8F22-0323E512F1A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9" name="Rechthoek 260">
              <a:extLst>
                <a:ext uri="{FF2B5EF4-FFF2-40B4-BE49-F238E27FC236}">
                  <a16:creationId xmlns:a16="http://schemas.microsoft.com/office/drawing/2014/main" id="{52C54B33-0E6F-4900-A56F-19F0B351850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170" name="Ovaal 261">
              <a:extLst>
                <a:ext uri="{FF2B5EF4-FFF2-40B4-BE49-F238E27FC236}">
                  <a16:creationId xmlns:a16="http://schemas.microsoft.com/office/drawing/2014/main" id="{2B842E25-22E9-4681-AE1C-387696989BB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1" name="Rechte verbindingslijn 262">
              <a:extLst>
                <a:ext uri="{FF2B5EF4-FFF2-40B4-BE49-F238E27FC236}">
                  <a16:creationId xmlns:a16="http://schemas.microsoft.com/office/drawing/2014/main" id="{1620D41F-AB81-46F9-99BE-1B9124F7B8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7" name="Rechte verbindingslijn 263">
              <a:extLst>
                <a:ext uri="{FF2B5EF4-FFF2-40B4-BE49-F238E27FC236}">
                  <a16:creationId xmlns:a16="http://schemas.microsoft.com/office/drawing/2014/main" id="{60989F6B-E889-44B7-8FF9-52DAAC264D1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88" name="Rechthoek 264">
              <a:extLst>
                <a:ext uri="{FF2B5EF4-FFF2-40B4-BE49-F238E27FC236}">
                  <a16:creationId xmlns:a16="http://schemas.microsoft.com/office/drawing/2014/main" id="{5C7E4C0C-182F-4B9E-AE82-C28502245921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oor deze te selecteren en op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om een nieuwe afbeelding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89" name="Rechte verbindingslijn 265">
              <a:extLst>
                <a:ext uri="{FF2B5EF4-FFF2-40B4-BE49-F238E27FC236}">
                  <a16:creationId xmlns:a16="http://schemas.microsoft.com/office/drawing/2014/main" id="{0E852508-8CBA-43BD-8D2D-72E14BEDE5C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4327957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90" name="Ovaal 266">
              <a:extLst>
                <a:ext uri="{FF2B5EF4-FFF2-40B4-BE49-F238E27FC236}">
                  <a16:creationId xmlns:a16="http://schemas.microsoft.com/office/drawing/2014/main" id="{B3EA64D6-D0B9-42B9-A0E7-1E9CE13B131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91" name="Rechthoek 267">
              <a:extLst>
                <a:ext uri="{FF2B5EF4-FFF2-40B4-BE49-F238E27FC236}">
                  <a16:creationId xmlns:a16="http://schemas.microsoft.com/office/drawing/2014/main" id="{D94D0B71-4AD1-444D-A3C1-D84F41870101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92" name="Groep 268">
              <a:extLst>
                <a:ext uri="{FF2B5EF4-FFF2-40B4-BE49-F238E27FC236}">
                  <a16:creationId xmlns:a16="http://schemas.microsoft.com/office/drawing/2014/main" id="{C3AE59F1-5BCF-4C25-B665-F056FB35F7D1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26" name="Rechthoek 302">
                <a:extLst>
                  <a:ext uri="{FF2B5EF4-FFF2-40B4-BE49-F238E27FC236}">
                    <a16:creationId xmlns:a16="http://schemas.microsoft.com/office/drawing/2014/main" id="{CF7490C1-4857-4F62-9534-0289BB759C7D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227" name="Rechte verbindingslijn 303">
                <a:extLst>
                  <a:ext uri="{FF2B5EF4-FFF2-40B4-BE49-F238E27FC236}">
                    <a16:creationId xmlns:a16="http://schemas.microsoft.com/office/drawing/2014/main" id="{D8B49E5E-9784-4489-90CA-AC197D62229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28" name="Gelijkbenige driehoek 304">
                <a:extLst>
                  <a:ext uri="{FF2B5EF4-FFF2-40B4-BE49-F238E27FC236}">
                    <a16:creationId xmlns:a16="http://schemas.microsoft.com/office/drawing/2014/main" id="{1E92FB0C-DCB1-4FD2-9390-00C4DB0B0E3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93" name="Groep 269">
              <a:extLst>
                <a:ext uri="{FF2B5EF4-FFF2-40B4-BE49-F238E27FC236}">
                  <a16:creationId xmlns:a16="http://schemas.microsoft.com/office/drawing/2014/main" id="{E772412E-F4EA-4570-9686-E3FEC98EEE9A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220" name="Rechthoek 296">
                <a:extLst>
                  <a:ext uri="{FF2B5EF4-FFF2-40B4-BE49-F238E27FC236}">
                    <a16:creationId xmlns:a16="http://schemas.microsoft.com/office/drawing/2014/main" id="{A5213E24-7215-48EA-8BB0-CC7435242DA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1" name="Ovaal 297">
                <a:extLst>
                  <a:ext uri="{FF2B5EF4-FFF2-40B4-BE49-F238E27FC236}">
                    <a16:creationId xmlns:a16="http://schemas.microsoft.com/office/drawing/2014/main" id="{DD5060DB-DF93-4FAB-8006-F1A519E6461D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2" name="Vrije vorm: vorm 298">
                <a:extLst>
                  <a:ext uri="{FF2B5EF4-FFF2-40B4-BE49-F238E27FC236}">
                    <a16:creationId xmlns:a16="http://schemas.microsoft.com/office/drawing/2014/main" id="{B0B2F49B-3A69-452B-A23D-32B8D39B30CF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3" name="Rechthoek: afgeronde hoeken 299">
                <a:extLst>
                  <a:ext uri="{FF2B5EF4-FFF2-40B4-BE49-F238E27FC236}">
                    <a16:creationId xmlns:a16="http://schemas.microsoft.com/office/drawing/2014/main" id="{67CEDE91-2011-4A0A-9C72-C29BE7EC087A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224" name="Rechte verbindingslijn 300">
                <a:extLst>
                  <a:ext uri="{FF2B5EF4-FFF2-40B4-BE49-F238E27FC236}">
                    <a16:creationId xmlns:a16="http://schemas.microsoft.com/office/drawing/2014/main" id="{18932C09-A93A-46A3-BC20-77AAC16A3F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25" name="Rechte verbindingslijn 301">
                <a:extLst>
                  <a:ext uri="{FF2B5EF4-FFF2-40B4-BE49-F238E27FC236}">
                    <a16:creationId xmlns:a16="http://schemas.microsoft.com/office/drawing/2014/main" id="{3B5E5436-3EAE-413F-ABA5-1756E7C8674E}"/>
                  </a:ext>
                </a:extLst>
              </p:cNvPr>
              <p:cNvCxnSpPr>
                <a:cxnSpLocks/>
                <a:stCxn id="223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94" name="Ovaal 270">
              <a:extLst>
                <a:ext uri="{FF2B5EF4-FFF2-40B4-BE49-F238E27FC236}">
                  <a16:creationId xmlns:a16="http://schemas.microsoft.com/office/drawing/2014/main" id="{2419888C-19B6-481E-B2FF-C4DC63D52977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95" name="Rechthoek 271">
              <a:extLst>
                <a:ext uri="{FF2B5EF4-FFF2-40B4-BE49-F238E27FC236}">
                  <a16:creationId xmlns:a16="http://schemas.microsoft.com/office/drawing/2014/main" id="{84D765E4-A791-4119-BA2B-5C4D7918047F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43320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aan de linker kant van het scherm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96" name="Rechte verbindingslijn 272">
              <a:extLst>
                <a:ext uri="{FF2B5EF4-FFF2-40B4-BE49-F238E27FC236}">
                  <a16:creationId xmlns:a16="http://schemas.microsoft.com/office/drawing/2014/main" id="{F476E69D-E8BF-4595-8E00-C2E4F7C220D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97" name="Rechthoek 273">
              <a:extLst>
                <a:ext uri="{FF2B5EF4-FFF2-40B4-BE49-F238E27FC236}">
                  <a16:creationId xmlns:a16="http://schemas.microsoft.com/office/drawing/2014/main" id="{5EA26063-7526-462C-87B0-58492330FAB4}"/>
                </a:ext>
              </a:extLst>
            </p:cNvPr>
            <p:cNvSpPr/>
            <p:nvPr userDrawn="1"/>
          </p:nvSpPr>
          <p:spPr>
            <a:xfrm>
              <a:off x="12654153" y="3238910"/>
              <a:ext cx="1624926" cy="805220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3509" b="0" i="1" noProof="0">
                <a:solidFill>
                  <a:schemeClr val="tx1"/>
                </a:solidFill>
              </a:endParaRPr>
            </a:p>
          </p:txBody>
        </p:sp>
        <p:grpSp>
          <p:nvGrpSpPr>
            <p:cNvPr id="198" name="Groep 274">
              <a:extLst>
                <a:ext uri="{FF2B5EF4-FFF2-40B4-BE49-F238E27FC236}">
                  <a16:creationId xmlns:a16="http://schemas.microsoft.com/office/drawing/2014/main" id="{4D87C859-C297-43C7-887B-2EB1DE1E3DB5}"/>
                </a:ext>
              </a:extLst>
            </p:cNvPr>
            <p:cNvGrpSpPr/>
            <p:nvPr userDrawn="1"/>
          </p:nvGrpSpPr>
          <p:grpSpPr>
            <a:xfrm>
              <a:off x="13614067" y="3535184"/>
              <a:ext cx="1195438" cy="678267"/>
              <a:chOff x="12757284" y="3224292"/>
              <a:chExt cx="1195438" cy="678267"/>
            </a:xfrm>
          </p:grpSpPr>
          <p:sp>
            <p:nvSpPr>
              <p:cNvPr id="199" name="Rechthoek 275">
                <a:extLst>
                  <a:ext uri="{FF2B5EF4-FFF2-40B4-BE49-F238E27FC236}">
                    <a16:creationId xmlns:a16="http://schemas.microsoft.com/office/drawing/2014/main" id="{49CA24D3-8532-4674-B98A-8296E6528AF2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00" name="Rechthoek 276">
                <a:extLst>
                  <a:ext uri="{FF2B5EF4-FFF2-40B4-BE49-F238E27FC236}">
                    <a16:creationId xmlns:a16="http://schemas.microsoft.com/office/drawing/2014/main" id="{4B8939E3-92C3-44F4-9BD5-1DB7FB0A66B8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01" name="Groep 277">
                <a:extLst>
                  <a:ext uri="{FF2B5EF4-FFF2-40B4-BE49-F238E27FC236}">
                    <a16:creationId xmlns:a16="http://schemas.microsoft.com/office/drawing/2014/main" id="{855C3FD2-D5A3-4C68-BAA6-B45D3AB5AD00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214" name="Rechthoek: afgeronde hoeken 290">
                  <a:extLst>
                    <a:ext uri="{FF2B5EF4-FFF2-40B4-BE49-F238E27FC236}">
                      <a16:creationId xmlns:a16="http://schemas.microsoft.com/office/drawing/2014/main" id="{D6592CD7-4960-4B26-A3A8-7BD365991DBB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endPara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5" name="Rechthoek 291">
                  <a:extLst>
                    <a:ext uri="{FF2B5EF4-FFF2-40B4-BE49-F238E27FC236}">
                      <a16:creationId xmlns:a16="http://schemas.microsoft.com/office/drawing/2014/main" id="{AA4A7C17-FB54-4CFF-82FD-8E2CE35D7C39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6" name="Rechthoek 292">
                  <a:extLst>
                    <a:ext uri="{FF2B5EF4-FFF2-40B4-BE49-F238E27FC236}">
                      <a16:creationId xmlns:a16="http://schemas.microsoft.com/office/drawing/2014/main" id="{A244A498-0425-4308-8955-DFB58DF90D1A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7" name="Rechthoek 293">
                  <a:extLst>
                    <a:ext uri="{FF2B5EF4-FFF2-40B4-BE49-F238E27FC236}">
                      <a16:creationId xmlns:a16="http://schemas.microsoft.com/office/drawing/2014/main" id="{4FCDD622-0C8B-4364-BE92-D9FC5CB0ACB1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8" name="Rechthoek 294">
                  <a:extLst>
                    <a:ext uri="{FF2B5EF4-FFF2-40B4-BE49-F238E27FC236}">
                      <a16:creationId xmlns:a16="http://schemas.microsoft.com/office/drawing/2014/main" id="{D1802FA6-02D6-47CD-8382-93A10D0ED1B7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9" name="Rechthoek 295">
                  <a:extLst>
                    <a:ext uri="{FF2B5EF4-FFF2-40B4-BE49-F238E27FC236}">
                      <a16:creationId xmlns:a16="http://schemas.microsoft.com/office/drawing/2014/main" id="{7CCAE6D6-0960-47F2-A8FF-5C4236C3F017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202" name="Groep 278">
                <a:extLst>
                  <a:ext uri="{FF2B5EF4-FFF2-40B4-BE49-F238E27FC236}">
                    <a16:creationId xmlns:a16="http://schemas.microsoft.com/office/drawing/2014/main" id="{0A65F830-9A93-416D-A8DE-4C626A5808C8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206" name="Groep 282">
                  <a:extLst>
                    <a:ext uri="{FF2B5EF4-FFF2-40B4-BE49-F238E27FC236}">
                      <a16:creationId xmlns:a16="http://schemas.microsoft.com/office/drawing/2014/main" id="{EAE90E13-348A-43A8-A4E6-B5466EE74C3E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208" name="Rechthoek: afgeronde hoeken 284">
                    <a:extLst>
                      <a:ext uri="{FF2B5EF4-FFF2-40B4-BE49-F238E27FC236}">
                        <a16:creationId xmlns:a16="http://schemas.microsoft.com/office/drawing/2014/main" id="{5F77DA0A-C183-478A-B017-0410985F7C4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2105"/>
                      </a:spcBef>
                      <a:spcAft>
                        <a:spcPts val="2105"/>
                      </a:spcAft>
                    </a:pPr>
                    <a:endParaRPr lang="nl-NL" sz="280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09" name="Rechthoek 285">
                    <a:extLst>
                      <a:ext uri="{FF2B5EF4-FFF2-40B4-BE49-F238E27FC236}">
                        <a16:creationId xmlns:a16="http://schemas.microsoft.com/office/drawing/2014/main" id="{96A832AB-F720-4677-A58E-304A99A962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0" name="Rechthoek 286">
                    <a:extLst>
                      <a:ext uri="{FF2B5EF4-FFF2-40B4-BE49-F238E27FC236}">
                        <a16:creationId xmlns:a16="http://schemas.microsoft.com/office/drawing/2014/main" id="{B64019D6-18FD-4935-AE7E-4A41AEBB1C7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1" name="Rechthoek 287">
                    <a:extLst>
                      <a:ext uri="{FF2B5EF4-FFF2-40B4-BE49-F238E27FC236}">
                        <a16:creationId xmlns:a16="http://schemas.microsoft.com/office/drawing/2014/main" id="{AF896FF2-4F79-4B3A-B16F-303DB01B99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2" name="Rechthoek 288">
                    <a:extLst>
                      <a:ext uri="{FF2B5EF4-FFF2-40B4-BE49-F238E27FC236}">
                        <a16:creationId xmlns:a16="http://schemas.microsoft.com/office/drawing/2014/main" id="{5C2A8C0D-0583-42B3-8C7A-07A28E797ED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3" name="Rechthoek 289">
                    <a:extLst>
                      <a:ext uri="{FF2B5EF4-FFF2-40B4-BE49-F238E27FC236}">
                        <a16:creationId xmlns:a16="http://schemas.microsoft.com/office/drawing/2014/main" id="{E4C9D569-FA79-4D56-ADDE-25FDBCBD504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207" name="Boog 283">
                  <a:extLst>
                    <a:ext uri="{FF2B5EF4-FFF2-40B4-BE49-F238E27FC236}">
                      <a16:creationId xmlns:a16="http://schemas.microsoft.com/office/drawing/2014/main" id="{5A56BBA6-F562-421F-9337-19ECAC422E00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</p:grpSp>
          <p:sp>
            <p:nvSpPr>
              <p:cNvPr id="203" name="Tekstvak 279">
                <a:extLst>
                  <a:ext uri="{FF2B5EF4-FFF2-40B4-BE49-F238E27FC236}">
                    <a16:creationId xmlns:a16="http://schemas.microsoft.com/office/drawing/2014/main" id="{3EB31D65-4EFE-415F-8BFB-3EC9FDDC22A3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204" name="Tekstvak 280">
                <a:extLst>
                  <a:ext uri="{FF2B5EF4-FFF2-40B4-BE49-F238E27FC236}">
                    <a16:creationId xmlns:a16="http://schemas.microsoft.com/office/drawing/2014/main" id="{B7EF83F3-2B7D-4A64-B8C2-61227520E238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205" name="Picture 3">
                <a:extLst>
                  <a:ext uri="{FF2B5EF4-FFF2-40B4-BE49-F238E27FC236}">
                    <a16:creationId xmlns:a16="http://schemas.microsoft.com/office/drawing/2014/main" id="{6ECEF6A9-F446-4E57-8697-B8562D0E271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810206" y="3671228"/>
                <a:ext cx="14251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grpSp>
        <p:nvGrpSpPr>
          <p:cNvPr id="87" name="Instructie">
            <a:extLst>
              <a:ext uri="{FF2B5EF4-FFF2-40B4-BE49-F238E27FC236}">
                <a16:creationId xmlns:a16="http://schemas.microsoft.com/office/drawing/2014/main" id="{1FB51ED4-F5DD-486A-9E36-11EBE1FBB0B7}"/>
              </a:ext>
            </a:extLst>
          </p:cNvPr>
          <p:cNvGrpSpPr/>
          <p:nvPr userDrawn="1"/>
        </p:nvGrpSpPr>
        <p:grpSpPr>
          <a:xfrm>
            <a:off x="-11761540" y="0"/>
            <a:ext cx="11164508" cy="11743958"/>
            <a:chOff x="-3426088" y="4512342"/>
            <a:chExt cx="3182755" cy="2660264"/>
          </a:xfrm>
        </p:grpSpPr>
        <p:sp>
          <p:nvSpPr>
            <p:cNvPr id="88" name="Rechthoek 127">
              <a:extLst>
                <a:ext uri="{FF2B5EF4-FFF2-40B4-BE49-F238E27FC236}">
                  <a16:creationId xmlns:a16="http://schemas.microsoft.com/office/drawing/2014/main" id="{90A476DB-9B4A-476C-B3CD-A1A5C8C09EE2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89" name="Rechte verbindingslijn 128">
              <a:extLst>
                <a:ext uri="{FF2B5EF4-FFF2-40B4-BE49-F238E27FC236}">
                  <a16:creationId xmlns:a16="http://schemas.microsoft.com/office/drawing/2014/main" id="{3661848B-C261-4C32-891C-F024942F9F2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0" name="Rechthoek 130">
              <a:extLst>
                <a:ext uri="{FF2B5EF4-FFF2-40B4-BE49-F238E27FC236}">
                  <a16:creationId xmlns:a16="http://schemas.microsoft.com/office/drawing/2014/main" id="{856D4C44-35AF-488D-8B4A-5F819DDDEB62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91" name="Rechthoek 133">
              <a:extLst>
                <a:ext uri="{FF2B5EF4-FFF2-40B4-BE49-F238E27FC236}">
                  <a16:creationId xmlns:a16="http://schemas.microsoft.com/office/drawing/2014/main" id="{1371B4DB-163F-4863-BACE-D948DECA21BC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92" name="Rechthoek 136">
              <a:extLst>
                <a:ext uri="{FF2B5EF4-FFF2-40B4-BE49-F238E27FC236}">
                  <a16:creationId xmlns:a16="http://schemas.microsoft.com/office/drawing/2014/main" id="{11876C2B-3DFA-4771-8C36-791C16CF633D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93" name="Rechthoek 139">
              <a:extLst>
                <a:ext uri="{FF2B5EF4-FFF2-40B4-BE49-F238E27FC236}">
                  <a16:creationId xmlns:a16="http://schemas.microsoft.com/office/drawing/2014/main" id="{20E38BB6-2FC6-4BD7-94CD-82F88AD296C5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94" name="Rechte verbindingslijn 140">
              <a:extLst>
                <a:ext uri="{FF2B5EF4-FFF2-40B4-BE49-F238E27FC236}">
                  <a16:creationId xmlns:a16="http://schemas.microsoft.com/office/drawing/2014/main" id="{0D45D1BD-1E6B-41C3-AA27-B8A834AC400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71" name="Afbeelding 70">
            <a:extLst>
              <a:ext uri="{FF2B5EF4-FFF2-40B4-BE49-F238E27FC236}">
                <a16:creationId xmlns:a16="http://schemas.microsoft.com/office/drawing/2014/main" id="{EBAD7435-810D-4257-965C-E74C034C95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0179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WER_USER_LAYOUT_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1742374" y="6476677"/>
            <a:ext cx="39282480" cy="19046186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 marL="1269631" indent="-634816">
              <a:buFont typeface="Arial" panose="020B0604020202020204" pitchFamily="34" charset="0"/>
              <a:buChar char="•"/>
              <a:defRPr sz="4911" baseline="0">
                <a:latin typeface="+mj-lt"/>
              </a:defRPr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D493E421-713B-4AD0-8E5B-41C84D6EBA53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2" y="27329718"/>
            <a:ext cx="857527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grpSp>
        <p:nvGrpSpPr>
          <p:cNvPr id="90" name="Groep 101">
            <a:extLst>
              <a:ext uri="{FF2B5EF4-FFF2-40B4-BE49-F238E27FC236}">
                <a16:creationId xmlns:a16="http://schemas.microsoft.com/office/drawing/2014/main" id="{7D9D6E6F-BF3A-44DC-88FE-CF4E8F628DDE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91" name="Rechthoek 102">
              <a:extLst>
                <a:ext uri="{FF2B5EF4-FFF2-40B4-BE49-F238E27FC236}">
                  <a16:creationId xmlns:a16="http://schemas.microsoft.com/office/drawing/2014/main" id="{37CA0D0F-12A5-4201-976F-06942DBCFFFA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92" name="Ovaal 103">
              <a:extLst>
                <a:ext uri="{FF2B5EF4-FFF2-40B4-BE49-F238E27FC236}">
                  <a16:creationId xmlns:a16="http://schemas.microsoft.com/office/drawing/2014/main" id="{0646EDFD-6373-4F6F-8E31-14F73E60EA1E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3" name="Rechte verbindingslijn 104">
              <a:extLst>
                <a:ext uri="{FF2B5EF4-FFF2-40B4-BE49-F238E27FC236}">
                  <a16:creationId xmlns:a16="http://schemas.microsoft.com/office/drawing/2014/main" id="{0E087D4F-B08D-4F9A-B39E-332FC4922B1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94" name="Groep 105">
              <a:extLst>
                <a:ext uri="{FF2B5EF4-FFF2-40B4-BE49-F238E27FC236}">
                  <a16:creationId xmlns:a16="http://schemas.microsoft.com/office/drawing/2014/main" id="{7F6F8995-7C86-430C-BD63-9B055553949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00" name="Rechthoek 130">
                <a:extLst>
                  <a:ext uri="{FF2B5EF4-FFF2-40B4-BE49-F238E27FC236}">
                    <a16:creationId xmlns:a16="http://schemas.microsoft.com/office/drawing/2014/main" id="{4B74CFD1-5C3C-4C56-A9B9-94F691BF4391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201" name="Rechte verbindingslijn 131">
                <a:extLst>
                  <a:ext uri="{FF2B5EF4-FFF2-40B4-BE49-F238E27FC236}">
                    <a16:creationId xmlns:a16="http://schemas.microsoft.com/office/drawing/2014/main" id="{76DEC1FA-47A6-47A9-B779-81092037771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2" name="Rechte verbindingslijn 132">
                <a:extLst>
                  <a:ext uri="{FF2B5EF4-FFF2-40B4-BE49-F238E27FC236}">
                    <a16:creationId xmlns:a16="http://schemas.microsoft.com/office/drawing/2014/main" id="{85D77F55-989B-4AC7-B452-73FC8199E20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03" name="Rechthoek 133">
                <a:extLst>
                  <a:ext uri="{FF2B5EF4-FFF2-40B4-BE49-F238E27FC236}">
                    <a16:creationId xmlns:a16="http://schemas.microsoft.com/office/drawing/2014/main" id="{A39CBC68-AB8A-4992-A0D2-E9BC4FF7109D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04" name="Groep 134">
                <a:extLst>
                  <a:ext uri="{FF2B5EF4-FFF2-40B4-BE49-F238E27FC236}">
                    <a16:creationId xmlns:a16="http://schemas.microsoft.com/office/drawing/2014/main" id="{7BB51017-C6F1-44ED-96D2-951EBF69CADD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43" name="Groep 175">
                  <a:extLst>
                    <a:ext uri="{FF2B5EF4-FFF2-40B4-BE49-F238E27FC236}">
                      <a16:creationId xmlns:a16="http://schemas.microsoft.com/office/drawing/2014/main" id="{1953400F-9E56-491B-B43A-09778411514B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47" name="Rechte verbindingslijn 179">
                    <a:extLst>
                      <a:ext uri="{FF2B5EF4-FFF2-40B4-BE49-F238E27FC236}">
                        <a16:creationId xmlns:a16="http://schemas.microsoft.com/office/drawing/2014/main" id="{D0810279-FF56-4F22-95BF-5E9E9B896F6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8" name="Rechte verbindingslijn 180">
                    <a:extLst>
                      <a:ext uri="{FF2B5EF4-FFF2-40B4-BE49-F238E27FC236}">
                        <a16:creationId xmlns:a16="http://schemas.microsoft.com/office/drawing/2014/main" id="{14CB314A-88CC-4861-8B93-1E3B2B3DEDA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9" name="Rechte verbindingslijn 181">
                    <a:extLst>
                      <a:ext uri="{FF2B5EF4-FFF2-40B4-BE49-F238E27FC236}">
                        <a16:creationId xmlns:a16="http://schemas.microsoft.com/office/drawing/2014/main" id="{B7E55AE2-3AFA-40F5-AFBB-D5547CF731B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0" name="Rechte verbindingslijn 182">
                    <a:extLst>
                      <a:ext uri="{FF2B5EF4-FFF2-40B4-BE49-F238E27FC236}">
                        <a16:creationId xmlns:a16="http://schemas.microsoft.com/office/drawing/2014/main" id="{5B11E2AD-0A4F-4F26-82F1-27B9EF0EF11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1" name="Rechte verbindingslijn 183">
                    <a:extLst>
                      <a:ext uri="{FF2B5EF4-FFF2-40B4-BE49-F238E27FC236}">
                        <a16:creationId xmlns:a16="http://schemas.microsoft.com/office/drawing/2014/main" id="{4303D616-939B-4FE8-BF77-0D97FD15CB0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4" name="Groep 176">
                  <a:extLst>
                    <a:ext uri="{FF2B5EF4-FFF2-40B4-BE49-F238E27FC236}">
                      <a16:creationId xmlns:a16="http://schemas.microsoft.com/office/drawing/2014/main" id="{1ADDFCFD-6575-449A-A687-DCDC5E86E65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45" name="Rechthoek 177">
                    <a:extLst>
                      <a:ext uri="{FF2B5EF4-FFF2-40B4-BE49-F238E27FC236}">
                        <a16:creationId xmlns:a16="http://schemas.microsoft.com/office/drawing/2014/main" id="{3BDF6D58-83EC-4BB0-BEB8-C430AAEF44A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46" name="Pijl: punthaak 178">
                    <a:extLst>
                      <a:ext uri="{FF2B5EF4-FFF2-40B4-BE49-F238E27FC236}">
                        <a16:creationId xmlns:a16="http://schemas.microsoft.com/office/drawing/2014/main" id="{68141BD0-EC99-4FE3-A1B7-69F1A2DCC6F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05" name="Groep 135">
                <a:extLst>
                  <a:ext uri="{FF2B5EF4-FFF2-40B4-BE49-F238E27FC236}">
                    <a16:creationId xmlns:a16="http://schemas.microsoft.com/office/drawing/2014/main" id="{8706C9C8-B566-483E-8002-435BEACCE63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34" name="Groep 166">
                  <a:extLst>
                    <a:ext uri="{FF2B5EF4-FFF2-40B4-BE49-F238E27FC236}">
                      <a16:creationId xmlns:a16="http://schemas.microsoft.com/office/drawing/2014/main" id="{9297A6C5-5392-4349-A2E4-C0C563C91354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38" name="Rechte verbindingslijn 170">
                    <a:extLst>
                      <a:ext uri="{FF2B5EF4-FFF2-40B4-BE49-F238E27FC236}">
                        <a16:creationId xmlns:a16="http://schemas.microsoft.com/office/drawing/2014/main" id="{ADB6CEB5-72F6-4771-BA16-322D2E559E8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9" name="Rechte verbindingslijn 171">
                    <a:extLst>
                      <a:ext uri="{FF2B5EF4-FFF2-40B4-BE49-F238E27FC236}">
                        <a16:creationId xmlns:a16="http://schemas.microsoft.com/office/drawing/2014/main" id="{0D11CCD3-62E7-4777-9F29-563AA2BE268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0" name="Rechte verbindingslijn 172">
                    <a:extLst>
                      <a:ext uri="{FF2B5EF4-FFF2-40B4-BE49-F238E27FC236}">
                        <a16:creationId xmlns:a16="http://schemas.microsoft.com/office/drawing/2014/main" id="{DE0A8448-2EB9-43E1-9726-9F3C33A0734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1" name="Rechte verbindingslijn 173">
                    <a:extLst>
                      <a:ext uri="{FF2B5EF4-FFF2-40B4-BE49-F238E27FC236}">
                        <a16:creationId xmlns:a16="http://schemas.microsoft.com/office/drawing/2014/main" id="{4D0C8DE6-6462-49C9-9BF6-60F1DA0518E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2" name="Rechte verbindingslijn 174">
                    <a:extLst>
                      <a:ext uri="{FF2B5EF4-FFF2-40B4-BE49-F238E27FC236}">
                        <a16:creationId xmlns:a16="http://schemas.microsoft.com/office/drawing/2014/main" id="{C9706186-5410-47AB-9DA4-388F29E96E2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35" name="Groep 167">
                  <a:extLst>
                    <a:ext uri="{FF2B5EF4-FFF2-40B4-BE49-F238E27FC236}">
                      <a16:creationId xmlns:a16="http://schemas.microsoft.com/office/drawing/2014/main" id="{B60952FD-B219-4DF7-AF41-1C75876F83BF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36" name="Rechthoek 168">
                    <a:extLst>
                      <a:ext uri="{FF2B5EF4-FFF2-40B4-BE49-F238E27FC236}">
                        <a16:creationId xmlns:a16="http://schemas.microsoft.com/office/drawing/2014/main" id="{08019ECC-11EB-43DC-AFCD-DF3199F0D4E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7" name="Pijl: punthaak 169">
                    <a:extLst>
                      <a:ext uri="{FF2B5EF4-FFF2-40B4-BE49-F238E27FC236}">
                        <a16:creationId xmlns:a16="http://schemas.microsoft.com/office/drawing/2014/main" id="{02328CFC-DD90-403D-BC10-5270E3C2230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06" name="Rechte verbindingslijn 136">
                <a:extLst>
                  <a:ext uri="{FF2B5EF4-FFF2-40B4-BE49-F238E27FC236}">
                    <a16:creationId xmlns:a16="http://schemas.microsoft.com/office/drawing/2014/main" id="{A7B7677D-36AA-4199-AF03-12CBF827734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07" name="Rechte verbindingslijn 137">
                <a:extLst>
                  <a:ext uri="{FF2B5EF4-FFF2-40B4-BE49-F238E27FC236}">
                    <a16:creationId xmlns:a16="http://schemas.microsoft.com/office/drawing/2014/main" id="{03F1E014-F753-4665-BC0E-C427E567ED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08" name="Groep 138">
                <a:extLst>
                  <a:ext uri="{FF2B5EF4-FFF2-40B4-BE49-F238E27FC236}">
                    <a16:creationId xmlns:a16="http://schemas.microsoft.com/office/drawing/2014/main" id="{37C75C16-9D37-4E0A-9D4E-21533047CC79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23" name="Rechthoek 155">
                  <a:extLst>
                    <a:ext uri="{FF2B5EF4-FFF2-40B4-BE49-F238E27FC236}">
                      <a16:creationId xmlns:a16="http://schemas.microsoft.com/office/drawing/2014/main" id="{52C858E4-FE31-4CD4-ADDA-136162DD82F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24" name="Groep 156">
                  <a:extLst>
                    <a:ext uri="{FF2B5EF4-FFF2-40B4-BE49-F238E27FC236}">
                      <a16:creationId xmlns:a16="http://schemas.microsoft.com/office/drawing/2014/main" id="{035E6949-6E16-4EF3-B780-EBD4E4BE9AB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25" name="Groep 157">
                    <a:extLst>
                      <a:ext uri="{FF2B5EF4-FFF2-40B4-BE49-F238E27FC236}">
                        <a16:creationId xmlns:a16="http://schemas.microsoft.com/office/drawing/2014/main" id="{1FE1CF85-D831-4AC9-ABF0-34F2DD8731F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29" name="Rechte verbindingslijn 161">
                      <a:extLst>
                        <a:ext uri="{FF2B5EF4-FFF2-40B4-BE49-F238E27FC236}">
                          <a16:creationId xmlns:a16="http://schemas.microsoft.com/office/drawing/2014/main" id="{B1B3F67C-30BE-403B-9B24-5B41CE1A4AA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0" name="Rechte verbindingslijn 162">
                      <a:extLst>
                        <a:ext uri="{FF2B5EF4-FFF2-40B4-BE49-F238E27FC236}">
                          <a16:creationId xmlns:a16="http://schemas.microsoft.com/office/drawing/2014/main" id="{0DE943F8-99ED-4D38-A644-354A5460941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1" name="Rechte verbindingslijn 163">
                      <a:extLst>
                        <a:ext uri="{FF2B5EF4-FFF2-40B4-BE49-F238E27FC236}">
                          <a16:creationId xmlns:a16="http://schemas.microsoft.com/office/drawing/2014/main" id="{9AB9DF86-CAE4-4DF1-B828-A7297CE082E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2" name="Rechte verbindingslijn 164">
                      <a:extLst>
                        <a:ext uri="{FF2B5EF4-FFF2-40B4-BE49-F238E27FC236}">
                          <a16:creationId xmlns:a16="http://schemas.microsoft.com/office/drawing/2014/main" id="{561AF589-D0BA-4A9B-B5ED-ABD1D97E67A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3" name="Rechte verbindingslijn 165">
                      <a:extLst>
                        <a:ext uri="{FF2B5EF4-FFF2-40B4-BE49-F238E27FC236}">
                          <a16:creationId xmlns:a16="http://schemas.microsoft.com/office/drawing/2014/main" id="{6BB8F131-26BF-4F0C-952D-C8A88BA140A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26" name="Groep 158">
                    <a:extLst>
                      <a:ext uri="{FF2B5EF4-FFF2-40B4-BE49-F238E27FC236}">
                        <a16:creationId xmlns:a16="http://schemas.microsoft.com/office/drawing/2014/main" id="{9E47C545-2484-454B-8A96-9662D4C7369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27" name="Rechthoek 159">
                      <a:extLst>
                        <a:ext uri="{FF2B5EF4-FFF2-40B4-BE49-F238E27FC236}">
                          <a16:creationId xmlns:a16="http://schemas.microsoft.com/office/drawing/2014/main" id="{9EF16859-1D76-45EA-95D5-1C84EE80F69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28" name="Pijl: punthaak 160">
                      <a:extLst>
                        <a:ext uri="{FF2B5EF4-FFF2-40B4-BE49-F238E27FC236}">
                          <a16:creationId xmlns:a16="http://schemas.microsoft.com/office/drawing/2014/main" id="{7799C6AF-48D4-4D2D-8EB0-99D9E282F8D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09" name="Groep 139">
                <a:extLst>
                  <a:ext uri="{FF2B5EF4-FFF2-40B4-BE49-F238E27FC236}">
                    <a16:creationId xmlns:a16="http://schemas.microsoft.com/office/drawing/2014/main" id="{57FFFA81-2EC7-43ED-81BD-20CC83FDD94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12" name="Rechthoek 142">
                  <a:extLst>
                    <a:ext uri="{FF2B5EF4-FFF2-40B4-BE49-F238E27FC236}">
                      <a16:creationId xmlns:a16="http://schemas.microsoft.com/office/drawing/2014/main" id="{38C31DCD-60DE-4271-B7F6-40150A353702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13" name="Groep 143">
                  <a:extLst>
                    <a:ext uri="{FF2B5EF4-FFF2-40B4-BE49-F238E27FC236}">
                      <a16:creationId xmlns:a16="http://schemas.microsoft.com/office/drawing/2014/main" id="{EB5D3051-FFA7-4B9A-AAB2-C9107AD33F7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14" name="Groep 144">
                    <a:extLst>
                      <a:ext uri="{FF2B5EF4-FFF2-40B4-BE49-F238E27FC236}">
                        <a16:creationId xmlns:a16="http://schemas.microsoft.com/office/drawing/2014/main" id="{D7C30D4B-9D74-474A-B9E5-3A3CB6098E1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18" name="Rechte verbindingslijn 150">
                      <a:extLst>
                        <a:ext uri="{FF2B5EF4-FFF2-40B4-BE49-F238E27FC236}">
                          <a16:creationId xmlns:a16="http://schemas.microsoft.com/office/drawing/2014/main" id="{5201577B-759A-49DB-9B95-9176C0FA2F9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9" name="Rechte verbindingslijn 151">
                      <a:extLst>
                        <a:ext uri="{FF2B5EF4-FFF2-40B4-BE49-F238E27FC236}">
                          <a16:creationId xmlns:a16="http://schemas.microsoft.com/office/drawing/2014/main" id="{A22F2502-D9F9-4F1C-8F3D-F42C1AF5532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0" name="Rechte verbindingslijn 152">
                      <a:extLst>
                        <a:ext uri="{FF2B5EF4-FFF2-40B4-BE49-F238E27FC236}">
                          <a16:creationId xmlns:a16="http://schemas.microsoft.com/office/drawing/2014/main" id="{2129D23D-5963-4821-86A0-9CF0D9CB0D7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1" name="Rechte verbindingslijn 153">
                      <a:extLst>
                        <a:ext uri="{FF2B5EF4-FFF2-40B4-BE49-F238E27FC236}">
                          <a16:creationId xmlns:a16="http://schemas.microsoft.com/office/drawing/2014/main" id="{A20AA3D3-04E8-492A-B6D8-8BE729286AC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2" name="Rechte verbindingslijn 154">
                      <a:extLst>
                        <a:ext uri="{FF2B5EF4-FFF2-40B4-BE49-F238E27FC236}">
                          <a16:creationId xmlns:a16="http://schemas.microsoft.com/office/drawing/2014/main" id="{E20EBDDC-D8AA-460A-85F4-5817E445CBC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5" name="Groep 147">
                    <a:extLst>
                      <a:ext uri="{FF2B5EF4-FFF2-40B4-BE49-F238E27FC236}">
                        <a16:creationId xmlns:a16="http://schemas.microsoft.com/office/drawing/2014/main" id="{A8D2A786-C025-4816-B13F-7A73A1161D98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6" name="Rechthoek 148">
                      <a:extLst>
                        <a:ext uri="{FF2B5EF4-FFF2-40B4-BE49-F238E27FC236}">
                          <a16:creationId xmlns:a16="http://schemas.microsoft.com/office/drawing/2014/main" id="{EB018AC6-7E0F-478B-9049-05A4AB1CCE1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17" name="Pijl: punthaak 149">
                      <a:extLst>
                        <a:ext uri="{FF2B5EF4-FFF2-40B4-BE49-F238E27FC236}">
                          <a16:creationId xmlns:a16="http://schemas.microsoft.com/office/drawing/2014/main" id="{FBB6F124-B31B-444C-A6B9-55BDD7C6B60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10" name="Rechthoek 140">
                <a:extLst>
                  <a:ext uri="{FF2B5EF4-FFF2-40B4-BE49-F238E27FC236}">
                    <a16:creationId xmlns:a16="http://schemas.microsoft.com/office/drawing/2014/main" id="{C253A169-87E9-4E85-833C-4DA4CC89A103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211" name="Rechthoek 141">
                <a:extLst>
                  <a:ext uri="{FF2B5EF4-FFF2-40B4-BE49-F238E27FC236}">
                    <a16:creationId xmlns:a16="http://schemas.microsoft.com/office/drawing/2014/main" id="{B58B4BB1-2A82-4A05-AAA8-F7CDE955FBCC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95" name="Rechte verbindingslijn 106">
              <a:extLst>
                <a:ext uri="{FF2B5EF4-FFF2-40B4-BE49-F238E27FC236}">
                  <a16:creationId xmlns:a16="http://schemas.microsoft.com/office/drawing/2014/main" id="{CFFBA893-7635-4373-8FE1-1E4FFA41D88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6" name="Rechthoek 107">
              <a:extLst>
                <a:ext uri="{FF2B5EF4-FFF2-40B4-BE49-F238E27FC236}">
                  <a16:creationId xmlns:a16="http://schemas.microsoft.com/office/drawing/2014/main" id="{3C2E566F-715E-46C0-B6EC-4591D7FC1F80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97" name="Ovaal 108">
              <a:extLst>
                <a:ext uri="{FF2B5EF4-FFF2-40B4-BE49-F238E27FC236}">
                  <a16:creationId xmlns:a16="http://schemas.microsoft.com/office/drawing/2014/main" id="{7F707FFA-F730-458D-B71B-1D92EC1DDEF1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98" name="Rechthoek 109">
              <a:extLst>
                <a:ext uri="{FF2B5EF4-FFF2-40B4-BE49-F238E27FC236}">
                  <a16:creationId xmlns:a16="http://schemas.microsoft.com/office/drawing/2014/main" id="{21A190AA-481C-447D-A4CA-9FF7079BAFA1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99" name="Ovaal 110">
              <a:extLst>
                <a:ext uri="{FF2B5EF4-FFF2-40B4-BE49-F238E27FC236}">
                  <a16:creationId xmlns:a16="http://schemas.microsoft.com/office/drawing/2014/main" id="{89FDB587-7218-4128-ADA6-D0B10655E3CD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0" name="Rechthoek 111">
              <a:extLst>
                <a:ext uri="{FF2B5EF4-FFF2-40B4-BE49-F238E27FC236}">
                  <a16:creationId xmlns:a16="http://schemas.microsoft.com/office/drawing/2014/main" id="{40F1166A-B49F-4EEA-8405-7244D5C3AEB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1" name="Ovaal 112">
              <a:extLst>
                <a:ext uri="{FF2B5EF4-FFF2-40B4-BE49-F238E27FC236}">
                  <a16:creationId xmlns:a16="http://schemas.microsoft.com/office/drawing/2014/main" id="{0548718A-613A-4319-948B-72344DB6EA6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113">
              <a:extLst>
                <a:ext uri="{FF2B5EF4-FFF2-40B4-BE49-F238E27FC236}">
                  <a16:creationId xmlns:a16="http://schemas.microsoft.com/office/drawing/2014/main" id="{828F1095-7690-43DE-9F4E-6E30B3C174A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147" name="Ovaal 114">
              <a:extLst>
                <a:ext uri="{FF2B5EF4-FFF2-40B4-BE49-F238E27FC236}">
                  <a16:creationId xmlns:a16="http://schemas.microsoft.com/office/drawing/2014/main" id="{E9ACD3E2-0EEA-4F06-8DF2-2EDF08322D0C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5" name="Rechthoek 115">
              <a:extLst>
                <a:ext uri="{FF2B5EF4-FFF2-40B4-BE49-F238E27FC236}">
                  <a16:creationId xmlns:a16="http://schemas.microsoft.com/office/drawing/2014/main" id="{AC41B43D-08F1-4304-BD38-C8343E5AD754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186" name="Rechte verbindingslijn 116">
              <a:extLst>
                <a:ext uri="{FF2B5EF4-FFF2-40B4-BE49-F238E27FC236}">
                  <a16:creationId xmlns:a16="http://schemas.microsoft.com/office/drawing/2014/main" id="{E5DDCEC0-8EED-4BAC-8B9E-352EEB83970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87" name="Meer informatie">
              <a:extLst>
                <a:ext uri="{FF2B5EF4-FFF2-40B4-BE49-F238E27FC236}">
                  <a16:creationId xmlns:a16="http://schemas.microsoft.com/office/drawing/2014/main" id="{758C865C-C19A-4EFD-893A-027B25014C39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197" name="Freeform 101">
                <a:extLst>
                  <a:ext uri="{FF2B5EF4-FFF2-40B4-BE49-F238E27FC236}">
                    <a16:creationId xmlns:a16="http://schemas.microsoft.com/office/drawing/2014/main" id="{7858FFFD-E549-4B3D-812A-5D7DFD8CB26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198" name="Rechthoek 128">
                <a:extLst>
                  <a:ext uri="{FF2B5EF4-FFF2-40B4-BE49-F238E27FC236}">
                    <a16:creationId xmlns:a16="http://schemas.microsoft.com/office/drawing/2014/main" id="{B0FD782D-F60C-4F03-AC89-7906BFAE3D05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99" name="Rechte verbindingslijn 129">
                <a:extLst>
                  <a:ext uri="{FF2B5EF4-FFF2-40B4-BE49-F238E27FC236}">
                    <a16:creationId xmlns:a16="http://schemas.microsoft.com/office/drawing/2014/main" id="{D0EA2925-AC2F-4560-921B-B62DFF70FBC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88" name="Rechthoek 118">
              <a:extLst>
                <a:ext uri="{FF2B5EF4-FFF2-40B4-BE49-F238E27FC236}">
                  <a16:creationId xmlns:a16="http://schemas.microsoft.com/office/drawing/2014/main" id="{D78844F8-83C2-46CF-96EA-53630A7C6CE3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189" name="Ovaal 119">
              <a:extLst>
                <a:ext uri="{FF2B5EF4-FFF2-40B4-BE49-F238E27FC236}">
                  <a16:creationId xmlns:a16="http://schemas.microsoft.com/office/drawing/2014/main" id="{6822EA46-03B6-432E-99DA-AC78FD55D026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90" name="Rechthoek 120">
              <a:extLst>
                <a:ext uri="{FF2B5EF4-FFF2-40B4-BE49-F238E27FC236}">
                  <a16:creationId xmlns:a16="http://schemas.microsoft.com/office/drawing/2014/main" id="{E52BFE46-0522-4503-8782-CF4ACFB81D20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91" name="Ovaal 121">
              <a:extLst>
                <a:ext uri="{FF2B5EF4-FFF2-40B4-BE49-F238E27FC236}">
                  <a16:creationId xmlns:a16="http://schemas.microsoft.com/office/drawing/2014/main" id="{16194C3D-32D0-4012-BE6F-F6A86344525D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92" name="Rechthoek 122">
              <a:extLst>
                <a:ext uri="{FF2B5EF4-FFF2-40B4-BE49-F238E27FC236}">
                  <a16:creationId xmlns:a16="http://schemas.microsoft.com/office/drawing/2014/main" id="{8F07DAB8-6EB9-488A-A442-F71E57DCFE1A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193" name="Ovaal 123">
              <a:extLst>
                <a:ext uri="{FF2B5EF4-FFF2-40B4-BE49-F238E27FC236}">
                  <a16:creationId xmlns:a16="http://schemas.microsoft.com/office/drawing/2014/main" id="{16D7BF4A-5B99-4627-9634-FC27EE9F0BFD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94" name="Rechthoek 124">
              <a:extLst>
                <a:ext uri="{FF2B5EF4-FFF2-40B4-BE49-F238E27FC236}">
                  <a16:creationId xmlns:a16="http://schemas.microsoft.com/office/drawing/2014/main" id="{8DEE18EE-0F6F-41E2-BC47-3856B49496C7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95" name="Rechthoek 125">
              <a:extLst>
                <a:ext uri="{FF2B5EF4-FFF2-40B4-BE49-F238E27FC236}">
                  <a16:creationId xmlns:a16="http://schemas.microsoft.com/office/drawing/2014/main" id="{8A7506A1-81B2-4033-95DC-64483E8E9EC8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196" name="Ovaal 126">
              <a:extLst>
                <a:ext uri="{FF2B5EF4-FFF2-40B4-BE49-F238E27FC236}">
                  <a16:creationId xmlns:a16="http://schemas.microsoft.com/office/drawing/2014/main" id="{ADE05DBE-5B97-472C-8812-37EA03C7CD71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  <p:pic>
        <p:nvPicPr>
          <p:cNvPr id="103" name="Afbeelding 102">
            <a:extLst>
              <a:ext uri="{FF2B5EF4-FFF2-40B4-BE49-F238E27FC236}">
                <a16:creationId xmlns:a16="http://schemas.microsoft.com/office/drawing/2014/main" id="{8E048147-F86F-41C9-80AF-EAB545EEC3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9848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11">
            <a:extLst>
              <a:ext uri="{FF2B5EF4-FFF2-40B4-BE49-F238E27FC236}">
                <a16:creationId xmlns:a16="http://schemas.microsoft.com/office/drawing/2014/main" id="{4E11FD69-5251-42EE-B41F-BB92E4CE0DD3}"/>
              </a:ext>
            </a:extLst>
          </p:cNvPr>
          <p:cNvCxnSpPr>
            <a:cxnSpLocks/>
          </p:cNvCxnSpPr>
          <p:nvPr userDrawn="1"/>
        </p:nvCxnSpPr>
        <p:spPr>
          <a:xfrm>
            <a:off x="7268274" y="2477160"/>
            <a:ext cx="28230710" cy="0"/>
          </a:xfrm>
          <a:prstGeom prst="line">
            <a:avLst/>
          </a:prstGeom>
          <a:ln w="28575" cap="rnd">
            <a:solidFill>
              <a:srgbClr val="387B9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D0A6E3DF-3369-AE4B-A33A-613B1509B6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250343" y="1328849"/>
            <a:ext cx="20234655" cy="2085277"/>
          </a:xfrm>
          <a:solidFill>
            <a:schemeClr val="accent4"/>
          </a:solidFill>
        </p:spPr>
        <p:txBody>
          <a:bodyPr tIns="28800" bIns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C9D33E-ABBA-B64E-A5EC-5727C6586C97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>
            <a:noAutofit/>
          </a:bodyPr>
          <a:lstStyle>
            <a:lvl1pPr marL="623677" indent="-623677">
              <a:buClr>
                <a:schemeClr val="accent3"/>
              </a:buClr>
              <a:defRPr/>
            </a:lvl1pPr>
            <a:lvl2pPr marL="1731823" indent="-640385">
              <a:buClr>
                <a:schemeClr val="accent3"/>
              </a:buClr>
              <a:defRPr/>
            </a:lvl2pPr>
            <a:lvl3pPr marL="2823261" indent="-623677">
              <a:buClr>
                <a:schemeClr val="accent3"/>
              </a:buClr>
              <a:defRPr/>
            </a:lvl3pPr>
            <a:lvl4pPr marL="3630700" indent="-634816">
              <a:buClr>
                <a:schemeClr val="accent3"/>
              </a:buClr>
              <a:defRPr/>
            </a:lvl4pPr>
            <a:lvl5pPr marL="4421435" indent="-506739">
              <a:buClr>
                <a:schemeClr val="accent3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60D2E4-9085-6342-9C35-EAC610FC1A6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9402484" y="28535560"/>
            <a:ext cx="7484269" cy="1611875"/>
          </a:xfrm>
        </p:spPr>
        <p:txBody>
          <a:bodyPr vert="horz" lIns="0" tIns="0" rIns="0" bIns="0" rtlCol="0" anchor="ctr"/>
          <a:lstStyle>
            <a:lvl1pPr>
              <a:defRPr lang="en-US" smtClean="0"/>
            </a:lvl1pPr>
          </a:lstStyle>
          <a:p>
            <a:fld id="{BFE3411D-B9B8-4419-B5AA-AFBB75854EC6}" type="datetime1">
              <a:rPr lang="en-US" smtClean="0"/>
              <a:t>6/26/2023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B8943A-2E47-DC43-8EA4-17EE9A65B2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11947" y="28533481"/>
            <a:ext cx="17654070" cy="1537666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>
              <a:defRPr lang="nl-NL" sz="2806" dirty="0">
                <a:latin typeface="+mn-lt"/>
                <a:ea typeface="Open Sans Light" panose="020B0604020202020204" charset="0"/>
                <a:cs typeface="Open Sans Light" panose="020B0604020202020204" charset="0"/>
              </a:defRPr>
            </a:lvl1pPr>
          </a:lstStyle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DA8786-45D7-6042-8F98-5365F825F0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0328179" y="28535560"/>
            <a:ext cx="1527123" cy="1611875"/>
          </a:xfrm>
        </p:spPr>
        <p:txBody>
          <a:bodyPr vert="horz" lIns="0" tIns="0" rIns="0" bIns="0" rtlCol="0" anchor="ctr"/>
          <a:lstStyle>
            <a:lvl1pPr>
              <a:defRPr lang="en-US" smtClean="0"/>
            </a:lvl1pPr>
          </a:lstStyle>
          <a:p>
            <a:fld id="{63D2515C-A37A-744F-8DA2-E1C9190E5349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5306777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ek 10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el 1">
            <a:extLst>
              <a:ext uri="{FF2B5EF4-FFF2-40B4-BE49-F238E27FC236}">
                <a16:creationId xmlns:a16="http://schemas.microsoft.com/office/drawing/2014/main" id="{87553EBB-B807-40D8-8ED2-0562C9B374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78" y="1766065"/>
            <a:ext cx="32281087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9" name="Tijdelijke aanduiding voor tekst 14">
            <a:extLst>
              <a:ext uri="{FF2B5EF4-FFF2-40B4-BE49-F238E27FC236}">
                <a16:creationId xmlns:a16="http://schemas.microsoft.com/office/drawing/2014/main" id="{C209BF21-5280-447B-A53B-6C6365D8189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78" y="3469430"/>
            <a:ext cx="32281087" cy="1195424"/>
          </a:xfrm>
        </p:spPr>
        <p:txBody>
          <a:bodyPr>
            <a:noAutofit/>
          </a:bodyPr>
          <a:lstStyle>
            <a:lvl1pPr marL="0" indent="0">
              <a:buNone/>
              <a:defRPr sz="2794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56" name="Tijdelijke aanduiding voor voettekst 4">
            <a:extLst>
              <a:ext uri="{FF2B5EF4-FFF2-40B4-BE49-F238E27FC236}">
                <a16:creationId xmlns:a16="http://schemas.microsoft.com/office/drawing/2014/main" id="{791AE8B8-F5E6-4264-A78D-66A2883015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7" y="27345278"/>
            <a:ext cx="18027561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57" name="Tijdelijke aanduiding voor dianummer 5">
            <a:extLst>
              <a:ext uri="{FF2B5EF4-FFF2-40B4-BE49-F238E27FC236}">
                <a16:creationId xmlns:a16="http://schemas.microsoft.com/office/drawing/2014/main" id="{2D1565BC-73A2-4D18-B68D-8C2F7ADBE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6" y="27329717"/>
            <a:ext cx="836255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15" name="Tijdelijke aanduiding voor datum 3">
            <a:extLst>
              <a:ext uri="{FF2B5EF4-FFF2-40B4-BE49-F238E27FC236}">
                <a16:creationId xmlns:a16="http://schemas.microsoft.com/office/drawing/2014/main" id="{33EDF0CC-2116-441B-BB74-14D41A6FF9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503"/>
            <a:ext cx="9622631" cy="1000848"/>
          </a:xfrm>
        </p:spPr>
        <p:txBody>
          <a:bodyPr/>
          <a:lstStyle/>
          <a:p>
            <a:fld id="{BA924F38-C553-4513-9DED-E0AB471B3E16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87" name="Tijdelijke aanduiding voor grafiek 7">
            <a:extLst>
              <a:ext uri="{FF2B5EF4-FFF2-40B4-BE49-F238E27FC236}">
                <a16:creationId xmlns:a16="http://schemas.microsoft.com/office/drawing/2014/main" id="{A9C16D6A-032C-433A-A11B-424C800889B5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1731110" y="6476695"/>
            <a:ext cx="39293755" cy="19046181"/>
          </a:xfrm>
          <a:solidFill>
            <a:schemeClr val="bg1">
              <a:lumMod val="95000"/>
            </a:schemeClr>
          </a:solidFill>
        </p:spPr>
        <p:txBody>
          <a:bodyPr tIns="1260000"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1677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grafiek in te voegen</a:t>
            </a:r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620E16FE-96C3-4B35-80A7-63041DAC8C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5" y="831727"/>
            <a:ext cx="9249575" cy="4281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3548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7" grpId="0" animBg="1"/>
    </p:bld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Text"/>
          <p:cNvSpPr txBox="1">
            <a:spLocks noGrp="1"/>
          </p:cNvSpPr>
          <p:nvPr>
            <p:ph type="title"/>
          </p:nvPr>
        </p:nvSpPr>
        <p:spPr>
          <a:xfrm>
            <a:off x="5345909" y="4954763"/>
            <a:ext cx="32075438" cy="10540264"/>
          </a:xfrm>
          <a:prstGeom prst="rect">
            <a:avLst/>
          </a:prstGeom>
        </p:spPr>
        <p:txBody>
          <a:bodyPr anchor="b"/>
          <a:lstStyle>
            <a:lvl1pPr algn="ctr">
              <a:defRPr sz="21047"/>
            </a:lvl1pPr>
          </a:lstStyle>
          <a:p>
            <a:r>
              <a:t>Title Text</a:t>
            </a:r>
          </a:p>
        </p:txBody>
      </p:sp>
      <p:sp>
        <p:nvSpPr>
          <p:cNvPr id="1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5345909" y="15901493"/>
            <a:ext cx="32075438" cy="7309508"/>
          </a:xfrm>
          <a:prstGeom prst="rect">
            <a:avLst/>
          </a:prstGeom>
        </p:spPr>
        <p:txBody>
          <a:bodyPr/>
          <a:lstStyle>
            <a:lvl1pPr marL="0" indent="0" algn="ctr">
              <a:buSzTx/>
              <a:buFontTx/>
              <a:buNone/>
              <a:defRPr sz="8419"/>
            </a:lvl1pPr>
            <a:lvl2pPr marL="0" indent="0" algn="ctr">
              <a:buSzTx/>
              <a:buFontTx/>
              <a:buNone/>
              <a:defRPr sz="8419"/>
            </a:lvl2pPr>
            <a:lvl3pPr marL="0" indent="0" algn="ctr">
              <a:buSzTx/>
              <a:buFontTx/>
              <a:buNone/>
              <a:defRPr sz="8419"/>
            </a:lvl3pPr>
            <a:lvl4pPr marL="0" indent="0" algn="ctr">
              <a:buSzTx/>
              <a:buFontTx/>
              <a:buNone/>
              <a:defRPr sz="8419"/>
            </a:lvl4pPr>
            <a:lvl5pPr marL="0" indent="0" algn="ctr">
              <a:buSzTx/>
              <a:buFontTx/>
              <a:buNone/>
              <a:defRPr sz="8419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23630955"/>
      </p:ext>
    </p:extLst>
  </p:cSld>
  <p:clrMapOvr>
    <a:masterClrMapping/>
  </p:clrMapOvr>
  <p:transition spd="med"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Instructie">
            <a:extLst>
              <a:ext uri="{FF2B5EF4-FFF2-40B4-BE49-F238E27FC236}">
                <a16:creationId xmlns:a16="http://schemas.microsoft.com/office/drawing/2014/main" id="{D5E8EF87-B02C-4C6C-90C8-D7C17E25FCC5}"/>
              </a:ext>
            </a:extLst>
          </p:cNvPr>
          <p:cNvGrpSpPr/>
          <p:nvPr userDrawn="1"/>
        </p:nvGrpSpPr>
        <p:grpSpPr>
          <a:xfrm>
            <a:off x="-11879069" y="0"/>
            <a:ext cx="11304947" cy="9880756"/>
            <a:chOff x="-3428327" y="4512342"/>
            <a:chExt cx="3222791" cy="2238208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63EA60B4-85E3-4F49-9206-3E0CB959F555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ettekst wijzigen</a:t>
              </a:r>
            </a:p>
          </p:txBody>
        </p:sp>
        <p:cxnSp>
          <p:nvCxnSpPr>
            <p:cNvPr id="20" name="Rechte verbindingslijn 19">
              <a:extLst>
                <a:ext uri="{FF2B5EF4-FFF2-40B4-BE49-F238E27FC236}">
                  <a16:creationId xmlns:a16="http://schemas.microsoft.com/office/drawing/2014/main" id="{77C1EF7D-EFC8-447F-8B5D-929F29A96FB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" name="Ovaal 20">
              <a:extLst>
                <a:ext uri="{FF2B5EF4-FFF2-40B4-BE49-F238E27FC236}">
                  <a16:creationId xmlns:a16="http://schemas.microsoft.com/office/drawing/2014/main" id="{E87DD442-5E0D-43FD-A7B2-815E2103B9E9}"/>
                </a:ext>
              </a:extLst>
            </p:cNvPr>
            <p:cNvSpPr/>
            <p:nvPr userDrawn="1"/>
          </p:nvSpPr>
          <p:spPr>
            <a:xfrm>
              <a:off x="-3428327" y="489302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50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22" name="Rechthoek 21">
              <a:extLst>
                <a:ext uri="{FF2B5EF4-FFF2-40B4-BE49-F238E27FC236}">
                  <a16:creationId xmlns:a16="http://schemas.microsoft.com/office/drawing/2014/main" id="{49AFB772-31D2-4D09-87E1-B7CC4FFC5DB2}"/>
                </a:ext>
              </a:extLst>
            </p:cNvPr>
            <p:cNvSpPr/>
            <p:nvPr userDrawn="1"/>
          </p:nvSpPr>
          <p:spPr>
            <a:xfrm>
              <a:off x="-3062646" y="4959088"/>
              <a:ext cx="2247687" cy="82820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Ga naa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I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nvoeg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b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lik op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op- en voettekst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.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ink de box voo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ettekst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an om deze zichtbaar te maken.</a:t>
              </a:r>
            </a:p>
          </p:txBody>
        </p:sp>
        <p:cxnSp>
          <p:nvCxnSpPr>
            <p:cNvPr id="23" name="Rechte verbindingslijn 22">
              <a:extLst>
                <a:ext uri="{FF2B5EF4-FFF2-40B4-BE49-F238E27FC236}">
                  <a16:creationId xmlns:a16="http://schemas.microsoft.com/office/drawing/2014/main" id="{DC8C399E-4AE3-44A0-8778-EC90420C6A1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787288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4" name="Ovaal 23">
              <a:extLst>
                <a:ext uri="{FF2B5EF4-FFF2-40B4-BE49-F238E27FC236}">
                  <a16:creationId xmlns:a16="http://schemas.microsoft.com/office/drawing/2014/main" id="{5101A021-9595-4403-AAC2-DBB328463133}"/>
                </a:ext>
              </a:extLst>
            </p:cNvPr>
            <p:cNvSpPr/>
            <p:nvPr userDrawn="1"/>
          </p:nvSpPr>
          <p:spPr>
            <a:xfrm>
              <a:off x="-3428327" y="59089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50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5" name="Rechthoek 24">
              <a:extLst>
                <a:ext uri="{FF2B5EF4-FFF2-40B4-BE49-F238E27FC236}">
                  <a16:creationId xmlns:a16="http://schemas.microsoft.com/office/drawing/2014/main" id="{A76E70CF-6246-444C-87EB-E324464EDA0F}"/>
                </a:ext>
              </a:extLst>
            </p:cNvPr>
            <p:cNvSpPr/>
            <p:nvPr userDrawn="1"/>
          </p:nvSpPr>
          <p:spPr>
            <a:xfrm>
              <a:off x="-3062645" y="5974980"/>
              <a:ext cx="2817996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Typ de gewenste voettekst in het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angegeven tekstkader.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vervolgens op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veral toepass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b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de gegevens op elke slide toe te passen.</a:t>
              </a:r>
            </a:p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350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26" name="Rechte verbindingslijn 25">
              <a:extLst>
                <a:ext uri="{FF2B5EF4-FFF2-40B4-BE49-F238E27FC236}">
                  <a16:creationId xmlns:a16="http://schemas.microsoft.com/office/drawing/2014/main" id="{474FE3ED-3EC5-46D2-8BF1-9E695001801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675055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7" name="Groep 26">
              <a:extLst>
                <a:ext uri="{FF2B5EF4-FFF2-40B4-BE49-F238E27FC236}">
                  <a16:creationId xmlns:a16="http://schemas.microsoft.com/office/drawing/2014/main" id="{3ECD38D8-6580-42F2-95A1-2AFD451A5F19}"/>
                </a:ext>
              </a:extLst>
            </p:cNvPr>
            <p:cNvGrpSpPr/>
            <p:nvPr userDrawn="1"/>
          </p:nvGrpSpPr>
          <p:grpSpPr>
            <a:xfrm>
              <a:off x="-886669" y="4993966"/>
              <a:ext cx="681133" cy="750023"/>
              <a:chOff x="-910573" y="4987990"/>
              <a:chExt cx="681133" cy="750023"/>
            </a:xfrm>
          </p:grpSpPr>
          <p:grpSp>
            <p:nvGrpSpPr>
              <p:cNvPr id="29" name="Groep 28">
                <a:extLst>
                  <a:ext uri="{FF2B5EF4-FFF2-40B4-BE49-F238E27FC236}">
                    <a16:creationId xmlns:a16="http://schemas.microsoft.com/office/drawing/2014/main" id="{399AD2D2-8AF2-4610-BBAD-F7FC1EB9276B}"/>
                  </a:ext>
                </a:extLst>
              </p:cNvPr>
              <p:cNvGrpSpPr/>
              <p:nvPr userDrawn="1"/>
            </p:nvGrpSpPr>
            <p:grpSpPr>
              <a:xfrm>
                <a:off x="-713542" y="4987990"/>
                <a:ext cx="287071" cy="379107"/>
                <a:chOff x="-4050578" y="288410"/>
                <a:chExt cx="322125" cy="379107"/>
              </a:xfrm>
            </p:grpSpPr>
            <p:sp>
              <p:nvSpPr>
                <p:cNvPr id="32" name="Rechthoek met één afgeknipte en afgeronde hoek 47">
                  <a:extLst>
                    <a:ext uri="{FF2B5EF4-FFF2-40B4-BE49-F238E27FC236}">
                      <a16:creationId xmlns:a16="http://schemas.microsoft.com/office/drawing/2014/main" id="{43A6D2FC-3164-4919-8E6C-8EFCE3358913}"/>
                    </a:ext>
                  </a:extLst>
                </p:cNvPr>
                <p:cNvSpPr/>
                <p:nvPr userDrawn="1"/>
              </p:nvSpPr>
              <p:spPr>
                <a:xfrm>
                  <a:off x="-4050578" y="288410"/>
                  <a:ext cx="322125" cy="379107"/>
                </a:xfrm>
                <a:prstGeom prst="snipRoundRect">
                  <a:avLst>
                    <a:gd name="adj1" fmla="val 0"/>
                    <a:gd name="adj2" fmla="val 33753"/>
                  </a:avLst>
                </a:prstGeom>
                <a:solidFill>
                  <a:sysClr val="window" lastClr="FFFFFF"/>
                </a:solidFill>
                <a:ln w="12700" cap="flat" cmpd="sng" algn="ctr">
                  <a:solidFill>
                    <a:srgbClr val="FFFFFF">
                      <a:lumMod val="65000"/>
                    </a:srgbClr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3207489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4911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  <p:sp>
              <p:nvSpPr>
                <p:cNvPr id="33" name="Rechthoekige driehoek 32">
                  <a:extLst>
                    <a:ext uri="{FF2B5EF4-FFF2-40B4-BE49-F238E27FC236}">
                      <a16:creationId xmlns:a16="http://schemas.microsoft.com/office/drawing/2014/main" id="{A1FB10E2-833B-4A59-A608-CD0D3ADFF6B1}"/>
                    </a:ext>
                  </a:extLst>
                </p:cNvPr>
                <p:cNvSpPr/>
                <p:nvPr userDrawn="1"/>
              </p:nvSpPr>
              <p:spPr>
                <a:xfrm>
                  <a:off x="-3833537" y="291656"/>
                  <a:ext cx="103133" cy="93757"/>
                </a:xfrm>
                <a:prstGeom prst="rtTriangle">
                  <a:avLst/>
                </a:prstGeom>
                <a:solidFill>
                  <a:sysClr val="window" lastClr="FFFFFF"/>
                </a:solidFill>
                <a:ln w="12700" cap="flat" cmpd="sng" algn="ctr">
                  <a:solidFill>
                    <a:srgbClr val="FFFFFF">
                      <a:lumMod val="65000"/>
                    </a:srgbClr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3207489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4911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Rechthoek 33">
                  <a:extLst>
                    <a:ext uri="{FF2B5EF4-FFF2-40B4-BE49-F238E27FC236}">
                      <a16:creationId xmlns:a16="http://schemas.microsoft.com/office/drawing/2014/main" id="{B2E39825-570F-4F57-876F-6095E3E102BF}"/>
                    </a:ext>
                  </a:extLst>
                </p:cNvPr>
                <p:cNvSpPr/>
                <p:nvPr userDrawn="1"/>
              </p:nvSpPr>
              <p:spPr>
                <a:xfrm>
                  <a:off x="-4013673" y="314848"/>
                  <a:ext cx="140930" cy="70565"/>
                </a:xfrm>
                <a:prstGeom prst="rect">
                  <a:avLst/>
                </a:prstGeom>
                <a:solidFill>
                  <a:srgbClr val="EDC87E"/>
                </a:solidFill>
                <a:ln w="12700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3207489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4911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  <p:sp>
              <p:nvSpPr>
                <p:cNvPr id="35" name="Rechthoek 34">
                  <a:extLst>
                    <a:ext uri="{FF2B5EF4-FFF2-40B4-BE49-F238E27FC236}">
                      <a16:creationId xmlns:a16="http://schemas.microsoft.com/office/drawing/2014/main" id="{63A4E748-AD95-4386-A068-20C1DAB6317B}"/>
                    </a:ext>
                  </a:extLst>
                </p:cNvPr>
                <p:cNvSpPr/>
                <p:nvPr userDrawn="1"/>
              </p:nvSpPr>
              <p:spPr>
                <a:xfrm>
                  <a:off x="-4020379" y="586428"/>
                  <a:ext cx="261727" cy="61406"/>
                </a:xfrm>
                <a:prstGeom prst="rect">
                  <a:avLst/>
                </a:prstGeom>
                <a:solidFill>
                  <a:srgbClr val="EDC87E"/>
                </a:solidFill>
                <a:ln w="12700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R="0" lvl="0" indent="0" algn="ctr" defTabSz="3207489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nl-NL" sz="4911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C6833428-E8A1-4528-AAAA-ED03CB49B8B1}"/>
                  </a:ext>
                </a:extLst>
              </p:cNvPr>
              <p:cNvSpPr/>
              <p:nvPr userDrawn="1"/>
            </p:nvSpPr>
            <p:spPr>
              <a:xfrm>
                <a:off x="-910573" y="5352063"/>
                <a:ext cx="681133" cy="385950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32074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2455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+mn-lt"/>
                    <a:ea typeface="+mn-ea"/>
                    <a:cs typeface="Segoe UI Light" panose="020B0502040204020203" pitchFamily="34" charset="0"/>
                  </a:rPr>
                  <a:t>Koptekst en voettekst</a:t>
                </a:r>
              </a:p>
            </p:txBody>
          </p:sp>
        </p:grpSp>
      </p:grpSp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22C8233F-3E7B-49DC-AC22-FB28BF26342E}"/>
              </a:ext>
            </a:extLst>
          </p:cNvPr>
          <p:cNvSpPr>
            <a:spLocks noGrp="1"/>
          </p:cNvSpPr>
          <p:nvPr userDrawn="1">
            <p:ph type="pic" sz="quarter" idx="35" hasCustomPrompt="1"/>
          </p:nvPr>
        </p:nvSpPr>
        <p:spPr>
          <a:xfrm>
            <a:off x="-5566" y="2543961"/>
            <a:ext cx="38729979" cy="22727432"/>
          </a:xfrm>
          <a:solidFill>
            <a:schemeClr val="bg1">
              <a:lumMod val="95000"/>
            </a:schemeClr>
          </a:solidFill>
        </p:spPr>
        <p:txBody>
          <a:bodyPr vert="horz" lIns="0" tIns="2880000" rIns="0" bIns="0" rtlCol="0">
            <a:normAutofit/>
          </a:bodyPr>
          <a:lstStyle>
            <a:lvl1pPr marL="801872" indent="-801872" algn="ctr">
              <a:spcBef>
                <a:spcPts val="0"/>
              </a:spcBef>
              <a:spcAft>
                <a:spcPts val="0"/>
              </a:spcAft>
              <a:buFont typeface="+mj-lt"/>
              <a:buNone/>
              <a:defRPr lang="nl-NL"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801872" lvl="0" indent="-801872" algn="ctr"/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815D2346-2389-418D-A441-59E88FFEBE24}"/>
              </a:ext>
            </a:extLst>
          </p:cNvPr>
          <p:cNvSpPr>
            <a:spLocks noGrp="1"/>
          </p:cNvSpPr>
          <p:nvPr userDrawn="1">
            <p:ph type="body" sz="quarter" idx="31"/>
          </p:nvPr>
        </p:nvSpPr>
        <p:spPr>
          <a:xfrm>
            <a:off x="-3408" y="0"/>
            <a:ext cx="42770656" cy="25428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351">
                <a:solidFill>
                  <a:schemeClr val="bg1"/>
                </a:solidFill>
              </a:defRPr>
            </a:lvl1pPr>
          </a:lstStyle>
          <a:p>
            <a:pPr lvl="0"/>
            <a:endParaRPr lang="nl-NL" noProof="0"/>
          </a:p>
        </p:txBody>
      </p:sp>
      <p:sp>
        <p:nvSpPr>
          <p:cNvPr id="28" name="Tijdelijke aanduiding voor tekst 2">
            <a:extLst>
              <a:ext uri="{FF2B5EF4-FFF2-40B4-BE49-F238E27FC236}">
                <a16:creationId xmlns:a16="http://schemas.microsoft.com/office/drawing/2014/main" id="{7BDE5674-83BE-4E1D-873D-42FE9FEB8D5C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38726250" y="0"/>
            <a:ext cx="4041000" cy="30306998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351">
                <a:solidFill>
                  <a:schemeClr val="bg1"/>
                </a:solidFill>
              </a:defRPr>
            </a:lvl1pPr>
          </a:lstStyle>
          <a:p>
            <a:pPr lvl="0"/>
            <a:endParaRPr lang="nl-NL" noProof="0"/>
          </a:p>
        </p:txBody>
      </p:sp>
      <p:sp>
        <p:nvSpPr>
          <p:cNvPr id="30" name="Tijdelijke aanduiding voor tekst 2">
            <a:extLst>
              <a:ext uri="{FF2B5EF4-FFF2-40B4-BE49-F238E27FC236}">
                <a16:creationId xmlns:a16="http://schemas.microsoft.com/office/drawing/2014/main" id="{ED88654C-2F09-42A2-8633-BAD63AF9F763}"/>
              </a:ext>
            </a:extLst>
          </p:cNvPr>
          <p:cNvSpPr>
            <a:spLocks noGrp="1"/>
          </p:cNvSpPr>
          <p:nvPr userDrawn="1">
            <p:ph type="body" sz="quarter" idx="33"/>
          </p:nvPr>
        </p:nvSpPr>
        <p:spPr>
          <a:xfrm rot="16200000">
            <a:off x="18842930" y="6346683"/>
            <a:ext cx="5085600" cy="42771459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351">
                <a:solidFill>
                  <a:schemeClr val="bg1"/>
                </a:solidFill>
              </a:defRPr>
            </a:lvl1pPr>
          </a:lstStyle>
          <a:p>
            <a:pPr lvl="0"/>
            <a:endParaRPr lang="nl-NL" noProof="0"/>
          </a:p>
        </p:txBody>
      </p:sp>
      <p:sp>
        <p:nvSpPr>
          <p:cNvPr id="17" name="Tijdelijke aanduiding voor tekst 15">
            <a:extLst>
              <a:ext uri="{FF2B5EF4-FFF2-40B4-BE49-F238E27FC236}">
                <a16:creationId xmlns:a16="http://schemas.microsoft.com/office/drawing/2014/main" id="{7D35ADBF-F5AF-4BEF-A048-07416BC1D671}"/>
              </a:ext>
            </a:extLst>
          </p:cNvPr>
          <p:cNvSpPr>
            <a:spLocks noGrp="1"/>
          </p:cNvSpPr>
          <p:nvPr userDrawn="1">
            <p:ph type="body" sz="quarter" idx="43" hasCustomPrompt="1"/>
          </p:nvPr>
        </p:nvSpPr>
        <p:spPr>
          <a:xfrm>
            <a:off x="2596218" y="4421477"/>
            <a:ext cx="15869579" cy="8579805"/>
          </a:xfrm>
          <a:custGeom>
            <a:avLst/>
            <a:gdLst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4067 w 4524067"/>
              <a:gd name="connsiteY3" fmla="*/ 1604261 h 1943514"/>
              <a:gd name="connsiteX4" fmla="*/ 374342 w 4524067"/>
              <a:gd name="connsiteY4" fmla="*/ 1604261 h 1943514"/>
              <a:gd name="connsiteX5" fmla="*/ 374342 w 4524067"/>
              <a:gd name="connsiteY5" fmla="*/ 1604495 h 1943514"/>
              <a:gd name="connsiteX6" fmla="*/ 372031 w 4524067"/>
              <a:gd name="connsiteY6" fmla="*/ 1604262 h 1943514"/>
              <a:gd name="connsiteX7" fmla="*/ 7555 w 4524067"/>
              <a:gd name="connsiteY7" fmla="*/ 1901319 h 1943514"/>
              <a:gd name="connsiteX8" fmla="*/ 3301 w 4524067"/>
              <a:gd name="connsiteY8" fmla="*/ 1943514 h 1943514"/>
              <a:gd name="connsiteX9" fmla="*/ 0 w 4524067"/>
              <a:gd name="connsiteY9" fmla="*/ 1935545 h 1943514"/>
              <a:gd name="connsiteX10" fmla="*/ 0 w 4524067"/>
              <a:gd name="connsiteY10" fmla="*/ 71054 h 1943514"/>
              <a:gd name="connsiteX11" fmla="*/ 71054 w 4524067"/>
              <a:gd name="connsiteY11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524067 w 4524067"/>
              <a:gd name="connsiteY4" fmla="*/ 160426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524067 w 4524067"/>
              <a:gd name="connsiteY4" fmla="*/ 1604261 h 1943514"/>
              <a:gd name="connsiteX5" fmla="*/ 4481998 w 4524067"/>
              <a:gd name="connsiteY5" fmla="*/ 1606550 h 1943514"/>
              <a:gd name="connsiteX6" fmla="*/ 374342 w 4524067"/>
              <a:gd name="connsiteY6" fmla="*/ 1604261 h 1943514"/>
              <a:gd name="connsiteX7" fmla="*/ 374342 w 4524067"/>
              <a:gd name="connsiteY7" fmla="*/ 1604495 h 1943514"/>
              <a:gd name="connsiteX8" fmla="*/ 372031 w 4524067"/>
              <a:gd name="connsiteY8" fmla="*/ 1604262 h 1943514"/>
              <a:gd name="connsiteX9" fmla="*/ 7555 w 4524067"/>
              <a:gd name="connsiteY9" fmla="*/ 1901319 h 1943514"/>
              <a:gd name="connsiteX10" fmla="*/ 3301 w 4524067"/>
              <a:gd name="connsiteY10" fmla="*/ 1943514 h 1943514"/>
              <a:gd name="connsiteX11" fmla="*/ 0 w 4524067"/>
              <a:gd name="connsiteY11" fmla="*/ 1935545 h 1943514"/>
              <a:gd name="connsiteX12" fmla="*/ 0 w 4524067"/>
              <a:gd name="connsiteY12" fmla="*/ 71054 h 1943514"/>
              <a:gd name="connsiteX13" fmla="*/ 71054 w 4524067"/>
              <a:gd name="connsiteY13" fmla="*/ 0 h 1943514"/>
              <a:gd name="connsiteX0" fmla="*/ 71054 w 4799095"/>
              <a:gd name="connsiteY0" fmla="*/ 0 h 1943514"/>
              <a:gd name="connsiteX1" fmla="*/ 4453013 w 4799095"/>
              <a:gd name="connsiteY1" fmla="*/ 0 h 1943514"/>
              <a:gd name="connsiteX2" fmla="*/ 4524067 w 4799095"/>
              <a:gd name="connsiteY2" fmla="*/ 71054 h 1943514"/>
              <a:gd name="connsiteX3" fmla="*/ 4522480 w 4799095"/>
              <a:gd name="connsiteY3" fmla="*/ 1547019 h 1943514"/>
              <a:gd name="connsiteX4" fmla="*/ 4524067 w 4799095"/>
              <a:gd name="connsiteY4" fmla="*/ 1604261 h 1943514"/>
              <a:gd name="connsiteX5" fmla="*/ 4481998 w 4799095"/>
              <a:gd name="connsiteY5" fmla="*/ 1606550 h 1943514"/>
              <a:gd name="connsiteX6" fmla="*/ 374342 w 4799095"/>
              <a:gd name="connsiteY6" fmla="*/ 1604261 h 1943514"/>
              <a:gd name="connsiteX7" fmla="*/ 374342 w 4799095"/>
              <a:gd name="connsiteY7" fmla="*/ 1604495 h 1943514"/>
              <a:gd name="connsiteX8" fmla="*/ 372031 w 4799095"/>
              <a:gd name="connsiteY8" fmla="*/ 1604262 h 1943514"/>
              <a:gd name="connsiteX9" fmla="*/ 7555 w 4799095"/>
              <a:gd name="connsiteY9" fmla="*/ 1901319 h 1943514"/>
              <a:gd name="connsiteX10" fmla="*/ 3301 w 4799095"/>
              <a:gd name="connsiteY10" fmla="*/ 1943514 h 1943514"/>
              <a:gd name="connsiteX11" fmla="*/ 0 w 4799095"/>
              <a:gd name="connsiteY11" fmla="*/ 1935545 h 1943514"/>
              <a:gd name="connsiteX12" fmla="*/ 0 w 4799095"/>
              <a:gd name="connsiteY12" fmla="*/ 71054 h 1943514"/>
              <a:gd name="connsiteX13" fmla="*/ 71054 w 4799095"/>
              <a:gd name="connsiteY13" fmla="*/ 0 h 1943514"/>
              <a:gd name="connsiteX0" fmla="*/ 71054 w 4798479"/>
              <a:gd name="connsiteY0" fmla="*/ 0 h 1943514"/>
              <a:gd name="connsiteX1" fmla="*/ 4453013 w 4798479"/>
              <a:gd name="connsiteY1" fmla="*/ 0 h 1943514"/>
              <a:gd name="connsiteX2" fmla="*/ 4524067 w 4798479"/>
              <a:gd name="connsiteY2" fmla="*/ 71054 h 1943514"/>
              <a:gd name="connsiteX3" fmla="*/ 4522480 w 4798479"/>
              <a:gd name="connsiteY3" fmla="*/ 1547019 h 1943514"/>
              <a:gd name="connsiteX4" fmla="*/ 4481998 w 4798479"/>
              <a:gd name="connsiteY4" fmla="*/ 1606550 h 1943514"/>
              <a:gd name="connsiteX5" fmla="*/ 374342 w 4798479"/>
              <a:gd name="connsiteY5" fmla="*/ 1604261 h 1943514"/>
              <a:gd name="connsiteX6" fmla="*/ 374342 w 4798479"/>
              <a:gd name="connsiteY6" fmla="*/ 1604495 h 1943514"/>
              <a:gd name="connsiteX7" fmla="*/ 372031 w 4798479"/>
              <a:gd name="connsiteY7" fmla="*/ 1604262 h 1943514"/>
              <a:gd name="connsiteX8" fmla="*/ 7555 w 4798479"/>
              <a:gd name="connsiteY8" fmla="*/ 1901319 h 1943514"/>
              <a:gd name="connsiteX9" fmla="*/ 3301 w 4798479"/>
              <a:gd name="connsiteY9" fmla="*/ 1943514 h 1943514"/>
              <a:gd name="connsiteX10" fmla="*/ 0 w 4798479"/>
              <a:gd name="connsiteY10" fmla="*/ 1935545 h 1943514"/>
              <a:gd name="connsiteX11" fmla="*/ 0 w 4798479"/>
              <a:gd name="connsiteY11" fmla="*/ 71054 h 1943514"/>
              <a:gd name="connsiteX12" fmla="*/ 71054 w 4798479"/>
              <a:gd name="connsiteY12" fmla="*/ 0 h 1943514"/>
              <a:gd name="connsiteX0" fmla="*/ 71054 w 4801282"/>
              <a:gd name="connsiteY0" fmla="*/ 0 h 1943514"/>
              <a:gd name="connsiteX1" fmla="*/ 4453013 w 4801282"/>
              <a:gd name="connsiteY1" fmla="*/ 0 h 1943514"/>
              <a:gd name="connsiteX2" fmla="*/ 4524067 w 4801282"/>
              <a:gd name="connsiteY2" fmla="*/ 71054 h 1943514"/>
              <a:gd name="connsiteX3" fmla="*/ 4522480 w 4801282"/>
              <a:gd name="connsiteY3" fmla="*/ 1547019 h 1943514"/>
              <a:gd name="connsiteX4" fmla="*/ 4481998 w 4801282"/>
              <a:gd name="connsiteY4" fmla="*/ 1606550 h 1943514"/>
              <a:gd name="connsiteX5" fmla="*/ 374342 w 4801282"/>
              <a:gd name="connsiteY5" fmla="*/ 1604261 h 1943514"/>
              <a:gd name="connsiteX6" fmla="*/ 374342 w 4801282"/>
              <a:gd name="connsiteY6" fmla="*/ 1604495 h 1943514"/>
              <a:gd name="connsiteX7" fmla="*/ 372031 w 4801282"/>
              <a:gd name="connsiteY7" fmla="*/ 1604262 h 1943514"/>
              <a:gd name="connsiteX8" fmla="*/ 7555 w 4801282"/>
              <a:gd name="connsiteY8" fmla="*/ 1901319 h 1943514"/>
              <a:gd name="connsiteX9" fmla="*/ 3301 w 4801282"/>
              <a:gd name="connsiteY9" fmla="*/ 1943514 h 1943514"/>
              <a:gd name="connsiteX10" fmla="*/ 0 w 4801282"/>
              <a:gd name="connsiteY10" fmla="*/ 1935545 h 1943514"/>
              <a:gd name="connsiteX11" fmla="*/ 0 w 4801282"/>
              <a:gd name="connsiteY11" fmla="*/ 71054 h 1943514"/>
              <a:gd name="connsiteX12" fmla="*/ 71054 w 4801282"/>
              <a:gd name="connsiteY12" fmla="*/ 0 h 1943514"/>
              <a:gd name="connsiteX0" fmla="*/ 71054 w 4527104"/>
              <a:gd name="connsiteY0" fmla="*/ 0 h 1943514"/>
              <a:gd name="connsiteX1" fmla="*/ 4453013 w 4527104"/>
              <a:gd name="connsiteY1" fmla="*/ 0 h 1943514"/>
              <a:gd name="connsiteX2" fmla="*/ 4524067 w 4527104"/>
              <a:gd name="connsiteY2" fmla="*/ 71054 h 1943514"/>
              <a:gd name="connsiteX3" fmla="*/ 4522480 w 4527104"/>
              <a:gd name="connsiteY3" fmla="*/ 1547019 h 1943514"/>
              <a:gd name="connsiteX4" fmla="*/ 4481998 w 4527104"/>
              <a:gd name="connsiteY4" fmla="*/ 1606550 h 1943514"/>
              <a:gd name="connsiteX5" fmla="*/ 374342 w 4527104"/>
              <a:gd name="connsiteY5" fmla="*/ 1604261 h 1943514"/>
              <a:gd name="connsiteX6" fmla="*/ 374342 w 4527104"/>
              <a:gd name="connsiteY6" fmla="*/ 1604495 h 1943514"/>
              <a:gd name="connsiteX7" fmla="*/ 372031 w 4527104"/>
              <a:gd name="connsiteY7" fmla="*/ 1604262 h 1943514"/>
              <a:gd name="connsiteX8" fmla="*/ 7555 w 4527104"/>
              <a:gd name="connsiteY8" fmla="*/ 1901319 h 1943514"/>
              <a:gd name="connsiteX9" fmla="*/ 3301 w 4527104"/>
              <a:gd name="connsiteY9" fmla="*/ 1943514 h 1943514"/>
              <a:gd name="connsiteX10" fmla="*/ 0 w 4527104"/>
              <a:gd name="connsiteY10" fmla="*/ 1935545 h 1943514"/>
              <a:gd name="connsiteX11" fmla="*/ 0 w 4527104"/>
              <a:gd name="connsiteY11" fmla="*/ 71054 h 1943514"/>
              <a:gd name="connsiteX12" fmla="*/ 71054 w 4527104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81998 w 4524067"/>
              <a:gd name="connsiteY4" fmla="*/ 1606550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81998 w 4524067"/>
              <a:gd name="connsiteY4" fmla="*/ 1606550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81998 w 4524067"/>
              <a:gd name="connsiteY4" fmla="*/ 1606550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16062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16062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16062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524067" h="1943514">
                <a:moveTo>
                  <a:pt x="71054" y="0"/>
                </a:moveTo>
                <a:lnTo>
                  <a:pt x="4453013" y="0"/>
                </a:lnTo>
                <a:cubicBezTo>
                  <a:pt x="4492255" y="0"/>
                  <a:pt x="4524067" y="31812"/>
                  <a:pt x="4524067" y="71054"/>
                </a:cubicBezTo>
                <a:cubicBezTo>
                  <a:pt x="4523538" y="552723"/>
                  <a:pt x="4522346" y="1479221"/>
                  <a:pt x="4522480" y="1516062"/>
                </a:cubicBezTo>
                <a:cubicBezTo>
                  <a:pt x="4522614" y="1552903"/>
                  <a:pt x="4525654" y="1606535"/>
                  <a:pt x="4458185" y="1608931"/>
                </a:cubicBezTo>
                <a:cubicBezTo>
                  <a:pt x="4390716" y="1611327"/>
                  <a:pt x="1735623" y="1605818"/>
                  <a:pt x="374342" y="1604261"/>
                </a:cubicBezTo>
                <a:lnTo>
                  <a:pt x="374342" y="1604495"/>
                </a:lnTo>
                <a:lnTo>
                  <a:pt x="372031" y="1604262"/>
                </a:lnTo>
                <a:cubicBezTo>
                  <a:pt x="192246" y="1604262"/>
                  <a:pt x="42246" y="1731789"/>
                  <a:pt x="7555" y="1901319"/>
                </a:cubicBezTo>
                <a:lnTo>
                  <a:pt x="3301" y="1943514"/>
                </a:lnTo>
                <a:lnTo>
                  <a:pt x="0" y="1935545"/>
                </a:lnTo>
                <a:lnTo>
                  <a:pt x="0" y="71054"/>
                </a:lnTo>
                <a:cubicBezTo>
                  <a:pt x="0" y="31812"/>
                  <a:pt x="31812" y="0"/>
                  <a:pt x="71054" y="0"/>
                </a:cubicBezTo>
                <a:close/>
              </a:path>
            </a:pathLst>
          </a:custGeom>
          <a:solidFill>
            <a:schemeClr val="bg2">
              <a:alpha val="85000"/>
            </a:schemeClr>
          </a:solidFill>
        </p:spPr>
        <p:txBody>
          <a:bodyPr wrap="square" lIns="360000" tIns="144000" rIns="360000" bIns="180000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31" b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8419" b="0">
                <a:solidFill>
                  <a:schemeClr val="bg1"/>
                </a:solidFill>
              </a:defRPr>
            </a:lvl5pPr>
            <a:lvl9pPr>
              <a:defRPr sz="12628">
                <a:solidFill>
                  <a:schemeClr val="bg1"/>
                </a:solidFill>
              </a:defRPr>
            </a:lvl9pPr>
          </a:lstStyle>
          <a:p>
            <a:pPr lvl="0"/>
            <a:r>
              <a:rPr lang="nl-NL" noProof="0"/>
              <a:t>Klik om tekst in te voegen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B5843EA3-8D9E-4442-9E97-1352961F62DC}"/>
              </a:ext>
            </a:extLst>
          </p:cNvPr>
          <p:cNvSpPr>
            <a:spLocks noGrp="1"/>
          </p:cNvSpPr>
          <p:nvPr userDrawn="1">
            <p:ph type="body" sz="quarter" idx="44" hasCustomPrompt="1"/>
          </p:nvPr>
        </p:nvSpPr>
        <p:spPr>
          <a:xfrm>
            <a:off x="3903630" y="26698989"/>
            <a:ext cx="14562168" cy="905995"/>
          </a:xfrm>
        </p:spPr>
        <p:txBody>
          <a:bodyPr/>
          <a:lstStyle>
            <a:lvl1pPr marL="0" indent="0">
              <a:buFontTx/>
              <a:buNone/>
              <a:defRPr sz="4209" b="0">
                <a:solidFill>
                  <a:schemeClr val="tx2"/>
                </a:solidFill>
              </a:defRPr>
            </a:lvl1pPr>
          </a:lstStyle>
          <a:p>
            <a:r>
              <a:rPr lang="nl-NL"/>
              <a:t>Naam   l   Afdeling   l   Datum</a:t>
            </a:r>
          </a:p>
          <a:p>
            <a:endParaRPr lang="nl-NL"/>
          </a:p>
        </p:txBody>
      </p:sp>
      <p:grpSp>
        <p:nvGrpSpPr>
          <p:cNvPr id="94" name="Instructie">
            <a:extLst>
              <a:ext uri="{FF2B5EF4-FFF2-40B4-BE49-F238E27FC236}">
                <a16:creationId xmlns:a16="http://schemas.microsoft.com/office/drawing/2014/main" id="{14CA3848-BE43-4020-B86D-05EA71058B48}"/>
              </a:ext>
            </a:extLst>
          </p:cNvPr>
          <p:cNvGrpSpPr/>
          <p:nvPr userDrawn="1"/>
        </p:nvGrpSpPr>
        <p:grpSpPr>
          <a:xfrm>
            <a:off x="-11761540" y="10988781"/>
            <a:ext cx="11164508" cy="11743958"/>
            <a:chOff x="-3426088" y="4512342"/>
            <a:chExt cx="3182755" cy="2660264"/>
          </a:xfrm>
        </p:grpSpPr>
        <p:sp>
          <p:nvSpPr>
            <p:cNvPr id="95" name="Rechthoek 127">
              <a:extLst>
                <a:ext uri="{FF2B5EF4-FFF2-40B4-BE49-F238E27FC236}">
                  <a16:creationId xmlns:a16="http://schemas.microsoft.com/office/drawing/2014/main" id="{4279C20D-829E-423F-8499-A6385B2E49AE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96" name="Rechte verbindingslijn 128">
              <a:extLst>
                <a:ext uri="{FF2B5EF4-FFF2-40B4-BE49-F238E27FC236}">
                  <a16:creationId xmlns:a16="http://schemas.microsoft.com/office/drawing/2014/main" id="{51111279-137B-46DE-9ECD-343D45C3E1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7" name="Rechthoek 130">
              <a:extLst>
                <a:ext uri="{FF2B5EF4-FFF2-40B4-BE49-F238E27FC236}">
                  <a16:creationId xmlns:a16="http://schemas.microsoft.com/office/drawing/2014/main" id="{E7FCE7BD-78A5-4814-83D7-478A506813C4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98" name="Rechthoek 133">
              <a:extLst>
                <a:ext uri="{FF2B5EF4-FFF2-40B4-BE49-F238E27FC236}">
                  <a16:creationId xmlns:a16="http://schemas.microsoft.com/office/drawing/2014/main" id="{D0D214C4-790E-4593-8B35-91F20D6F06AF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99" name="Rechthoek 136">
              <a:extLst>
                <a:ext uri="{FF2B5EF4-FFF2-40B4-BE49-F238E27FC236}">
                  <a16:creationId xmlns:a16="http://schemas.microsoft.com/office/drawing/2014/main" id="{9EC0B7F9-1033-4BD1-8CC1-90BF61EA9A92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00" name="Rechthoek 139">
              <a:extLst>
                <a:ext uri="{FF2B5EF4-FFF2-40B4-BE49-F238E27FC236}">
                  <a16:creationId xmlns:a16="http://schemas.microsoft.com/office/drawing/2014/main" id="{3197B3B6-CEF7-45C7-9A0B-38449A205632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40">
              <a:extLst>
                <a:ext uri="{FF2B5EF4-FFF2-40B4-BE49-F238E27FC236}">
                  <a16:creationId xmlns:a16="http://schemas.microsoft.com/office/drawing/2014/main" id="{C911901A-E702-4600-805D-C002276448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93" name="Tijdelijke aanduiding voor tekst 3">
            <a:extLst>
              <a:ext uri="{FF2B5EF4-FFF2-40B4-BE49-F238E27FC236}">
                <a16:creationId xmlns:a16="http://schemas.microsoft.com/office/drawing/2014/main" id="{ABD8BE62-C6E3-4AF1-BB04-29678FB69637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34060473" y="24070399"/>
            <a:ext cx="6635238" cy="3534585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51"/>
            </a:lvl1pPr>
          </a:lstStyle>
          <a:p>
            <a:pPr lvl="0"/>
            <a:endParaRPr lang="nl-NL"/>
          </a:p>
        </p:txBody>
      </p:sp>
      <p:grpSp>
        <p:nvGrpSpPr>
          <p:cNvPr id="2" name="Groep 1">
            <a:extLst>
              <a:ext uri="{FF2B5EF4-FFF2-40B4-BE49-F238E27FC236}">
                <a16:creationId xmlns:a16="http://schemas.microsoft.com/office/drawing/2014/main" id="{E43AE0DE-633C-4F50-96D8-70DDBA2C0AFC}"/>
              </a:ext>
            </a:extLst>
          </p:cNvPr>
          <p:cNvGrpSpPr/>
          <p:nvPr userDrawn="1"/>
        </p:nvGrpSpPr>
        <p:grpSpPr>
          <a:xfrm>
            <a:off x="43467416" y="5"/>
            <a:ext cx="11167745" cy="23084356"/>
            <a:chOff x="12391601" y="0"/>
            <a:chExt cx="3183678" cy="5229113"/>
          </a:xfrm>
        </p:grpSpPr>
        <p:grpSp>
          <p:nvGrpSpPr>
            <p:cNvPr id="103" name="Meer informatie">
              <a:extLst>
                <a:ext uri="{FF2B5EF4-FFF2-40B4-BE49-F238E27FC236}">
                  <a16:creationId xmlns:a16="http://schemas.microsoft.com/office/drawing/2014/main" id="{BDBD27CD-0043-4BB6-BD33-EEF2499AFD9E}"/>
                </a:ext>
              </a:extLst>
            </p:cNvPr>
            <p:cNvGrpSpPr/>
            <p:nvPr userDrawn="1"/>
          </p:nvGrpSpPr>
          <p:grpSpPr>
            <a:xfrm>
              <a:off x="12396764" y="4445840"/>
              <a:ext cx="3178515" cy="783273"/>
              <a:chOff x="-3741486" y="3386444"/>
              <a:chExt cx="3178515" cy="783273"/>
            </a:xfrm>
          </p:grpSpPr>
          <p:sp>
            <p:nvSpPr>
              <p:cNvPr id="154" name="Freeform 101">
                <a:extLst>
                  <a:ext uri="{FF2B5EF4-FFF2-40B4-BE49-F238E27FC236}">
                    <a16:creationId xmlns:a16="http://schemas.microsoft.com/office/drawing/2014/main" id="{2503363B-F8CF-41C0-832F-8E04CAC8AFA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155" name="Rechthoek 306">
                <a:extLst>
                  <a:ext uri="{FF2B5EF4-FFF2-40B4-BE49-F238E27FC236}">
                    <a16:creationId xmlns:a16="http://schemas.microsoft.com/office/drawing/2014/main" id="{A3172913-5730-4C6C-8A10-7C54CE850A97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56" name="Rechte verbindingslijn 307">
                <a:extLst>
                  <a:ext uri="{FF2B5EF4-FFF2-40B4-BE49-F238E27FC236}">
                    <a16:creationId xmlns:a16="http://schemas.microsoft.com/office/drawing/2014/main" id="{39AD1594-DD0A-461B-B5EE-E5CF6BBBB67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04" name="Rechthoek 260">
              <a:extLst>
                <a:ext uri="{FF2B5EF4-FFF2-40B4-BE49-F238E27FC236}">
                  <a16:creationId xmlns:a16="http://schemas.microsoft.com/office/drawing/2014/main" id="{FB7641D9-6761-4D37-AB13-4BDA36CF75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105" name="Ovaal 261">
              <a:extLst>
                <a:ext uri="{FF2B5EF4-FFF2-40B4-BE49-F238E27FC236}">
                  <a16:creationId xmlns:a16="http://schemas.microsoft.com/office/drawing/2014/main" id="{EB109169-0138-405F-9D67-D7D705E47D9E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6" name="Rechte verbindingslijn 262">
              <a:extLst>
                <a:ext uri="{FF2B5EF4-FFF2-40B4-BE49-F238E27FC236}">
                  <a16:creationId xmlns:a16="http://schemas.microsoft.com/office/drawing/2014/main" id="{4FD0CF49-6B70-4B2D-B14A-DAFD1E4CF0F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7" name="Rechte verbindingslijn 263">
              <a:extLst>
                <a:ext uri="{FF2B5EF4-FFF2-40B4-BE49-F238E27FC236}">
                  <a16:creationId xmlns:a16="http://schemas.microsoft.com/office/drawing/2014/main" id="{E6E61A7D-10C6-407D-81F7-7134DF0A5C9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8" name="Rechthoek 264">
              <a:extLst>
                <a:ext uri="{FF2B5EF4-FFF2-40B4-BE49-F238E27FC236}">
                  <a16:creationId xmlns:a16="http://schemas.microsoft.com/office/drawing/2014/main" id="{1DC5448A-24AF-427D-ABC4-CE91659175B7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oor deze te selecteren en op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om een nieuwe afbeelding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9" name="Rechte verbindingslijn 265">
              <a:extLst>
                <a:ext uri="{FF2B5EF4-FFF2-40B4-BE49-F238E27FC236}">
                  <a16:creationId xmlns:a16="http://schemas.microsoft.com/office/drawing/2014/main" id="{9A185AB6-9B06-4E26-A371-81C56AC4FA1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4327957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0" name="Ovaal 266">
              <a:extLst>
                <a:ext uri="{FF2B5EF4-FFF2-40B4-BE49-F238E27FC236}">
                  <a16:creationId xmlns:a16="http://schemas.microsoft.com/office/drawing/2014/main" id="{08A2A3AD-7E09-4C6B-9A53-BB3B874D535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1" name="Rechthoek 267">
              <a:extLst>
                <a:ext uri="{FF2B5EF4-FFF2-40B4-BE49-F238E27FC236}">
                  <a16:creationId xmlns:a16="http://schemas.microsoft.com/office/drawing/2014/main" id="{CF1A3137-5EBC-4410-9717-E4D8B9F6ADA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12" name="Groep 268">
              <a:extLst>
                <a:ext uri="{FF2B5EF4-FFF2-40B4-BE49-F238E27FC236}">
                  <a16:creationId xmlns:a16="http://schemas.microsoft.com/office/drawing/2014/main" id="{45E121F8-1934-4F7C-9D71-5A8A38BB663C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51" name="Rechthoek 302">
                <a:extLst>
                  <a:ext uri="{FF2B5EF4-FFF2-40B4-BE49-F238E27FC236}">
                    <a16:creationId xmlns:a16="http://schemas.microsoft.com/office/drawing/2014/main" id="{9AD37789-AEF6-4EFE-8EFE-63E6276F5591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152" name="Rechte verbindingslijn 303">
                <a:extLst>
                  <a:ext uri="{FF2B5EF4-FFF2-40B4-BE49-F238E27FC236}">
                    <a16:creationId xmlns:a16="http://schemas.microsoft.com/office/drawing/2014/main" id="{FACC0A2C-B19A-4434-8469-B6988FD70AD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53" name="Gelijkbenige driehoek 304">
                <a:extLst>
                  <a:ext uri="{FF2B5EF4-FFF2-40B4-BE49-F238E27FC236}">
                    <a16:creationId xmlns:a16="http://schemas.microsoft.com/office/drawing/2014/main" id="{799FE67C-DB5A-442A-A296-C4C50E93C3F1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13" name="Groep 269">
              <a:extLst>
                <a:ext uri="{FF2B5EF4-FFF2-40B4-BE49-F238E27FC236}">
                  <a16:creationId xmlns:a16="http://schemas.microsoft.com/office/drawing/2014/main" id="{88CED179-DEBF-469B-BF1B-2818FCB990C4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145" name="Rechthoek 296">
                <a:extLst>
                  <a:ext uri="{FF2B5EF4-FFF2-40B4-BE49-F238E27FC236}">
                    <a16:creationId xmlns:a16="http://schemas.microsoft.com/office/drawing/2014/main" id="{670346D2-50EC-482A-AE54-D6681782ADED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6" name="Ovaal 297">
                <a:extLst>
                  <a:ext uri="{FF2B5EF4-FFF2-40B4-BE49-F238E27FC236}">
                    <a16:creationId xmlns:a16="http://schemas.microsoft.com/office/drawing/2014/main" id="{7D086B27-2CBE-4DC4-A301-2AEAB95B7FFF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7" name="Vrije vorm: vorm 298">
                <a:extLst>
                  <a:ext uri="{FF2B5EF4-FFF2-40B4-BE49-F238E27FC236}">
                    <a16:creationId xmlns:a16="http://schemas.microsoft.com/office/drawing/2014/main" id="{26DC9FAD-7C4F-4026-B038-53045BB9A126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8" name="Rechthoek: afgeronde hoeken 299">
                <a:extLst>
                  <a:ext uri="{FF2B5EF4-FFF2-40B4-BE49-F238E27FC236}">
                    <a16:creationId xmlns:a16="http://schemas.microsoft.com/office/drawing/2014/main" id="{66DFA944-5E60-4BA8-8808-C5E07141960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49" name="Rechte verbindingslijn 300">
                <a:extLst>
                  <a:ext uri="{FF2B5EF4-FFF2-40B4-BE49-F238E27FC236}">
                    <a16:creationId xmlns:a16="http://schemas.microsoft.com/office/drawing/2014/main" id="{7A81856E-BA51-4B64-893F-0E97958E7BD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50" name="Rechte verbindingslijn 301">
                <a:extLst>
                  <a:ext uri="{FF2B5EF4-FFF2-40B4-BE49-F238E27FC236}">
                    <a16:creationId xmlns:a16="http://schemas.microsoft.com/office/drawing/2014/main" id="{583BDEA5-CB62-44E5-9EBB-A4F8203B58A0}"/>
                  </a:ext>
                </a:extLst>
              </p:cNvPr>
              <p:cNvCxnSpPr>
                <a:cxnSpLocks/>
                <a:stCxn id="148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14" name="Ovaal 270">
              <a:extLst>
                <a:ext uri="{FF2B5EF4-FFF2-40B4-BE49-F238E27FC236}">
                  <a16:creationId xmlns:a16="http://schemas.microsoft.com/office/drawing/2014/main" id="{EB9A639A-ADD6-4BAA-983F-CCB3E1A2848B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5" name="Rechthoek 271">
              <a:extLst>
                <a:ext uri="{FF2B5EF4-FFF2-40B4-BE49-F238E27FC236}">
                  <a16:creationId xmlns:a16="http://schemas.microsoft.com/office/drawing/2014/main" id="{A1BD53A9-44DA-478F-AA4A-2C8E361588F2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43320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aan de linker kant van het scherm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16" name="Rechte verbindingslijn 272">
              <a:extLst>
                <a:ext uri="{FF2B5EF4-FFF2-40B4-BE49-F238E27FC236}">
                  <a16:creationId xmlns:a16="http://schemas.microsoft.com/office/drawing/2014/main" id="{62E23F7B-B42B-4711-8E0E-59042E0E9D1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7" name="Rechthoek 273">
              <a:extLst>
                <a:ext uri="{FF2B5EF4-FFF2-40B4-BE49-F238E27FC236}">
                  <a16:creationId xmlns:a16="http://schemas.microsoft.com/office/drawing/2014/main" id="{E145748E-10A3-4B74-B9BC-F6BFD75A738B}"/>
                </a:ext>
              </a:extLst>
            </p:cNvPr>
            <p:cNvSpPr/>
            <p:nvPr userDrawn="1"/>
          </p:nvSpPr>
          <p:spPr>
            <a:xfrm>
              <a:off x="12654153" y="3238910"/>
              <a:ext cx="1624926" cy="805220"/>
            </a:xfrm>
            <a:prstGeom prst="rect">
              <a:avLst/>
            </a:prstGeom>
            <a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3509" b="0" i="1" noProof="0">
                <a:solidFill>
                  <a:schemeClr val="tx1"/>
                </a:solidFill>
              </a:endParaRPr>
            </a:p>
          </p:txBody>
        </p:sp>
        <p:grpSp>
          <p:nvGrpSpPr>
            <p:cNvPr id="118" name="Groep 274">
              <a:extLst>
                <a:ext uri="{FF2B5EF4-FFF2-40B4-BE49-F238E27FC236}">
                  <a16:creationId xmlns:a16="http://schemas.microsoft.com/office/drawing/2014/main" id="{56E43DF0-01D0-464B-9C93-3B14E04B6D30}"/>
                </a:ext>
              </a:extLst>
            </p:cNvPr>
            <p:cNvGrpSpPr/>
            <p:nvPr userDrawn="1"/>
          </p:nvGrpSpPr>
          <p:grpSpPr>
            <a:xfrm>
              <a:off x="13614067" y="3535184"/>
              <a:ext cx="1195438" cy="678267"/>
              <a:chOff x="12757284" y="3224292"/>
              <a:chExt cx="1195438" cy="678267"/>
            </a:xfrm>
          </p:grpSpPr>
          <p:sp>
            <p:nvSpPr>
              <p:cNvPr id="124" name="Rechthoek 275">
                <a:extLst>
                  <a:ext uri="{FF2B5EF4-FFF2-40B4-BE49-F238E27FC236}">
                    <a16:creationId xmlns:a16="http://schemas.microsoft.com/office/drawing/2014/main" id="{6F2E7C5E-8E67-457C-ABAF-6F338BD04625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5" name="Rechthoek 276">
                <a:extLst>
                  <a:ext uri="{FF2B5EF4-FFF2-40B4-BE49-F238E27FC236}">
                    <a16:creationId xmlns:a16="http://schemas.microsoft.com/office/drawing/2014/main" id="{FD3B2D5A-8960-4DFC-BF44-9C9128604F79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6" name="Groep 277">
                <a:extLst>
                  <a:ext uri="{FF2B5EF4-FFF2-40B4-BE49-F238E27FC236}">
                    <a16:creationId xmlns:a16="http://schemas.microsoft.com/office/drawing/2014/main" id="{E6985C94-85C3-417D-8FB8-4A1E787A9A29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39" name="Rechthoek: afgeronde hoeken 290">
                  <a:extLst>
                    <a:ext uri="{FF2B5EF4-FFF2-40B4-BE49-F238E27FC236}">
                      <a16:creationId xmlns:a16="http://schemas.microsoft.com/office/drawing/2014/main" id="{451E584A-EF18-41B4-96C5-9B126BA61560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endPara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0" name="Rechthoek 291">
                  <a:extLst>
                    <a:ext uri="{FF2B5EF4-FFF2-40B4-BE49-F238E27FC236}">
                      <a16:creationId xmlns:a16="http://schemas.microsoft.com/office/drawing/2014/main" id="{CED5484F-2DBC-4E86-A034-DB27E4B726FE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1" name="Rechthoek 292">
                  <a:extLst>
                    <a:ext uri="{FF2B5EF4-FFF2-40B4-BE49-F238E27FC236}">
                      <a16:creationId xmlns:a16="http://schemas.microsoft.com/office/drawing/2014/main" id="{96C10C4D-5DAA-4297-AB0A-73D9D7307029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2" name="Rechthoek 293">
                  <a:extLst>
                    <a:ext uri="{FF2B5EF4-FFF2-40B4-BE49-F238E27FC236}">
                      <a16:creationId xmlns:a16="http://schemas.microsoft.com/office/drawing/2014/main" id="{894E025F-705C-4AF9-9A92-DF8DBC5BB694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3" name="Rechthoek 294">
                  <a:extLst>
                    <a:ext uri="{FF2B5EF4-FFF2-40B4-BE49-F238E27FC236}">
                      <a16:creationId xmlns:a16="http://schemas.microsoft.com/office/drawing/2014/main" id="{F63EBC1E-6700-40B1-BCC5-8ED3C247361C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4" name="Rechthoek 295">
                  <a:extLst>
                    <a:ext uri="{FF2B5EF4-FFF2-40B4-BE49-F238E27FC236}">
                      <a16:creationId xmlns:a16="http://schemas.microsoft.com/office/drawing/2014/main" id="{9BF1CED8-F647-4A48-BE87-A95EA5882C3B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27" name="Groep 278">
                <a:extLst>
                  <a:ext uri="{FF2B5EF4-FFF2-40B4-BE49-F238E27FC236}">
                    <a16:creationId xmlns:a16="http://schemas.microsoft.com/office/drawing/2014/main" id="{565AE2C8-0D0E-4460-8C9D-16856F09DFBD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31" name="Groep 282">
                  <a:extLst>
                    <a:ext uri="{FF2B5EF4-FFF2-40B4-BE49-F238E27FC236}">
                      <a16:creationId xmlns:a16="http://schemas.microsoft.com/office/drawing/2014/main" id="{A3ED2192-EAC7-4800-AF27-82725F37A48C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33" name="Rechthoek: afgeronde hoeken 284">
                    <a:extLst>
                      <a:ext uri="{FF2B5EF4-FFF2-40B4-BE49-F238E27FC236}">
                        <a16:creationId xmlns:a16="http://schemas.microsoft.com/office/drawing/2014/main" id="{161103DF-AA91-40C2-B827-AB96A390E561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2105"/>
                      </a:spcBef>
                      <a:spcAft>
                        <a:spcPts val="2105"/>
                      </a:spcAft>
                    </a:pPr>
                    <a:endParaRPr lang="nl-NL" sz="280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34" name="Rechthoek 285">
                    <a:extLst>
                      <a:ext uri="{FF2B5EF4-FFF2-40B4-BE49-F238E27FC236}">
                        <a16:creationId xmlns:a16="http://schemas.microsoft.com/office/drawing/2014/main" id="{CCD507C7-2C64-4D4C-A492-3614F9A16B5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5" name="Rechthoek 286">
                    <a:extLst>
                      <a:ext uri="{FF2B5EF4-FFF2-40B4-BE49-F238E27FC236}">
                        <a16:creationId xmlns:a16="http://schemas.microsoft.com/office/drawing/2014/main" id="{80EB8E6D-E61D-4956-BA80-6CFC87F9A5E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6" name="Rechthoek 287">
                    <a:extLst>
                      <a:ext uri="{FF2B5EF4-FFF2-40B4-BE49-F238E27FC236}">
                        <a16:creationId xmlns:a16="http://schemas.microsoft.com/office/drawing/2014/main" id="{A3028B7B-3FA7-4267-BA5B-AE500A9CB10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7" name="Rechthoek 288">
                    <a:extLst>
                      <a:ext uri="{FF2B5EF4-FFF2-40B4-BE49-F238E27FC236}">
                        <a16:creationId xmlns:a16="http://schemas.microsoft.com/office/drawing/2014/main" id="{282EC25C-927D-446B-94DD-04AB5D8D0C3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8" name="Rechthoek 289">
                    <a:extLst>
                      <a:ext uri="{FF2B5EF4-FFF2-40B4-BE49-F238E27FC236}">
                        <a16:creationId xmlns:a16="http://schemas.microsoft.com/office/drawing/2014/main" id="{1595B18F-E2A6-4D5D-8B98-5D440FBB500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132" name="Boog 283">
                  <a:extLst>
                    <a:ext uri="{FF2B5EF4-FFF2-40B4-BE49-F238E27FC236}">
                      <a16:creationId xmlns:a16="http://schemas.microsoft.com/office/drawing/2014/main" id="{CECB4D93-22DF-4D05-ACC5-5A888B420F51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</p:grpSp>
          <p:sp>
            <p:nvSpPr>
              <p:cNvPr id="128" name="Tekstvak 279">
                <a:extLst>
                  <a:ext uri="{FF2B5EF4-FFF2-40B4-BE49-F238E27FC236}">
                    <a16:creationId xmlns:a16="http://schemas.microsoft.com/office/drawing/2014/main" id="{C32DAE91-90D9-4111-A91A-8B96DB1E03B5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29" name="Tekstvak 280">
                <a:extLst>
                  <a:ext uri="{FF2B5EF4-FFF2-40B4-BE49-F238E27FC236}">
                    <a16:creationId xmlns:a16="http://schemas.microsoft.com/office/drawing/2014/main" id="{7ABA1DC7-053B-47F2-8313-49D022A2A49B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30" name="Picture 3">
                <a:extLst>
                  <a:ext uri="{FF2B5EF4-FFF2-40B4-BE49-F238E27FC236}">
                    <a16:creationId xmlns:a16="http://schemas.microsoft.com/office/drawing/2014/main" id="{13BA7E26-066D-4C49-82D5-7F5E392325D3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810206" y="3671228"/>
                <a:ext cx="14251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1258563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4250" fill="hold"/>
                                        <p:tgtEl>
                                          <p:spTgt spid="7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7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/Inhou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7FC8C1DB-5A16-4DC5-BE9E-D1DB67A9F5BF}"/>
              </a:ext>
            </a:extLst>
          </p:cNvPr>
          <p:cNvSpPr/>
          <p:nvPr userDrawn="1"/>
        </p:nvSpPr>
        <p:spPr>
          <a:xfrm>
            <a:off x="-5567" y="22482154"/>
            <a:ext cx="42767250" cy="78246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78844" tIns="378844" rIns="378844" bIns="378844" rtlCol="0" anchor="ctr"/>
          <a:lstStyle/>
          <a:p>
            <a:pPr algn="ctr"/>
            <a:endParaRPr lang="nl-NL" sz="4911" noProof="0"/>
          </a:p>
        </p:txBody>
      </p:sp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-5567" y="-31537"/>
            <a:ext cx="42767257" cy="30306755"/>
          </a:xfrm>
          <a:solidFill>
            <a:schemeClr val="bg1">
              <a:lumMod val="95000"/>
            </a:schemeClr>
          </a:solidFill>
        </p:spPr>
        <p:txBody>
          <a:bodyPr tIns="100800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209" b="0" i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B0FACCAB-FC4B-4AA0-B92F-53F1DD2A892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685526" y="1766054"/>
            <a:ext cx="11962419" cy="22233608"/>
          </a:xfrm>
          <a:custGeom>
            <a:avLst/>
            <a:gdLst>
              <a:gd name="connsiteX0" fmla="*/ 0 w 3384000"/>
              <a:gd name="connsiteY0" fmla="*/ 122061 h 5036400"/>
              <a:gd name="connsiteX1" fmla="*/ 122061 w 3384000"/>
              <a:gd name="connsiteY1" fmla="*/ 0 h 5036400"/>
              <a:gd name="connsiteX2" fmla="*/ 3261939 w 3384000"/>
              <a:gd name="connsiteY2" fmla="*/ 0 h 5036400"/>
              <a:gd name="connsiteX3" fmla="*/ 3384000 w 3384000"/>
              <a:gd name="connsiteY3" fmla="*/ 122061 h 5036400"/>
              <a:gd name="connsiteX4" fmla="*/ 3384000 w 3384000"/>
              <a:gd name="connsiteY4" fmla="*/ 4914339 h 5036400"/>
              <a:gd name="connsiteX5" fmla="*/ 3261939 w 3384000"/>
              <a:gd name="connsiteY5" fmla="*/ 5036400 h 5036400"/>
              <a:gd name="connsiteX6" fmla="*/ 122061 w 3384000"/>
              <a:gd name="connsiteY6" fmla="*/ 5036400 h 5036400"/>
              <a:gd name="connsiteX7" fmla="*/ 0 w 3384000"/>
              <a:gd name="connsiteY7" fmla="*/ 4914339 h 5036400"/>
              <a:gd name="connsiteX8" fmla="*/ 0 w 3384000"/>
              <a:gd name="connsiteY8" fmla="*/ 122061 h 5036400"/>
              <a:gd name="connsiteX0" fmla="*/ 139014 w 3523014"/>
              <a:gd name="connsiteY0" fmla="*/ 381655 h 5295994"/>
              <a:gd name="connsiteX1" fmla="*/ 167589 w 3523014"/>
              <a:gd name="connsiteY1" fmla="*/ 291344 h 5295994"/>
              <a:gd name="connsiteX2" fmla="*/ 261075 w 3523014"/>
              <a:gd name="connsiteY2" fmla="*/ 259594 h 5295994"/>
              <a:gd name="connsiteX3" fmla="*/ 3400953 w 3523014"/>
              <a:gd name="connsiteY3" fmla="*/ 259594 h 5295994"/>
              <a:gd name="connsiteX4" fmla="*/ 3523014 w 3523014"/>
              <a:gd name="connsiteY4" fmla="*/ 381655 h 5295994"/>
              <a:gd name="connsiteX5" fmla="*/ 3523014 w 3523014"/>
              <a:gd name="connsiteY5" fmla="*/ 5173933 h 5295994"/>
              <a:gd name="connsiteX6" fmla="*/ 3400953 w 3523014"/>
              <a:gd name="connsiteY6" fmla="*/ 5295994 h 5295994"/>
              <a:gd name="connsiteX7" fmla="*/ 261075 w 3523014"/>
              <a:gd name="connsiteY7" fmla="*/ 5295994 h 5295994"/>
              <a:gd name="connsiteX8" fmla="*/ 139014 w 3523014"/>
              <a:gd name="connsiteY8" fmla="*/ 5173933 h 5295994"/>
              <a:gd name="connsiteX9" fmla="*/ 139014 w 3523014"/>
              <a:gd name="connsiteY9" fmla="*/ 381655 h 5295994"/>
              <a:gd name="connsiteX0" fmla="*/ 139014 w 3523014"/>
              <a:gd name="connsiteY0" fmla="*/ 381655 h 5295994"/>
              <a:gd name="connsiteX1" fmla="*/ 167589 w 3523014"/>
              <a:gd name="connsiteY1" fmla="*/ 291344 h 5295994"/>
              <a:gd name="connsiteX2" fmla="*/ 261075 w 3523014"/>
              <a:gd name="connsiteY2" fmla="*/ 259594 h 5295994"/>
              <a:gd name="connsiteX3" fmla="*/ 3400953 w 3523014"/>
              <a:gd name="connsiteY3" fmla="*/ 259594 h 5295994"/>
              <a:gd name="connsiteX4" fmla="*/ 3523014 w 3523014"/>
              <a:gd name="connsiteY4" fmla="*/ 381655 h 5295994"/>
              <a:gd name="connsiteX5" fmla="*/ 3523014 w 3523014"/>
              <a:gd name="connsiteY5" fmla="*/ 5173933 h 5295994"/>
              <a:gd name="connsiteX6" fmla="*/ 3400953 w 3523014"/>
              <a:gd name="connsiteY6" fmla="*/ 5295994 h 5295994"/>
              <a:gd name="connsiteX7" fmla="*/ 261075 w 3523014"/>
              <a:gd name="connsiteY7" fmla="*/ 5295994 h 5295994"/>
              <a:gd name="connsiteX8" fmla="*/ 139014 w 3523014"/>
              <a:gd name="connsiteY8" fmla="*/ 5173933 h 5295994"/>
              <a:gd name="connsiteX9" fmla="*/ 139014 w 3523014"/>
              <a:gd name="connsiteY9" fmla="*/ 381655 h 5295994"/>
              <a:gd name="connsiteX0" fmla="*/ 148137 w 3532137"/>
              <a:gd name="connsiteY0" fmla="*/ 390093 h 5304432"/>
              <a:gd name="connsiteX1" fmla="*/ 148137 w 3532137"/>
              <a:gd name="connsiteY1" fmla="*/ 271207 h 5304432"/>
              <a:gd name="connsiteX2" fmla="*/ 270198 w 3532137"/>
              <a:gd name="connsiteY2" fmla="*/ 268032 h 5304432"/>
              <a:gd name="connsiteX3" fmla="*/ 3410076 w 3532137"/>
              <a:gd name="connsiteY3" fmla="*/ 268032 h 5304432"/>
              <a:gd name="connsiteX4" fmla="*/ 3532137 w 3532137"/>
              <a:gd name="connsiteY4" fmla="*/ 390093 h 5304432"/>
              <a:gd name="connsiteX5" fmla="*/ 3532137 w 3532137"/>
              <a:gd name="connsiteY5" fmla="*/ 5182371 h 5304432"/>
              <a:gd name="connsiteX6" fmla="*/ 3410076 w 3532137"/>
              <a:gd name="connsiteY6" fmla="*/ 5304432 h 5304432"/>
              <a:gd name="connsiteX7" fmla="*/ 270198 w 3532137"/>
              <a:gd name="connsiteY7" fmla="*/ 5304432 h 5304432"/>
              <a:gd name="connsiteX8" fmla="*/ 148137 w 3532137"/>
              <a:gd name="connsiteY8" fmla="*/ 5182371 h 5304432"/>
              <a:gd name="connsiteX9" fmla="*/ 148137 w 3532137"/>
              <a:gd name="connsiteY9" fmla="*/ 390093 h 5304432"/>
              <a:gd name="connsiteX0" fmla="*/ 8072 w 3392072"/>
              <a:gd name="connsiteY0" fmla="*/ 390093 h 5304432"/>
              <a:gd name="connsiteX1" fmla="*/ 8072 w 3392072"/>
              <a:gd name="connsiteY1" fmla="*/ 271207 h 5304432"/>
              <a:gd name="connsiteX2" fmla="*/ 130133 w 3392072"/>
              <a:gd name="connsiteY2" fmla="*/ 268032 h 5304432"/>
              <a:gd name="connsiteX3" fmla="*/ 3270011 w 3392072"/>
              <a:gd name="connsiteY3" fmla="*/ 268032 h 5304432"/>
              <a:gd name="connsiteX4" fmla="*/ 3392072 w 3392072"/>
              <a:gd name="connsiteY4" fmla="*/ 390093 h 5304432"/>
              <a:gd name="connsiteX5" fmla="*/ 3392072 w 3392072"/>
              <a:gd name="connsiteY5" fmla="*/ 5182371 h 5304432"/>
              <a:gd name="connsiteX6" fmla="*/ 3270011 w 3392072"/>
              <a:gd name="connsiteY6" fmla="*/ 5304432 h 5304432"/>
              <a:gd name="connsiteX7" fmla="*/ 130133 w 3392072"/>
              <a:gd name="connsiteY7" fmla="*/ 5304432 h 5304432"/>
              <a:gd name="connsiteX8" fmla="*/ 8072 w 3392072"/>
              <a:gd name="connsiteY8" fmla="*/ 5182371 h 5304432"/>
              <a:gd name="connsiteX9" fmla="*/ 8072 w 3392072"/>
              <a:gd name="connsiteY9" fmla="*/ 390093 h 5304432"/>
              <a:gd name="connsiteX0" fmla="*/ 8072 w 3392072"/>
              <a:gd name="connsiteY0" fmla="*/ 129113 h 5043452"/>
              <a:gd name="connsiteX1" fmla="*/ 8072 w 3392072"/>
              <a:gd name="connsiteY1" fmla="*/ 10227 h 5043452"/>
              <a:gd name="connsiteX2" fmla="*/ 130133 w 3392072"/>
              <a:gd name="connsiteY2" fmla="*/ 7052 h 5043452"/>
              <a:gd name="connsiteX3" fmla="*/ 3270011 w 3392072"/>
              <a:gd name="connsiteY3" fmla="*/ 7052 h 5043452"/>
              <a:gd name="connsiteX4" fmla="*/ 3392072 w 3392072"/>
              <a:gd name="connsiteY4" fmla="*/ 129113 h 5043452"/>
              <a:gd name="connsiteX5" fmla="*/ 3392072 w 3392072"/>
              <a:gd name="connsiteY5" fmla="*/ 4921391 h 5043452"/>
              <a:gd name="connsiteX6" fmla="*/ 3270011 w 3392072"/>
              <a:gd name="connsiteY6" fmla="*/ 5043452 h 5043452"/>
              <a:gd name="connsiteX7" fmla="*/ 130133 w 3392072"/>
              <a:gd name="connsiteY7" fmla="*/ 5043452 h 5043452"/>
              <a:gd name="connsiteX8" fmla="*/ 8072 w 3392072"/>
              <a:gd name="connsiteY8" fmla="*/ 4921391 h 5043452"/>
              <a:gd name="connsiteX9" fmla="*/ 8072 w 3392072"/>
              <a:gd name="connsiteY9" fmla="*/ 129113 h 5043452"/>
              <a:gd name="connsiteX0" fmla="*/ 7649 w 3391649"/>
              <a:gd name="connsiteY0" fmla="*/ 129113 h 5043452"/>
              <a:gd name="connsiteX1" fmla="*/ 7649 w 3391649"/>
              <a:gd name="connsiteY1" fmla="*/ 10227 h 5043452"/>
              <a:gd name="connsiteX2" fmla="*/ 129710 w 3391649"/>
              <a:gd name="connsiteY2" fmla="*/ 7052 h 5043452"/>
              <a:gd name="connsiteX3" fmla="*/ 3269588 w 3391649"/>
              <a:gd name="connsiteY3" fmla="*/ 7052 h 5043452"/>
              <a:gd name="connsiteX4" fmla="*/ 3391649 w 3391649"/>
              <a:gd name="connsiteY4" fmla="*/ 129113 h 5043452"/>
              <a:gd name="connsiteX5" fmla="*/ 3391649 w 3391649"/>
              <a:gd name="connsiteY5" fmla="*/ 4921391 h 5043452"/>
              <a:gd name="connsiteX6" fmla="*/ 3269588 w 3391649"/>
              <a:gd name="connsiteY6" fmla="*/ 5043452 h 5043452"/>
              <a:gd name="connsiteX7" fmla="*/ 129710 w 3391649"/>
              <a:gd name="connsiteY7" fmla="*/ 5043452 h 5043452"/>
              <a:gd name="connsiteX8" fmla="*/ 7649 w 3391649"/>
              <a:gd name="connsiteY8" fmla="*/ 4921391 h 5043452"/>
              <a:gd name="connsiteX9" fmla="*/ 7649 w 3391649"/>
              <a:gd name="connsiteY9" fmla="*/ 129113 h 5043452"/>
              <a:gd name="connsiteX0" fmla="*/ 7649 w 3391649"/>
              <a:gd name="connsiteY0" fmla="*/ 122287 h 5036626"/>
              <a:gd name="connsiteX1" fmla="*/ 7649 w 3391649"/>
              <a:gd name="connsiteY1" fmla="*/ 3401 h 5036626"/>
              <a:gd name="connsiteX2" fmla="*/ 129710 w 3391649"/>
              <a:gd name="connsiteY2" fmla="*/ 226 h 5036626"/>
              <a:gd name="connsiteX3" fmla="*/ 3269588 w 3391649"/>
              <a:gd name="connsiteY3" fmla="*/ 226 h 5036626"/>
              <a:gd name="connsiteX4" fmla="*/ 3391649 w 3391649"/>
              <a:gd name="connsiteY4" fmla="*/ 122287 h 5036626"/>
              <a:gd name="connsiteX5" fmla="*/ 3391649 w 3391649"/>
              <a:gd name="connsiteY5" fmla="*/ 4914565 h 5036626"/>
              <a:gd name="connsiteX6" fmla="*/ 3269588 w 3391649"/>
              <a:gd name="connsiteY6" fmla="*/ 5036626 h 5036626"/>
              <a:gd name="connsiteX7" fmla="*/ 129710 w 3391649"/>
              <a:gd name="connsiteY7" fmla="*/ 5036626 h 5036626"/>
              <a:gd name="connsiteX8" fmla="*/ 7649 w 3391649"/>
              <a:gd name="connsiteY8" fmla="*/ 4914565 h 5036626"/>
              <a:gd name="connsiteX9" fmla="*/ 7649 w 3391649"/>
              <a:gd name="connsiteY9" fmla="*/ 122287 h 5036626"/>
              <a:gd name="connsiteX0" fmla="*/ 7649 w 3391649"/>
              <a:gd name="connsiteY0" fmla="*/ 127836 h 5042175"/>
              <a:gd name="connsiteX1" fmla="*/ 7649 w 3391649"/>
              <a:gd name="connsiteY1" fmla="*/ 8950 h 5042175"/>
              <a:gd name="connsiteX2" fmla="*/ 129710 w 3391649"/>
              <a:gd name="connsiteY2" fmla="*/ 5775 h 5042175"/>
              <a:gd name="connsiteX3" fmla="*/ 3269588 w 3391649"/>
              <a:gd name="connsiteY3" fmla="*/ 5775 h 5042175"/>
              <a:gd name="connsiteX4" fmla="*/ 3391649 w 3391649"/>
              <a:gd name="connsiteY4" fmla="*/ 127836 h 5042175"/>
              <a:gd name="connsiteX5" fmla="*/ 3391649 w 3391649"/>
              <a:gd name="connsiteY5" fmla="*/ 4920114 h 5042175"/>
              <a:gd name="connsiteX6" fmla="*/ 3269588 w 3391649"/>
              <a:gd name="connsiteY6" fmla="*/ 5042175 h 5042175"/>
              <a:gd name="connsiteX7" fmla="*/ 129710 w 3391649"/>
              <a:gd name="connsiteY7" fmla="*/ 5042175 h 5042175"/>
              <a:gd name="connsiteX8" fmla="*/ 7649 w 3391649"/>
              <a:gd name="connsiteY8" fmla="*/ 4920114 h 5042175"/>
              <a:gd name="connsiteX9" fmla="*/ 7649 w 3391649"/>
              <a:gd name="connsiteY9" fmla="*/ 127836 h 5042175"/>
              <a:gd name="connsiteX0" fmla="*/ 7649 w 3391649"/>
              <a:gd name="connsiteY0" fmla="*/ 127836 h 5042175"/>
              <a:gd name="connsiteX1" fmla="*/ 7649 w 3391649"/>
              <a:gd name="connsiteY1" fmla="*/ 8950 h 5042175"/>
              <a:gd name="connsiteX2" fmla="*/ 129710 w 3391649"/>
              <a:gd name="connsiteY2" fmla="*/ 5775 h 5042175"/>
              <a:gd name="connsiteX3" fmla="*/ 3269588 w 3391649"/>
              <a:gd name="connsiteY3" fmla="*/ 5775 h 5042175"/>
              <a:gd name="connsiteX4" fmla="*/ 3391649 w 3391649"/>
              <a:gd name="connsiteY4" fmla="*/ 127836 h 5042175"/>
              <a:gd name="connsiteX5" fmla="*/ 3391649 w 3391649"/>
              <a:gd name="connsiteY5" fmla="*/ 4920114 h 5042175"/>
              <a:gd name="connsiteX6" fmla="*/ 3269588 w 3391649"/>
              <a:gd name="connsiteY6" fmla="*/ 5042175 h 5042175"/>
              <a:gd name="connsiteX7" fmla="*/ 129710 w 3391649"/>
              <a:gd name="connsiteY7" fmla="*/ 5042175 h 5042175"/>
              <a:gd name="connsiteX8" fmla="*/ 7649 w 3391649"/>
              <a:gd name="connsiteY8" fmla="*/ 4920114 h 5042175"/>
              <a:gd name="connsiteX9" fmla="*/ 7649 w 3391649"/>
              <a:gd name="connsiteY9" fmla="*/ 127836 h 5042175"/>
              <a:gd name="connsiteX0" fmla="*/ 15257 w 3399257"/>
              <a:gd name="connsiteY0" fmla="*/ 5276782 h 5398843"/>
              <a:gd name="connsiteX1" fmla="*/ 15257 w 3399257"/>
              <a:gd name="connsiteY1" fmla="*/ 365618 h 5398843"/>
              <a:gd name="connsiteX2" fmla="*/ 137318 w 3399257"/>
              <a:gd name="connsiteY2" fmla="*/ 362443 h 5398843"/>
              <a:gd name="connsiteX3" fmla="*/ 3277196 w 3399257"/>
              <a:gd name="connsiteY3" fmla="*/ 362443 h 5398843"/>
              <a:gd name="connsiteX4" fmla="*/ 3399257 w 3399257"/>
              <a:gd name="connsiteY4" fmla="*/ 484504 h 5398843"/>
              <a:gd name="connsiteX5" fmla="*/ 3399257 w 3399257"/>
              <a:gd name="connsiteY5" fmla="*/ 5276782 h 5398843"/>
              <a:gd name="connsiteX6" fmla="*/ 3277196 w 3399257"/>
              <a:gd name="connsiteY6" fmla="*/ 5398843 h 5398843"/>
              <a:gd name="connsiteX7" fmla="*/ 137318 w 3399257"/>
              <a:gd name="connsiteY7" fmla="*/ 5398843 h 5398843"/>
              <a:gd name="connsiteX8" fmla="*/ 15257 w 3399257"/>
              <a:gd name="connsiteY8" fmla="*/ 5276782 h 5398843"/>
              <a:gd name="connsiteX0" fmla="*/ 10990 w 3394990"/>
              <a:gd name="connsiteY0" fmla="*/ 5276782 h 5398843"/>
              <a:gd name="connsiteX1" fmla="*/ 10990 w 3394990"/>
              <a:gd name="connsiteY1" fmla="*/ 365618 h 5398843"/>
              <a:gd name="connsiteX2" fmla="*/ 133051 w 3394990"/>
              <a:gd name="connsiteY2" fmla="*/ 362443 h 5398843"/>
              <a:gd name="connsiteX3" fmla="*/ 3272929 w 3394990"/>
              <a:gd name="connsiteY3" fmla="*/ 362443 h 5398843"/>
              <a:gd name="connsiteX4" fmla="*/ 3394990 w 3394990"/>
              <a:gd name="connsiteY4" fmla="*/ 484504 h 5398843"/>
              <a:gd name="connsiteX5" fmla="*/ 3394990 w 3394990"/>
              <a:gd name="connsiteY5" fmla="*/ 5276782 h 5398843"/>
              <a:gd name="connsiteX6" fmla="*/ 3272929 w 3394990"/>
              <a:gd name="connsiteY6" fmla="*/ 5398843 h 5398843"/>
              <a:gd name="connsiteX7" fmla="*/ 133051 w 3394990"/>
              <a:gd name="connsiteY7" fmla="*/ 5398843 h 5398843"/>
              <a:gd name="connsiteX8" fmla="*/ 10990 w 3394990"/>
              <a:gd name="connsiteY8" fmla="*/ 5276782 h 5398843"/>
              <a:gd name="connsiteX0" fmla="*/ 10990 w 3394990"/>
              <a:gd name="connsiteY0" fmla="*/ 4918814 h 5040875"/>
              <a:gd name="connsiteX1" fmla="*/ 10990 w 3394990"/>
              <a:gd name="connsiteY1" fmla="*/ 7650 h 5040875"/>
              <a:gd name="connsiteX2" fmla="*/ 133051 w 3394990"/>
              <a:gd name="connsiteY2" fmla="*/ 4475 h 5040875"/>
              <a:gd name="connsiteX3" fmla="*/ 3272929 w 3394990"/>
              <a:gd name="connsiteY3" fmla="*/ 4475 h 5040875"/>
              <a:gd name="connsiteX4" fmla="*/ 3394990 w 3394990"/>
              <a:gd name="connsiteY4" fmla="*/ 126536 h 5040875"/>
              <a:gd name="connsiteX5" fmla="*/ 3394990 w 3394990"/>
              <a:gd name="connsiteY5" fmla="*/ 4918814 h 5040875"/>
              <a:gd name="connsiteX6" fmla="*/ 3272929 w 3394990"/>
              <a:gd name="connsiteY6" fmla="*/ 5040875 h 5040875"/>
              <a:gd name="connsiteX7" fmla="*/ 133051 w 3394990"/>
              <a:gd name="connsiteY7" fmla="*/ 5040875 h 5040875"/>
              <a:gd name="connsiteX8" fmla="*/ 10990 w 3394990"/>
              <a:gd name="connsiteY8" fmla="*/ 4918814 h 5040875"/>
              <a:gd name="connsiteX0" fmla="*/ 158635 w 3542635"/>
              <a:gd name="connsiteY0" fmla="*/ 4917578 h 5039639"/>
              <a:gd name="connsiteX1" fmla="*/ 146729 w 3542635"/>
              <a:gd name="connsiteY1" fmla="*/ 6414 h 5039639"/>
              <a:gd name="connsiteX2" fmla="*/ 280696 w 3542635"/>
              <a:gd name="connsiteY2" fmla="*/ 3239 h 5039639"/>
              <a:gd name="connsiteX3" fmla="*/ 3420574 w 3542635"/>
              <a:gd name="connsiteY3" fmla="*/ 3239 h 5039639"/>
              <a:gd name="connsiteX4" fmla="*/ 3542635 w 3542635"/>
              <a:gd name="connsiteY4" fmla="*/ 125300 h 5039639"/>
              <a:gd name="connsiteX5" fmla="*/ 3542635 w 3542635"/>
              <a:gd name="connsiteY5" fmla="*/ 4917578 h 5039639"/>
              <a:gd name="connsiteX6" fmla="*/ 3420574 w 3542635"/>
              <a:gd name="connsiteY6" fmla="*/ 5039639 h 5039639"/>
              <a:gd name="connsiteX7" fmla="*/ 280696 w 3542635"/>
              <a:gd name="connsiteY7" fmla="*/ 5039639 h 5039639"/>
              <a:gd name="connsiteX8" fmla="*/ 158635 w 3542635"/>
              <a:gd name="connsiteY8" fmla="*/ 4917578 h 5039639"/>
              <a:gd name="connsiteX0" fmla="*/ 160634 w 3544634"/>
              <a:gd name="connsiteY0" fmla="*/ 4917578 h 5039639"/>
              <a:gd name="connsiteX1" fmla="*/ 143965 w 3544634"/>
              <a:gd name="connsiteY1" fmla="*/ 6414 h 5039639"/>
              <a:gd name="connsiteX2" fmla="*/ 282695 w 3544634"/>
              <a:gd name="connsiteY2" fmla="*/ 3239 h 5039639"/>
              <a:gd name="connsiteX3" fmla="*/ 3422573 w 3544634"/>
              <a:gd name="connsiteY3" fmla="*/ 3239 h 5039639"/>
              <a:gd name="connsiteX4" fmla="*/ 3544634 w 3544634"/>
              <a:gd name="connsiteY4" fmla="*/ 125300 h 5039639"/>
              <a:gd name="connsiteX5" fmla="*/ 3544634 w 3544634"/>
              <a:gd name="connsiteY5" fmla="*/ 4917578 h 5039639"/>
              <a:gd name="connsiteX6" fmla="*/ 3422573 w 3544634"/>
              <a:gd name="connsiteY6" fmla="*/ 5039639 h 5039639"/>
              <a:gd name="connsiteX7" fmla="*/ 282695 w 3544634"/>
              <a:gd name="connsiteY7" fmla="*/ 5039639 h 5039639"/>
              <a:gd name="connsiteX8" fmla="*/ 160634 w 3544634"/>
              <a:gd name="connsiteY8" fmla="*/ 4917578 h 5039639"/>
              <a:gd name="connsiteX0" fmla="*/ 164685 w 3548685"/>
              <a:gd name="connsiteY0" fmla="*/ 4917578 h 5039639"/>
              <a:gd name="connsiteX1" fmla="*/ 138491 w 3548685"/>
              <a:gd name="connsiteY1" fmla="*/ 6414 h 5039639"/>
              <a:gd name="connsiteX2" fmla="*/ 286746 w 3548685"/>
              <a:gd name="connsiteY2" fmla="*/ 3239 h 5039639"/>
              <a:gd name="connsiteX3" fmla="*/ 3426624 w 3548685"/>
              <a:gd name="connsiteY3" fmla="*/ 3239 h 5039639"/>
              <a:gd name="connsiteX4" fmla="*/ 3548685 w 3548685"/>
              <a:gd name="connsiteY4" fmla="*/ 125300 h 5039639"/>
              <a:gd name="connsiteX5" fmla="*/ 3548685 w 3548685"/>
              <a:gd name="connsiteY5" fmla="*/ 4917578 h 5039639"/>
              <a:gd name="connsiteX6" fmla="*/ 3426624 w 3548685"/>
              <a:gd name="connsiteY6" fmla="*/ 5039639 h 5039639"/>
              <a:gd name="connsiteX7" fmla="*/ 286746 w 3548685"/>
              <a:gd name="connsiteY7" fmla="*/ 5039639 h 5039639"/>
              <a:gd name="connsiteX8" fmla="*/ 164685 w 3548685"/>
              <a:gd name="connsiteY8" fmla="*/ 4917578 h 5039639"/>
              <a:gd name="connsiteX0" fmla="*/ 163666 w 3547666"/>
              <a:gd name="connsiteY0" fmla="*/ 4917578 h 5039639"/>
              <a:gd name="connsiteX1" fmla="*/ 139854 w 3547666"/>
              <a:gd name="connsiteY1" fmla="*/ 6414 h 5039639"/>
              <a:gd name="connsiteX2" fmla="*/ 285727 w 3547666"/>
              <a:gd name="connsiteY2" fmla="*/ 3239 h 5039639"/>
              <a:gd name="connsiteX3" fmla="*/ 3425605 w 3547666"/>
              <a:gd name="connsiteY3" fmla="*/ 3239 h 5039639"/>
              <a:gd name="connsiteX4" fmla="*/ 3547666 w 3547666"/>
              <a:gd name="connsiteY4" fmla="*/ 125300 h 5039639"/>
              <a:gd name="connsiteX5" fmla="*/ 3547666 w 3547666"/>
              <a:gd name="connsiteY5" fmla="*/ 4917578 h 5039639"/>
              <a:gd name="connsiteX6" fmla="*/ 3425605 w 3547666"/>
              <a:gd name="connsiteY6" fmla="*/ 5039639 h 5039639"/>
              <a:gd name="connsiteX7" fmla="*/ 285727 w 3547666"/>
              <a:gd name="connsiteY7" fmla="*/ 5039639 h 5039639"/>
              <a:gd name="connsiteX8" fmla="*/ 163666 w 3547666"/>
              <a:gd name="connsiteY8" fmla="*/ 4917578 h 5039639"/>
              <a:gd name="connsiteX0" fmla="*/ 161641 w 3545641"/>
              <a:gd name="connsiteY0" fmla="*/ 4917578 h 5039639"/>
              <a:gd name="connsiteX1" fmla="*/ 142591 w 3545641"/>
              <a:gd name="connsiteY1" fmla="*/ 6414 h 5039639"/>
              <a:gd name="connsiteX2" fmla="*/ 283702 w 3545641"/>
              <a:gd name="connsiteY2" fmla="*/ 3239 h 5039639"/>
              <a:gd name="connsiteX3" fmla="*/ 3423580 w 3545641"/>
              <a:gd name="connsiteY3" fmla="*/ 3239 h 5039639"/>
              <a:gd name="connsiteX4" fmla="*/ 3545641 w 3545641"/>
              <a:gd name="connsiteY4" fmla="*/ 125300 h 5039639"/>
              <a:gd name="connsiteX5" fmla="*/ 3545641 w 3545641"/>
              <a:gd name="connsiteY5" fmla="*/ 4917578 h 5039639"/>
              <a:gd name="connsiteX6" fmla="*/ 3423580 w 3545641"/>
              <a:gd name="connsiteY6" fmla="*/ 5039639 h 5039639"/>
              <a:gd name="connsiteX7" fmla="*/ 283702 w 3545641"/>
              <a:gd name="connsiteY7" fmla="*/ 5039639 h 5039639"/>
              <a:gd name="connsiteX8" fmla="*/ 161641 w 3545641"/>
              <a:gd name="connsiteY8" fmla="*/ 4917578 h 5039639"/>
              <a:gd name="connsiteX0" fmla="*/ 158636 w 3542636"/>
              <a:gd name="connsiteY0" fmla="*/ 4917578 h 5039639"/>
              <a:gd name="connsiteX1" fmla="*/ 146730 w 3542636"/>
              <a:gd name="connsiteY1" fmla="*/ 6414 h 5039639"/>
              <a:gd name="connsiteX2" fmla="*/ 280697 w 3542636"/>
              <a:gd name="connsiteY2" fmla="*/ 3239 h 5039639"/>
              <a:gd name="connsiteX3" fmla="*/ 3420575 w 3542636"/>
              <a:gd name="connsiteY3" fmla="*/ 3239 h 5039639"/>
              <a:gd name="connsiteX4" fmla="*/ 3542636 w 3542636"/>
              <a:gd name="connsiteY4" fmla="*/ 125300 h 5039639"/>
              <a:gd name="connsiteX5" fmla="*/ 3542636 w 3542636"/>
              <a:gd name="connsiteY5" fmla="*/ 4917578 h 5039639"/>
              <a:gd name="connsiteX6" fmla="*/ 3420575 w 3542636"/>
              <a:gd name="connsiteY6" fmla="*/ 5039639 h 5039639"/>
              <a:gd name="connsiteX7" fmla="*/ 280697 w 3542636"/>
              <a:gd name="connsiteY7" fmla="*/ 5039639 h 5039639"/>
              <a:gd name="connsiteX8" fmla="*/ 158636 w 3542636"/>
              <a:gd name="connsiteY8" fmla="*/ 4917578 h 5039639"/>
              <a:gd name="connsiteX0" fmla="*/ 160634 w 3544634"/>
              <a:gd name="connsiteY0" fmla="*/ 4917578 h 5039639"/>
              <a:gd name="connsiteX1" fmla="*/ 143965 w 3544634"/>
              <a:gd name="connsiteY1" fmla="*/ 6414 h 5039639"/>
              <a:gd name="connsiteX2" fmla="*/ 282695 w 3544634"/>
              <a:gd name="connsiteY2" fmla="*/ 3239 h 5039639"/>
              <a:gd name="connsiteX3" fmla="*/ 3422573 w 3544634"/>
              <a:gd name="connsiteY3" fmla="*/ 3239 h 5039639"/>
              <a:gd name="connsiteX4" fmla="*/ 3544634 w 3544634"/>
              <a:gd name="connsiteY4" fmla="*/ 125300 h 5039639"/>
              <a:gd name="connsiteX5" fmla="*/ 3544634 w 3544634"/>
              <a:gd name="connsiteY5" fmla="*/ 4917578 h 5039639"/>
              <a:gd name="connsiteX6" fmla="*/ 3422573 w 3544634"/>
              <a:gd name="connsiteY6" fmla="*/ 5039639 h 5039639"/>
              <a:gd name="connsiteX7" fmla="*/ 282695 w 3544634"/>
              <a:gd name="connsiteY7" fmla="*/ 5039639 h 5039639"/>
              <a:gd name="connsiteX8" fmla="*/ 160634 w 3544634"/>
              <a:gd name="connsiteY8" fmla="*/ 4917578 h 5039639"/>
              <a:gd name="connsiteX0" fmla="*/ 162650 w 3546650"/>
              <a:gd name="connsiteY0" fmla="*/ 4917578 h 5039639"/>
              <a:gd name="connsiteX1" fmla="*/ 141219 w 3546650"/>
              <a:gd name="connsiteY1" fmla="*/ 6414 h 5039639"/>
              <a:gd name="connsiteX2" fmla="*/ 284711 w 3546650"/>
              <a:gd name="connsiteY2" fmla="*/ 3239 h 5039639"/>
              <a:gd name="connsiteX3" fmla="*/ 3424589 w 3546650"/>
              <a:gd name="connsiteY3" fmla="*/ 3239 h 5039639"/>
              <a:gd name="connsiteX4" fmla="*/ 3546650 w 3546650"/>
              <a:gd name="connsiteY4" fmla="*/ 125300 h 5039639"/>
              <a:gd name="connsiteX5" fmla="*/ 3546650 w 3546650"/>
              <a:gd name="connsiteY5" fmla="*/ 4917578 h 5039639"/>
              <a:gd name="connsiteX6" fmla="*/ 3424589 w 3546650"/>
              <a:gd name="connsiteY6" fmla="*/ 5039639 h 5039639"/>
              <a:gd name="connsiteX7" fmla="*/ 284711 w 3546650"/>
              <a:gd name="connsiteY7" fmla="*/ 5039639 h 5039639"/>
              <a:gd name="connsiteX8" fmla="*/ 162650 w 3546650"/>
              <a:gd name="connsiteY8" fmla="*/ 4917578 h 5039639"/>
              <a:gd name="connsiteX0" fmla="*/ 164685 w 3548685"/>
              <a:gd name="connsiteY0" fmla="*/ 4917578 h 5039639"/>
              <a:gd name="connsiteX1" fmla="*/ 138491 w 3548685"/>
              <a:gd name="connsiteY1" fmla="*/ 6414 h 5039639"/>
              <a:gd name="connsiteX2" fmla="*/ 286746 w 3548685"/>
              <a:gd name="connsiteY2" fmla="*/ 3239 h 5039639"/>
              <a:gd name="connsiteX3" fmla="*/ 3426624 w 3548685"/>
              <a:gd name="connsiteY3" fmla="*/ 3239 h 5039639"/>
              <a:gd name="connsiteX4" fmla="*/ 3548685 w 3548685"/>
              <a:gd name="connsiteY4" fmla="*/ 125300 h 5039639"/>
              <a:gd name="connsiteX5" fmla="*/ 3548685 w 3548685"/>
              <a:gd name="connsiteY5" fmla="*/ 4917578 h 5039639"/>
              <a:gd name="connsiteX6" fmla="*/ 3426624 w 3548685"/>
              <a:gd name="connsiteY6" fmla="*/ 5039639 h 5039639"/>
              <a:gd name="connsiteX7" fmla="*/ 286746 w 3548685"/>
              <a:gd name="connsiteY7" fmla="*/ 5039639 h 5039639"/>
              <a:gd name="connsiteX8" fmla="*/ 164685 w 3548685"/>
              <a:gd name="connsiteY8" fmla="*/ 4917578 h 5039639"/>
              <a:gd name="connsiteX0" fmla="*/ 162651 w 3546651"/>
              <a:gd name="connsiteY0" fmla="*/ 4917578 h 5039639"/>
              <a:gd name="connsiteX1" fmla="*/ 141220 w 3546651"/>
              <a:gd name="connsiteY1" fmla="*/ 6414 h 5039639"/>
              <a:gd name="connsiteX2" fmla="*/ 284712 w 3546651"/>
              <a:gd name="connsiteY2" fmla="*/ 3239 h 5039639"/>
              <a:gd name="connsiteX3" fmla="*/ 3424590 w 3546651"/>
              <a:gd name="connsiteY3" fmla="*/ 3239 h 5039639"/>
              <a:gd name="connsiteX4" fmla="*/ 3546651 w 3546651"/>
              <a:gd name="connsiteY4" fmla="*/ 125300 h 5039639"/>
              <a:gd name="connsiteX5" fmla="*/ 3546651 w 3546651"/>
              <a:gd name="connsiteY5" fmla="*/ 4917578 h 5039639"/>
              <a:gd name="connsiteX6" fmla="*/ 3424590 w 3546651"/>
              <a:gd name="connsiteY6" fmla="*/ 5039639 h 5039639"/>
              <a:gd name="connsiteX7" fmla="*/ 284712 w 3546651"/>
              <a:gd name="connsiteY7" fmla="*/ 5039639 h 5039639"/>
              <a:gd name="connsiteX8" fmla="*/ 162651 w 3546651"/>
              <a:gd name="connsiteY8" fmla="*/ 4917578 h 5039639"/>
              <a:gd name="connsiteX0" fmla="*/ 164685 w 3548685"/>
              <a:gd name="connsiteY0" fmla="*/ 4917578 h 5039639"/>
              <a:gd name="connsiteX1" fmla="*/ 138491 w 3548685"/>
              <a:gd name="connsiteY1" fmla="*/ 6414 h 5039639"/>
              <a:gd name="connsiteX2" fmla="*/ 286746 w 3548685"/>
              <a:gd name="connsiteY2" fmla="*/ 3239 h 5039639"/>
              <a:gd name="connsiteX3" fmla="*/ 3426624 w 3548685"/>
              <a:gd name="connsiteY3" fmla="*/ 3239 h 5039639"/>
              <a:gd name="connsiteX4" fmla="*/ 3548685 w 3548685"/>
              <a:gd name="connsiteY4" fmla="*/ 125300 h 5039639"/>
              <a:gd name="connsiteX5" fmla="*/ 3548685 w 3548685"/>
              <a:gd name="connsiteY5" fmla="*/ 4917578 h 5039639"/>
              <a:gd name="connsiteX6" fmla="*/ 3426624 w 3548685"/>
              <a:gd name="connsiteY6" fmla="*/ 5039639 h 5039639"/>
              <a:gd name="connsiteX7" fmla="*/ 286746 w 3548685"/>
              <a:gd name="connsiteY7" fmla="*/ 5039639 h 5039639"/>
              <a:gd name="connsiteX8" fmla="*/ 164685 w 3548685"/>
              <a:gd name="connsiteY8" fmla="*/ 4917578 h 5039639"/>
              <a:gd name="connsiteX0" fmla="*/ 28361 w 3412361"/>
              <a:gd name="connsiteY0" fmla="*/ 4917578 h 5039639"/>
              <a:gd name="connsiteX1" fmla="*/ 2167 w 3412361"/>
              <a:gd name="connsiteY1" fmla="*/ 6414 h 5039639"/>
              <a:gd name="connsiteX2" fmla="*/ 150422 w 3412361"/>
              <a:gd name="connsiteY2" fmla="*/ 3239 h 5039639"/>
              <a:gd name="connsiteX3" fmla="*/ 3290300 w 3412361"/>
              <a:gd name="connsiteY3" fmla="*/ 3239 h 5039639"/>
              <a:gd name="connsiteX4" fmla="*/ 3412361 w 3412361"/>
              <a:gd name="connsiteY4" fmla="*/ 125300 h 5039639"/>
              <a:gd name="connsiteX5" fmla="*/ 3412361 w 3412361"/>
              <a:gd name="connsiteY5" fmla="*/ 4917578 h 5039639"/>
              <a:gd name="connsiteX6" fmla="*/ 3290300 w 3412361"/>
              <a:gd name="connsiteY6" fmla="*/ 5039639 h 5039639"/>
              <a:gd name="connsiteX7" fmla="*/ 150422 w 3412361"/>
              <a:gd name="connsiteY7" fmla="*/ 5039639 h 5039639"/>
              <a:gd name="connsiteX8" fmla="*/ 28361 w 3412361"/>
              <a:gd name="connsiteY8" fmla="*/ 4917578 h 5039639"/>
              <a:gd name="connsiteX0" fmla="*/ 28361 w 3412361"/>
              <a:gd name="connsiteY0" fmla="*/ 4917578 h 5039639"/>
              <a:gd name="connsiteX1" fmla="*/ 2167 w 3412361"/>
              <a:gd name="connsiteY1" fmla="*/ 6414 h 5039639"/>
              <a:gd name="connsiteX2" fmla="*/ 150422 w 3412361"/>
              <a:gd name="connsiteY2" fmla="*/ 3239 h 5039639"/>
              <a:gd name="connsiteX3" fmla="*/ 3290300 w 3412361"/>
              <a:gd name="connsiteY3" fmla="*/ 3239 h 5039639"/>
              <a:gd name="connsiteX4" fmla="*/ 3412361 w 3412361"/>
              <a:gd name="connsiteY4" fmla="*/ 125300 h 5039639"/>
              <a:gd name="connsiteX5" fmla="*/ 3412361 w 3412361"/>
              <a:gd name="connsiteY5" fmla="*/ 4917578 h 5039639"/>
              <a:gd name="connsiteX6" fmla="*/ 3290300 w 3412361"/>
              <a:gd name="connsiteY6" fmla="*/ 5039639 h 5039639"/>
              <a:gd name="connsiteX7" fmla="*/ 150422 w 3412361"/>
              <a:gd name="connsiteY7" fmla="*/ 5039639 h 5039639"/>
              <a:gd name="connsiteX8" fmla="*/ 28361 w 3412361"/>
              <a:gd name="connsiteY8" fmla="*/ 4917578 h 5039639"/>
              <a:gd name="connsiteX0" fmla="*/ 33210 w 3417210"/>
              <a:gd name="connsiteY0" fmla="*/ 4916549 h 5038610"/>
              <a:gd name="connsiteX1" fmla="*/ 7016 w 3417210"/>
              <a:gd name="connsiteY1" fmla="*/ 5385 h 5038610"/>
              <a:gd name="connsiteX2" fmla="*/ 155271 w 3417210"/>
              <a:gd name="connsiteY2" fmla="*/ 2210 h 5038610"/>
              <a:gd name="connsiteX3" fmla="*/ 3295149 w 3417210"/>
              <a:gd name="connsiteY3" fmla="*/ 2210 h 5038610"/>
              <a:gd name="connsiteX4" fmla="*/ 3417210 w 3417210"/>
              <a:gd name="connsiteY4" fmla="*/ 124271 h 5038610"/>
              <a:gd name="connsiteX5" fmla="*/ 3417210 w 3417210"/>
              <a:gd name="connsiteY5" fmla="*/ 4916549 h 5038610"/>
              <a:gd name="connsiteX6" fmla="*/ 3295149 w 3417210"/>
              <a:gd name="connsiteY6" fmla="*/ 5038610 h 5038610"/>
              <a:gd name="connsiteX7" fmla="*/ 155271 w 3417210"/>
              <a:gd name="connsiteY7" fmla="*/ 5038610 h 5038610"/>
              <a:gd name="connsiteX8" fmla="*/ 33210 w 3417210"/>
              <a:gd name="connsiteY8" fmla="*/ 4916549 h 5038610"/>
              <a:gd name="connsiteX0" fmla="*/ 26222 w 3410222"/>
              <a:gd name="connsiteY0" fmla="*/ 4914339 h 5036400"/>
              <a:gd name="connsiteX1" fmla="*/ 28 w 3410222"/>
              <a:gd name="connsiteY1" fmla="*/ 3175 h 5036400"/>
              <a:gd name="connsiteX2" fmla="*/ 148283 w 3410222"/>
              <a:gd name="connsiteY2" fmla="*/ 0 h 5036400"/>
              <a:gd name="connsiteX3" fmla="*/ 3288161 w 3410222"/>
              <a:gd name="connsiteY3" fmla="*/ 0 h 5036400"/>
              <a:gd name="connsiteX4" fmla="*/ 3410222 w 3410222"/>
              <a:gd name="connsiteY4" fmla="*/ 122061 h 5036400"/>
              <a:gd name="connsiteX5" fmla="*/ 3410222 w 3410222"/>
              <a:gd name="connsiteY5" fmla="*/ 4914339 h 5036400"/>
              <a:gd name="connsiteX6" fmla="*/ 3288161 w 3410222"/>
              <a:gd name="connsiteY6" fmla="*/ 5036400 h 5036400"/>
              <a:gd name="connsiteX7" fmla="*/ 148283 w 3410222"/>
              <a:gd name="connsiteY7" fmla="*/ 5036400 h 5036400"/>
              <a:gd name="connsiteX8" fmla="*/ 26222 w 3410222"/>
              <a:gd name="connsiteY8" fmla="*/ 4914339 h 503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10222" h="5036400">
                <a:moveTo>
                  <a:pt x="26222" y="4914339"/>
                </a:moveTo>
                <a:cubicBezTo>
                  <a:pt x="5879" y="4075468"/>
                  <a:pt x="1910" y="6256"/>
                  <a:pt x="28" y="3175"/>
                </a:cubicBezTo>
                <a:cubicBezTo>
                  <a:pt x="-1854" y="94"/>
                  <a:pt x="93180" y="529"/>
                  <a:pt x="148283" y="0"/>
                </a:cubicBezTo>
                <a:lnTo>
                  <a:pt x="3288161" y="0"/>
                </a:lnTo>
                <a:cubicBezTo>
                  <a:pt x="3355573" y="0"/>
                  <a:pt x="3410222" y="54649"/>
                  <a:pt x="3410222" y="122061"/>
                </a:cubicBezTo>
                <a:lnTo>
                  <a:pt x="3410222" y="4914339"/>
                </a:lnTo>
                <a:cubicBezTo>
                  <a:pt x="3410222" y="4981751"/>
                  <a:pt x="3355573" y="5036400"/>
                  <a:pt x="3288161" y="5036400"/>
                </a:cubicBezTo>
                <a:lnTo>
                  <a:pt x="148283" y="5036400"/>
                </a:lnTo>
                <a:cubicBezTo>
                  <a:pt x="80871" y="5036400"/>
                  <a:pt x="26222" y="4981751"/>
                  <a:pt x="26222" y="4914339"/>
                </a:cubicBezTo>
                <a:close/>
              </a:path>
            </a:pathLst>
          </a:custGeom>
          <a:solidFill>
            <a:schemeClr val="bg1"/>
          </a:solidFill>
        </p:spPr>
        <p:txBody>
          <a:bodyPr lIns="576000" tIns="1224000" rIns="576000" bIns="576000"/>
          <a:lstStyle>
            <a:lvl1pPr marL="0" indent="0">
              <a:spcAft>
                <a:spcPts val="0"/>
              </a:spcAft>
              <a:buNone/>
              <a:defRPr sz="6314" b="0">
                <a:solidFill>
                  <a:schemeClr val="bg2"/>
                </a:solidFill>
              </a:defRPr>
            </a:lvl1pPr>
            <a:lvl2pPr marL="1275202" indent="-1275202">
              <a:spcAft>
                <a:spcPts val="0"/>
              </a:spcAft>
              <a:buClr>
                <a:schemeClr val="bg2"/>
              </a:buClr>
              <a:buFont typeface="+mj-lt"/>
              <a:buAutoNum type="arabicPeriod"/>
              <a:defRPr sz="6314">
                <a:solidFill>
                  <a:schemeClr val="bg2"/>
                </a:solidFill>
              </a:defRPr>
            </a:lvl2pPr>
            <a:lvl3pPr marL="1002340" indent="-1002340">
              <a:spcAft>
                <a:spcPts val="0"/>
              </a:spcAft>
              <a:buFont typeface="Arial" panose="020B0604020202020204" pitchFamily="34" charset="0"/>
              <a:buChar char="•"/>
              <a:defRPr sz="6314">
                <a:solidFill>
                  <a:schemeClr val="bg2"/>
                </a:solidFill>
              </a:defRPr>
            </a:lvl3pPr>
            <a:lvl4pPr marL="634816" indent="0">
              <a:spcAft>
                <a:spcPts val="0"/>
              </a:spcAft>
              <a:buNone/>
              <a:defRPr sz="6314">
                <a:solidFill>
                  <a:schemeClr val="tx2"/>
                </a:solidFill>
              </a:defRPr>
            </a:lvl4pPr>
            <a:lvl5pPr marL="0" indent="0">
              <a:spcBef>
                <a:spcPts val="2806"/>
              </a:spcBef>
              <a:spcAft>
                <a:spcPts val="0"/>
              </a:spcAft>
              <a:buNone/>
              <a:defRPr sz="12628" b="0">
                <a:solidFill>
                  <a:schemeClr val="tx2"/>
                </a:solidFill>
              </a:defRPr>
            </a:lvl5pPr>
          </a:lstStyle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145" name="Tijdelijke aanduiding voor verticale tekst 2">
            <a:extLst>
              <a:ext uri="{FF2B5EF4-FFF2-40B4-BE49-F238E27FC236}">
                <a16:creationId xmlns:a16="http://schemas.microsoft.com/office/drawing/2014/main" id="{9001FD48-79F0-4F0E-AB81-634459ED5BE7}"/>
              </a:ext>
            </a:extLst>
          </p:cNvPr>
          <p:cNvSpPr>
            <a:spLocks noGrp="1"/>
          </p:cNvSpPr>
          <p:nvPr>
            <p:ph type="body" orient="vert" idx="30" hasCustomPrompt="1"/>
          </p:nvPr>
        </p:nvSpPr>
        <p:spPr>
          <a:xfrm>
            <a:off x="3673386" y="4706259"/>
            <a:ext cx="6882851" cy="2325638"/>
          </a:xfrm>
        </p:spPr>
        <p:txBody>
          <a:bodyPr vert="horz" anchor="b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Tx/>
              <a:buNone/>
              <a:defRPr sz="12628" b="0" baseline="0">
                <a:solidFill>
                  <a:schemeClr val="tx2"/>
                </a:solidFill>
                <a:latin typeface="+mj-lt"/>
              </a:defRPr>
            </a:lvl1pPr>
            <a:lvl2pPr algn="r">
              <a:lnSpc>
                <a:spcPct val="100000"/>
              </a:lnSpc>
              <a:defRPr>
                <a:latin typeface="+mj-lt"/>
              </a:defRPr>
            </a:lvl2pPr>
            <a:lvl3pPr algn="r">
              <a:lnSpc>
                <a:spcPct val="100000"/>
              </a:lnSpc>
              <a:defRPr>
                <a:latin typeface="+mj-lt"/>
              </a:defRPr>
            </a:lvl3pPr>
            <a:lvl4pPr algn="r">
              <a:lnSpc>
                <a:spcPct val="100000"/>
              </a:lnSpc>
              <a:defRPr sz="16838">
                <a:solidFill>
                  <a:schemeClr val="tx2"/>
                </a:solidFill>
                <a:latin typeface="+mj-lt"/>
              </a:defRPr>
            </a:lvl4pPr>
            <a:lvl5pPr algn="r">
              <a:lnSpc>
                <a:spcPct val="100000"/>
              </a:lnSpc>
              <a:defRPr>
                <a:latin typeface="+mj-lt"/>
              </a:defRPr>
            </a:lvl5pPr>
          </a:lstStyle>
          <a:p>
            <a:pPr lvl="0"/>
            <a:r>
              <a:rPr lang="nl-NL" noProof="0"/>
              <a:t>Typ Titel</a:t>
            </a:r>
          </a:p>
        </p:txBody>
      </p:sp>
      <p:grpSp>
        <p:nvGrpSpPr>
          <p:cNvPr id="2" name="Groep 1">
            <a:extLst>
              <a:ext uri="{FF2B5EF4-FFF2-40B4-BE49-F238E27FC236}">
                <a16:creationId xmlns:a16="http://schemas.microsoft.com/office/drawing/2014/main" id="{900C9842-CD09-4A8A-AB84-5E6126572BB8}"/>
              </a:ext>
            </a:extLst>
          </p:cNvPr>
          <p:cNvGrpSpPr/>
          <p:nvPr userDrawn="1"/>
        </p:nvGrpSpPr>
        <p:grpSpPr>
          <a:xfrm>
            <a:off x="43467415" y="5"/>
            <a:ext cx="13081583" cy="23084356"/>
            <a:chOff x="12391601" y="0"/>
            <a:chExt cx="3729271" cy="5229113"/>
          </a:xfrm>
        </p:grpSpPr>
        <p:grpSp>
          <p:nvGrpSpPr>
            <p:cNvPr id="125" name="Meer informatie">
              <a:extLst>
                <a:ext uri="{FF2B5EF4-FFF2-40B4-BE49-F238E27FC236}">
                  <a16:creationId xmlns:a16="http://schemas.microsoft.com/office/drawing/2014/main" id="{BBB63082-3390-4523-ABC6-2696FEAF78BE}"/>
                </a:ext>
              </a:extLst>
            </p:cNvPr>
            <p:cNvGrpSpPr/>
            <p:nvPr userDrawn="1"/>
          </p:nvGrpSpPr>
          <p:grpSpPr>
            <a:xfrm>
              <a:off x="12396764" y="4445840"/>
              <a:ext cx="3178515" cy="783273"/>
              <a:chOff x="-3741486" y="3386444"/>
              <a:chExt cx="3178515" cy="783273"/>
            </a:xfrm>
          </p:grpSpPr>
          <p:sp>
            <p:nvSpPr>
              <p:cNvPr id="216" name="Freeform 101">
                <a:extLst>
                  <a:ext uri="{FF2B5EF4-FFF2-40B4-BE49-F238E27FC236}">
                    <a16:creationId xmlns:a16="http://schemas.microsoft.com/office/drawing/2014/main" id="{8EC7D39B-6986-4BCE-94CA-81C2E574CFE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2684365E-23C2-4B87-996C-6D3AF800D9AE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9035E986-2FB4-4DD0-B21F-4F9974A26D4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26" name="Rechthoek 125">
              <a:extLst>
                <a:ext uri="{FF2B5EF4-FFF2-40B4-BE49-F238E27FC236}">
                  <a16:creationId xmlns:a16="http://schemas.microsoft.com/office/drawing/2014/main" id="{E143865B-B592-4ECC-8682-2E16D6D8836C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3A6833BB-28EB-45F9-9586-E31822CB6BDA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8" name="Rechte verbindingslijn 127">
              <a:extLst>
                <a:ext uri="{FF2B5EF4-FFF2-40B4-BE49-F238E27FC236}">
                  <a16:creationId xmlns:a16="http://schemas.microsoft.com/office/drawing/2014/main" id="{6252EA7E-B03C-4297-8853-E25D3F1281C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9" name="Rechte verbindingslijn 128">
              <a:extLst>
                <a:ext uri="{FF2B5EF4-FFF2-40B4-BE49-F238E27FC236}">
                  <a16:creationId xmlns:a16="http://schemas.microsoft.com/office/drawing/2014/main" id="{372B8B2C-3747-40B2-88B6-E3AD69419DA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30" name="Rechthoek 129">
              <a:extLst>
                <a:ext uri="{FF2B5EF4-FFF2-40B4-BE49-F238E27FC236}">
                  <a16:creationId xmlns:a16="http://schemas.microsoft.com/office/drawing/2014/main" id="{3D2C872C-737F-43CC-9155-EF2C8BDA4469}"/>
                </a:ext>
              </a:extLst>
            </p:cNvPr>
            <p:cNvSpPr/>
            <p:nvPr userDrawn="1"/>
          </p:nvSpPr>
          <p:spPr>
            <a:xfrm>
              <a:off x="12757282" y="432552"/>
              <a:ext cx="3363590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fbeelding door deze te selecteren en op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ictogram om een nieuwe afbeelding in t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31" name="Rechte verbindingslijn 130">
              <a:extLst>
                <a:ext uri="{FF2B5EF4-FFF2-40B4-BE49-F238E27FC236}">
                  <a16:creationId xmlns:a16="http://schemas.microsoft.com/office/drawing/2014/main" id="{082273A7-ED5D-4991-A72A-C5441D109DC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4327957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32" name="Ovaal 131">
              <a:extLst>
                <a:ext uri="{FF2B5EF4-FFF2-40B4-BE49-F238E27FC236}">
                  <a16:creationId xmlns:a16="http://schemas.microsoft.com/office/drawing/2014/main" id="{94EACF4D-16DD-43B4-882D-BCC4562D3C4A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33" name="Rechthoek 132">
              <a:extLst>
                <a:ext uri="{FF2B5EF4-FFF2-40B4-BE49-F238E27FC236}">
                  <a16:creationId xmlns:a16="http://schemas.microsoft.com/office/drawing/2014/main" id="{52E983BF-9DB1-45B1-BBBA-68D13631872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34" name="Groep 133">
              <a:extLst>
                <a:ext uri="{FF2B5EF4-FFF2-40B4-BE49-F238E27FC236}">
                  <a16:creationId xmlns:a16="http://schemas.microsoft.com/office/drawing/2014/main" id="{4BC194DD-F272-4A9F-85B8-19F8EB253E35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3" name="Rechthoek 212">
                <a:extLst>
                  <a:ext uri="{FF2B5EF4-FFF2-40B4-BE49-F238E27FC236}">
                    <a16:creationId xmlns:a16="http://schemas.microsoft.com/office/drawing/2014/main" id="{B93BB912-913D-4163-9DE4-63D8F07A76B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214" name="Rechte verbindingslijn 213">
                <a:extLst>
                  <a:ext uri="{FF2B5EF4-FFF2-40B4-BE49-F238E27FC236}">
                    <a16:creationId xmlns:a16="http://schemas.microsoft.com/office/drawing/2014/main" id="{95B8D08F-6C30-4203-B92A-7B1ED0A5F37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5" name="Gelijkbenige driehoek 214">
                <a:extLst>
                  <a:ext uri="{FF2B5EF4-FFF2-40B4-BE49-F238E27FC236}">
                    <a16:creationId xmlns:a16="http://schemas.microsoft.com/office/drawing/2014/main" id="{EF00DF5B-908A-45CC-B8FC-93658BFB6F53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35" name="Groep 134">
              <a:extLst>
                <a:ext uri="{FF2B5EF4-FFF2-40B4-BE49-F238E27FC236}">
                  <a16:creationId xmlns:a16="http://schemas.microsoft.com/office/drawing/2014/main" id="{59988593-9727-44C7-89AE-CAE331A61E23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163" name="Rechthoek 162">
                <a:extLst>
                  <a:ext uri="{FF2B5EF4-FFF2-40B4-BE49-F238E27FC236}">
                    <a16:creationId xmlns:a16="http://schemas.microsoft.com/office/drawing/2014/main" id="{9EB71EED-B216-47A2-B153-CD9CFBCCC03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64" name="Ovaal 163">
                <a:extLst>
                  <a:ext uri="{FF2B5EF4-FFF2-40B4-BE49-F238E27FC236}">
                    <a16:creationId xmlns:a16="http://schemas.microsoft.com/office/drawing/2014/main" id="{8A7EB0B9-A016-45DE-AB96-CE87C5555E87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Vrije vorm: vorm 208">
                <a:extLst>
                  <a:ext uri="{FF2B5EF4-FFF2-40B4-BE49-F238E27FC236}">
                    <a16:creationId xmlns:a16="http://schemas.microsoft.com/office/drawing/2014/main" id="{A4FAEEEE-ED9C-43D6-8A17-897A2409434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0" name="Rechthoek: afgeronde hoeken 209">
                <a:extLst>
                  <a:ext uri="{FF2B5EF4-FFF2-40B4-BE49-F238E27FC236}">
                    <a16:creationId xmlns:a16="http://schemas.microsoft.com/office/drawing/2014/main" id="{FE471931-879F-45E5-B6A7-3C11496A5B4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211" name="Rechte verbindingslijn 210">
                <a:extLst>
                  <a:ext uri="{FF2B5EF4-FFF2-40B4-BE49-F238E27FC236}">
                    <a16:creationId xmlns:a16="http://schemas.microsoft.com/office/drawing/2014/main" id="{CB18C8E0-F9D8-4AFA-ACFF-FBB610AF96C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12" name="Rechte verbindingslijn 211">
                <a:extLst>
                  <a:ext uri="{FF2B5EF4-FFF2-40B4-BE49-F238E27FC236}">
                    <a16:creationId xmlns:a16="http://schemas.microsoft.com/office/drawing/2014/main" id="{37348C0B-D0FC-4A1D-ABCE-CA0CE67AF76A}"/>
                  </a:ext>
                </a:extLst>
              </p:cNvPr>
              <p:cNvCxnSpPr>
                <a:cxnSpLocks/>
                <a:stCxn id="210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36" name="Ovaal 135">
              <a:extLst>
                <a:ext uri="{FF2B5EF4-FFF2-40B4-BE49-F238E27FC236}">
                  <a16:creationId xmlns:a16="http://schemas.microsoft.com/office/drawing/2014/main" id="{1597AB0A-7C93-4C42-AE97-D5AC8B7FF940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7" name="Rechthoek 136">
              <a:extLst>
                <a:ext uri="{FF2B5EF4-FFF2-40B4-BE49-F238E27FC236}">
                  <a16:creationId xmlns:a16="http://schemas.microsoft.com/office/drawing/2014/main" id="{ADCE3908-9FF0-47CD-9F76-6442D5E69568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43320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aan de linker kant van het scherm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38" name="Rechte verbindingslijn 137">
              <a:extLst>
                <a:ext uri="{FF2B5EF4-FFF2-40B4-BE49-F238E27FC236}">
                  <a16:creationId xmlns:a16="http://schemas.microsoft.com/office/drawing/2014/main" id="{217B14F2-FA89-4438-9777-A070DA3B798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39" name="Rechthoek 138">
              <a:extLst>
                <a:ext uri="{FF2B5EF4-FFF2-40B4-BE49-F238E27FC236}">
                  <a16:creationId xmlns:a16="http://schemas.microsoft.com/office/drawing/2014/main" id="{90B6B336-8BB4-4E04-8A30-873C5456AA9B}"/>
                </a:ext>
              </a:extLst>
            </p:cNvPr>
            <p:cNvSpPr/>
            <p:nvPr userDrawn="1"/>
          </p:nvSpPr>
          <p:spPr>
            <a:xfrm>
              <a:off x="12654153" y="3238910"/>
              <a:ext cx="1624926" cy="805220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3509" b="0" i="1" noProof="0">
                <a:solidFill>
                  <a:schemeClr val="tx1"/>
                </a:solidFill>
              </a:endParaRPr>
            </a:p>
          </p:txBody>
        </p:sp>
        <p:grpSp>
          <p:nvGrpSpPr>
            <p:cNvPr id="140" name="Groep 139">
              <a:extLst>
                <a:ext uri="{FF2B5EF4-FFF2-40B4-BE49-F238E27FC236}">
                  <a16:creationId xmlns:a16="http://schemas.microsoft.com/office/drawing/2014/main" id="{5A3313DA-A832-464F-B037-A7050F7D6240}"/>
                </a:ext>
              </a:extLst>
            </p:cNvPr>
            <p:cNvGrpSpPr/>
            <p:nvPr userDrawn="1"/>
          </p:nvGrpSpPr>
          <p:grpSpPr>
            <a:xfrm>
              <a:off x="13614067" y="3535184"/>
              <a:ext cx="1195438" cy="678267"/>
              <a:chOff x="12757284" y="3224292"/>
              <a:chExt cx="1195438" cy="678267"/>
            </a:xfrm>
          </p:grpSpPr>
          <p:sp>
            <p:nvSpPr>
              <p:cNvPr id="141" name="Rechthoek 140">
                <a:extLst>
                  <a:ext uri="{FF2B5EF4-FFF2-40B4-BE49-F238E27FC236}">
                    <a16:creationId xmlns:a16="http://schemas.microsoft.com/office/drawing/2014/main" id="{A1E3542D-5AE9-4E27-8C04-EA4C7162432A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2" name="Rechthoek 141">
                <a:extLst>
                  <a:ext uri="{FF2B5EF4-FFF2-40B4-BE49-F238E27FC236}">
                    <a16:creationId xmlns:a16="http://schemas.microsoft.com/office/drawing/2014/main" id="{A72F7DF5-C58D-4879-8C7F-B5CF9481B218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43" name="Groep 142">
                <a:extLst>
                  <a:ext uri="{FF2B5EF4-FFF2-40B4-BE49-F238E27FC236}">
                    <a16:creationId xmlns:a16="http://schemas.microsoft.com/office/drawing/2014/main" id="{13A570A6-9346-4889-A953-B2439A791DB0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57" name="Rechthoek: afgeronde hoeken 156">
                  <a:extLst>
                    <a:ext uri="{FF2B5EF4-FFF2-40B4-BE49-F238E27FC236}">
                      <a16:creationId xmlns:a16="http://schemas.microsoft.com/office/drawing/2014/main" id="{4993A129-673B-47CF-A74E-CA2BD8F91D82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endPara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8" name="Rechthoek 157">
                  <a:extLst>
                    <a:ext uri="{FF2B5EF4-FFF2-40B4-BE49-F238E27FC236}">
                      <a16:creationId xmlns:a16="http://schemas.microsoft.com/office/drawing/2014/main" id="{B7EAA5DA-7CFD-49FA-91D5-5038AAFFFD60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9" name="Rechthoek 158">
                  <a:extLst>
                    <a:ext uri="{FF2B5EF4-FFF2-40B4-BE49-F238E27FC236}">
                      <a16:creationId xmlns:a16="http://schemas.microsoft.com/office/drawing/2014/main" id="{BA2673FB-2F64-46BB-86D7-518DC6E6516B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0" name="Rechthoek 159">
                  <a:extLst>
                    <a:ext uri="{FF2B5EF4-FFF2-40B4-BE49-F238E27FC236}">
                      <a16:creationId xmlns:a16="http://schemas.microsoft.com/office/drawing/2014/main" id="{99FC5D7C-59CA-44AF-8546-AB239B3882D3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1" name="Rechthoek 160">
                  <a:extLst>
                    <a:ext uri="{FF2B5EF4-FFF2-40B4-BE49-F238E27FC236}">
                      <a16:creationId xmlns:a16="http://schemas.microsoft.com/office/drawing/2014/main" id="{DAA8396A-FAEC-4A1E-A848-20F43496F72B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2" name="Rechthoek 161">
                  <a:extLst>
                    <a:ext uri="{FF2B5EF4-FFF2-40B4-BE49-F238E27FC236}">
                      <a16:creationId xmlns:a16="http://schemas.microsoft.com/office/drawing/2014/main" id="{7EC26D0D-9B1F-411E-907A-F8E916079E09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44" name="Groep 143">
                <a:extLst>
                  <a:ext uri="{FF2B5EF4-FFF2-40B4-BE49-F238E27FC236}">
                    <a16:creationId xmlns:a16="http://schemas.microsoft.com/office/drawing/2014/main" id="{0C3A5C85-9087-42F8-8B29-DFFA60657E69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49" name="Groep 148">
                  <a:extLst>
                    <a:ext uri="{FF2B5EF4-FFF2-40B4-BE49-F238E27FC236}">
                      <a16:creationId xmlns:a16="http://schemas.microsoft.com/office/drawing/2014/main" id="{4EDB1857-AA39-4D2D-8DE8-EF48B83444D5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51" name="Rechthoek: afgeronde hoeken 150">
                    <a:extLst>
                      <a:ext uri="{FF2B5EF4-FFF2-40B4-BE49-F238E27FC236}">
                        <a16:creationId xmlns:a16="http://schemas.microsoft.com/office/drawing/2014/main" id="{9C8735E9-C8E5-4574-9324-84E0176BB9B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2105"/>
                      </a:spcBef>
                      <a:spcAft>
                        <a:spcPts val="2105"/>
                      </a:spcAft>
                    </a:pPr>
                    <a:endParaRPr lang="nl-NL" sz="280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52" name="Rechthoek 151">
                    <a:extLst>
                      <a:ext uri="{FF2B5EF4-FFF2-40B4-BE49-F238E27FC236}">
                        <a16:creationId xmlns:a16="http://schemas.microsoft.com/office/drawing/2014/main" id="{73C6832B-FEA3-463A-9CD1-8ADB75B7AD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53" name="Rechthoek 152">
                    <a:extLst>
                      <a:ext uri="{FF2B5EF4-FFF2-40B4-BE49-F238E27FC236}">
                        <a16:creationId xmlns:a16="http://schemas.microsoft.com/office/drawing/2014/main" id="{0A9DB9F8-7C11-4F03-8051-8501C15B57E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54" name="Rechthoek 153">
                    <a:extLst>
                      <a:ext uri="{FF2B5EF4-FFF2-40B4-BE49-F238E27FC236}">
                        <a16:creationId xmlns:a16="http://schemas.microsoft.com/office/drawing/2014/main" id="{E6FB0339-C99B-43AA-9D03-84A94950BCC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55" name="Rechthoek 154">
                    <a:extLst>
                      <a:ext uri="{FF2B5EF4-FFF2-40B4-BE49-F238E27FC236}">
                        <a16:creationId xmlns:a16="http://schemas.microsoft.com/office/drawing/2014/main" id="{2CE38CCC-473B-4D91-9B1C-6775BF0B659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56" name="Rechthoek 155">
                    <a:extLst>
                      <a:ext uri="{FF2B5EF4-FFF2-40B4-BE49-F238E27FC236}">
                        <a16:creationId xmlns:a16="http://schemas.microsoft.com/office/drawing/2014/main" id="{633BA9F4-D1A5-40B6-9D8D-074314E86371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150" name="Boog 149">
                  <a:extLst>
                    <a:ext uri="{FF2B5EF4-FFF2-40B4-BE49-F238E27FC236}">
                      <a16:creationId xmlns:a16="http://schemas.microsoft.com/office/drawing/2014/main" id="{025103BD-8A11-4D38-ADED-FBB1689F859C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</p:grpSp>
          <p:sp>
            <p:nvSpPr>
              <p:cNvPr id="146" name="Tekstvak 145">
                <a:extLst>
                  <a:ext uri="{FF2B5EF4-FFF2-40B4-BE49-F238E27FC236}">
                    <a16:creationId xmlns:a16="http://schemas.microsoft.com/office/drawing/2014/main" id="{E187F113-A1A3-4C37-B3D0-200B6FE12299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47" name="Tekstvak 146">
                <a:extLst>
                  <a:ext uri="{FF2B5EF4-FFF2-40B4-BE49-F238E27FC236}">
                    <a16:creationId xmlns:a16="http://schemas.microsoft.com/office/drawing/2014/main" id="{4A72C297-1416-48B8-AEFB-7F5B40A4E713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48" name="Picture 3">
                <a:extLst>
                  <a:ext uri="{FF2B5EF4-FFF2-40B4-BE49-F238E27FC236}">
                    <a16:creationId xmlns:a16="http://schemas.microsoft.com/office/drawing/2014/main" id="{48E9B399-5E03-4347-ABE1-9D7D02B61F5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810206" y="3671228"/>
                <a:ext cx="14251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grpSp>
        <p:nvGrpSpPr>
          <p:cNvPr id="165" name="Groep 101">
            <a:extLst>
              <a:ext uri="{FF2B5EF4-FFF2-40B4-BE49-F238E27FC236}">
                <a16:creationId xmlns:a16="http://schemas.microsoft.com/office/drawing/2014/main" id="{F9ECD4A6-0A37-49D8-843D-3894BB26030E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166" name="Rechthoek 102">
              <a:extLst>
                <a:ext uri="{FF2B5EF4-FFF2-40B4-BE49-F238E27FC236}">
                  <a16:creationId xmlns:a16="http://schemas.microsoft.com/office/drawing/2014/main" id="{B2D02ACB-A212-4F6E-A563-653CBAD8B71E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167" name="Ovaal 103">
              <a:extLst>
                <a:ext uri="{FF2B5EF4-FFF2-40B4-BE49-F238E27FC236}">
                  <a16:creationId xmlns:a16="http://schemas.microsoft.com/office/drawing/2014/main" id="{8A3D5FF1-9E86-48A4-87EE-0FC05C78E866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68" name="Rechte verbindingslijn 104">
              <a:extLst>
                <a:ext uri="{FF2B5EF4-FFF2-40B4-BE49-F238E27FC236}">
                  <a16:creationId xmlns:a16="http://schemas.microsoft.com/office/drawing/2014/main" id="{A05F631B-6768-464D-8878-71965C006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69" name="Groep 105">
              <a:extLst>
                <a:ext uri="{FF2B5EF4-FFF2-40B4-BE49-F238E27FC236}">
                  <a16:creationId xmlns:a16="http://schemas.microsoft.com/office/drawing/2014/main" id="{79D8BCBE-AB9E-479F-A514-B2DABE8BA10C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94" name="Rechthoek 130">
                <a:extLst>
                  <a:ext uri="{FF2B5EF4-FFF2-40B4-BE49-F238E27FC236}">
                    <a16:creationId xmlns:a16="http://schemas.microsoft.com/office/drawing/2014/main" id="{D783573A-B61F-4B8A-8538-B8CF83C34005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195" name="Rechte verbindingslijn 131">
                <a:extLst>
                  <a:ext uri="{FF2B5EF4-FFF2-40B4-BE49-F238E27FC236}">
                    <a16:creationId xmlns:a16="http://schemas.microsoft.com/office/drawing/2014/main" id="{4936BC54-A12C-4A5C-9411-64347F211F5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" name="Rechte verbindingslijn 132">
                <a:extLst>
                  <a:ext uri="{FF2B5EF4-FFF2-40B4-BE49-F238E27FC236}">
                    <a16:creationId xmlns:a16="http://schemas.microsoft.com/office/drawing/2014/main" id="{C7B2E183-2334-459F-8280-8541C808371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7" name="Rechthoek 133">
                <a:extLst>
                  <a:ext uri="{FF2B5EF4-FFF2-40B4-BE49-F238E27FC236}">
                    <a16:creationId xmlns:a16="http://schemas.microsoft.com/office/drawing/2014/main" id="{892F2A31-82E1-4223-896D-69850D53646B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98" name="Groep 134">
                <a:extLst>
                  <a:ext uri="{FF2B5EF4-FFF2-40B4-BE49-F238E27FC236}">
                    <a16:creationId xmlns:a16="http://schemas.microsoft.com/office/drawing/2014/main" id="{E2E6CF8F-D1EC-44A2-AA6D-804297A5A047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47" name="Groep 175">
                  <a:extLst>
                    <a:ext uri="{FF2B5EF4-FFF2-40B4-BE49-F238E27FC236}">
                      <a16:creationId xmlns:a16="http://schemas.microsoft.com/office/drawing/2014/main" id="{EDB62064-463D-4FBD-AAED-E6920D8EFB71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51" name="Rechte verbindingslijn 179">
                    <a:extLst>
                      <a:ext uri="{FF2B5EF4-FFF2-40B4-BE49-F238E27FC236}">
                        <a16:creationId xmlns:a16="http://schemas.microsoft.com/office/drawing/2014/main" id="{4E189D6E-E3F9-40B7-87E8-EA4A6589F98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2" name="Rechte verbindingslijn 180">
                    <a:extLst>
                      <a:ext uri="{FF2B5EF4-FFF2-40B4-BE49-F238E27FC236}">
                        <a16:creationId xmlns:a16="http://schemas.microsoft.com/office/drawing/2014/main" id="{1393A148-7A0F-4C9F-8114-F0AB8DA31C0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3" name="Rechte verbindingslijn 181">
                    <a:extLst>
                      <a:ext uri="{FF2B5EF4-FFF2-40B4-BE49-F238E27FC236}">
                        <a16:creationId xmlns:a16="http://schemas.microsoft.com/office/drawing/2014/main" id="{67049322-2BDA-4D74-9490-4FC311CBAB8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4" name="Rechte verbindingslijn 182">
                    <a:extLst>
                      <a:ext uri="{FF2B5EF4-FFF2-40B4-BE49-F238E27FC236}">
                        <a16:creationId xmlns:a16="http://schemas.microsoft.com/office/drawing/2014/main" id="{23C9BB9A-2FF1-42CD-A72A-F1C73FEE16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5" name="Rechte verbindingslijn 183">
                    <a:extLst>
                      <a:ext uri="{FF2B5EF4-FFF2-40B4-BE49-F238E27FC236}">
                        <a16:creationId xmlns:a16="http://schemas.microsoft.com/office/drawing/2014/main" id="{BF77AA8E-7F2E-47D2-AB88-E6E70CEAD4F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8" name="Groep 176">
                  <a:extLst>
                    <a:ext uri="{FF2B5EF4-FFF2-40B4-BE49-F238E27FC236}">
                      <a16:creationId xmlns:a16="http://schemas.microsoft.com/office/drawing/2014/main" id="{2BF2DFEC-86D0-4F65-9C44-07BB096C670B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49" name="Rechthoek 177">
                    <a:extLst>
                      <a:ext uri="{FF2B5EF4-FFF2-40B4-BE49-F238E27FC236}">
                        <a16:creationId xmlns:a16="http://schemas.microsoft.com/office/drawing/2014/main" id="{7B3472E2-0C32-494A-AC9A-3B8866F7F38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50" name="Pijl: punthaak 178">
                    <a:extLst>
                      <a:ext uri="{FF2B5EF4-FFF2-40B4-BE49-F238E27FC236}">
                        <a16:creationId xmlns:a16="http://schemas.microsoft.com/office/drawing/2014/main" id="{0947D013-7E6D-4145-9F37-5C01EA64170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99" name="Groep 135">
                <a:extLst>
                  <a:ext uri="{FF2B5EF4-FFF2-40B4-BE49-F238E27FC236}">
                    <a16:creationId xmlns:a16="http://schemas.microsoft.com/office/drawing/2014/main" id="{4B015EFC-BE7D-4100-A6C9-0D7EC060FAD5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38" name="Groep 166">
                  <a:extLst>
                    <a:ext uri="{FF2B5EF4-FFF2-40B4-BE49-F238E27FC236}">
                      <a16:creationId xmlns:a16="http://schemas.microsoft.com/office/drawing/2014/main" id="{B460E8E7-7BD8-4217-BC2B-8DF5F2DD1828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42" name="Rechte verbindingslijn 170">
                    <a:extLst>
                      <a:ext uri="{FF2B5EF4-FFF2-40B4-BE49-F238E27FC236}">
                        <a16:creationId xmlns:a16="http://schemas.microsoft.com/office/drawing/2014/main" id="{B6A575FA-39B7-47D6-A93C-B44AAE05CF8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3" name="Rechte verbindingslijn 171">
                    <a:extLst>
                      <a:ext uri="{FF2B5EF4-FFF2-40B4-BE49-F238E27FC236}">
                        <a16:creationId xmlns:a16="http://schemas.microsoft.com/office/drawing/2014/main" id="{D20DF913-3213-41B3-926A-7D0ADD54EC0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4" name="Rechte verbindingslijn 172">
                    <a:extLst>
                      <a:ext uri="{FF2B5EF4-FFF2-40B4-BE49-F238E27FC236}">
                        <a16:creationId xmlns:a16="http://schemas.microsoft.com/office/drawing/2014/main" id="{4F50A8F7-AC55-4661-8111-D4417F7BE52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5" name="Rechte verbindingslijn 173">
                    <a:extLst>
                      <a:ext uri="{FF2B5EF4-FFF2-40B4-BE49-F238E27FC236}">
                        <a16:creationId xmlns:a16="http://schemas.microsoft.com/office/drawing/2014/main" id="{D284C25D-9D83-4D16-B35F-3513589AE53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6" name="Rechte verbindingslijn 174">
                    <a:extLst>
                      <a:ext uri="{FF2B5EF4-FFF2-40B4-BE49-F238E27FC236}">
                        <a16:creationId xmlns:a16="http://schemas.microsoft.com/office/drawing/2014/main" id="{DF2F0267-6346-4788-AA9A-F0B5D4919D0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39" name="Groep 167">
                  <a:extLst>
                    <a:ext uri="{FF2B5EF4-FFF2-40B4-BE49-F238E27FC236}">
                      <a16:creationId xmlns:a16="http://schemas.microsoft.com/office/drawing/2014/main" id="{1FA6F108-F8CF-4EE3-9FAC-A76D74192E05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40" name="Rechthoek 168">
                    <a:extLst>
                      <a:ext uri="{FF2B5EF4-FFF2-40B4-BE49-F238E27FC236}">
                        <a16:creationId xmlns:a16="http://schemas.microsoft.com/office/drawing/2014/main" id="{0CA52176-B5A0-4673-AC71-7A1AE9D4EC1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41" name="Pijl: punthaak 169">
                    <a:extLst>
                      <a:ext uri="{FF2B5EF4-FFF2-40B4-BE49-F238E27FC236}">
                        <a16:creationId xmlns:a16="http://schemas.microsoft.com/office/drawing/2014/main" id="{F9A7E74D-27FB-4685-B7F0-D613D106CAB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00" name="Rechte verbindingslijn 136">
                <a:extLst>
                  <a:ext uri="{FF2B5EF4-FFF2-40B4-BE49-F238E27FC236}">
                    <a16:creationId xmlns:a16="http://schemas.microsoft.com/office/drawing/2014/main" id="{713CBDBF-45E9-4129-A785-86AD5B6DDFF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01" name="Rechte verbindingslijn 137">
                <a:extLst>
                  <a:ext uri="{FF2B5EF4-FFF2-40B4-BE49-F238E27FC236}">
                    <a16:creationId xmlns:a16="http://schemas.microsoft.com/office/drawing/2014/main" id="{76AAA43F-76E2-4B0E-839C-A6BA79CED9D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02" name="Groep 138">
                <a:extLst>
                  <a:ext uri="{FF2B5EF4-FFF2-40B4-BE49-F238E27FC236}">
                    <a16:creationId xmlns:a16="http://schemas.microsoft.com/office/drawing/2014/main" id="{7E731776-22DD-40CE-851F-3F18853D3252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27" name="Rechthoek 155">
                  <a:extLst>
                    <a:ext uri="{FF2B5EF4-FFF2-40B4-BE49-F238E27FC236}">
                      <a16:creationId xmlns:a16="http://schemas.microsoft.com/office/drawing/2014/main" id="{E16CAED0-DF5E-4BD1-9A1D-66D6CC44E213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28" name="Groep 156">
                  <a:extLst>
                    <a:ext uri="{FF2B5EF4-FFF2-40B4-BE49-F238E27FC236}">
                      <a16:creationId xmlns:a16="http://schemas.microsoft.com/office/drawing/2014/main" id="{FE14CFB6-2DDD-4B95-BC61-09515188F297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29" name="Groep 157">
                    <a:extLst>
                      <a:ext uri="{FF2B5EF4-FFF2-40B4-BE49-F238E27FC236}">
                        <a16:creationId xmlns:a16="http://schemas.microsoft.com/office/drawing/2014/main" id="{18E5EFD2-6935-49D4-AB32-70D6C3B1D8F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33" name="Rechte verbindingslijn 161">
                      <a:extLst>
                        <a:ext uri="{FF2B5EF4-FFF2-40B4-BE49-F238E27FC236}">
                          <a16:creationId xmlns:a16="http://schemas.microsoft.com/office/drawing/2014/main" id="{FFFEE55F-C0B9-4408-AAB2-DB777FBBEED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4" name="Rechte verbindingslijn 162">
                      <a:extLst>
                        <a:ext uri="{FF2B5EF4-FFF2-40B4-BE49-F238E27FC236}">
                          <a16:creationId xmlns:a16="http://schemas.microsoft.com/office/drawing/2014/main" id="{20C8E876-1B9F-4526-9F83-2C7C2041F65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5" name="Rechte verbindingslijn 163">
                      <a:extLst>
                        <a:ext uri="{FF2B5EF4-FFF2-40B4-BE49-F238E27FC236}">
                          <a16:creationId xmlns:a16="http://schemas.microsoft.com/office/drawing/2014/main" id="{72F2E03A-F42B-4A2D-9F8A-BA674206C7C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6" name="Rechte verbindingslijn 164">
                      <a:extLst>
                        <a:ext uri="{FF2B5EF4-FFF2-40B4-BE49-F238E27FC236}">
                          <a16:creationId xmlns:a16="http://schemas.microsoft.com/office/drawing/2014/main" id="{7B8E03BF-F579-4F2B-8B86-4F31A93E37C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7" name="Rechte verbindingslijn 165">
                      <a:extLst>
                        <a:ext uri="{FF2B5EF4-FFF2-40B4-BE49-F238E27FC236}">
                          <a16:creationId xmlns:a16="http://schemas.microsoft.com/office/drawing/2014/main" id="{37C60834-E219-4E53-8C67-CA5D5DB8A9C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30" name="Groep 158">
                    <a:extLst>
                      <a:ext uri="{FF2B5EF4-FFF2-40B4-BE49-F238E27FC236}">
                        <a16:creationId xmlns:a16="http://schemas.microsoft.com/office/drawing/2014/main" id="{818F9B71-2356-4863-A90F-068189AF64F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31" name="Rechthoek 159">
                      <a:extLst>
                        <a:ext uri="{FF2B5EF4-FFF2-40B4-BE49-F238E27FC236}">
                          <a16:creationId xmlns:a16="http://schemas.microsoft.com/office/drawing/2014/main" id="{1395A027-B603-4896-8FCB-8CE1DFABDBD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32" name="Pijl: punthaak 160">
                      <a:extLst>
                        <a:ext uri="{FF2B5EF4-FFF2-40B4-BE49-F238E27FC236}">
                          <a16:creationId xmlns:a16="http://schemas.microsoft.com/office/drawing/2014/main" id="{A69781C0-C5B8-4008-BBBF-0CAE4628934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03" name="Groep 139">
                <a:extLst>
                  <a:ext uri="{FF2B5EF4-FFF2-40B4-BE49-F238E27FC236}">
                    <a16:creationId xmlns:a16="http://schemas.microsoft.com/office/drawing/2014/main" id="{0FC94D04-F1D1-4E55-8B53-8B6D40C1DACA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06" name="Rechthoek 142">
                  <a:extLst>
                    <a:ext uri="{FF2B5EF4-FFF2-40B4-BE49-F238E27FC236}">
                      <a16:creationId xmlns:a16="http://schemas.microsoft.com/office/drawing/2014/main" id="{B94CF787-2424-4D81-A0D8-420FB067D4A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7" name="Groep 143">
                  <a:extLst>
                    <a:ext uri="{FF2B5EF4-FFF2-40B4-BE49-F238E27FC236}">
                      <a16:creationId xmlns:a16="http://schemas.microsoft.com/office/drawing/2014/main" id="{A0ACBC95-770F-44DE-9695-A08696634646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08" name="Groep 144">
                    <a:extLst>
                      <a:ext uri="{FF2B5EF4-FFF2-40B4-BE49-F238E27FC236}">
                        <a16:creationId xmlns:a16="http://schemas.microsoft.com/office/drawing/2014/main" id="{5D591872-8042-49D1-9DDE-8AA8155C867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22" name="Rechte verbindingslijn 150">
                      <a:extLst>
                        <a:ext uri="{FF2B5EF4-FFF2-40B4-BE49-F238E27FC236}">
                          <a16:creationId xmlns:a16="http://schemas.microsoft.com/office/drawing/2014/main" id="{8067C99C-E11F-4FB7-97E3-616F878F8DE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3" name="Rechte verbindingslijn 151">
                      <a:extLst>
                        <a:ext uri="{FF2B5EF4-FFF2-40B4-BE49-F238E27FC236}">
                          <a16:creationId xmlns:a16="http://schemas.microsoft.com/office/drawing/2014/main" id="{05345F06-0ABB-43ED-A295-465D650E7BC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4" name="Rechte verbindingslijn 152">
                      <a:extLst>
                        <a:ext uri="{FF2B5EF4-FFF2-40B4-BE49-F238E27FC236}">
                          <a16:creationId xmlns:a16="http://schemas.microsoft.com/office/drawing/2014/main" id="{59BE8C5C-2DFD-48EB-B0E0-D0963C6FD8A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5" name="Rechte verbindingslijn 153">
                      <a:extLst>
                        <a:ext uri="{FF2B5EF4-FFF2-40B4-BE49-F238E27FC236}">
                          <a16:creationId xmlns:a16="http://schemas.microsoft.com/office/drawing/2014/main" id="{9414D88F-8EED-4A19-8CFC-FF3C7D91381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6" name="Rechte verbindingslijn 154">
                      <a:extLst>
                        <a:ext uri="{FF2B5EF4-FFF2-40B4-BE49-F238E27FC236}">
                          <a16:creationId xmlns:a16="http://schemas.microsoft.com/office/drawing/2014/main" id="{1DC76651-C7EA-4FDD-98CF-6C643D089C6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9" name="Groep 147">
                    <a:extLst>
                      <a:ext uri="{FF2B5EF4-FFF2-40B4-BE49-F238E27FC236}">
                        <a16:creationId xmlns:a16="http://schemas.microsoft.com/office/drawing/2014/main" id="{AE9B4F12-C1E7-4F81-8684-1F7927F72E99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20" name="Rechthoek 148">
                      <a:extLst>
                        <a:ext uri="{FF2B5EF4-FFF2-40B4-BE49-F238E27FC236}">
                          <a16:creationId xmlns:a16="http://schemas.microsoft.com/office/drawing/2014/main" id="{E881A11D-B889-4E04-A903-A3D076C4377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21" name="Pijl: punthaak 149">
                      <a:extLst>
                        <a:ext uri="{FF2B5EF4-FFF2-40B4-BE49-F238E27FC236}">
                          <a16:creationId xmlns:a16="http://schemas.microsoft.com/office/drawing/2014/main" id="{D63CDC6C-A0F0-4D4D-8AD9-CAAADD75EA00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04" name="Rechthoek 140">
                <a:extLst>
                  <a:ext uri="{FF2B5EF4-FFF2-40B4-BE49-F238E27FC236}">
                    <a16:creationId xmlns:a16="http://schemas.microsoft.com/office/drawing/2014/main" id="{D3F533FE-5BC6-4A62-8E18-FCECACD7525D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205" name="Rechthoek 141">
                <a:extLst>
                  <a:ext uri="{FF2B5EF4-FFF2-40B4-BE49-F238E27FC236}">
                    <a16:creationId xmlns:a16="http://schemas.microsoft.com/office/drawing/2014/main" id="{FCE37D86-E777-4454-8248-657B3403A8EA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170" name="Rechte verbindingslijn 106">
              <a:extLst>
                <a:ext uri="{FF2B5EF4-FFF2-40B4-BE49-F238E27FC236}">
                  <a16:creationId xmlns:a16="http://schemas.microsoft.com/office/drawing/2014/main" id="{E90C6994-8D4A-4ED7-AC25-D300093DE51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1" name="Rechthoek 107">
              <a:extLst>
                <a:ext uri="{FF2B5EF4-FFF2-40B4-BE49-F238E27FC236}">
                  <a16:creationId xmlns:a16="http://schemas.microsoft.com/office/drawing/2014/main" id="{58B9825E-BE05-4DC1-9C5B-9B15E154A93A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172" name="Ovaal 108">
              <a:extLst>
                <a:ext uri="{FF2B5EF4-FFF2-40B4-BE49-F238E27FC236}">
                  <a16:creationId xmlns:a16="http://schemas.microsoft.com/office/drawing/2014/main" id="{76CD06BD-D823-4A1C-9FE3-7A41FE1B1139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3" name="Rechthoek 109">
              <a:extLst>
                <a:ext uri="{FF2B5EF4-FFF2-40B4-BE49-F238E27FC236}">
                  <a16:creationId xmlns:a16="http://schemas.microsoft.com/office/drawing/2014/main" id="{71D3578A-E167-4CD9-85B5-4DAC4B510263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174" name="Ovaal 110">
              <a:extLst>
                <a:ext uri="{FF2B5EF4-FFF2-40B4-BE49-F238E27FC236}">
                  <a16:creationId xmlns:a16="http://schemas.microsoft.com/office/drawing/2014/main" id="{6BA67B2A-E067-4065-86BB-796AEB404E16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5" name="Rechthoek 111">
              <a:extLst>
                <a:ext uri="{FF2B5EF4-FFF2-40B4-BE49-F238E27FC236}">
                  <a16:creationId xmlns:a16="http://schemas.microsoft.com/office/drawing/2014/main" id="{AE163EBF-1964-4AF6-8483-E7770AE4F22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76" name="Ovaal 112">
              <a:extLst>
                <a:ext uri="{FF2B5EF4-FFF2-40B4-BE49-F238E27FC236}">
                  <a16:creationId xmlns:a16="http://schemas.microsoft.com/office/drawing/2014/main" id="{76007322-A747-43E9-A7ED-9C65C4EC6F30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7" name="Rechthoek 113">
              <a:extLst>
                <a:ext uri="{FF2B5EF4-FFF2-40B4-BE49-F238E27FC236}">
                  <a16:creationId xmlns:a16="http://schemas.microsoft.com/office/drawing/2014/main" id="{80912AC0-4017-401F-9F31-622F1C5FCD2C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178" name="Ovaal 114">
              <a:extLst>
                <a:ext uri="{FF2B5EF4-FFF2-40B4-BE49-F238E27FC236}">
                  <a16:creationId xmlns:a16="http://schemas.microsoft.com/office/drawing/2014/main" id="{7CC4F57D-1F48-4949-9CD9-1844FEB9E4D8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79" name="Rechthoek 115">
              <a:extLst>
                <a:ext uri="{FF2B5EF4-FFF2-40B4-BE49-F238E27FC236}">
                  <a16:creationId xmlns:a16="http://schemas.microsoft.com/office/drawing/2014/main" id="{37398F1F-65D5-4DE5-9182-137DA58F37FD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180" name="Rechte verbindingslijn 116">
              <a:extLst>
                <a:ext uri="{FF2B5EF4-FFF2-40B4-BE49-F238E27FC236}">
                  <a16:creationId xmlns:a16="http://schemas.microsoft.com/office/drawing/2014/main" id="{93C13042-F204-42A8-8A50-483B70D3ED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81" name="Meer informatie">
              <a:extLst>
                <a:ext uri="{FF2B5EF4-FFF2-40B4-BE49-F238E27FC236}">
                  <a16:creationId xmlns:a16="http://schemas.microsoft.com/office/drawing/2014/main" id="{22FD3E15-36BB-4C15-9B26-D30B2D57D5FA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191" name="Freeform 101">
                <a:extLst>
                  <a:ext uri="{FF2B5EF4-FFF2-40B4-BE49-F238E27FC236}">
                    <a16:creationId xmlns:a16="http://schemas.microsoft.com/office/drawing/2014/main" id="{2569138D-D439-480C-970E-35329EF4A63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192" name="Rechthoek 128">
                <a:extLst>
                  <a:ext uri="{FF2B5EF4-FFF2-40B4-BE49-F238E27FC236}">
                    <a16:creationId xmlns:a16="http://schemas.microsoft.com/office/drawing/2014/main" id="{13443DFE-622F-433D-90BD-52E7CE88569C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93" name="Rechte verbindingslijn 129">
                <a:extLst>
                  <a:ext uri="{FF2B5EF4-FFF2-40B4-BE49-F238E27FC236}">
                    <a16:creationId xmlns:a16="http://schemas.microsoft.com/office/drawing/2014/main" id="{1001C1F7-B8E2-4542-9441-F96D9E2E2FA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82" name="Rechthoek 118">
              <a:extLst>
                <a:ext uri="{FF2B5EF4-FFF2-40B4-BE49-F238E27FC236}">
                  <a16:creationId xmlns:a16="http://schemas.microsoft.com/office/drawing/2014/main" id="{46EF52B7-1D82-4475-9BAC-C53939CE631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183" name="Ovaal 119">
              <a:extLst>
                <a:ext uri="{FF2B5EF4-FFF2-40B4-BE49-F238E27FC236}">
                  <a16:creationId xmlns:a16="http://schemas.microsoft.com/office/drawing/2014/main" id="{8C34CEE4-E64D-4B27-B4FF-772874297C0E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84" name="Rechthoek 120">
              <a:extLst>
                <a:ext uri="{FF2B5EF4-FFF2-40B4-BE49-F238E27FC236}">
                  <a16:creationId xmlns:a16="http://schemas.microsoft.com/office/drawing/2014/main" id="{A534DAF2-1F48-4E70-AC05-CCC727FE659E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85" name="Ovaal 121">
              <a:extLst>
                <a:ext uri="{FF2B5EF4-FFF2-40B4-BE49-F238E27FC236}">
                  <a16:creationId xmlns:a16="http://schemas.microsoft.com/office/drawing/2014/main" id="{34F45EA7-0894-41A9-8919-EF78D6E6824C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86" name="Rechthoek 122">
              <a:extLst>
                <a:ext uri="{FF2B5EF4-FFF2-40B4-BE49-F238E27FC236}">
                  <a16:creationId xmlns:a16="http://schemas.microsoft.com/office/drawing/2014/main" id="{AC5E3F93-F66D-4811-A9B9-4B5886154DC5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187" name="Ovaal 123">
              <a:extLst>
                <a:ext uri="{FF2B5EF4-FFF2-40B4-BE49-F238E27FC236}">
                  <a16:creationId xmlns:a16="http://schemas.microsoft.com/office/drawing/2014/main" id="{77DA8BF5-F680-4404-9EC0-48A5535767B7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88" name="Rechthoek 124">
              <a:extLst>
                <a:ext uri="{FF2B5EF4-FFF2-40B4-BE49-F238E27FC236}">
                  <a16:creationId xmlns:a16="http://schemas.microsoft.com/office/drawing/2014/main" id="{39A67F82-7300-4A42-8870-ADC3D52590ED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89" name="Rechthoek 125">
              <a:extLst>
                <a:ext uri="{FF2B5EF4-FFF2-40B4-BE49-F238E27FC236}">
                  <a16:creationId xmlns:a16="http://schemas.microsoft.com/office/drawing/2014/main" id="{8FF48D29-3354-40D7-99B1-18635C83E12A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190" name="Ovaal 126">
              <a:extLst>
                <a:ext uri="{FF2B5EF4-FFF2-40B4-BE49-F238E27FC236}">
                  <a16:creationId xmlns:a16="http://schemas.microsoft.com/office/drawing/2014/main" id="{61338291-80D6-4B7E-B592-61ECE966A928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  <p:sp>
        <p:nvSpPr>
          <p:cNvPr id="256" name="Tijdelijke aanduiding voor tekst 3">
            <a:extLst>
              <a:ext uri="{FF2B5EF4-FFF2-40B4-BE49-F238E27FC236}">
                <a16:creationId xmlns:a16="http://schemas.microsoft.com/office/drawing/2014/main" id="{3CE98F57-4E31-4AA0-A992-55245B424F3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504415" y="1449454"/>
            <a:ext cx="6635238" cy="3534585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51"/>
            </a:lvl1pPr>
          </a:lstStyle>
          <a:p>
            <a:pPr lvl="0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383564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6" presetClass="emp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4250" fill="hold"/>
                                        <p:tgtEl>
                                          <p:spTgt spid="10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4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5" grpId="0" uiExpand="1" build="p">
        <p:tmplLst>
          <p:tmpl lvl="1">
            <p:tnLst>
              <p:par>
                <p:cTn presetID="2" presetClass="entr" presetSubtype="8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2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3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4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5">
            <p:tnLst>
              <p:par>
                <p:cTn presetID="2" presetClass="entr" presetSubtype="2" decel="100000" fill="hold" nodeType="withEffect" nodePh="1">
                  <p:stCondLst>
                    <p:cond delay="5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ofdstu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jdelijke aanduiding voor afbeelding 17">
            <a:extLst>
              <a:ext uri="{FF2B5EF4-FFF2-40B4-BE49-F238E27FC236}">
                <a16:creationId xmlns:a16="http://schemas.microsoft.com/office/drawing/2014/main" id="{FCE83ED8-1632-45C0-9776-66D7AE22C04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" y="-31537"/>
            <a:ext cx="29224288" cy="3030675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1116000" anchor="ctr">
            <a:noAutofit/>
          </a:bodyPr>
          <a:lstStyle>
            <a:lvl1pPr marL="801872" indent="-801872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801872" lvl="0" indent="-801872" algn="ctr"/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6" name="Tijdelijke aanduiding voor verticale tekst 2">
            <a:extLst>
              <a:ext uri="{FF2B5EF4-FFF2-40B4-BE49-F238E27FC236}">
                <a16:creationId xmlns:a16="http://schemas.microsoft.com/office/drawing/2014/main" id="{5A35BD7A-B3CF-4DC4-9F54-201CE6D20B37}"/>
              </a:ext>
            </a:extLst>
          </p:cNvPr>
          <p:cNvSpPr>
            <a:spLocks noGrp="1"/>
          </p:cNvSpPr>
          <p:nvPr>
            <p:ph type="body" orient="vert" idx="27" hasCustomPrompt="1"/>
          </p:nvPr>
        </p:nvSpPr>
        <p:spPr>
          <a:xfrm>
            <a:off x="31332216" y="18091585"/>
            <a:ext cx="8494785" cy="5513364"/>
          </a:xfrm>
        </p:spPr>
        <p:txBody>
          <a:bodyPr vert="horz" anchor="t"/>
          <a:lstStyle>
            <a:lvl1pPr marL="0" indent="0" algn="r">
              <a:buFontTx/>
              <a:buNone/>
              <a:defRPr sz="5612" b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  <a:lvl6pPr marL="0" indent="0" algn="r">
              <a:buFontTx/>
              <a:buNone/>
              <a:defRPr>
                <a:latin typeface="+mj-lt"/>
              </a:defRPr>
            </a:lvl6pPr>
          </a:lstStyle>
          <a:p>
            <a:pPr lvl="0"/>
            <a:r>
              <a:rPr lang="nl-NL" noProof="0"/>
              <a:t>Platte tekst</a:t>
            </a:r>
          </a:p>
        </p:txBody>
      </p:sp>
      <p:sp>
        <p:nvSpPr>
          <p:cNvPr id="30" name="Tijdelijke aanduiding voor voettekst 4">
            <a:extLst>
              <a:ext uri="{FF2B5EF4-FFF2-40B4-BE49-F238E27FC236}">
                <a16:creationId xmlns:a16="http://schemas.microsoft.com/office/drawing/2014/main" id="{88E1252C-995D-4324-9AF2-1F90A93410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22298DC-FFF2-4203-A156-2D5C52D8F1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8"/>
            <a:ext cx="707315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6" name="Tijdelijke aanduiding voor verticale tekst 2">
            <a:extLst>
              <a:ext uri="{FF2B5EF4-FFF2-40B4-BE49-F238E27FC236}">
                <a16:creationId xmlns:a16="http://schemas.microsoft.com/office/drawing/2014/main" id="{0C2BFF95-BE2F-4339-9C65-620ECC5A9CA8}"/>
              </a:ext>
            </a:extLst>
          </p:cNvPr>
          <p:cNvSpPr>
            <a:spLocks noGrp="1"/>
          </p:cNvSpPr>
          <p:nvPr>
            <p:ph type="body" orient="vert" idx="29" hasCustomPrompt="1"/>
          </p:nvPr>
        </p:nvSpPr>
        <p:spPr>
          <a:xfrm>
            <a:off x="31332216" y="12578224"/>
            <a:ext cx="8494785" cy="5513364"/>
          </a:xfrm>
        </p:spPr>
        <p:txBody>
          <a:bodyPr vert="horz" anchor="b"/>
          <a:lstStyle>
            <a:lvl1pPr marL="0" indent="0" algn="r">
              <a:lnSpc>
                <a:spcPct val="100000"/>
              </a:lnSpc>
              <a:buFontTx/>
              <a:buNone/>
              <a:defRPr sz="16838" b="0" baseline="0">
                <a:solidFill>
                  <a:schemeClr val="tx2"/>
                </a:solidFill>
                <a:latin typeface="+mj-lt"/>
              </a:defRPr>
            </a:lvl1pPr>
            <a:lvl2pPr algn="r">
              <a:lnSpc>
                <a:spcPct val="100000"/>
              </a:lnSpc>
              <a:defRPr>
                <a:latin typeface="+mj-lt"/>
              </a:defRPr>
            </a:lvl2pPr>
            <a:lvl3pPr algn="r">
              <a:lnSpc>
                <a:spcPct val="100000"/>
              </a:lnSpc>
              <a:defRPr>
                <a:latin typeface="+mj-lt"/>
              </a:defRPr>
            </a:lvl3pPr>
            <a:lvl4pPr algn="r">
              <a:lnSpc>
                <a:spcPct val="100000"/>
              </a:lnSpc>
              <a:defRPr sz="16838">
                <a:solidFill>
                  <a:schemeClr val="tx2"/>
                </a:solidFill>
                <a:latin typeface="+mj-lt"/>
              </a:defRPr>
            </a:lvl4pPr>
            <a:lvl5pPr algn="r">
              <a:lnSpc>
                <a:spcPct val="100000"/>
              </a:lnSpc>
              <a:defRPr>
                <a:latin typeface="+mj-lt"/>
              </a:defRPr>
            </a:lvl5pPr>
          </a:lstStyle>
          <a:p>
            <a:pPr lvl="0"/>
            <a:r>
              <a:rPr lang="nl-NL" noProof="0"/>
              <a:t>Typ titel</a:t>
            </a:r>
          </a:p>
        </p:txBody>
      </p:sp>
      <p:sp>
        <p:nvSpPr>
          <p:cNvPr id="28" name="Tijdelijke aanduiding voor tekst 2">
            <a:extLst>
              <a:ext uri="{FF2B5EF4-FFF2-40B4-BE49-F238E27FC236}">
                <a16:creationId xmlns:a16="http://schemas.microsoft.com/office/drawing/2014/main" id="{96BEB92E-F202-471F-B7E9-FE333D4C057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399513" y="17837431"/>
            <a:ext cx="15877931" cy="8554531"/>
          </a:xfrm>
          <a:custGeom>
            <a:avLst/>
            <a:gdLst>
              <a:gd name="connsiteX0" fmla="*/ 0 w 4524067"/>
              <a:gd name="connsiteY0" fmla="*/ 42969 h 1602140"/>
              <a:gd name="connsiteX1" fmla="*/ 42969 w 4524067"/>
              <a:gd name="connsiteY1" fmla="*/ 0 h 1602140"/>
              <a:gd name="connsiteX2" fmla="*/ 4481098 w 4524067"/>
              <a:gd name="connsiteY2" fmla="*/ 0 h 1602140"/>
              <a:gd name="connsiteX3" fmla="*/ 4524067 w 4524067"/>
              <a:gd name="connsiteY3" fmla="*/ 42969 h 1602140"/>
              <a:gd name="connsiteX4" fmla="*/ 4524067 w 4524067"/>
              <a:gd name="connsiteY4" fmla="*/ 1559171 h 1602140"/>
              <a:gd name="connsiteX5" fmla="*/ 4481098 w 4524067"/>
              <a:gd name="connsiteY5" fmla="*/ 1602140 h 1602140"/>
              <a:gd name="connsiteX6" fmla="*/ 42969 w 4524067"/>
              <a:gd name="connsiteY6" fmla="*/ 1602140 h 1602140"/>
              <a:gd name="connsiteX7" fmla="*/ 0 w 4524067"/>
              <a:gd name="connsiteY7" fmla="*/ 1559171 h 1602140"/>
              <a:gd name="connsiteX8" fmla="*/ 0 w 4524067"/>
              <a:gd name="connsiteY8" fmla="*/ 42969 h 1602140"/>
              <a:gd name="connsiteX0" fmla="*/ 0 w 4524067"/>
              <a:gd name="connsiteY0" fmla="*/ 43141 h 1602312"/>
              <a:gd name="connsiteX1" fmla="*/ 42969 w 4524067"/>
              <a:gd name="connsiteY1" fmla="*/ 172 h 1602312"/>
              <a:gd name="connsiteX2" fmla="*/ 4136478 w 4524067"/>
              <a:gd name="connsiteY2" fmla="*/ 0 h 1602312"/>
              <a:gd name="connsiteX3" fmla="*/ 4481098 w 4524067"/>
              <a:gd name="connsiteY3" fmla="*/ 172 h 1602312"/>
              <a:gd name="connsiteX4" fmla="*/ 4524067 w 4524067"/>
              <a:gd name="connsiteY4" fmla="*/ 43141 h 1602312"/>
              <a:gd name="connsiteX5" fmla="*/ 4524067 w 4524067"/>
              <a:gd name="connsiteY5" fmla="*/ 1559343 h 1602312"/>
              <a:gd name="connsiteX6" fmla="*/ 4481098 w 4524067"/>
              <a:gd name="connsiteY6" fmla="*/ 1602312 h 1602312"/>
              <a:gd name="connsiteX7" fmla="*/ 42969 w 4524067"/>
              <a:gd name="connsiteY7" fmla="*/ 1602312 h 1602312"/>
              <a:gd name="connsiteX8" fmla="*/ 0 w 4524067"/>
              <a:gd name="connsiteY8" fmla="*/ 1559343 h 1602312"/>
              <a:gd name="connsiteX9" fmla="*/ 0 w 4524067"/>
              <a:gd name="connsiteY9" fmla="*/ 43141 h 1602312"/>
              <a:gd name="connsiteX0" fmla="*/ 0 w 4524067"/>
              <a:gd name="connsiteY0" fmla="*/ 43141 h 1602312"/>
              <a:gd name="connsiteX1" fmla="*/ 42969 w 4524067"/>
              <a:gd name="connsiteY1" fmla="*/ 172 h 1602312"/>
              <a:gd name="connsiteX2" fmla="*/ 4136478 w 4524067"/>
              <a:gd name="connsiteY2" fmla="*/ 0 h 1602312"/>
              <a:gd name="connsiteX3" fmla="*/ 4524067 w 4524067"/>
              <a:gd name="connsiteY3" fmla="*/ 43141 h 1602312"/>
              <a:gd name="connsiteX4" fmla="*/ 4524067 w 4524067"/>
              <a:gd name="connsiteY4" fmla="*/ 1559343 h 1602312"/>
              <a:gd name="connsiteX5" fmla="*/ 4481098 w 4524067"/>
              <a:gd name="connsiteY5" fmla="*/ 1602312 h 1602312"/>
              <a:gd name="connsiteX6" fmla="*/ 42969 w 4524067"/>
              <a:gd name="connsiteY6" fmla="*/ 1602312 h 1602312"/>
              <a:gd name="connsiteX7" fmla="*/ 0 w 4524067"/>
              <a:gd name="connsiteY7" fmla="*/ 1559343 h 1602312"/>
              <a:gd name="connsiteX8" fmla="*/ 0 w 4524067"/>
              <a:gd name="connsiteY8" fmla="*/ 43141 h 1602312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680"/>
              <a:gd name="connsiteY0" fmla="*/ 376237 h 1935408"/>
              <a:gd name="connsiteX1" fmla="*/ 42969 w 4526680"/>
              <a:gd name="connsiteY1" fmla="*/ 333268 h 1935408"/>
              <a:gd name="connsiteX2" fmla="*/ 4136478 w 4526680"/>
              <a:gd name="connsiteY2" fmla="*/ 333096 h 1935408"/>
              <a:gd name="connsiteX3" fmla="*/ 4526448 w 4526680"/>
              <a:gd name="connsiteY3" fmla="*/ 0 h 1935408"/>
              <a:gd name="connsiteX4" fmla="*/ 4524067 w 4526680"/>
              <a:gd name="connsiteY4" fmla="*/ 1892439 h 1935408"/>
              <a:gd name="connsiteX5" fmla="*/ 4481098 w 4526680"/>
              <a:gd name="connsiteY5" fmla="*/ 1935408 h 1935408"/>
              <a:gd name="connsiteX6" fmla="*/ 42969 w 4526680"/>
              <a:gd name="connsiteY6" fmla="*/ 1935408 h 1935408"/>
              <a:gd name="connsiteX7" fmla="*/ 0 w 4526680"/>
              <a:gd name="connsiteY7" fmla="*/ 1892439 h 1935408"/>
              <a:gd name="connsiteX8" fmla="*/ 0 w 4526680"/>
              <a:gd name="connsiteY8" fmla="*/ 376237 h 1935408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448"/>
              <a:gd name="connsiteY0" fmla="*/ 378618 h 1937789"/>
              <a:gd name="connsiteX1" fmla="*/ 42969 w 4526448"/>
              <a:gd name="connsiteY1" fmla="*/ 335649 h 1937789"/>
              <a:gd name="connsiteX2" fmla="*/ 4136478 w 4526448"/>
              <a:gd name="connsiteY2" fmla="*/ 335477 h 1937789"/>
              <a:gd name="connsiteX3" fmla="*/ 4526448 w 4526448"/>
              <a:gd name="connsiteY3" fmla="*/ 0 h 1937789"/>
              <a:gd name="connsiteX4" fmla="*/ 4524067 w 4526448"/>
              <a:gd name="connsiteY4" fmla="*/ 1894820 h 1937789"/>
              <a:gd name="connsiteX5" fmla="*/ 4481098 w 4526448"/>
              <a:gd name="connsiteY5" fmla="*/ 1937789 h 1937789"/>
              <a:gd name="connsiteX6" fmla="*/ 42969 w 4526448"/>
              <a:gd name="connsiteY6" fmla="*/ 1937789 h 1937789"/>
              <a:gd name="connsiteX7" fmla="*/ 0 w 4526448"/>
              <a:gd name="connsiteY7" fmla="*/ 1894820 h 1937789"/>
              <a:gd name="connsiteX8" fmla="*/ 0 w 4526448"/>
              <a:gd name="connsiteY8" fmla="*/ 378618 h 1937789"/>
              <a:gd name="connsiteX0" fmla="*/ 0 w 4526448"/>
              <a:gd name="connsiteY0" fmla="*/ 378618 h 1937789"/>
              <a:gd name="connsiteX1" fmla="*/ 42969 w 4526448"/>
              <a:gd name="connsiteY1" fmla="*/ 335649 h 1937789"/>
              <a:gd name="connsiteX2" fmla="*/ 4136478 w 4526448"/>
              <a:gd name="connsiteY2" fmla="*/ 335477 h 1937789"/>
              <a:gd name="connsiteX3" fmla="*/ 4526448 w 4526448"/>
              <a:gd name="connsiteY3" fmla="*/ 0 h 1937789"/>
              <a:gd name="connsiteX4" fmla="*/ 4524067 w 4526448"/>
              <a:gd name="connsiteY4" fmla="*/ 1894820 h 1937789"/>
              <a:gd name="connsiteX5" fmla="*/ 4481098 w 4526448"/>
              <a:gd name="connsiteY5" fmla="*/ 1937789 h 1937789"/>
              <a:gd name="connsiteX6" fmla="*/ 42969 w 4526448"/>
              <a:gd name="connsiteY6" fmla="*/ 1937789 h 1937789"/>
              <a:gd name="connsiteX7" fmla="*/ 0 w 4526448"/>
              <a:gd name="connsiteY7" fmla="*/ 1894820 h 1937789"/>
              <a:gd name="connsiteX8" fmla="*/ 0 w 4526448"/>
              <a:gd name="connsiteY8" fmla="*/ 378618 h 1937789"/>
              <a:gd name="connsiteX0" fmla="*/ 0 w 4526448"/>
              <a:gd name="connsiteY0" fmla="*/ 378618 h 1937789"/>
              <a:gd name="connsiteX1" fmla="*/ 42969 w 4526448"/>
              <a:gd name="connsiteY1" fmla="*/ 335649 h 1937789"/>
              <a:gd name="connsiteX2" fmla="*/ 4136478 w 4526448"/>
              <a:gd name="connsiteY2" fmla="*/ 335477 h 1937789"/>
              <a:gd name="connsiteX3" fmla="*/ 4526448 w 4526448"/>
              <a:gd name="connsiteY3" fmla="*/ 0 h 1937789"/>
              <a:gd name="connsiteX4" fmla="*/ 4524067 w 4526448"/>
              <a:gd name="connsiteY4" fmla="*/ 1894820 h 1937789"/>
              <a:gd name="connsiteX5" fmla="*/ 4481098 w 4526448"/>
              <a:gd name="connsiteY5" fmla="*/ 1937789 h 1937789"/>
              <a:gd name="connsiteX6" fmla="*/ 42969 w 4526448"/>
              <a:gd name="connsiteY6" fmla="*/ 1937789 h 1937789"/>
              <a:gd name="connsiteX7" fmla="*/ 0 w 4526448"/>
              <a:gd name="connsiteY7" fmla="*/ 1894820 h 1937789"/>
              <a:gd name="connsiteX8" fmla="*/ 0 w 4526448"/>
              <a:gd name="connsiteY8" fmla="*/ 378618 h 1937789"/>
              <a:gd name="connsiteX0" fmla="*/ 0 w 4526448"/>
              <a:gd name="connsiteY0" fmla="*/ 378618 h 1937789"/>
              <a:gd name="connsiteX1" fmla="*/ 42969 w 4526448"/>
              <a:gd name="connsiteY1" fmla="*/ 335649 h 1937789"/>
              <a:gd name="connsiteX2" fmla="*/ 4136478 w 4526448"/>
              <a:gd name="connsiteY2" fmla="*/ 335477 h 1937789"/>
              <a:gd name="connsiteX3" fmla="*/ 4526448 w 4526448"/>
              <a:gd name="connsiteY3" fmla="*/ 0 h 1937789"/>
              <a:gd name="connsiteX4" fmla="*/ 4524067 w 4526448"/>
              <a:gd name="connsiteY4" fmla="*/ 1894820 h 1937789"/>
              <a:gd name="connsiteX5" fmla="*/ 4481098 w 4526448"/>
              <a:gd name="connsiteY5" fmla="*/ 1937789 h 1937789"/>
              <a:gd name="connsiteX6" fmla="*/ 42969 w 4526448"/>
              <a:gd name="connsiteY6" fmla="*/ 1937789 h 1937789"/>
              <a:gd name="connsiteX7" fmla="*/ 0 w 4526448"/>
              <a:gd name="connsiteY7" fmla="*/ 1894820 h 1937789"/>
              <a:gd name="connsiteX8" fmla="*/ 0 w 4526448"/>
              <a:gd name="connsiteY8" fmla="*/ 378618 h 1937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26448" h="1937789">
                <a:moveTo>
                  <a:pt x="0" y="378618"/>
                </a:moveTo>
                <a:cubicBezTo>
                  <a:pt x="0" y="354887"/>
                  <a:pt x="19238" y="335649"/>
                  <a:pt x="42969" y="335649"/>
                </a:cubicBezTo>
                <a:lnTo>
                  <a:pt x="4136478" y="335477"/>
                </a:lnTo>
                <a:cubicBezTo>
                  <a:pt x="4337111" y="333983"/>
                  <a:pt x="4486946" y="218189"/>
                  <a:pt x="4526448" y="0"/>
                </a:cubicBezTo>
                <a:cubicBezTo>
                  <a:pt x="4525654" y="630813"/>
                  <a:pt x="4524861" y="1264007"/>
                  <a:pt x="4524067" y="1894820"/>
                </a:cubicBezTo>
                <a:cubicBezTo>
                  <a:pt x="4524067" y="1918551"/>
                  <a:pt x="4504829" y="1937789"/>
                  <a:pt x="4481098" y="1937789"/>
                </a:cubicBezTo>
                <a:lnTo>
                  <a:pt x="42969" y="1937789"/>
                </a:lnTo>
                <a:cubicBezTo>
                  <a:pt x="19238" y="1937789"/>
                  <a:pt x="0" y="1918551"/>
                  <a:pt x="0" y="1894820"/>
                </a:cubicBezTo>
                <a:lnTo>
                  <a:pt x="0" y="378618"/>
                </a:lnTo>
                <a:close/>
              </a:path>
            </a:pathLst>
          </a:custGeom>
          <a:solidFill>
            <a:schemeClr val="bg2">
              <a:alpha val="85000"/>
            </a:schemeClr>
          </a:solidFill>
        </p:spPr>
        <p:txBody>
          <a:bodyPr vert="horz" wrap="square" lIns="360000" tIns="576000" rIns="576000" bIns="180000" rtlCol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lang="nl-NL" sz="8419" b="0" dirty="0">
                <a:solidFill>
                  <a:schemeClr val="bg1"/>
                </a:solidFill>
                <a:latin typeface="+mj-lt"/>
              </a:defRPr>
            </a:lvl1pPr>
            <a:lvl2pPr>
              <a:defRPr lang="nl-NL" dirty="0">
                <a:solidFill>
                  <a:schemeClr val="bg1"/>
                </a:solidFill>
                <a:latin typeface="+mj-lt"/>
              </a:defRPr>
            </a:lvl2pPr>
            <a:lvl3pPr>
              <a:defRPr lang="nl-NL" dirty="0">
                <a:solidFill>
                  <a:schemeClr val="bg1"/>
                </a:solidFill>
                <a:latin typeface="+mj-lt"/>
              </a:defRPr>
            </a:lvl3pPr>
            <a:lvl4pPr>
              <a:defRPr lang="nl-NL" dirty="0">
                <a:solidFill>
                  <a:schemeClr val="bg1"/>
                </a:solidFill>
                <a:latin typeface="+mj-lt"/>
              </a:defRPr>
            </a:lvl4pPr>
            <a:lvl5pPr>
              <a:lnSpc>
                <a:spcPct val="100000"/>
              </a:lnSpc>
              <a:defRPr lang="nl-NL" sz="8419" b="0" dirty="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nl-NL" noProof="0"/>
              <a:t>Klik om tekst in te voegen</a:t>
            </a:r>
          </a:p>
        </p:txBody>
      </p:sp>
      <p:sp>
        <p:nvSpPr>
          <p:cNvPr id="29" name="Tijdelijke aanduiding voor datum 3">
            <a:extLst>
              <a:ext uri="{FF2B5EF4-FFF2-40B4-BE49-F238E27FC236}">
                <a16:creationId xmlns:a16="http://schemas.microsoft.com/office/drawing/2014/main" id="{0C185B4F-039F-4078-960F-6ACF6F50FA8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845E9234-8709-4007-9880-8F50EB01A15C}" type="datetime1">
              <a:rPr lang="nl-NL" noProof="0" smtClean="0"/>
              <a:t>26-6-2023</a:t>
            </a:fld>
            <a:endParaRPr lang="nl-NL" noProof="0"/>
          </a:p>
        </p:txBody>
      </p:sp>
      <p:grpSp>
        <p:nvGrpSpPr>
          <p:cNvPr id="179" name="Groep 178">
            <a:extLst>
              <a:ext uri="{FF2B5EF4-FFF2-40B4-BE49-F238E27FC236}">
                <a16:creationId xmlns:a16="http://schemas.microsoft.com/office/drawing/2014/main" id="{4C84DCD6-D7D8-4BD9-844C-58B8FB7FD3AF}"/>
              </a:ext>
            </a:extLst>
          </p:cNvPr>
          <p:cNvGrpSpPr/>
          <p:nvPr userDrawn="1"/>
        </p:nvGrpSpPr>
        <p:grpSpPr>
          <a:xfrm>
            <a:off x="43467416" y="5"/>
            <a:ext cx="11167745" cy="23084356"/>
            <a:chOff x="12391601" y="0"/>
            <a:chExt cx="3183678" cy="5229113"/>
          </a:xfrm>
        </p:grpSpPr>
        <p:grpSp>
          <p:nvGrpSpPr>
            <p:cNvPr id="180" name="Meer informatie">
              <a:extLst>
                <a:ext uri="{FF2B5EF4-FFF2-40B4-BE49-F238E27FC236}">
                  <a16:creationId xmlns:a16="http://schemas.microsoft.com/office/drawing/2014/main" id="{0845994B-CE25-425B-861D-B5FF1BC60294}"/>
                </a:ext>
              </a:extLst>
            </p:cNvPr>
            <p:cNvGrpSpPr/>
            <p:nvPr userDrawn="1"/>
          </p:nvGrpSpPr>
          <p:grpSpPr>
            <a:xfrm>
              <a:off x="12396764" y="4445840"/>
              <a:ext cx="3178515" cy="783273"/>
              <a:chOff x="-3741486" y="3386444"/>
              <a:chExt cx="3178515" cy="783273"/>
            </a:xfrm>
          </p:grpSpPr>
          <p:sp>
            <p:nvSpPr>
              <p:cNvPr id="226" name="Freeform 101">
                <a:extLst>
                  <a:ext uri="{FF2B5EF4-FFF2-40B4-BE49-F238E27FC236}">
                    <a16:creationId xmlns:a16="http://schemas.microsoft.com/office/drawing/2014/main" id="{70E022F7-05C1-482F-9FB7-2182A4771D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227" name="Rechthoek 226">
                <a:extLst>
                  <a:ext uri="{FF2B5EF4-FFF2-40B4-BE49-F238E27FC236}">
                    <a16:creationId xmlns:a16="http://schemas.microsoft.com/office/drawing/2014/main" id="{F78E0E1E-942D-4098-A407-2DA73DDEE38E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28" name="Rechte verbindingslijn 227">
                <a:extLst>
                  <a:ext uri="{FF2B5EF4-FFF2-40B4-BE49-F238E27FC236}">
                    <a16:creationId xmlns:a16="http://schemas.microsoft.com/office/drawing/2014/main" id="{72E1ADE3-A525-46A3-9A81-B0C76C87D99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81" name="Rechthoek 180">
              <a:extLst>
                <a:ext uri="{FF2B5EF4-FFF2-40B4-BE49-F238E27FC236}">
                  <a16:creationId xmlns:a16="http://schemas.microsoft.com/office/drawing/2014/main" id="{80C2EE33-F91D-49BD-8C44-39C35453934F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182" name="Ovaal 181">
              <a:extLst>
                <a:ext uri="{FF2B5EF4-FFF2-40B4-BE49-F238E27FC236}">
                  <a16:creationId xmlns:a16="http://schemas.microsoft.com/office/drawing/2014/main" id="{29BD6E08-F7C1-4810-9325-66F12A1B5F5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83" name="Rechte verbindingslijn 182">
              <a:extLst>
                <a:ext uri="{FF2B5EF4-FFF2-40B4-BE49-F238E27FC236}">
                  <a16:creationId xmlns:a16="http://schemas.microsoft.com/office/drawing/2014/main" id="{7BA7F20B-014A-4E8D-A865-372FF1FBA4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4" name="Rechte verbindingslijn 183">
              <a:extLst>
                <a:ext uri="{FF2B5EF4-FFF2-40B4-BE49-F238E27FC236}">
                  <a16:creationId xmlns:a16="http://schemas.microsoft.com/office/drawing/2014/main" id="{1B80EB81-08CB-4055-8E85-F9C1C5C55EE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85" name="Rechthoek 184">
              <a:extLst>
                <a:ext uri="{FF2B5EF4-FFF2-40B4-BE49-F238E27FC236}">
                  <a16:creationId xmlns:a16="http://schemas.microsoft.com/office/drawing/2014/main" id="{7E1734DD-84F1-4E45-B5E4-3BD7330F8A11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oor deze te selecteren en op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om een nieuwe afbeelding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86" name="Rechte verbindingslijn 185">
              <a:extLst>
                <a:ext uri="{FF2B5EF4-FFF2-40B4-BE49-F238E27FC236}">
                  <a16:creationId xmlns:a16="http://schemas.microsoft.com/office/drawing/2014/main" id="{7278A0BC-9971-431A-8AC5-E0164CC708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4327957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87" name="Ovaal 186">
              <a:extLst>
                <a:ext uri="{FF2B5EF4-FFF2-40B4-BE49-F238E27FC236}">
                  <a16:creationId xmlns:a16="http://schemas.microsoft.com/office/drawing/2014/main" id="{810CCD7B-5058-4658-87F0-480667672180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88" name="Rechthoek 187">
              <a:extLst>
                <a:ext uri="{FF2B5EF4-FFF2-40B4-BE49-F238E27FC236}">
                  <a16:creationId xmlns:a16="http://schemas.microsoft.com/office/drawing/2014/main" id="{A4AB1E73-7EA0-4761-8460-B897E887CF7C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89" name="Groep 188">
              <a:extLst>
                <a:ext uri="{FF2B5EF4-FFF2-40B4-BE49-F238E27FC236}">
                  <a16:creationId xmlns:a16="http://schemas.microsoft.com/office/drawing/2014/main" id="{A509014B-153C-450F-B420-7655B8CCBD10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23" name="Rechthoek 222">
                <a:extLst>
                  <a:ext uri="{FF2B5EF4-FFF2-40B4-BE49-F238E27FC236}">
                    <a16:creationId xmlns:a16="http://schemas.microsoft.com/office/drawing/2014/main" id="{06257FC4-6EE4-40FC-AC7F-53CCCD2BD0CC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224" name="Rechte verbindingslijn 223">
                <a:extLst>
                  <a:ext uri="{FF2B5EF4-FFF2-40B4-BE49-F238E27FC236}">
                    <a16:creationId xmlns:a16="http://schemas.microsoft.com/office/drawing/2014/main" id="{9D67D5A9-C6F9-412E-A94D-F641625DB3BF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25" name="Gelijkbenige driehoek 224">
                <a:extLst>
                  <a:ext uri="{FF2B5EF4-FFF2-40B4-BE49-F238E27FC236}">
                    <a16:creationId xmlns:a16="http://schemas.microsoft.com/office/drawing/2014/main" id="{90BF8A41-FF83-450B-98D0-D44DC6F51FA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90" name="Groep 189">
              <a:extLst>
                <a:ext uri="{FF2B5EF4-FFF2-40B4-BE49-F238E27FC236}">
                  <a16:creationId xmlns:a16="http://schemas.microsoft.com/office/drawing/2014/main" id="{41FD0AD3-759F-48C3-BE92-301441F09AE6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DD34B8C6-1242-442B-B30E-ED63B22EA371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18" name="Ovaal 217">
                <a:extLst>
                  <a:ext uri="{FF2B5EF4-FFF2-40B4-BE49-F238E27FC236}">
                    <a16:creationId xmlns:a16="http://schemas.microsoft.com/office/drawing/2014/main" id="{D4699030-8B5F-449D-835C-1E3CC13D387B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9" name="Vrije vorm: vorm 218">
                <a:extLst>
                  <a:ext uri="{FF2B5EF4-FFF2-40B4-BE49-F238E27FC236}">
                    <a16:creationId xmlns:a16="http://schemas.microsoft.com/office/drawing/2014/main" id="{B7101B8A-52AD-4458-9465-353BC69320E3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Rechthoek: afgeronde hoeken 219">
                <a:extLst>
                  <a:ext uri="{FF2B5EF4-FFF2-40B4-BE49-F238E27FC236}">
                    <a16:creationId xmlns:a16="http://schemas.microsoft.com/office/drawing/2014/main" id="{AB4F5B23-4BFF-4677-80BA-C8E56D51EAF3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221" name="Rechte verbindingslijn 220">
                <a:extLst>
                  <a:ext uri="{FF2B5EF4-FFF2-40B4-BE49-F238E27FC236}">
                    <a16:creationId xmlns:a16="http://schemas.microsoft.com/office/drawing/2014/main" id="{8275ADBD-878C-426B-A061-7F57A9F6ED5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22" name="Rechte verbindingslijn 221">
                <a:extLst>
                  <a:ext uri="{FF2B5EF4-FFF2-40B4-BE49-F238E27FC236}">
                    <a16:creationId xmlns:a16="http://schemas.microsoft.com/office/drawing/2014/main" id="{B4060D02-3695-4FD7-B27A-0FD97EFC4EC9}"/>
                  </a:ext>
                </a:extLst>
              </p:cNvPr>
              <p:cNvCxnSpPr>
                <a:cxnSpLocks/>
                <a:stCxn id="220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91" name="Ovaal 190">
              <a:extLst>
                <a:ext uri="{FF2B5EF4-FFF2-40B4-BE49-F238E27FC236}">
                  <a16:creationId xmlns:a16="http://schemas.microsoft.com/office/drawing/2014/main" id="{A97D7BB5-0924-4ED3-B7B2-15DDAE122E32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92" name="Rechthoek 191">
              <a:extLst>
                <a:ext uri="{FF2B5EF4-FFF2-40B4-BE49-F238E27FC236}">
                  <a16:creationId xmlns:a16="http://schemas.microsoft.com/office/drawing/2014/main" id="{28C11ED3-010D-4097-ABD7-0006E1C08F72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43320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aan de linker kant van het scherm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93" name="Rechte verbindingslijn 192">
              <a:extLst>
                <a:ext uri="{FF2B5EF4-FFF2-40B4-BE49-F238E27FC236}">
                  <a16:creationId xmlns:a16="http://schemas.microsoft.com/office/drawing/2014/main" id="{2A82C1DB-8D25-4099-AA48-25AB31AF13C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94" name="Rechthoek 193">
              <a:extLst>
                <a:ext uri="{FF2B5EF4-FFF2-40B4-BE49-F238E27FC236}">
                  <a16:creationId xmlns:a16="http://schemas.microsoft.com/office/drawing/2014/main" id="{3F89EFC8-6560-43EC-A9E7-129B8972C487}"/>
                </a:ext>
              </a:extLst>
            </p:cNvPr>
            <p:cNvSpPr/>
            <p:nvPr userDrawn="1"/>
          </p:nvSpPr>
          <p:spPr>
            <a:xfrm>
              <a:off x="12654153" y="3238910"/>
              <a:ext cx="1624926" cy="805220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3509" b="0" i="1" noProof="0">
                <a:solidFill>
                  <a:schemeClr val="tx1"/>
                </a:solidFill>
              </a:endParaRPr>
            </a:p>
          </p:txBody>
        </p:sp>
        <p:grpSp>
          <p:nvGrpSpPr>
            <p:cNvPr id="195" name="Groep 194">
              <a:extLst>
                <a:ext uri="{FF2B5EF4-FFF2-40B4-BE49-F238E27FC236}">
                  <a16:creationId xmlns:a16="http://schemas.microsoft.com/office/drawing/2014/main" id="{B8C3F4DA-83ED-4222-B28C-49AB1FEC439B}"/>
                </a:ext>
              </a:extLst>
            </p:cNvPr>
            <p:cNvGrpSpPr/>
            <p:nvPr userDrawn="1"/>
          </p:nvGrpSpPr>
          <p:grpSpPr>
            <a:xfrm>
              <a:off x="13614067" y="3535184"/>
              <a:ext cx="1195438" cy="678267"/>
              <a:chOff x="12757284" y="3224292"/>
              <a:chExt cx="1195438" cy="678267"/>
            </a:xfrm>
          </p:grpSpPr>
          <p:sp>
            <p:nvSpPr>
              <p:cNvPr id="196" name="Rechthoek 195">
                <a:extLst>
                  <a:ext uri="{FF2B5EF4-FFF2-40B4-BE49-F238E27FC236}">
                    <a16:creationId xmlns:a16="http://schemas.microsoft.com/office/drawing/2014/main" id="{A517EB42-BAF4-4590-8F9B-4AF47E8264B1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7" name="Rechthoek 196">
                <a:extLst>
                  <a:ext uri="{FF2B5EF4-FFF2-40B4-BE49-F238E27FC236}">
                    <a16:creationId xmlns:a16="http://schemas.microsoft.com/office/drawing/2014/main" id="{84F16C7D-9B7C-47A5-B5D8-A5C0BC057B06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98" name="Groep 197">
                <a:extLst>
                  <a:ext uri="{FF2B5EF4-FFF2-40B4-BE49-F238E27FC236}">
                    <a16:creationId xmlns:a16="http://schemas.microsoft.com/office/drawing/2014/main" id="{20B81935-14B4-4A33-B4B6-6A4CDDDEB4C3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211" name="Rechthoek: afgeronde hoeken 210">
                  <a:extLst>
                    <a:ext uri="{FF2B5EF4-FFF2-40B4-BE49-F238E27FC236}">
                      <a16:creationId xmlns:a16="http://schemas.microsoft.com/office/drawing/2014/main" id="{C126A634-CBD5-45A8-BE07-2676D4D7562E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endPara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2" name="Rechthoek 211">
                  <a:extLst>
                    <a:ext uri="{FF2B5EF4-FFF2-40B4-BE49-F238E27FC236}">
                      <a16:creationId xmlns:a16="http://schemas.microsoft.com/office/drawing/2014/main" id="{A082A3E8-2FC2-4797-B58B-46ACA1E14EE7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3" name="Rechthoek 212">
                  <a:extLst>
                    <a:ext uri="{FF2B5EF4-FFF2-40B4-BE49-F238E27FC236}">
                      <a16:creationId xmlns:a16="http://schemas.microsoft.com/office/drawing/2014/main" id="{FBB5233F-C1F9-446A-AB00-E827B6494B6D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4" name="Rechthoek 213">
                  <a:extLst>
                    <a:ext uri="{FF2B5EF4-FFF2-40B4-BE49-F238E27FC236}">
                      <a16:creationId xmlns:a16="http://schemas.microsoft.com/office/drawing/2014/main" id="{CC071C0B-99B0-42DB-A036-5F77FD074DAD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5" name="Rechthoek 214">
                  <a:extLst>
                    <a:ext uri="{FF2B5EF4-FFF2-40B4-BE49-F238E27FC236}">
                      <a16:creationId xmlns:a16="http://schemas.microsoft.com/office/drawing/2014/main" id="{56681D84-A4CA-46A5-B823-1489E648F95F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6" name="Rechthoek 215">
                  <a:extLst>
                    <a:ext uri="{FF2B5EF4-FFF2-40B4-BE49-F238E27FC236}">
                      <a16:creationId xmlns:a16="http://schemas.microsoft.com/office/drawing/2014/main" id="{6C7FCCFF-B398-4FC4-AAB4-1911AA15CDFB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99" name="Groep 198">
                <a:extLst>
                  <a:ext uri="{FF2B5EF4-FFF2-40B4-BE49-F238E27FC236}">
                    <a16:creationId xmlns:a16="http://schemas.microsoft.com/office/drawing/2014/main" id="{3FF9FE26-B621-4F9F-A282-B772B38C0285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203" name="Groep 202">
                  <a:extLst>
                    <a:ext uri="{FF2B5EF4-FFF2-40B4-BE49-F238E27FC236}">
                      <a16:creationId xmlns:a16="http://schemas.microsoft.com/office/drawing/2014/main" id="{A49F2D2A-EB1F-4B11-8460-EAE9B5C9D7F4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205" name="Rechthoek: afgeronde hoeken 204">
                    <a:extLst>
                      <a:ext uri="{FF2B5EF4-FFF2-40B4-BE49-F238E27FC236}">
                        <a16:creationId xmlns:a16="http://schemas.microsoft.com/office/drawing/2014/main" id="{664D50EE-4504-4C1D-96B5-FBED388CB20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2105"/>
                      </a:spcBef>
                      <a:spcAft>
                        <a:spcPts val="2105"/>
                      </a:spcAft>
                    </a:pPr>
                    <a:endParaRPr lang="nl-NL" sz="280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06" name="Rechthoek 205">
                    <a:extLst>
                      <a:ext uri="{FF2B5EF4-FFF2-40B4-BE49-F238E27FC236}">
                        <a16:creationId xmlns:a16="http://schemas.microsoft.com/office/drawing/2014/main" id="{3DD754A7-A0DE-4942-95BD-7B462C19A83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7" name="Rechthoek 206">
                    <a:extLst>
                      <a:ext uri="{FF2B5EF4-FFF2-40B4-BE49-F238E27FC236}">
                        <a16:creationId xmlns:a16="http://schemas.microsoft.com/office/drawing/2014/main" id="{66FC2A77-50B1-49F4-967E-588DC8AB6FF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8" name="Rechthoek 207">
                    <a:extLst>
                      <a:ext uri="{FF2B5EF4-FFF2-40B4-BE49-F238E27FC236}">
                        <a16:creationId xmlns:a16="http://schemas.microsoft.com/office/drawing/2014/main" id="{AFFA62CC-0F50-4149-A82E-70778FEC3F4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9" name="Rechthoek 208">
                    <a:extLst>
                      <a:ext uri="{FF2B5EF4-FFF2-40B4-BE49-F238E27FC236}">
                        <a16:creationId xmlns:a16="http://schemas.microsoft.com/office/drawing/2014/main" id="{EBB99AC0-6B6D-469D-8091-FCC19CC2994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0" name="Rechthoek 209">
                    <a:extLst>
                      <a:ext uri="{FF2B5EF4-FFF2-40B4-BE49-F238E27FC236}">
                        <a16:creationId xmlns:a16="http://schemas.microsoft.com/office/drawing/2014/main" id="{E0A341F6-3386-4623-A8CC-C5035A34F53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204" name="Boog 203">
                  <a:extLst>
                    <a:ext uri="{FF2B5EF4-FFF2-40B4-BE49-F238E27FC236}">
                      <a16:creationId xmlns:a16="http://schemas.microsoft.com/office/drawing/2014/main" id="{A87041D2-BC28-4448-BD70-2A54101035B4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</p:grpSp>
          <p:sp>
            <p:nvSpPr>
              <p:cNvPr id="200" name="Tekstvak 199">
                <a:extLst>
                  <a:ext uri="{FF2B5EF4-FFF2-40B4-BE49-F238E27FC236}">
                    <a16:creationId xmlns:a16="http://schemas.microsoft.com/office/drawing/2014/main" id="{F448D96F-29C2-4F72-B7BB-F2FAF451A6FB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201" name="Tekstvak 200">
                <a:extLst>
                  <a:ext uri="{FF2B5EF4-FFF2-40B4-BE49-F238E27FC236}">
                    <a16:creationId xmlns:a16="http://schemas.microsoft.com/office/drawing/2014/main" id="{29503B0A-6BD4-4DD0-AA22-DF71968C73E6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202" name="Picture 3">
                <a:extLst>
                  <a:ext uri="{FF2B5EF4-FFF2-40B4-BE49-F238E27FC236}">
                    <a16:creationId xmlns:a16="http://schemas.microsoft.com/office/drawing/2014/main" id="{3C056423-79E0-4EBE-837E-160C9CADC0C8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810206" y="3671228"/>
                <a:ext cx="14251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grpSp>
        <p:nvGrpSpPr>
          <p:cNvPr id="76" name="Instructie">
            <a:extLst>
              <a:ext uri="{FF2B5EF4-FFF2-40B4-BE49-F238E27FC236}">
                <a16:creationId xmlns:a16="http://schemas.microsoft.com/office/drawing/2014/main" id="{87BB9FB2-8C0C-4F10-A48E-5CA59B460F35}"/>
              </a:ext>
            </a:extLst>
          </p:cNvPr>
          <p:cNvGrpSpPr/>
          <p:nvPr userDrawn="1"/>
        </p:nvGrpSpPr>
        <p:grpSpPr>
          <a:xfrm>
            <a:off x="-11761540" y="0"/>
            <a:ext cx="11164508" cy="11743958"/>
            <a:chOff x="-3426088" y="4512342"/>
            <a:chExt cx="3182755" cy="2660264"/>
          </a:xfrm>
        </p:grpSpPr>
        <p:sp>
          <p:nvSpPr>
            <p:cNvPr id="77" name="Rechthoek 127">
              <a:extLst>
                <a:ext uri="{FF2B5EF4-FFF2-40B4-BE49-F238E27FC236}">
                  <a16:creationId xmlns:a16="http://schemas.microsoft.com/office/drawing/2014/main" id="{6C7900BF-A70D-4DEE-A754-1D58ABEBEE88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78" name="Rechte verbindingslijn 128">
              <a:extLst>
                <a:ext uri="{FF2B5EF4-FFF2-40B4-BE49-F238E27FC236}">
                  <a16:creationId xmlns:a16="http://schemas.microsoft.com/office/drawing/2014/main" id="{E93E0665-4654-469D-ABF5-8929B8496CB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79" name="Rechthoek 130">
              <a:extLst>
                <a:ext uri="{FF2B5EF4-FFF2-40B4-BE49-F238E27FC236}">
                  <a16:creationId xmlns:a16="http://schemas.microsoft.com/office/drawing/2014/main" id="{24B54986-FE87-4F9E-8682-14CCBF3B9289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80" name="Rechthoek 133">
              <a:extLst>
                <a:ext uri="{FF2B5EF4-FFF2-40B4-BE49-F238E27FC236}">
                  <a16:creationId xmlns:a16="http://schemas.microsoft.com/office/drawing/2014/main" id="{D4B0A9D8-B085-4B6E-A133-2D706A5A538A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1" name="Rechthoek 136">
              <a:extLst>
                <a:ext uri="{FF2B5EF4-FFF2-40B4-BE49-F238E27FC236}">
                  <a16:creationId xmlns:a16="http://schemas.microsoft.com/office/drawing/2014/main" id="{386DDFBE-0074-43D6-AC5C-1D0331C3E901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2" name="Rechthoek 139">
              <a:extLst>
                <a:ext uri="{FF2B5EF4-FFF2-40B4-BE49-F238E27FC236}">
                  <a16:creationId xmlns:a16="http://schemas.microsoft.com/office/drawing/2014/main" id="{CF33AE50-8FFD-4484-870D-7E177C3F78C4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83" name="Rechte verbindingslijn 140">
              <a:extLst>
                <a:ext uri="{FF2B5EF4-FFF2-40B4-BE49-F238E27FC236}">
                  <a16:creationId xmlns:a16="http://schemas.microsoft.com/office/drawing/2014/main" id="{D9CC6865-0DAB-4EA6-BB67-3324ACC9F9A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69" name="Afbeelding 68">
            <a:extLst>
              <a:ext uri="{FF2B5EF4-FFF2-40B4-BE49-F238E27FC236}">
                <a16:creationId xmlns:a16="http://schemas.microsoft.com/office/drawing/2014/main" id="{01F347DF-1A12-48D1-89CE-4FB17CBFE6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4538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uiExpand="1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2"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3"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4"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5">
            <p:tnLst>
              <p:par>
                <p:cTn presetID="2" presetClass="entr" presetSubtype="2" decel="100000" fill="hold" nodeType="withEffect" nodePh="1">
                  <p:stCondLst>
                    <p:cond delay="10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6" grpId="0" uiExpand="1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2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3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4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5">
            <p:tnLst>
              <p:par>
                <p:cTn presetID="2" presetClass="entr" presetSubtype="2" decel="100000" fill="hold" nodeType="withEffect" nodePh="1">
                  <p:stCondLst>
                    <p:cond delay="5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8" grpId="0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2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2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100%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1742374" y="6476677"/>
            <a:ext cx="39282480" cy="19046186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 marL="1269631" indent="-634816">
              <a:buFont typeface="Arial" panose="020B0604020202020204" pitchFamily="34" charset="0"/>
              <a:buChar char="•"/>
              <a:defRPr sz="4911" baseline="0">
                <a:latin typeface="+mj-lt"/>
              </a:defRPr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D493E421-713B-4AD0-8E5B-41C84D6EBA53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2" y="27329718"/>
            <a:ext cx="857527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grpSp>
        <p:nvGrpSpPr>
          <p:cNvPr id="90" name="Groep 101">
            <a:extLst>
              <a:ext uri="{FF2B5EF4-FFF2-40B4-BE49-F238E27FC236}">
                <a16:creationId xmlns:a16="http://schemas.microsoft.com/office/drawing/2014/main" id="{7D9D6E6F-BF3A-44DC-88FE-CF4E8F628DDE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91" name="Rechthoek 102">
              <a:extLst>
                <a:ext uri="{FF2B5EF4-FFF2-40B4-BE49-F238E27FC236}">
                  <a16:creationId xmlns:a16="http://schemas.microsoft.com/office/drawing/2014/main" id="{37CA0D0F-12A5-4201-976F-06942DBCFFFA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92" name="Ovaal 103">
              <a:extLst>
                <a:ext uri="{FF2B5EF4-FFF2-40B4-BE49-F238E27FC236}">
                  <a16:creationId xmlns:a16="http://schemas.microsoft.com/office/drawing/2014/main" id="{0646EDFD-6373-4F6F-8E31-14F73E60EA1E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3" name="Rechte verbindingslijn 104">
              <a:extLst>
                <a:ext uri="{FF2B5EF4-FFF2-40B4-BE49-F238E27FC236}">
                  <a16:creationId xmlns:a16="http://schemas.microsoft.com/office/drawing/2014/main" id="{0E087D4F-B08D-4F9A-B39E-332FC4922B1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94" name="Groep 105">
              <a:extLst>
                <a:ext uri="{FF2B5EF4-FFF2-40B4-BE49-F238E27FC236}">
                  <a16:creationId xmlns:a16="http://schemas.microsoft.com/office/drawing/2014/main" id="{7F6F8995-7C86-430C-BD63-9B055553949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00" name="Rechthoek 130">
                <a:extLst>
                  <a:ext uri="{FF2B5EF4-FFF2-40B4-BE49-F238E27FC236}">
                    <a16:creationId xmlns:a16="http://schemas.microsoft.com/office/drawing/2014/main" id="{4B74CFD1-5C3C-4C56-A9B9-94F691BF4391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201" name="Rechte verbindingslijn 131">
                <a:extLst>
                  <a:ext uri="{FF2B5EF4-FFF2-40B4-BE49-F238E27FC236}">
                    <a16:creationId xmlns:a16="http://schemas.microsoft.com/office/drawing/2014/main" id="{76DEC1FA-47A6-47A9-B779-81092037771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2" name="Rechte verbindingslijn 132">
                <a:extLst>
                  <a:ext uri="{FF2B5EF4-FFF2-40B4-BE49-F238E27FC236}">
                    <a16:creationId xmlns:a16="http://schemas.microsoft.com/office/drawing/2014/main" id="{85D77F55-989B-4AC7-B452-73FC8199E20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03" name="Rechthoek 133">
                <a:extLst>
                  <a:ext uri="{FF2B5EF4-FFF2-40B4-BE49-F238E27FC236}">
                    <a16:creationId xmlns:a16="http://schemas.microsoft.com/office/drawing/2014/main" id="{A39CBC68-AB8A-4992-A0D2-E9BC4FF7109D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04" name="Groep 134">
                <a:extLst>
                  <a:ext uri="{FF2B5EF4-FFF2-40B4-BE49-F238E27FC236}">
                    <a16:creationId xmlns:a16="http://schemas.microsoft.com/office/drawing/2014/main" id="{7BB51017-C6F1-44ED-96D2-951EBF69CADD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43" name="Groep 175">
                  <a:extLst>
                    <a:ext uri="{FF2B5EF4-FFF2-40B4-BE49-F238E27FC236}">
                      <a16:creationId xmlns:a16="http://schemas.microsoft.com/office/drawing/2014/main" id="{1953400F-9E56-491B-B43A-09778411514B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47" name="Rechte verbindingslijn 179">
                    <a:extLst>
                      <a:ext uri="{FF2B5EF4-FFF2-40B4-BE49-F238E27FC236}">
                        <a16:creationId xmlns:a16="http://schemas.microsoft.com/office/drawing/2014/main" id="{D0810279-FF56-4F22-95BF-5E9E9B896F6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8" name="Rechte verbindingslijn 180">
                    <a:extLst>
                      <a:ext uri="{FF2B5EF4-FFF2-40B4-BE49-F238E27FC236}">
                        <a16:creationId xmlns:a16="http://schemas.microsoft.com/office/drawing/2014/main" id="{14CB314A-88CC-4861-8B93-1E3B2B3DEDA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9" name="Rechte verbindingslijn 181">
                    <a:extLst>
                      <a:ext uri="{FF2B5EF4-FFF2-40B4-BE49-F238E27FC236}">
                        <a16:creationId xmlns:a16="http://schemas.microsoft.com/office/drawing/2014/main" id="{B7E55AE2-3AFA-40F5-AFBB-D5547CF731B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0" name="Rechte verbindingslijn 182">
                    <a:extLst>
                      <a:ext uri="{FF2B5EF4-FFF2-40B4-BE49-F238E27FC236}">
                        <a16:creationId xmlns:a16="http://schemas.microsoft.com/office/drawing/2014/main" id="{5B11E2AD-0A4F-4F26-82F1-27B9EF0EF11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1" name="Rechte verbindingslijn 183">
                    <a:extLst>
                      <a:ext uri="{FF2B5EF4-FFF2-40B4-BE49-F238E27FC236}">
                        <a16:creationId xmlns:a16="http://schemas.microsoft.com/office/drawing/2014/main" id="{4303D616-939B-4FE8-BF77-0D97FD15CB0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4" name="Groep 176">
                  <a:extLst>
                    <a:ext uri="{FF2B5EF4-FFF2-40B4-BE49-F238E27FC236}">
                      <a16:creationId xmlns:a16="http://schemas.microsoft.com/office/drawing/2014/main" id="{1ADDFCFD-6575-449A-A687-DCDC5E86E65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45" name="Rechthoek 177">
                    <a:extLst>
                      <a:ext uri="{FF2B5EF4-FFF2-40B4-BE49-F238E27FC236}">
                        <a16:creationId xmlns:a16="http://schemas.microsoft.com/office/drawing/2014/main" id="{3BDF6D58-83EC-4BB0-BEB8-C430AAEF44A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46" name="Pijl: punthaak 178">
                    <a:extLst>
                      <a:ext uri="{FF2B5EF4-FFF2-40B4-BE49-F238E27FC236}">
                        <a16:creationId xmlns:a16="http://schemas.microsoft.com/office/drawing/2014/main" id="{68141BD0-EC99-4FE3-A1B7-69F1A2DCC6F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05" name="Groep 135">
                <a:extLst>
                  <a:ext uri="{FF2B5EF4-FFF2-40B4-BE49-F238E27FC236}">
                    <a16:creationId xmlns:a16="http://schemas.microsoft.com/office/drawing/2014/main" id="{8706C9C8-B566-483E-8002-435BEACCE63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34" name="Groep 166">
                  <a:extLst>
                    <a:ext uri="{FF2B5EF4-FFF2-40B4-BE49-F238E27FC236}">
                      <a16:creationId xmlns:a16="http://schemas.microsoft.com/office/drawing/2014/main" id="{9297A6C5-5392-4349-A2E4-C0C563C91354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38" name="Rechte verbindingslijn 170">
                    <a:extLst>
                      <a:ext uri="{FF2B5EF4-FFF2-40B4-BE49-F238E27FC236}">
                        <a16:creationId xmlns:a16="http://schemas.microsoft.com/office/drawing/2014/main" id="{ADB6CEB5-72F6-4771-BA16-322D2E559E8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9" name="Rechte verbindingslijn 171">
                    <a:extLst>
                      <a:ext uri="{FF2B5EF4-FFF2-40B4-BE49-F238E27FC236}">
                        <a16:creationId xmlns:a16="http://schemas.microsoft.com/office/drawing/2014/main" id="{0D11CCD3-62E7-4777-9F29-563AA2BE268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0" name="Rechte verbindingslijn 172">
                    <a:extLst>
                      <a:ext uri="{FF2B5EF4-FFF2-40B4-BE49-F238E27FC236}">
                        <a16:creationId xmlns:a16="http://schemas.microsoft.com/office/drawing/2014/main" id="{DE0A8448-2EB9-43E1-9726-9F3C33A0734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1" name="Rechte verbindingslijn 173">
                    <a:extLst>
                      <a:ext uri="{FF2B5EF4-FFF2-40B4-BE49-F238E27FC236}">
                        <a16:creationId xmlns:a16="http://schemas.microsoft.com/office/drawing/2014/main" id="{4D0C8DE6-6462-49C9-9BF6-60F1DA0518E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2" name="Rechte verbindingslijn 174">
                    <a:extLst>
                      <a:ext uri="{FF2B5EF4-FFF2-40B4-BE49-F238E27FC236}">
                        <a16:creationId xmlns:a16="http://schemas.microsoft.com/office/drawing/2014/main" id="{C9706186-5410-47AB-9DA4-388F29E96E2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35" name="Groep 167">
                  <a:extLst>
                    <a:ext uri="{FF2B5EF4-FFF2-40B4-BE49-F238E27FC236}">
                      <a16:creationId xmlns:a16="http://schemas.microsoft.com/office/drawing/2014/main" id="{B60952FD-B219-4DF7-AF41-1C75876F83BF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36" name="Rechthoek 168">
                    <a:extLst>
                      <a:ext uri="{FF2B5EF4-FFF2-40B4-BE49-F238E27FC236}">
                        <a16:creationId xmlns:a16="http://schemas.microsoft.com/office/drawing/2014/main" id="{08019ECC-11EB-43DC-AFCD-DF3199F0D4E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7" name="Pijl: punthaak 169">
                    <a:extLst>
                      <a:ext uri="{FF2B5EF4-FFF2-40B4-BE49-F238E27FC236}">
                        <a16:creationId xmlns:a16="http://schemas.microsoft.com/office/drawing/2014/main" id="{02328CFC-DD90-403D-BC10-5270E3C2230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06" name="Rechte verbindingslijn 136">
                <a:extLst>
                  <a:ext uri="{FF2B5EF4-FFF2-40B4-BE49-F238E27FC236}">
                    <a16:creationId xmlns:a16="http://schemas.microsoft.com/office/drawing/2014/main" id="{A7B7677D-36AA-4199-AF03-12CBF827734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07" name="Rechte verbindingslijn 137">
                <a:extLst>
                  <a:ext uri="{FF2B5EF4-FFF2-40B4-BE49-F238E27FC236}">
                    <a16:creationId xmlns:a16="http://schemas.microsoft.com/office/drawing/2014/main" id="{03F1E014-F753-4665-BC0E-C427E567ED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08" name="Groep 138">
                <a:extLst>
                  <a:ext uri="{FF2B5EF4-FFF2-40B4-BE49-F238E27FC236}">
                    <a16:creationId xmlns:a16="http://schemas.microsoft.com/office/drawing/2014/main" id="{37C75C16-9D37-4E0A-9D4E-21533047CC79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23" name="Rechthoek 155">
                  <a:extLst>
                    <a:ext uri="{FF2B5EF4-FFF2-40B4-BE49-F238E27FC236}">
                      <a16:creationId xmlns:a16="http://schemas.microsoft.com/office/drawing/2014/main" id="{52C858E4-FE31-4CD4-ADDA-136162DD82F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24" name="Groep 156">
                  <a:extLst>
                    <a:ext uri="{FF2B5EF4-FFF2-40B4-BE49-F238E27FC236}">
                      <a16:creationId xmlns:a16="http://schemas.microsoft.com/office/drawing/2014/main" id="{035E6949-6E16-4EF3-B780-EBD4E4BE9AB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25" name="Groep 157">
                    <a:extLst>
                      <a:ext uri="{FF2B5EF4-FFF2-40B4-BE49-F238E27FC236}">
                        <a16:creationId xmlns:a16="http://schemas.microsoft.com/office/drawing/2014/main" id="{1FE1CF85-D831-4AC9-ABF0-34F2DD8731F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29" name="Rechte verbindingslijn 161">
                      <a:extLst>
                        <a:ext uri="{FF2B5EF4-FFF2-40B4-BE49-F238E27FC236}">
                          <a16:creationId xmlns:a16="http://schemas.microsoft.com/office/drawing/2014/main" id="{B1B3F67C-30BE-403B-9B24-5B41CE1A4AA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0" name="Rechte verbindingslijn 162">
                      <a:extLst>
                        <a:ext uri="{FF2B5EF4-FFF2-40B4-BE49-F238E27FC236}">
                          <a16:creationId xmlns:a16="http://schemas.microsoft.com/office/drawing/2014/main" id="{0DE943F8-99ED-4D38-A644-354A5460941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1" name="Rechte verbindingslijn 163">
                      <a:extLst>
                        <a:ext uri="{FF2B5EF4-FFF2-40B4-BE49-F238E27FC236}">
                          <a16:creationId xmlns:a16="http://schemas.microsoft.com/office/drawing/2014/main" id="{9AB9DF86-CAE4-4DF1-B828-A7297CE082E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2" name="Rechte verbindingslijn 164">
                      <a:extLst>
                        <a:ext uri="{FF2B5EF4-FFF2-40B4-BE49-F238E27FC236}">
                          <a16:creationId xmlns:a16="http://schemas.microsoft.com/office/drawing/2014/main" id="{561AF589-D0BA-4A9B-B5ED-ABD1D97E67A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3" name="Rechte verbindingslijn 165">
                      <a:extLst>
                        <a:ext uri="{FF2B5EF4-FFF2-40B4-BE49-F238E27FC236}">
                          <a16:creationId xmlns:a16="http://schemas.microsoft.com/office/drawing/2014/main" id="{6BB8F131-26BF-4F0C-952D-C8A88BA140A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26" name="Groep 158">
                    <a:extLst>
                      <a:ext uri="{FF2B5EF4-FFF2-40B4-BE49-F238E27FC236}">
                        <a16:creationId xmlns:a16="http://schemas.microsoft.com/office/drawing/2014/main" id="{9E47C545-2484-454B-8A96-9662D4C7369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27" name="Rechthoek 159">
                      <a:extLst>
                        <a:ext uri="{FF2B5EF4-FFF2-40B4-BE49-F238E27FC236}">
                          <a16:creationId xmlns:a16="http://schemas.microsoft.com/office/drawing/2014/main" id="{9EF16859-1D76-45EA-95D5-1C84EE80F69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28" name="Pijl: punthaak 160">
                      <a:extLst>
                        <a:ext uri="{FF2B5EF4-FFF2-40B4-BE49-F238E27FC236}">
                          <a16:creationId xmlns:a16="http://schemas.microsoft.com/office/drawing/2014/main" id="{7799C6AF-48D4-4D2D-8EB0-99D9E282F8D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09" name="Groep 139">
                <a:extLst>
                  <a:ext uri="{FF2B5EF4-FFF2-40B4-BE49-F238E27FC236}">
                    <a16:creationId xmlns:a16="http://schemas.microsoft.com/office/drawing/2014/main" id="{57FFFA81-2EC7-43ED-81BD-20CC83FDD94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12" name="Rechthoek 142">
                  <a:extLst>
                    <a:ext uri="{FF2B5EF4-FFF2-40B4-BE49-F238E27FC236}">
                      <a16:creationId xmlns:a16="http://schemas.microsoft.com/office/drawing/2014/main" id="{38C31DCD-60DE-4271-B7F6-40150A353702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13" name="Groep 143">
                  <a:extLst>
                    <a:ext uri="{FF2B5EF4-FFF2-40B4-BE49-F238E27FC236}">
                      <a16:creationId xmlns:a16="http://schemas.microsoft.com/office/drawing/2014/main" id="{EB5D3051-FFA7-4B9A-AAB2-C9107AD33F7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14" name="Groep 144">
                    <a:extLst>
                      <a:ext uri="{FF2B5EF4-FFF2-40B4-BE49-F238E27FC236}">
                        <a16:creationId xmlns:a16="http://schemas.microsoft.com/office/drawing/2014/main" id="{D7C30D4B-9D74-474A-B9E5-3A3CB6098E1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18" name="Rechte verbindingslijn 150">
                      <a:extLst>
                        <a:ext uri="{FF2B5EF4-FFF2-40B4-BE49-F238E27FC236}">
                          <a16:creationId xmlns:a16="http://schemas.microsoft.com/office/drawing/2014/main" id="{5201577B-759A-49DB-9B95-9176C0FA2F9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9" name="Rechte verbindingslijn 151">
                      <a:extLst>
                        <a:ext uri="{FF2B5EF4-FFF2-40B4-BE49-F238E27FC236}">
                          <a16:creationId xmlns:a16="http://schemas.microsoft.com/office/drawing/2014/main" id="{A22F2502-D9F9-4F1C-8F3D-F42C1AF5532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0" name="Rechte verbindingslijn 152">
                      <a:extLst>
                        <a:ext uri="{FF2B5EF4-FFF2-40B4-BE49-F238E27FC236}">
                          <a16:creationId xmlns:a16="http://schemas.microsoft.com/office/drawing/2014/main" id="{2129D23D-5963-4821-86A0-9CF0D9CB0D7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1" name="Rechte verbindingslijn 153">
                      <a:extLst>
                        <a:ext uri="{FF2B5EF4-FFF2-40B4-BE49-F238E27FC236}">
                          <a16:creationId xmlns:a16="http://schemas.microsoft.com/office/drawing/2014/main" id="{A20AA3D3-04E8-492A-B6D8-8BE729286AC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2" name="Rechte verbindingslijn 154">
                      <a:extLst>
                        <a:ext uri="{FF2B5EF4-FFF2-40B4-BE49-F238E27FC236}">
                          <a16:creationId xmlns:a16="http://schemas.microsoft.com/office/drawing/2014/main" id="{E20EBDDC-D8AA-460A-85F4-5817E445CBC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5" name="Groep 147">
                    <a:extLst>
                      <a:ext uri="{FF2B5EF4-FFF2-40B4-BE49-F238E27FC236}">
                        <a16:creationId xmlns:a16="http://schemas.microsoft.com/office/drawing/2014/main" id="{A8D2A786-C025-4816-B13F-7A73A1161D98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6" name="Rechthoek 148">
                      <a:extLst>
                        <a:ext uri="{FF2B5EF4-FFF2-40B4-BE49-F238E27FC236}">
                          <a16:creationId xmlns:a16="http://schemas.microsoft.com/office/drawing/2014/main" id="{EB018AC6-7E0F-478B-9049-05A4AB1CCE1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17" name="Pijl: punthaak 149">
                      <a:extLst>
                        <a:ext uri="{FF2B5EF4-FFF2-40B4-BE49-F238E27FC236}">
                          <a16:creationId xmlns:a16="http://schemas.microsoft.com/office/drawing/2014/main" id="{FBB6F124-B31B-444C-A6B9-55BDD7C6B60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10" name="Rechthoek 140">
                <a:extLst>
                  <a:ext uri="{FF2B5EF4-FFF2-40B4-BE49-F238E27FC236}">
                    <a16:creationId xmlns:a16="http://schemas.microsoft.com/office/drawing/2014/main" id="{C253A169-87E9-4E85-833C-4DA4CC89A103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211" name="Rechthoek 141">
                <a:extLst>
                  <a:ext uri="{FF2B5EF4-FFF2-40B4-BE49-F238E27FC236}">
                    <a16:creationId xmlns:a16="http://schemas.microsoft.com/office/drawing/2014/main" id="{B58B4BB1-2A82-4A05-AAA8-F7CDE955FBCC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95" name="Rechte verbindingslijn 106">
              <a:extLst>
                <a:ext uri="{FF2B5EF4-FFF2-40B4-BE49-F238E27FC236}">
                  <a16:creationId xmlns:a16="http://schemas.microsoft.com/office/drawing/2014/main" id="{CFFBA893-7635-4373-8FE1-1E4FFA41D88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6" name="Rechthoek 107">
              <a:extLst>
                <a:ext uri="{FF2B5EF4-FFF2-40B4-BE49-F238E27FC236}">
                  <a16:creationId xmlns:a16="http://schemas.microsoft.com/office/drawing/2014/main" id="{3C2E566F-715E-46C0-B6EC-4591D7FC1F80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97" name="Ovaal 108">
              <a:extLst>
                <a:ext uri="{FF2B5EF4-FFF2-40B4-BE49-F238E27FC236}">
                  <a16:creationId xmlns:a16="http://schemas.microsoft.com/office/drawing/2014/main" id="{7F707FFA-F730-458D-B71B-1D92EC1DDEF1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98" name="Rechthoek 109">
              <a:extLst>
                <a:ext uri="{FF2B5EF4-FFF2-40B4-BE49-F238E27FC236}">
                  <a16:creationId xmlns:a16="http://schemas.microsoft.com/office/drawing/2014/main" id="{21A190AA-481C-447D-A4CA-9FF7079BAFA1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99" name="Ovaal 110">
              <a:extLst>
                <a:ext uri="{FF2B5EF4-FFF2-40B4-BE49-F238E27FC236}">
                  <a16:creationId xmlns:a16="http://schemas.microsoft.com/office/drawing/2014/main" id="{89FDB587-7218-4128-ADA6-D0B10655E3CD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0" name="Rechthoek 111">
              <a:extLst>
                <a:ext uri="{FF2B5EF4-FFF2-40B4-BE49-F238E27FC236}">
                  <a16:creationId xmlns:a16="http://schemas.microsoft.com/office/drawing/2014/main" id="{40F1166A-B49F-4EEA-8405-7244D5C3AEB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1" name="Ovaal 112">
              <a:extLst>
                <a:ext uri="{FF2B5EF4-FFF2-40B4-BE49-F238E27FC236}">
                  <a16:creationId xmlns:a16="http://schemas.microsoft.com/office/drawing/2014/main" id="{0548718A-613A-4319-948B-72344DB6EA6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113">
              <a:extLst>
                <a:ext uri="{FF2B5EF4-FFF2-40B4-BE49-F238E27FC236}">
                  <a16:creationId xmlns:a16="http://schemas.microsoft.com/office/drawing/2014/main" id="{828F1095-7690-43DE-9F4E-6E30B3C174A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147" name="Ovaal 114">
              <a:extLst>
                <a:ext uri="{FF2B5EF4-FFF2-40B4-BE49-F238E27FC236}">
                  <a16:creationId xmlns:a16="http://schemas.microsoft.com/office/drawing/2014/main" id="{E9ACD3E2-0EEA-4F06-8DF2-2EDF08322D0C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5" name="Rechthoek 115">
              <a:extLst>
                <a:ext uri="{FF2B5EF4-FFF2-40B4-BE49-F238E27FC236}">
                  <a16:creationId xmlns:a16="http://schemas.microsoft.com/office/drawing/2014/main" id="{AC41B43D-08F1-4304-BD38-C8343E5AD754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186" name="Rechte verbindingslijn 116">
              <a:extLst>
                <a:ext uri="{FF2B5EF4-FFF2-40B4-BE49-F238E27FC236}">
                  <a16:creationId xmlns:a16="http://schemas.microsoft.com/office/drawing/2014/main" id="{E5DDCEC0-8EED-4BAC-8B9E-352EEB83970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87" name="Meer informatie">
              <a:extLst>
                <a:ext uri="{FF2B5EF4-FFF2-40B4-BE49-F238E27FC236}">
                  <a16:creationId xmlns:a16="http://schemas.microsoft.com/office/drawing/2014/main" id="{758C865C-C19A-4EFD-893A-027B25014C39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197" name="Freeform 101">
                <a:extLst>
                  <a:ext uri="{FF2B5EF4-FFF2-40B4-BE49-F238E27FC236}">
                    <a16:creationId xmlns:a16="http://schemas.microsoft.com/office/drawing/2014/main" id="{7858FFFD-E549-4B3D-812A-5D7DFD8CB26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198" name="Rechthoek 128">
                <a:extLst>
                  <a:ext uri="{FF2B5EF4-FFF2-40B4-BE49-F238E27FC236}">
                    <a16:creationId xmlns:a16="http://schemas.microsoft.com/office/drawing/2014/main" id="{B0FD782D-F60C-4F03-AC89-7906BFAE3D05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99" name="Rechte verbindingslijn 129">
                <a:extLst>
                  <a:ext uri="{FF2B5EF4-FFF2-40B4-BE49-F238E27FC236}">
                    <a16:creationId xmlns:a16="http://schemas.microsoft.com/office/drawing/2014/main" id="{D0EA2925-AC2F-4560-921B-B62DFF70FBC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88" name="Rechthoek 118">
              <a:extLst>
                <a:ext uri="{FF2B5EF4-FFF2-40B4-BE49-F238E27FC236}">
                  <a16:creationId xmlns:a16="http://schemas.microsoft.com/office/drawing/2014/main" id="{D78844F8-83C2-46CF-96EA-53630A7C6CE3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189" name="Ovaal 119">
              <a:extLst>
                <a:ext uri="{FF2B5EF4-FFF2-40B4-BE49-F238E27FC236}">
                  <a16:creationId xmlns:a16="http://schemas.microsoft.com/office/drawing/2014/main" id="{6822EA46-03B6-432E-99DA-AC78FD55D026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90" name="Rechthoek 120">
              <a:extLst>
                <a:ext uri="{FF2B5EF4-FFF2-40B4-BE49-F238E27FC236}">
                  <a16:creationId xmlns:a16="http://schemas.microsoft.com/office/drawing/2014/main" id="{E52BFE46-0522-4503-8782-CF4ACFB81D20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91" name="Ovaal 121">
              <a:extLst>
                <a:ext uri="{FF2B5EF4-FFF2-40B4-BE49-F238E27FC236}">
                  <a16:creationId xmlns:a16="http://schemas.microsoft.com/office/drawing/2014/main" id="{16194C3D-32D0-4012-BE6F-F6A86344525D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92" name="Rechthoek 122">
              <a:extLst>
                <a:ext uri="{FF2B5EF4-FFF2-40B4-BE49-F238E27FC236}">
                  <a16:creationId xmlns:a16="http://schemas.microsoft.com/office/drawing/2014/main" id="{8F07DAB8-6EB9-488A-A442-F71E57DCFE1A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193" name="Ovaal 123">
              <a:extLst>
                <a:ext uri="{FF2B5EF4-FFF2-40B4-BE49-F238E27FC236}">
                  <a16:creationId xmlns:a16="http://schemas.microsoft.com/office/drawing/2014/main" id="{16D7BF4A-5B99-4627-9634-FC27EE9F0BFD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94" name="Rechthoek 124">
              <a:extLst>
                <a:ext uri="{FF2B5EF4-FFF2-40B4-BE49-F238E27FC236}">
                  <a16:creationId xmlns:a16="http://schemas.microsoft.com/office/drawing/2014/main" id="{8DEE18EE-0F6F-41E2-BC47-3856B49496C7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95" name="Rechthoek 125">
              <a:extLst>
                <a:ext uri="{FF2B5EF4-FFF2-40B4-BE49-F238E27FC236}">
                  <a16:creationId xmlns:a16="http://schemas.microsoft.com/office/drawing/2014/main" id="{8A7506A1-81B2-4033-95DC-64483E8E9EC8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196" name="Ovaal 126">
              <a:extLst>
                <a:ext uri="{FF2B5EF4-FFF2-40B4-BE49-F238E27FC236}">
                  <a16:creationId xmlns:a16="http://schemas.microsoft.com/office/drawing/2014/main" id="{ADE05DBE-5B97-472C-8812-37EA03C7CD71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  <p:pic>
        <p:nvPicPr>
          <p:cNvPr id="103" name="Afbeelding 102">
            <a:extLst>
              <a:ext uri="{FF2B5EF4-FFF2-40B4-BE49-F238E27FC236}">
                <a16:creationId xmlns:a16="http://schemas.microsoft.com/office/drawing/2014/main" id="{8E048147-F86F-41C9-80AF-EAB545EEC3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9608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100% Kolomm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">
            <a:extLst>
              <a:ext uri="{FF2B5EF4-FFF2-40B4-BE49-F238E27FC236}">
                <a16:creationId xmlns:a16="http://schemas.microsoft.com/office/drawing/2014/main" id="{1C9A417D-54A5-4A71-8B81-7526013FD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B97E484-7855-4B8D-9492-641CD9CF34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32" name="Tijdelijke aanduiding voor datum 3">
            <a:extLst>
              <a:ext uri="{FF2B5EF4-FFF2-40B4-BE49-F238E27FC236}">
                <a16:creationId xmlns:a16="http://schemas.microsoft.com/office/drawing/2014/main" id="{6354BF0C-BC33-44FF-BF92-624A7D6DA1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1EB8EFDF-A3EC-46A8-9B15-FE22A84EA0AA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33" name="Tijdelijke aanduiding voor voettekst 4">
            <a:extLst>
              <a:ext uri="{FF2B5EF4-FFF2-40B4-BE49-F238E27FC236}">
                <a16:creationId xmlns:a16="http://schemas.microsoft.com/office/drawing/2014/main" id="{20812B2F-B80B-4623-8A5A-F50D2B9A2D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4" name="Tijdelijke aanduiding voor dianummer 5">
            <a:extLst>
              <a:ext uri="{FF2B5EF4-FFF2-40B4-BE49-F238E27FC236}">
                <a16:creationId xmlns:a16="http://schemas.microsoft.com/office/drawing/2014/main" id="{DF970716-837B-4314-A35A-D69EAD1B74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9" y="27329718"/>
            <a:ext cx="899256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grpSp>
        <p:nvGrpSpPr>
          <p:cNvPr id="95" name="Groep 101">
            <a:extLst>
              <a:ext uri="{FF2B5EF4-FFF2-40B4-BE49-F238E27FC236}">
                <a16:creationId xmlns:a16="http://schemas.microsoft.com/office/drawing/2014/main" id="{25FA3359-1475-43BD-82F1-B0022B09053A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96" name="Rechthoek 102">
              <a:extLst>
                <a:ext uri="{FF2B5EF4-FFF2-40B4-BE49-F238E27FC236}">
                  <a16:creationId xmlns:a16="http://schemas.microsoft.com/office/drawing/2014/main" id="{FF1C0D48-82B7-483A-A757-142584CF0D6E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97" name="Ovaal 103">
              <a:extLst>
                <a:ext uri="{FF2B5EF4-FFF2-40B4-BE49-F238E27FC236}">
                  <a16:creationId xmlns:a16="http://schemas.microsoft.com/office/drawing/2014/main" id="{9435A61C-0FE3-4FE9-ACA9-3443B26E8DA5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104">
              <a:extLst>
                <a:ext uri="{FF2B5EF4-FFF2-40B4-BE49-F238E27FC236}">
                  <a16:creationId xmlns:a16="http://schemas.microsoft.com/office/drawing/2014/main" id="{6DB50E51-89F5-4258-AF41-82B4025CF7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99" name="Groep 105">
              <a:extLst>
                <a:ext uri="{FF2B5EF4-FFF2-40B4-BE49-F238E27FC236}">
                  <a16:creationId xmlns:a16="http://schemas.microsoft.com/office/drawing/2014/main" id="{C5963FBC-B98F-4462-A610-6E3F0A55E63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24" name="Rechthoek 130">
                <a:extLst>
                  <a:ext uri="{FF2B5EF4-FFF2-40B4-BE49-F238E27FC236}">
                    <a16:creationId xmlns:a16="http://schemas.microsoft.com/office/drawing/2014/main" id="{72664264-D5B6-4A0F-83A3-CD3B59E4079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125" name="Rechte verbindingslijn 131">
                <a:extLst>
                  <a:ext uri="{FF2B5EF4-FFF2-40B4-BE49-F238E27FC236}">
                    <a16:creationId xmlns:a16="http://schemas.microsoft.com/office/drawing/2014/main" id="{4DBF7CB1-D920-4084-BBC0-9CA96DBB5FF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Rechte verbindingslijn 132">
                <a:extLst>
                  <a:ext uri="{FF2B5EF4-FFF2-40B4-BE49-F238E27FC236}">
                    <a16:creationId xmlns:a16="http://schemas.microsoft.com/office/drawing/2014/main" id="{AD0FFB3D-E62E-4A65-89DE-E6BF07E0D46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7" name="Rechthoek 133">
                <a:extLst>
                  <a:ext uri="{FF2B5EF4-FFF2-40B4-BE49-F238E27FC236}">
                    <a16:creationId xmlns:a16="http://schemas.microsoft.com/office/drawing/2014/main" id="{898A7F02-A273-40EB-8661-528D06298DCD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8" name="Groep 134">
                <a:extLst>
                  <a:ext uri="{FF2B5EF4-FFF2-40B4-BE49-F238E27FC236}">
                    <a16:creationId xmlns:a16="http://schemas.microsoft.com/office/drawing/2014/main" id="{F88FF70A-4D0E-4882-992E-B87A47696573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67" name="Groep 175">
                  <a:extLst>
                    <a:ext uri="{FF2B5EF4-FFF2-40B4-BE49-F238E27FC236}">
                      <a16:creationId xmlns:a16="http://schemas.microsoft.com/office/drawing/2014/main" id="{054E4156-8B32-40CB-A0BA-8D4D395DBD8E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71" name="Rechte verbindingslijn 179">
                    <a:extLst>
                      <a:ext uri="{FF2B5EF4-FFF2-40B4-BE49-F238E27FC236}">
                        <a16:creationId xmlns:a16="http://schemas.microsoft.com/office/drawing/2014/main" id="{92FEA4B1-7DC4-46F2-933F-C21523AD574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2" name="Rechte verbindingslijn 180">
                    <a:extLst>
                      <a:ext uri="{FF2B5EF4-FFF2-40B4-BE49-F238E27FC236}">
                        <a16:creationId xmlns:a16="http://schemas.microsoft.com/office/drawing/2014/main" id="{4848CF09-3191-4E0B-9C82-B5EC873DD79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3" name="Rechte verbindingslijn 181">
                    <a:extLst>
                      <a:ext uri="{FF2B5EF4-FFF2-40B4-BE49-F238E27FC236}">
                        <a16:creationId xmlns:a16="http://schemas.microsoft.com/office/drawing/2014/main" id="{25DF4ABD-64DA-41AC-993B-65B1D13BD75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4" name="Rechte verbindingslijn 182">
                    <a:extLst>
                      <a:ext uri="{FF2B5EF4-FFF2-40B4-BE49-F238E27FC236}">
                        <a16:creationId xmlns:a16="http://schemas.microsoft.com/office/drawing/2014/main" id="{91464B69-BD3F-475A-8709-80CAD8CDB53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5" name="Rechte verbindingslijn 183">
                    <a:extLst>
                      <a:ext uri="{FF2B5EF4-FFF2-40B4-BE49-F238E27FC236}">
                        <a16:creationId xmlns:a16="http://schemas.microsoft.com/office/drawing/2014/main" id="{4EC84034-3082-4C5C-9459-F01C0B00189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68" name="Groep 176">
                  <a:extLst>
                    <a:ext uri="{FF2B5EF4-FFF2-40B4-BE49-F238E27FC236}">
                      <a16:creationId xmlns:a16="http://schemas.microsoft.com/office/drawing/2014/main" id="{316D08EA-4E38-4C8C-ABA1-1B77EFFACE5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9" name="Rechthoek 177">
                    <a:extLst>
                      <a:ext uri="{FF2B5EF4-FFF2-40B4-BE49-F238E27FC236}">
                        <a16:creationId xmlns:a16="http://schemas.microsoft.com/office/drawing/2014/main" id="{9A6FD9D3-AF5A-403C-BE27-8EBA4E86CB1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70" name="Pijl: punthaak 178">
                    <a:extLst>
                      <a:ext uri="{FF2B5EF4-FFF2-40B4-BE49-F238E27FC236}">
                        <a16:creationId xmlns:a16="http://schemas.microsoft.com/office/drawing/2014/main" id="{B5C38837-555F-421F-A359-F4733C2B9A8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29" name="Groep 135">
                <a:extLst>
                  <a:ext uri="{FF2B5EF4-FFF2-40B4-BE49-F238E27FC236}">
                    <a16:creationId xmlns:a16="http://schemas.microsoft.com/office/drawing/2014/main" id="{B314DAA2-6F97-439F-BC32-C0C86220DEB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58" name="Groep 166">
                  <a:extLst>
                    <a:ext uri="{FF2B5EF4-FFF2-40B4-BE49-F238E27FC236}">
                      <a16:creationId xmlns:a16="http://schemas.microsoft.com/office/drawing/2014/main" id="{5414A868-79C4-4702-A9EF-1DA1458A6B19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62" name="Rechte verbindingslijn 170">
                    <a:extLst>
                      <a:ext uri="{FF2B5EF4-FFF2-40B4-BE49-F238E27FC236}">
                        <a16:creationId xmlns:a16="http://schemas.microsoft.com/office/drawing/2014/main" id="{B876D009-BFB9-4E04-8B71-5315926AD7D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3" name="Rechte verbindingslijn 171">
                    <a:extLst>
                      <a:ext uri="{FF2B5EF4-FFF2-40B4-BE49-F238E27FC236}">
                        <a16:creationId xmlns:a16="http://schemas.microsoft.com/office/drawing/2014/main" id="{06B1F264-F895-42CA-BF2A-03AE63B911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4" name="Rechte verbindingslijn 172">
                    <a:extLst>
                      <a:ext uri="{FF2B5EF4-FFF2-40B4-BE49-F238E27FC236}">
                        <a16:creationId xmlns:a16="http://schemas.microsoft.com/office/drawing/2014/main" id="{325C6925-F009-4C29-8305-83B3E1F98AF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5" name="Rechte verbindingslijn 173">
                    <a:extLst>
                      <a:ext uri="{FF2B5EF4-FFF2-40B4-BE49-F238E27FC236}">
                        <a16:creationId xmlns:a16="http://schemas.microsoft.com/office/drawing/2014/main" id="{A72589D3-090C-4564-9D36-B96B8E66E52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6" name="Rechte verbindingslijn 174">
                    <a:extLst>
                      <a:ext uri="{FF2B5EF4-FFF2-40B4-BE49-F238E27FC236}">
                        <a16:creationId xmlns:a16="http://schemas.microsoft.com/office/drawing/2014/main" id="{41D4C1C1-1BFE-427A-94BD-EB0576D6936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59" name="Groep 167">
                  <a:extLst>
                    <a:ext uri="{FF2B5EF4-FFF2-40B4-BE49-F238E27FC236}">
                      <a16:creationId xmlns:a16="http://schemas.microsoft.com/office/drawing/2014/main" id="{D666937F-C483-44B7-BB75-14BCB8BAACD3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0" name="Rechthoek 168">
                    <a:extLst>
                      <a:ext uri="{FF2B5EF4-FFF2-40B4-BE49-F238E27FC236}">
                        <a16:creationId xmlns:a16="http://schemas.microsoft.com/office/drawing/2014/main" id="{02FA0E87-767E-41E2-80F0-55BBCB52C70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1" name="Pijl: punthaak 169">
                    <a:extLst>
                      <a:ext uri="{FF2B5EF4-FFF2-40B4-BE49-F238E27FC236}">
                        <a16:creationId xmlns:a16="http://schemas.microsoft.com/office/drawing/2014/main" id="{24727E74-B9E2-4452-8447-A51D5FC9701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30" name="Rechte verbindingslijn 136">
                <a:extLst>
                  <a:ext uri="{FF2B5EF4-FFF2-40B4-BE49-F238E27FC236}">
                    <a16:creationId xmlns:a16="http://schemas.microsoft.com/office/drawing/2014/main" id="{B065D754-812F-4A3A-9463-21D5B9B0565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31" name="Rechte verbindingslijn 137">
                <a:extLst>
                  <a:ext uri="{FF2B5EF4-FFF2-40B4-BE49-F238E27FC236}">
                    <a16:creationId xmlns:a16="http://schemas.microsoft.com/office/drawing/2014/main" id="{6A978F65-0AFD-4708-82D1-5AAA514C4F2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32" name="Groep 138">
                <a:extLst>
                  <a:ext uri="{FF2B5EF4-FFF2-40B4-BE49-F238E27FC236}">
                    <a16:creationId xmlns:a16="http://schemas.microsoft.com/office/drawing/2014/main" id="{179E4300-E869-4F3C-9373-3A6C4D088AE3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47" name="Rechthoek 155">
                  <a:extLst>
                    <a:ext uri="{FF2B5EF4-FFF2-40B4-BE49-F238E27FC236}">
                      <a16:creationId xmlns:a16="http://schemas.microsoft.com/office/drawing/2014/main" id="{D7100BF0-DF9A-42BB-B73B-69C7E8F42A22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48" name="Groep 156">
                  <a:extLst>
                    <a:ext uri="{FF2B5EF4-FFF2-40B4-BE49-F238E27FC236}">
                      <a16:creationId xmlns:a16="http://schemas.microsoft.com/office/drawing/2014/main" id="{2ABEDBFB-00FF-4B63-9361-CB7CDD423F21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49" name="Groep 157">
                    <a:extLst>
                      <a:ext uri="{FF2B5EF4-FFF2-40B4-BE49-F238E27FC236}">
                        <a16:creationId xmlns:a16="http://schemas.microsoft.com/office/drawing/2014/main" id="{EB8BCA74-A720-4390-A56A-FCAEE9F8A6F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53" name="Rechte verbindingslijn 161">
                      <a:extLst>
                        <a:ext uri="{FF2B5EF4-FFF2-40B4-BE49-F238E27FC236}">
                          <a16:creationId xmlns:a16="http://schemas.microsoft.com/office/drawing/2014/main" id="{5111F5D0-8C20-4E5A-B846-6E18D14A90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4" name="Rechte verbindingslijn 162">
                      <a:extLst>
                        <a:ext uri="{FF2B5EF4-FFF2-40B4-BE49-F238E27FC236}">
                          <a16:creationId xmlns:a16="http://schemas.microsoft.com/office/drawing/2014/main" id="{68E4990D-D55F-4917-8553-E1F3727312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5" name="Rechte verbindingslijn 163">
                      <a:extLst>
                        <a:ext uri="{FF2B5EF4-FFF2-40B4-BE49-F238E27FC236}">
                          <a16:creationId xmlns:a16="http://schemas.microsoft.com/office/drawing/2014/main" id="{20A3C2DC-45F6-48DD-AEFD-0145456027F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6" name="Rechte verbindingslijn 164">
                      <a:extLst>
                        <a:ext uri="{FF2B5EF4-FFF2-40B4-BE49-F238E27FC236}">
                          <a16:creationId xmlns:a16="http://schemas.microsoft.com/office/drawing/2014/main" id="{76D81C65-0586-42F9-8694-2593C20A22F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7" name="Rechte verbindingslijn 165">
                      <a:extLst>
                        <a:ext uri="{FF2B5EF4-FFF2-40B4-BE49-F238E27FC236}">
                          <a16:creationId xmlns:a16="http://schemas.microsoft.com/office/drawing/2014/main" id="{B68F5959-1407-4DAC-B406-2E63D39F294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50" name="Groep 158">
                    <a:extLst>
                      <a:ext uri="{FF2B5EF4-FFF2-40B4-BE49-F238E27FC236}">
                        <a16:creationId xmlns:a16="http://schemas.microsoft.com/office/drawing/2014/main" id="{C58235CE-61E8-4AB9-8EB2-0495E5EA7F4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51" name="Rechthoek 159">
                      <a:extLst>
                        <a:ext uri="{FF2B5EF4-FFF2-40B4-BE49-F238E27FC236}">
                          <a16:creationId xmlns:a16="http://schemas.microsoft.com/office/drawing/2014/main" id="{A4154A95-515C-4523-8450-1FC3E537B56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2" name="Pijl: punthaak 160">
                      <a:extLst>
                        <a:ext uri="{FF2B5EF4-FFF2-40B4-BE49-F238E27FC236}">
                          <a16:creationId xmlns:a16="http://schemas.microsoft.com/office/drawing/2014/main" id="{0E037ECF-ECF4-4C7F-A7C7-8158902E1A7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33" name="Groep 139">
                <a:extLst>
                  <a:ext uri="{FF2B5EF4-FFF2-40B4-BE49-F238E27FC236}">
                    <a16:creationId xmlns:a16="http://schemas.microsoft.com/office/drawing/2014/main" id="{45E17705-4D09-465E-950D-F31DCB79FE7A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36" name="Rechthoek 142">
                  <a:extLst>
                    <a:ext uri="{FF2B5EF4-FFF2-40B4-BE49-F238E27FC236}">
                      <a16:creationId xmlns:a16="http://schemas.microsoft.com/office/drawing/2014/main" id="{FA840D81-92AB-44A0-AE74-5DA1CC5D94D2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37" name="Groep 143">
                  <a:extLst>
                    <a:ext uri="{FF2B5EF4-FFF2-40B4-BE49-F238E27FC236}">
                      <a16:creationId xmlns:a16="http://schemas.microsoft.com/office/drawing/2014/main" id="{2C700782-113B-4FD8-88E4-9B6510384631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38" name="Groep 144">
                    <a:extLst>
                      <a:ext uri="{FF2B5EF4-FFF2-40B4-BE49-F238E27FC236}">
                        <a16:creationId xmlns:a16="http://schemas.microsoft.com/office/drawing/2014/main" id="{37AC3045-99F3-46E0-9021-79B4815A172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42" name="Rechte verbindingslijn 150">
                      <a:extLst>
                        <a:ext uri="{FF2B5EF4-FFF2-40B4-BE49-F238E27FC236}">
                          <a16:creationId xmlns:a16="http://schemas.microsoft.com/office/drawing/2014/main" id="{780D46D0-F946-4641-A5F7-FFDC8BCFB85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3" name="Rechte verbindingslijn 151">
                      <a:extLst>
                        <a:ext uri="{FF2B5EF4-FFF2-40B4-BE49-F238E27FC236}">
                          <a16:creationId xmlns:a16="http://schemas.microsoft.com/office/drawing/2014/main" id="{CAE80844-B5F0-4D86-95E2-FAE6D0A446A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4" name="Rechte verbindingslijn 152">
                      <a:extLst>
                        <a:ext uri="{FF2B5EF4-FFF2-40B4-BE49-F238E27FC236}">
                          <a16:creationId xmlns:a16="http://schemas.microsoft.com/office/drawing/2014/main" id="{04A02A86-A877-4E49-B879-3A908F4B866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5" name="Rechte verbindingslijn 153">
                      <a:extLst>
                        <a:ext uri="{FF2B5EF4-FFF2-40B4-BE49-F238E27FC236}">
                          <a16:creationId xmlns:a16="http://schemas.microsoft.com/office/drawing/2014/main" id="{F040B603-192E-45FC-9521-08FDEDE21D5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6" name="Rechte verbindingslijn 154">
                      <a:extLst>
                        <a:ext uri="{FF2B5EF4-FFF2-40B4-BE49-F238E27FC236}">
                          <a16:creationId xmlns:a16="http://schemas.microsoft.com/office/drawing/2014/main" id="{82B14A51-95C1-4DCB-8BFC-01DB8B01581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39" name="Groep 147">
                    <a:extLst>
                      <a:ext uri="{FF2B5EF4-FFF2-40B4-BE49-F238E27FC236}">
                        <a16:creationId xmlns:a16="http://schemas.microsoft.com/office/drawing/2014/main" id="{9E5768C7-0682-4CAB-89A8-68CAAC548F5A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40" name="Rechthoek 148">
                      <a:extLst>
                        <a:ext uri="{FF2B5EF4-FFF2-40B4-BE49-F238E27FC236}">
                          <a16:creationId xmlns:a16="http://schemas.microsoft.com/office/drawing/2014/main" id="{C0298C35-72E4-46B8-B2DE-3529D8AA29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41" name="Pijl: punthaak 149">
                      <a:extLst>
                        <a:ext uri="{FF2B5EF4-FFF2-40B4-BE49-F238E27FC236}">
                          <a16:creationId xmlns:a16="http://schemas.microsoft.com/office/drawing/2014/main" id="{C6E0EB1D-01AA-48EB-83EF-72A9DDE5418B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34" name="Rechthoek 140">
                <a:extLst>
                  <a:ext uri="{FF2B5EF4-FFF2-40B4-BE49-F238E27FC236}">
                    <a16:creationId xmlns:a16="http://schemas.microsoft.com/office/drawing/2014/main" id="{457DBA53-C4EA-41E6-BF32-1277C19B8824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135" name="Rechthoek 141">
                <a:extLst>
                  <a:ext uri="{FF2B5EF4-FFF2-40B4-BE49-F238E27FC236}">
                    <a16:creationId xmlns:a16="http://schemas.microsoft.com/office/drawing/2014/main" id="{30FB3E1A-3D27-4EE7-9F60-54BF22BC0ED5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100" name="Rechte verbindingslijn 106">
              <a:extLst>
                <a:ext uri="{FF2B5EF4-FFF2-40B4-BE49-F238E27FC236}">
                  <a16:creationId xmlns:a16="http://schemas.microsoft.com/office/drawing/2014/main" id="{6551E164-CE15-483E-916C-FB6A6DA2338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1" name="Rechthoek 107">
              <a:extLst>
                <a:ext uri="{FF2B5EF4-FFF2-40B4-BE49-F238E27FC236}">
                  <a16:creationId xmlns:a16="http://schemas.microsoft.com/office/drawing/2014/main" id="{718257E2-FB19-487D-A6A0-293C780B5779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102" name="Ovaal 108">
              <a:extLst>
                <a:ext uri="{FF2B5EF4-FFF2-40B4-BE49-F238E27FC236}">
                  <a16:creationId xmlns:a16="http://schemas.microsoft.com/office/drawing/2014/main" id="{C7125CDC-47FA-4F4E-9562-9FC7D654B0E9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9">
              <a:extLst>
                <a:ext uri="{FF2B5EF4-FFF2-40B4-BE49-F238E27FC236}">
                  <a16:creationId xmlns:a16="http://schemas.microsoft.com/office/drawing/2014/main" id="{C94582B4-1D28-47D1-89A3-9D2ED99DF5F3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104" name="Ovaal 110">
              <a:extLst>
                <a:ext uri="{FF2B5EF4-FFF2-40B4-BE49-F238E27FC236}">
                  <a16:creationId xmlns:a16="http://schemas.microsoft.com/office/drawing/2014/main" id="{0005EFCB-853A-44A5-8220-163CCEF4904A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5" name="Rechthoek 111">
              <a:extLst>
                <a:ext uri="{FF2B5EF4-FFF2-40B4-BE49-F238E27FC236}">
                  <a16:creationId xmlns:a16="http://schemas.microsoft.com/office/drawing/2014/main" id="{6430FEE2-B4AD-4D2D-B284-D74C0121299E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6" name="Ovaal 112">
              <a:extLst>
                <a:ext uri="{FF2B5EF4-FFF2-40B4-BE49-F238E27FC236}">
                  <a16:creationId xmlns:a16="http://schemas.microsoft.com/office/drawing/2014/main" id="{46A02CA7-AB6C-4ED5-9403-8CE27DD5B5BB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07" name="Rechthoek 113">
              <a:extLst>
                <a:ext uri="{FF2B5EF4-FFF2-40B4-BE49-F238E27FC236}">
                  <a16:creationId xmlns:a16="http://schemas.microsoft.com/office/drawing/2014/main" id="{485FF167-E60D-4806-981A-41E3B4D13D1A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108" name="Ovaal 114">
              <a:extLst>
                <a:ext uri="{FF2B5EF4-FFF2-40B4-BE49-F238E27FC236}">
                  <a16:creationId xmlns:a16="http://schemas.microsoft.com/office/drawing/2014/main" id="{6B7D75B0-0AC7-455C-8E88-6A62EB873757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09" name="Rechthoek 115">
              <a:extLst>
                <a:ext uri="{FF2B5EF4-FFF2-40B4-BE49-F238E27FC236}">
                  <a16:creationId xmlns:a16="http://schemas.microsoft.com/office/drawing/2014/main" id="{4EFC6EAB-EBE4-4D4D-9865-346778A4C78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110" name="Rechte verbindingslijn 116">
              <a:extLst>
                <a:ext uri="{FF2B5EF4-FFF2-40B4-BE49-F238E27FC236}">
                  <a16:creationId xmlns:a16="http://schemas.microsoft.com/office/drawing/2014/main" id="{BB5E66A4-1362-4C44-8513-6F054E51A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11" name="Meer informatie">
              <a:extLst>
                <a:ext uri="{FF2B5EF4-FFF2-40B4-BE49-F238E27FC236}">
                  <a16:creationId xmlns:a16="http://schemas.microsoft.com/office/drawing/2014/main" id="{3E3BB4BC-B0D2-4D47-93CD-A7B24F5C24C5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121" name="Freeform 101">
                <a:extLst>
                  <a:ext uri="{FF2B5EF4-FFF2-40B4-BE49-F238E27FC236}">
                    <a16:creationId xmlns:a16="http://schemas.microsoft.com/office/drawing/2014/main" id="{DFD340A5-2AA1-4639-AC15-CEF17C4952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122" name="Rechthoek 128">
                <a:extLst>
                  <a:ext uri="{FF2B5EF4-FFF2-40B4-BE49-F238E27FC236}">
                    <a16:creationId xmlns:a16="http://schemas.microsoft.com/office/drawing/2014/main" id="{8AF2751A-52FB-4EC1-A23E-8F9D35D74A9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3" name="Rechte verbindingslijn 129">
                <a:extLst>
                  <a:ext uri="{FF2B5EF4-FFF2-40B4-BE49-F238E27FC236}">
                    <a16:creationId xmlns:a16="http://schemas.microsoft.com/office/drawing/2014/main" id="{C6949D13-4FE4-430E-BA70-C1F7795A3AD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12" name="Rechthoek 118">
              <a:extLst>
                <a:ext uri="{FF2B5EF4-FFF2-40B4-BE49-F238E27FC236}">
                  <a16:creationId xmlns:a16="http://schemas.microsoft.com/office/drawing/2014/main" id="{998B6FB4-8697-4D4C-8378-D30EF48B226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113" name="Ovaal 119">
              <a:extLst>
                <a:ext uri="{FF2B5EF4-FFF2-40B4-BE49-F238E27FC236}">
                  <a16:creationId xmlns:a16="http://schemas.microsoft.com/office/drawing/2014/main" id="{1CCF17F4-62D2-42A3-BE46-FBFE2B96CDB5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14" name="Rechthoek 120">
              <a:extLst>
                <a:ext uri="{FF2B5EF4-FFF2-40B4-BE49-F238E27FC236}">
                  <a16:creationId xmlns:a16="http://schemas.microsoft.com/office/drawing/2014/main" id="{83D59E2F-ABDC-47F5-A608-E3BEB5F0D83F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15" name="Ovaal 121">
              <a:extLst>
                <a:ext uri="{FF2B5EF4-FFF2-40B4-BE49-F238E27FC236}">
                  <a16:creationId xmlns:a16="http://schemas.microsoft.com/office/drawing/2014/main" id="{D8849116-73ED-4C5D-BBEF-20DECB877225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16" name="Rechthoek 122">
              <a:extLst>
                <a:ext uri="{FF2B5EF4-FFF2-40B4-BE49-F238E27FC236}">
                  <a16:creationId xmlns:a16="http://schemas.microsoft.com/office/drawing/2014/main" id="{B3D481FD-5666-4CB5-83C0-C566CB463678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117" name="Ovaal 123">
              <a:extLst>
                <a:ext uri="{FF2B5EF4-FFF2-40B4-BE49-F238E27FC236}">
                  <a16:creationId xmlns:a16="http://schemas.microsoft.com/office/drawing/2014/main" id="{08CB1EA8-EE9D-485D-8B6E-9AE1CD4D13A5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18" name="Rechthoek 124">
              <a:extLst>
                <a:ext uri="{FF2B5EF4-FFF2-40B4-BE49-F238E27FC236}">
                  <a16:creationId xmlns:a16="http://schemas.microsoft.com/office/drawing/2014/main" id="{A8E8EC8E-14FF-4299-9E20-5925C2674DDF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19" name="Rechthoek 125">
              <a:extLst>
                <a:ext uri="{FF2B5EF4-FFF2-40B4-BE49-F238E27FC236}">
                  <a16:creationId xmlns:a16="http://schemas.microsoft.com/office/drawing/2014/main" id="{8090592C-6129-4557-90D7-4A6262B8C795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120" name="Ovaal 126">
              <a:extLst>
                <a:ext uri="{FF2B5EF4-FFF2-40B4-BE49-F238E27FC236}">
                  <a16:creationId xmlns:a16="http://schemas.microsoft.com/office/drawing/2014/main" id="{F06906F1-FF2B-42B0-94E4-BB5AE41D9C0A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  <p:sp>
        <p:nvSpPr>
          <p:cNvPr id="90" name="Tijdelijke aanduiding voor verticale tekst 2">
            <a:extLst>
              <a:ext uri="{FF2B5EF4-FFF2-40B4-BE49-F238E27FC236}">
                <a16:creationId xmlns:a16="http://schemas.microsoft.com/office/drawing/2014/main" id="{BDC964F3-713E-4B53-BB28-52B5ACE9F960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742374" y="6476677"/>
            <a:ext cx="39282480" cy="19046186"/>
          </a:xfrm>
        </p:spPr>
        <p:txBody>
          <a:bodyPr vert="horz" numCol="2" spcCol="576000"/>
          <a:lstStyle>
            <a:lvl1pPr>
              <a:defRPr sz="5612"/>
            </a:lvl1pPr>
            <a:lvl2pPr>
              <a:defRPr sz="4911"/>
            </a:lvl2pPr>
            <a:lvl3pPr>
              <a:defRPr sz="4911"/>
            </a:lvl3pPr>
            <a:lvl4pPr>
              <a:defRPr sz="4911"/>
            </a:lvl4pPr>
            <a:lvl5pPr>
              <a:defRPr sz="4911"/>
            </a:lvl5pPr>
            <a:lvl6pPr marL="1269631" indent="-634816">
              <a:buFont typeface="Arial" panose="020B0604020202020204" pitchFamily="34" charset="0"/>
              <a:buChar char="•"/>
              <a:defRPr sz="4209" baseline="0">
                <a:latin typeface="+mj-lt"/>
              </a:defRPr>
            </a:lvl6pPr>
            <a:lvl7pPr>
              <a:defRPr sz="4911"/>
            </a:lvl7pPr>
            <a:lvl8pPr>
              <a:defRPr sz="4209"/>
            </a:lvl8pPr>
            <a:lvl9pPr>
              <a:defRPr sz="8419"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pic>
        <p:nvPicPr>
          <p:cNvPr id="91" name="Afbeelding 90">
            <a:extLst>
              <a:ext uri="{FF2B5EF4-FFF2-40B4-BE49-F238E27FC236}">
                <a16:creationId xmlns:a16="http://schemas.microsoft.com/office/drawing/2014/main" id="{2BBB23CB-7F4B-419B-AEE2-1E578FE5BA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6443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0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9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100% Kolommen + F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">
            <a:extLst>
              <a:ext uri="{FF2B5EF4-FFF2-40B4-BE49-F238E27FC236}">
                <a16:creationId xmlns:a16="http://schemas.microsoft.com/office/drawing/2014/main" id="{1C9A417D-54A5-4A71-8B81-7526013FD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B97E484-7855-4B8D-9492-641CD9CF34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32" name="Tijdelijke aanduiding voor datum 3">
            <a:extLst>
              <a:ext uri="{FF2B5EF4-FFF2-40B4-BE49-F238E27FC236}">
                <a16:creationId xmlns:a16="http://schemas.microsoft.com/office/drawing/2014/main" id="{6354BF0C-BC33-44FF-BF92-624A7D6DA1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F7D9B3A1-AD20-4AC8-A938-A3B5CD41AC74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33" name="Tijdelijke aanduiding voor voettekst 4">
            <a:extLst>
              <a:ext uri="{FF2B5EF4-FFF2-40B4-BE49-F238E27FC236}">
                <a16:creationId xmlns:a16="http://schemas.microsoft.com/office/drawing/2014/main" id="{20812B2F-B80B-4623-8A5A-F50D2B9A2D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4" name="Tijdelijke aanduiding voor dianummer 5">
            <a:extLst>
              <a:ext uri="{FF2B5EF4-FFF2-40B4-BE49-F238E27FC236}">
                <a16:creationId xmlns:a16="http://schemas.microsoft.com/office/drawing/2014/main" id="{DF970716-837B-4314-A35A-D69EAD1B74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9" y="27329718"/>
            <a:ext cx="966080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5" name="Tijdelijke aanduiding voor afbeelding 4">
            <a:extLst>
              <a:ext uri="{FF2B5EF4-FFF2-40B4-BE49-F238E27FC236}">
                <a16:creationId xmlns:a16="http://schemas.microsoft.com/office/drawing/2014/main" id="{4F177409-F5CC-48CA-85EE-1118845B542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2420194" y="16336005"/>
            <a:ext cx="18604073" cy="9215717"/>
          </a:xfrm>
          <a:solidFill>
            <a:schemeClr val="bg1">
              <a:lumMod val="95000"/>
            </a:schemeClr>
          </a:solidFill>
        </p:spPr>
        <p:txBody>
          <a:bodyPr vert="horz" lIns="0" tIns="1260000" rIns="0" bIns="0" rtlCol="0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lang="nl-NL" sz="4209" b="0" i="1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23677" lvl="0" indent="-623677" algn="ctr"/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grpSp>
        <p:nvGrpSpPr>
          <p:cNvPr id="259" name="Groep 258">
            <a:extLst>
              <a:ext uri="{FF2B5EF4-FFF2-40B4-BE49-F238E27FC236}">
                <a16:creationId xmlns:a16="http://schemas.microsoft.com/office/drawing/2014/main" id="{24CEAA6A-AC17-46F9-9B7D-941BA60EBEA3}"/>
              </a:ext>
            </a:extLst>
          </p:cNvPr>
          <p:cNvGrpSpPr/>
          <p:nvPr userDrawn="1"/>
        </p:nvGrpSpPr>
        <p:grpSpPr>
          <a:xfrm>
            <a:off x="43467416" y="5"/>
            <a:ext cx="11167745" cy="23084356"/>
            <a:chOff x="12391601" y="0"/>
            <a:chExt cx="3183678" cy="5229113"/>
          </a:xfrm>
        </p:grpSpPr>
        <p:grpSp>
          <p:nvGrpSpPr>
            <p:cNvPr id="260" name="Meer informatie">
              <a:extLst>
                <a:ext uri="{FF2B5EF4-FFF2-40B4-BE49-F238E27FC236}">
                  <a16:creationId xmlns:a16="http://schemas.microsoft.com/office/drawing/2014/main" id="{9BEC62F2-BD85-43C9-B603-D862489AF3FF}"/>
                </a:ext>
              </a:extLst>
            </p:cNvPr>
            <p:cNvGrpSpPr/>
            <p:nvPr userDrawn="1"/>
          </p:nvGrpSpPr>
          <p:grpSpPr>
            <a:xfrm>
              <a:off x="12396764" y="4445840"/>
              <a:ext cx="3178515" cy="783273"/>
              <a:chOff x="-3741486" y="3386444"/>
              <a:chExt cx="3178515" cy="783273"/>
            </a:xfrm>
          </p:grpSpPr>
          <p:sp>
            <p:nvSpPr>
              <p:cNvPr id="306" name="Freeform 101">
                <a:extLst>
                  <a:ext uri="{FF2B5EF4-FFF2-40B4-BE49-F238E27FC236}">
                    <a16:creationId xmlns:a16="http://schemas.microsoft.com/office/drawing/2014/main" id="{E875B604-4BEB-4955-9379-B5EAE9EB7D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307" name="Rechthoek 306">
                <a:extLst>
                  <a:ext uri="{FF2B5EF4-FFF2-40B4-BE49-F238E27FC236}">
                    <a16:creationId xmlns:a16="http://schemas.microsoft.com/office/drawing/2014/main" id="{B57B25F4-3895-4F3E-9C7E-8F1E9CB36B9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08" name="Rechte verbindingslijn 307">
                <a:extLst>
                  <a:ext uri="{FF2B5EF4-FFF2-40B4-BE49-F238E27FC236}">
                    <a16:creationId xmlns:a16="http://schemas.microsoft.com/office/drawing/2014/main" id="{5F7D4643-B1E9-4798-B3F0-83596585C41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61" name="Rechthoek 260">
              <a:extLst>
                <a:ext uri="{FF2B5EF4-FFF2-40B4-BE49-F238E27FC236}">
                  <a16:creationId xmlns:a16="http://schemas.microsoft.com/office/drawing/2014/main" id="{19ECF3CE-DB2E-4980-92F4-B8E83570DDB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262" name="Ovaal 261">
              <a:extLst>
                <a:ext uri="{FF2B5EF4-FFF2-40B4-BE49-F238E27FC236}">
                  <a16:creationId xmlns:a16="http://schemas.microsoft.com/office/drawing/2014/main" id="{31418D3D-56EC-4F9B-83AD-273AA2D078C9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63" name="Rechte verbindingslijn 262">
              <a:extLst>
                <a:ext uri="{FF2B5EF4-FFF2-40B4-BE49-F238E27FC236}">
                  <a16:creationId xmlns:a16="http://schemas.microsoft.com/office/drawing/2014/main" id="{796501FC-2296-4EBF-98DB-19627B55E40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64" name="Rechte verbindingslijn 263">
              <a:extLst>
                <a:ext uri="{FF2B5EF4-FFF2-40B4-BE49-F238E27FC236}">
                  <a16:creationId xmlns:a16="http://schemas.microsoft.com/office/drawing/2014/main" id="{4FB92C36-439C-4632-A214-58B510AFD96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65" name="Rechthoek 264">
              <a:extLst>
                <a:ext uri="{FF2B5EF4-FFF2-40B4-BE49-F238E27FC236}">
                  <a16:creationId xmlns:a16="http://schemas.microsoft.com/office/drawing/2014/main" id="{5AC634FD-A6CE-4AD8-B4F8-D35EC9B371CB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oor deze te selecteren en op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om een nieuwe afbeelding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266" name="Rechte verbindingslijn 265">
              <a:extLst>
                <a:ext uri="{FF2B5EF4-FFF2-40B4-BE49-F238E27FC236}">
                  <a16:creationId xmlns:a16="http://schemas.microsoft.com/office/drawing/2014/main" id="{43620546-4EFA-422F-9618-01F94F9DF38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4327957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67" name="Ovaal 266">
              <a:extLst>
                <a:ext uri="{FF2B5EF4-FFF2-40B4-BE49-F238E27FC236}">
                  <a16:creationId xmlns:a16="http://schemas.microsoft.com/office/drawing/2014/main" id="{5A5F9744-7F80-4768-959D-B407260D8065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68" name="Rechthoek 267">
              <a:extLst>
                <a:ext uri="{FF2B5EF4-FFF2-40B4-BE49-F238E27FC236}">
                  <a16:creationId xmlns:a16="http://schemas.microsoft.com/office/drawing/2014/main" id="{47EFE198-DF9F-43A4-84A2-6FC84634B6F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69" name="Groep 268">
              <a:extLst>
                <a:ext uri="{FF2B5EF4-FFF2-40B4-BE49-F238E27FC236}">
                  <a16:creationId xmlns:a16="http://schemas.microsoft.com/office/drawing/2014/main" id="{073E9E18-1FE0-4839-AA07-CE173FFE82C8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03" name="Rechthoek 302">
                <a:extLst>
                  <a:ext uri="{FF2B5EF4-FFF2-40B4-BE49-F238E27FC236}">
                    <a16:creationId xmlns:a16="http://schemas.microsoft.com/office/drawing/2014/main" id="{B3CFFD62-46F2-4EF5-AB24-E88B5DA3B62D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304" name="Rechte verbindingslijn 303">
                <a:extLst>
                  <a:ext uri="{FF2B5EF4-FFF2-40B4-BE49-F238E27FC236}">
                    <a16:creationId xmlns:a16="http://schemas.microsoft.com/office/drawing/2014/main" id="{F4180D7B-8530-47B3-9E0D-4528A5C248A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05" name="Gelijkbenige driehoek 304">
                <a:extLst>
                  <a:ext uri="{FF2B5EF4-FFF2-40B4-BE49-F238E27FC236}">
                    <a16:creationId xmlns:a16="http://schemas.microsoft.com/office/drawing/2014/main" id="{9C8F2ABC-2245-45E9-A7D5-334009573BD3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270" name="Groep 269">
              <a:extLst>
                <a:ext uri="{FF2B5EF4-FFF2-40B4-BE49-F238E27FC236}">
                  <a16:creationId xmlns:a16="http://schemas.microsoft.com/office/drawing/2014/main" id="{41D200C0-EEBE-4000-A6FE-F329AE7B686F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297" name="Rechthoek 296">
                <a:extLst>
                  <a:ext uri="{FF2B5EF4-FFF2-40B4-BE49-F238E27FC236}">
                    <a16:creationId xmlns:a16="http://schemas.microsoft.com/office/drawing/2014/main" id="{17F0887B-86A3-45BF-963C-72A51514C1D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98" name="Ovaal 297">
                <a:extLst>
                  <a:ext uri="{FF2B5EF4-FFF2-40B4-BE49-F238E27FC236}">
                    <a16:creationId xmlns:a16="http://schemas.microsoft.com/office/drawing/2014/main" id="{29751E0D-FD67-4DA1-95F3-F3CF5FD01499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99" name="Vrije vorm: vorm 298">
                <a:extLst>
                  <a:ext uri="{FF2B5EF4-FFF2-40B4-BE49-F238E27FC236}">
                    <a16:creationId xmlns:a16="http://schemas.microsoft.com/office/drawing/2014/main" id="{D1969F72-78E8-499B-B208-CB34B89E1AD0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00" name="Rechthoek: afgeronde hoeken 299">
                <a:extLst>
                  <a:ext uri="{FF2B5EF4-FFF2-40B4-BE49-F238E27FC236}">
                    <a16:creationId xmlns:a16="http://schemas.microsoft.com/office/drawing/2014/main" id="{8515B999-B3B3-4A82-B38F-D968E2B0BDDE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01" name="Rechte verbindingslijn 300">
                <a:extLst>
                  <a:ext uri="{FF2B5EF4-FFF2-40B4-BE49-F238E27FC236}">
                    <a16:creationId xmlns:a16="http://schemas.microsoft.com/office/drawing/2014/main" id="{298F767E-5B77-45CD-B84A-258B60DE0EE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02" name="Rechte verbindingslijn 301">
                <a:extLst>
                  <a:ext uri="{FF2B5EF4-FFF2-40B4-BE49-F238E27FC236}">
                    <a16:creationId xmlns:a16="http://schemas.microsoft.com/office/drawing/2014/main" id="{4449D89A-BD73-4B2D-993C-FB9A7D4465C9}"/>
                  </a:ext>
                </a:extLst>
              </p:cNvPr>
              <p:cNvCxnSpPr>
                <a:cxnSpLocks/>
                <a:stCxn id="300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271" name="Ovaal 270">
              <a:extLst>
                <a:ext uri="{FF2B5EF4-FFF2-40B4-BE49-F238E27FC236}">
                  <a16:creationId xmlns:a16="http://schemas.microsoft.com/office/drawing/2014/main" id="{E435A36C-DC61-418C-9945-22190A1E6FB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72" name="Rechthoek 271">
              <a:extLst>
                <a:ext uri="{FF2B5EF4-FFF2-40B4-BE49-F238E27FC236}">
                  <a16:creationId xmlns:a16="http://schemas.microsoft.com/office/drawing/2014/main" id="{287C5D22-2FEB-4C9B-B39A-8B334E24B521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43320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aan de linker kant van het scherm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273" name="Rechte verbindingslijn 272">
              <a:extLst>
                <a:ext uri="{FF2B5EF4-FFF2-40B4-BE49-F238E27FC236}">
                  <a16:creationId xmlns:a16="http://schemas.microsoft.com/office/drawing/2014/main" id="{305D57F4-BC26-462B-A5DA-79FD233E4DF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74" name="Rechthoek 273">
              <a:extLst>
                <a:ext uri="{FF2B5EF4-FFF2-40B4-BE49-F238E27FC236}">
                  <a16:creationId xmlns:a16="http://schemas.microsoft.com/office/drawing/2014/main" id="{C9F6289A-6E11-4783-A15B-128CAA42C229}"/>
                </a:ext>
              </a:extLst>
            </p:cNvPr>
            <p:cNvSpPr/>
            <p:nvPr userDrawn="1"/>
          </p:nvSpPr>
          <p:spPr>
            <a:xfrm>
              <a:off x="12654153" y="3238910"/>
              <a:ext cx="1624926" cy="805220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3509" b="0" i="1" noProof="0">
                <a:solidFill>
                  <a:schemeClr val="tx1"/>
                </a:solidFill>
              </a:endParaRPr>
            </a:p>
          </p:txBody>
        </p:sp>
        <p:grpSp>
          <p:nvGrpSpPr>
            <p:cNvPr id="275" name="Groep 274">
              <a:extLst>
                <a:ext uri="{FF2B5EF4-FFF2-40B4-BE49-F238E27FC236}">
                  <a16:creationId xmlns:a16="http://schemas.microsoft.com/office/drawing/2014/main" id="{CA3E48C5-F472-481E-9E47-1802602A6098}"/>
                </a:ext>
              </a:extLst>
            </p:cNvPr>
            <p:cNvGrpSpPr/>
            <p:nvPr userDrawn="1"/>
          </p:nvGrpSpPr>
          <p:grpSpPr>
            <a:xfrm>
              <a:off x="13614067" y="3535184"/>
              <a:ext cx="1195438" cy="678267"/>
              <a:chOff x="12757284" y="3224292"/>
              <a:chExt cx="1195438" cy="678267"/>
            </a:xfrm>
          </p:grpSpPr>
          <p:sp>
            <p:nvSpPr>
              <p:cNvPr id="276" name="Rechthoek 275">
                <a:extLst>
                  <a:ext uri="{FF2B5EF4-FFF2-40B4-BE49-F238E27FC236}">
                    <a16:creationId xmlns:a16="http://schemas.microsoft.com/office/drawing/2014/main" id="{91D4D78B-84CC-475C-90A7-61533114A9C9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7" name="Rechthoek 276">
                <a:extLst>
                  <a:ext uri="{FF2B5EF4-FFF2-40B4-BE49-F238E27FC236}">
                    <a16:creationId xmlns:a16="http://schemas.microsoft.com/office/drawing/2014/main" id="{37518400-E72D-423B-B691-629F0F31882D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78" name="Groep 277">
                <a:extLst>
                  <a:ext uri="{FF2B5EF4-FFF2-40B4-BE49-F238E27FC236}">
                    <a16:creationId xmlns:a16="http://schemas.microsoft.com/office/drawing/2014/main" id="{160E53B6-BCF2-42AD-9D86-06D37BCBA38F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291" name="Rechthoek: afgeronde hoeken 290">
                  <a:extLst>
                    <a:ext uri="{FF2B5EF4-FFF2-40B4-BE49-F238E27FC236}">
                      <a16:creationId xmlns:a16="http://schemas.microsoft.com/office/drawing/2014/main" id="{514480A2-6A97-4754-B75B-F5367117A142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endPara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92" name="Rechthoek 291">
                  <a:extLst>
                    <a:ext uri="{FF2B5EF4-FFF2-40B4-BE49-F238E27FC236}">
                      <a16:creationId xmlns:a16="http://schemas.microsoft.com/office/drawing/2014/main" id="{3E97B4F0-F481-4713-AEBF-6918E0C41494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93" name="Rechthoek 292">
                  <a:extLst>
                    <a:ext uri="{FF2B5EF4-FFF2-40B4-BE49-F238E27FC236}">
                      <a16:creationId xmlns:a16="http://schemas.microsoft.com/office/drawing/2014/main" id="{0C49D39D-719D-43BD-8066-83A013735528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94" name="Rechthoek 293">
                  <a:extLst>
                    <a:ext uri="{FF2B5EF4-FFF2-40B4-BE49-F238E27FC236}">
                      <a16:creationId xmlns:a16="http://schemas.microsoft.com/office/drawing/2014/main" id="{5BDCFF6A-5D01-4064-B01D-CFB161242EC2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95" name="Rechthoek 294">
                  <a:extLst>
                    <a:ext uri="{FF2B5EF4-FFF2-40B4-BE49-F238E27FC236}">
                      <a16:creationId xmlns:a16="http://schemas.microsoft.com/office/drawing/2014/main" id="{FCE5477B-C83F-4120-BB0C-151A89E3B0F8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96" name="Rechthoek 295">
                  <a:extLst>
                    <a:ext uri="{FF2B5EF4-FFF2-40B4-BE49-F238E27FC236}">
                      <a16:creationId xmlns:a16="http://schemas.microsoft.com/office/drawing/2014/main" id="{485D96BD-71F3-4E65-BB1F-5AD3F59EA2D8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279" name="Groep 278">
                <a:extLst>
                  <a:ext uri="{FF2B5EF4-FFF2-40B4-BE49-F238E27FC236}">
                    <a16:creationId xmlns:a16="http://schemas.microsoft.com/office/drawing/2014/main" id="{8358A8C5-A603-4E8D-9D8D-154A33305049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283" name="Groep 282">
                  <a:extLst>
                    <a:ext uri="{FF2B5EF4-FFF2-40B4-BE49-F238E27FC236}">
                      <a16:creationId xmlns:a16="http://schemas.microsoft.com/office/drawing/2014/main" id="{36E1B45E-5076-4CED-A0D3-A640BADA978D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285" name="Rechthoek: afgeronde hoeken 284">
                    <a:extLst>
                      <a:ext uri="{FF2B5EF4-FFF2-40B4-BE49-F238E27FC236}">
                        <a16:creationId xmlns:a16="http://schemas.microsoft.com/office/drawing/2014/main" id="{9222C949-77BF-4216-BE7C-DA0355A2ED4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2105"/>
                      </a:spcBef>
                      <a:spcAft>
                        <a:spcPts val="2105"/>
                      </a:spcAft>
                    </a:pPr>
                    <a:endParaRPr lang="nl-NL" sz="280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86" name="Rechthoek 285">
                    <a:extLst>
                      <a:ext uri="{FF2B5EF4-FFF2-40B4-BE49-F238E27FC236}">
                        <a16:creationId xmlns:a16="http://schemas.microsoft.com/office/drawing/2014/main" id="{8EE8088F-7690-43B8-B3FB-AA1BF2645C3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87" name="Rechthoek 286">
                    <a:extLst>
                      <a:ext uri="{FF2B5EF4-FFF2-40B4-BE49-F238E27FC236}">
                        <a16:creationId xmlns:a16="http://schemas.microsoft.com/office/drawing/2014/main" id="{941095D5-750F-41F4-B92C-1C607D6D40E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88" name="Rechthoek 287">
                    <a:extLst>
                      <a:ext uri="{FF2B5EF4-FFF2-40B4-BE49-F238E27FC236}">
                        <a16:creationId xmlns:a16="http://schemas.microsoft.com/office/drawing/2014/main" id="{B35DC799-8973-49D9-BF29-EDA32AB6420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89" name="Rechthoek 288">
                    <a:extLst>
                      <a:ext uri="{FF2B5EF4-FFF2-40B4-BE49-F238E27FC236}">
                        <a16:creationId xmlns:a16="http://schemas.microsoft.com/office/drawing/2014/main" id="{1B92DAD1-7A28-4D34-9657-E0DE000CE51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90" name="Rechthoek 289">
                    <a:extLst>
                      <a:ext uri="{FF2B5EF4-FFF2-40B4-BE49-F238E27FC236}">
                        <a16:creationId xmlns:a16="http://schemas.microsoft.com/office/drawing/2014/main" id="{B89E9682-F0E6-49AF-B47D-1E35350B384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284" name="Boog 283">
                  <a:extLst>
                    <a:ext uri="{FF2B5EF4-FFF2-40B4-BE49-F238E27FC236}">
                      <a16:creationId xmlns:a16="http://schemas.microsoft.com/office/drawing/2014/main" id="{D2AEA0F5-2323-4E15-8A8C-327281CA5F2A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</p:grpSp>
          <p:sp>
            <p:nvSpPr>
              <p:cNvPr id="280" name="Tekstvak 279">
                <a:extLst>
                  <a:ext uri="{FF2B5EF4-FFF2-40B4-BE49-F238E27FC236}">
                    <a16:creationId xmlns:a16="http://schemas.microsoft.com/office/drawing/2014/main" id="{BDC038D4-365A-4726-BE20-5356CBFCAB09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281" name="Tekstvak 280">
                <a:extLst>
                  <a:ext uri="{FF2B5EF4-FFF2-40B4-BE49-F238E27FC236}">
                    <a16:creationId xmlns:a16="http://schemas.microsoft.com/office/drawing/2014/main" id="{AD39A8F7-12D3-4E59-BF59-6DE8A98C3940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282" name="Picture 3">
                <a:extLst>
                  <a:ext uri="{FF2B5EF4-FFF2-40B4-BE49-F238E27FC236}">
                    <a16:creationId xmlns:a16="http://schemas.microsoft.com/office/drawing/2014/main" id="{5554E45F-BCD2-499C-A38B-043CBC7A2230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810206" y="3671228"/>
                <a:ext cx="14251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sp>
        <p:nvSpPr>
          <p:cNvPr id="178" name="Tijdelijke aanduiding voor verticale tekst 2">
            <a:extLst>
              <a:ext uri="{FF2B5EF4-FFF2-40B4-BE49-F238E27FC236}">
                <a16:creationId xmlns:a16="http://schemas.microsoft.com/office/drawing/2014/main" id="{D950F2B1-1C5A-4CAD-9B69-36EF3FB38C5C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742374" y="6476677"/>
            <a:ext cx="39282480" cy="19046186"/>
          </a:xfrm>
        </p:spPr>
        <p:txBody>
          <a:bodyPr vert="horz" numCol="2" spcCol="57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 marL="1269631" indent="-634816">
              <a:buFont typeface="Arial" panose="020B0604020202020204" pitchFamily="34" charset="0"/>
              <a:buChar char="•"/>
              <a:defRPr sz="4911" baseline="0">
                <a:latin typeface="+mj-lt"/>
              </a:defRPr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grpSp>
        <p:nvGrpSpPr>
          <p:cNvPr id="179" name="Groep 101">
            <a:extLst>
              <a:ext uri="{FF2B5EF4-FFF2-40B4-BE49-F238E27FC236}">
                <a16:creationId xmlns:a16="http://schemas.microsoft.com/office/drawing/2014/main" id="{4663D63D-CB8F-4B27-8162-B9CCC204155A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180" name="Rechthoek 102">
              <a:extLst>
                <a:ext uri="{FF2B5EF4-FFF2-40B4-BE49-F238E27FC236}">
                  <a16:creationId xmlns:a16="http://schemas.microsoft.com/office/drawing/2014/main" id="{A8B028EA-E65D-4D9C-8AC6-8A377567C623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181" name="Ovaal 103">
              <a:extLst>
                <a:ext uri="{FF2B5EF4-FFF2-40B4-BE49-F238E27FC236}">
                  <a16:creationId xmlns:a16="http://schemas.microsoft.com/office/drawing/2014/main" id="{8EADCB7B-07B4-47CF-99AB-3ECAF5B74BA2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82" name="Rechte verbindingslijn 104">
              <a:extLst>
                <a:ext uri="{FF2B5EF4-FFF2-40B4-BE49-F238E27FC236}">
                  <a16:creationId xmlns:a16="http://schemas.microsoft.com/office/drawing/2014/main" id="{0053344A-F4C3-4722-9B70-4FA7E4C97F5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83" name="Groep 105">
              <a:extLst>
                <a:ext uri="{FF2B5EF4-FFF2-40B4-BE49-F238E27FC236}">
                  <a16:creationId xmlns:a16="http://schemas.microsoft.com/office/drawing/2014/main" id="{B613C32E-0CFE-4E11-8C7E-6EA15444125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08" name="Rechthoek 130">
                <a:extLst>
                  <a:ext uri="{FF2B5EF4-FFF2-40B4-BE49-F238E27FC236}">
                    <a16:creationId xmlns:a16="http://schemas.microsoft.com/office/drawing/2014/main" id="{9B4C4993-67E3-4ABE-975C-B1B3EE8D99B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209" name="Rechte verbindingslijn 131">
                <a:extLst>
                  <a:ext uri="{FF2B5EF4-FFF2-40B4-BE49-F238E27FC236}">
                    <a16:creationId xmlns:a16="http://schemas.microsoft.com/office/drawing/2014/main" id="{1950ED6C-134B-4B67-A4A4-DCABAF050EB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0" name="Rechte verbindingslijn 132">
                <a:extLst>
                  <a:ext uri="{FF2B5EF4-FFF2-40B4-BE49-F238E27FC236}">
                    <a16:creationId xmlns:a16="http://schemas.microsoft.com/office/drawing/2014/main" id="{3DB39A28-79AE-45FF-990A-070C819A9E9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1" name="Rechthoek 133">
                <a:extLst>
                  <a:ext uri="{FF2B5EF4-FFF2-40B4-BE49-F238E27FC236}">
                    <a16:creationId xmlns:a16="http://schemas.microsoft.com/office/drawing/2014/main" id="{E364E132-09C9-417C-8009-79258FCCD0B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12" name="Groep 134">
                <a:extLst>
                  <a:ext uri="{FF2B5EF4-FFF2-40B4-BE49-F238E27FC236}">
                    <a16:creationId xmlns:a16="http://schemas.microsoft.com/office/drawing/2014/main" id="{54A4D77A-4686-474B-860F-F5F8B36ED41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51" name="Groep 175">
                  <a:extLst>
                    <a:ext uri="{FF2B5EF4-FFF2-40B4-BE49-F238E27FC236}">
                      <a16:creationId xmlns:a16="http://schemas.microsoft.com/office/drawing/2014/main" id="{E69A1ED0-19AF-46C3-A5FD-E50C066C4C58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55" name="Rechte verbindingslijn 179">
                    <a:extLst>
                      <a:ext uri="{FF2B5EF4-FFF2-40B4-BE49-F238E27FC236}">
                        <a16:creationId xmlns:a16="http://schemas.microsoft.com/office/drawing/2014/main" id="{AD82EBB2-AE2C-46A1-BB54-F661FCF3E36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6" name="Rechte verbindingslijn 180">
                    <a:extLst>
                      <a:ext uri="{FF2B5EF4-FFF2-40B4-BE49-F238E27FC236}">
                        <a16:creationId xmlns:a16="http://schemas.microsoft.com/office/drawing/2014/main" id="{BAA9E4E3-6246-4AD1-B0E1-A5BF16046E4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7" name="Rechte verbindingslijn 181">
                    <a:extLst>
                      <a:ext uri="{FF2B5EF4-FFF2-40B4-BE49-F238E27FC236}">
                        <a16:creationId xmlns:a16="http://schemas.microsoft.com/office/drawing/2014/main" id="{A752DC75-030A-45F9-B6B2-C3D6132A902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8" name="Rechte verbindingslijn 182">
                    <a:extLst>
                      <a:ext uri="{FF2B5EF4-FFF2-40B4-BE49-F238E27FC236}">
                        <a16:creationId xmlns:a16="http://schemas.microsoft.com/office/drawing/2014/main" id="{4EB040DB-4988-4BA6-B2F5-0561201515A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3" name="Rechte verbindingslijn 183">
                    <a:extLst>
                      <a:ext uri="{FF2B5EF4-FFF2-40B4-BE49-F238E27FC236}">
                        <a16:creationId xmlns:a16="http://schemas.microsoft.com/office/drawing/2014/main" id="{CE3D14E8-716A-41ED-AC29-F23DD81B182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52" name="Groep 176">
                  <a:extLst>
                    <a:ext uri="{FF2B5EF4-FFF2-40B4-BE49-F238E27FC236}">
                      <a16:creationId xmlns:a16="http://schemas.microsoft.com/office/drawing/2014/main" id="{ABE62B7F-E4F6-43B3-AD3F-0D3A63EBBED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3" name="Rechthoek 177">
                    <a:extLst>
                      <a:ext uri="{FF2B5EF4-FFF2-40B4-BE49-F238E27FC236}">
                        <a16:creationId xmlns:a16="http://schemas.microsoft.com/office/drawing/2014/main" id="{733C9D2D-7D86-4F6A-9569-60EC95C5E63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54" name="Pijl: punthaak 178">
                    <a:extLst>
                      <a:ext uri="{FF2B5EF4-FFF2-40B4-BE49-F238E27FC236}">
                        <a16:creationId xmlns:a16="http://schemas.microsoft.com/office/drawing/2014/main" id="{E749600B-05FE-43FA-83BC-E46D8399D3EA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13" name="Groep 135">
                <a:extLst>
                  <a:ext uri="{FF2B5EF4-FFF2-40B4-BE49-F238E27FC236}">
                    <a16:creationId xmlns:a16="http://schemas.microsoft.com/office/drawing/2014/main" id="{8715EB90-0DC8-445B-BEB3-DC9611A865E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42" name="Groep 166">
                  <a:extLst>
                    <a:ext uri="{FF2B5EF4-FFF2-40B4-BE49-F238E27FC236}">
                      <a16:creationId xmlns:a16="http://schemas.microsoft.com/office/drawing/2014/main" id="{EAC6273E-F6D8-4E60-8C5F-FBFBC8E048CA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46" name="Rechte verbindingslijn 170">
                    <a:extLst>
                      <a:ext uri="{FF2B5EF4-FFF2-40B4-BE49-F238E27FC236}">
                        <a16:creationId xmlns:a16="http://schemas.microsoft.com/office/drawing/2014/main" id="{E116EFDF-7844-4BA1-B1B0-E2B9058D2F9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7" name="Rechte verbindingslijn 171">
                    <a:extLst>
                      <a:ext uri="{FF2B5EF4-FFF2-40B4-BE49-F238E27FC236}">
                        <a16:creationId xmlns:a16="http://schemas.microsoft.com/office/drawing/2014/main" id="{9EE0A1AC-F03C-457F-9B4D-427F6B07057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8" name="Rechte verbindingslijn 172">
                    <a:extLst>
                      <a:ext uri="{FF2B5EF4-FFF2-40B4-BE49-F238E27FC236}">
                        <a16:creationId xmlns:a16="http://schemas.microsoft.com/office/drawing/2014/main" id="{49CA15A8-AB45-4A8F-8946-2A89CEF7AEF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9" name="Rechte verbindingslijn 173">
                    <a:extLst>
                      <a:ext uri="{FF2B5EF4-FFF2-40B4-BE49-F238E27FC236}">
                        <a16:creationId xmlns:a16="http://schemas.microsoft.com/office/drawing/2014/main" id="{2585D7EA-C908-4C1A-9D63-D5AC05E4CE7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0" name="Rechte verbindingslijn 174">
                    <a:extLst>
                      <a:ext uri="{FF2B5EF4-FFF2-40B4-BE49-F238E27FC236}">
                        <a16:creationId xmlns:a16="http://schemas.microsoft.com/office/drawing/2014/main" id="{CC242951-FFE8-4677-A4AC-74C0263F5FF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3" name="Groep 167">
                  <a:extLst>
                    <a:ext uri="{FF2B5EF4-FFF2-40B4-BE49-F238E27FC236}">
                      <a16:creationId xmlns:a16="http://schemas.microsoft.com/office/drawing/2014/main" id="{F2CA1497-B0FB-428D-9B56-97C7CFA55334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44" name="Rechthoek 168">
                    <a:extLst>
                      <a:ext uri="{FF2B5EF4-FFF2-40B4-BE49-F238E27FC236}">
                        <a16:creationId xmlns:a16="http://schemas.microsoft.com/office/drawing/2014/main" id="{2FE7C336-A1C6-42FD-9504-BE9206C1CCF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45" name="Pijl: punthaak 169">
                    <a:extLst>
                      <a:ext uri="{FF2B5EF4-FFF2-40B4-BE49-F238E27FC236}">
                        <a16:creationId xmlns:a16="http://schemas.microsoft.com/office/drawing/2014/main" id="{151DBEB7-B2F1-458C-BD4B-F94CE1116039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14" name="Rechte verbindingslijn 136">
                <a:extLst>
                  <a:ext uri="{FF2B5EF4-FFF2-40B4-BE49-F238E27FC236}">
                    <a16:creationId xmlns:a16="http://schemas.microsoft.com/office/drawing/2014/main" id="{E25D8572-4DB0-405B-B680-FB17DEA37C5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15" name="Rechte verbindingslijn 137">
                <a:extLst>
                  <a:ext uri="{FF2B5EF4-FFF2-40B4-BE49-F238E27FC236}">
                    <a16:creationId xmlns:a16="http://schemas.microsoft.com/office/drawing/2014/main" id="{2A2D24B6-5CBC-442A-9B75-361559CABD2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16" name="Groep 138">
                <a:extLst>
                  <a:ext uri="{FF2B5EF4-FFF2-40B4-BE49-F238E27FC236}">
                    <a16:creationId xmlns:a16="http://schemas.microsoft.com/office/drawing/2014/main" id="{08D56E1F-8901-4A9D-9567-7D9D84C5D14D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31" name="Rechthoek 155">
                  <a:extLst>
                    <a:ext uri="{FF2B5EF4-FFF2-40B4-BE49-F238E27FC236}">
                      <a16:creationId xmlns:a16="http://schemas.microsoft.com/office/drawing/2014/main" id="{CE7189BE-B69B-45FD-B6BF-7C75BFFB0347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32" name="Groep 156">
                  <a:extLst>
                    <a:ext uri="{FF2B5EF4-FFF2-40B4-BE49-F238E27FC236}">
                      <a16:creationId xmlns:a16="http://schemas.microsoft.com/office/drawing/2014/main" id="{5B666E5A-82BF-449F-AE8E-A8503612D1F7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33" name="Groep 157">
                    <a:extLst>
                      <a:ext uri="{FF2B5EF4-FFF2-40B4-BE49-F238E27FC236}">
                        <a16:creationId xmlns:a16="http://schemas.microsoft.com/office/drawing/2014/main" id="{B4D3A472-3A75-4669-BFF5-4F4A9E4480D0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37" name="Rechte verbindingslijn 161">
                      <a:extLst>
                        <a:ext uri="{FF2B5EF4-FFF2-40B4-BE49-F238E27FC236}">
                          <a16:creationId xmlns:a16="http://schemas.microsoft.com/office/drawing/2014/main" id="{EDF85249-18DD-47D4-AACC-9529D999228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8" name="Rechte verbindingslijn 162">
                      <a:extLst>
                        <a:ext uri="{FF2B5EF4-FFF2-40B4-BE49-F238E27FC236}">
                          <a16:creationId xmlns:a16="http://schemas.microsoft.com/office/drawing/2014/main" id="{7C817057-2D69-4434-8BDF-A1D0B47AAA4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9" name="Rechte verbindingslijn 163">
                      <a:extLst>
                        <a:ext uri="{FF2B5EF4-FFF2-40B4-BE49-F238E27FC236}">
                          <a16:creationId xmlns:a16="http://schemas.microsoft.com/office/drawing/2014/main" id="{17AC1347-BB3F-4C20-9A0C-D9527B98194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0" name="Rechte verbindingslijn 164">
                      <a:extLst>
                        <a:ext uri="{FF2B5EF4-FFF2-40B4-BE49-F238E27FC236}">
                          <a16:creationId xmlns:a16="http://schemas.microsoft.com/office/drawing/2014/main" id="{8E237A8A-5640-47F9-8FC1-2663E07F181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1" name="Rechte verbindingslijn 165">
                      <a:extLst>
                        <a:ext uri="{FF2B5EF4-FFF2-40B4-BE49-F238E27FC236}">
                          <a16:creationId xmlns:a16="http://schemas.microsoft.com/office/drawing/2014/main" id="{E87E63E9-1FAC-456B-9450-9498D92E971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34" name="Groep 158">
                    <a:extLst>
                      <a:ext uri="{FF2B5EF4-FFF2-40B4-BE49-F238E27FC236}">
                        <a16:creationId xmlns:a16="http://schemas.microsoft.com/office/drawing/2014/main" id="{DA3C5C36-FC89-4BE1-8084-86AA3EE479D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35" name="Rechthoek 159">
                      <a:extLst>
                        <a:ext uri="{FF2B5EF4-FFF2-40B4-BE49-F238E27FC236}">
                          <a16:creationId xmlns:a16="http://schemas.microsoft.com/office/drawing/2014/main" id="{54D56849-19BF-4A5F-87AF-A66608CDF33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36" name="Pijl: punthaak 160">
                      <a:extLst>
                        <a:ext uri="{FF2B5EF4-FFF2-40B4-BE49-F238E27FC236}">
                          <a16:creationId xmlns:a16="http://schemas.microsoft.com/office/drawing/2014/main" id="{3311B7D4-A7B8-4EEE-8AD9-C11F0C24479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17" name="Groep 139">
                <a:extLst>
                  <a:ext uri="{FF2B5EF4-FFF2-40B4-BE49-F238E27FC236}">
                    <a16:creationId xmlns:a16="http://schemas.microsoft.com/office/drawing/2014/main" id="{8306EB8B-9F3C-4D01-845F-7EA95EB72FF5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20" name="Rechthoek 142">
                  <a:extLst>
                    <a:ext uri="{FF2B5EF4-FFF2-40B4-BE49-F238E27FC236}">
                      <a16:creationId xmlns:a16="http://schemas.microsoft.com/office/drawing/2014/main" id="{E54376D7-B951-4CE2-9FEE-4E828A856DD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21" name="Groep 143">
                  <a:extLst>
                    <a:ext uri="{FF2B5EF4-FFF2-40B4-BE49-F238E27FC236}">
                      <a16:creationId xmlns:a16="http://schemas.microsoft.com/office/drawing/2014/main" id="{578F1212-573A-4D3F-8FA0-47C1DACD492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22" name="Groep 144">
                    <a:extLst>
                      <a:ext uri="{FF2B5EF4-FFF2-40B4-BE49-F238E27FC236}">
                        <a16:creationId xmlns:a16="http://schemas.microsoft.com/office/drawing/2014/main" id="{CA61AF81-5C91-4C58-AC4A-47B589A98C5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26" name="Rechte verbindingslijn 150">
                      <a:extLst>
                        <a:ext uri="{FF2B5EF4-FFF2-40B4-BE49-F238E27FC236}">
                          <a16:creationId xmlns:a16="http://schemas.microsoft.com/office/drawing/2014/main" id="{DED0CD1D-A63D-4F4F-A222-6234DA670B2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7" name="Rechte verbindingslijn 151">
                      <a:extLst>
                        <a:ext uri="{FF2B5EF4-FFF2-40B4-BE49-F238E27FC236}">
                          <a16:creationId xmlns:a16="http://schemas.microsoft.com/office/drawing/2014/main" id="{3667FDE1-DCBE-4B55-B49E-A97764B3F13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8" name="Rechte verbindingslijn 152">
                      <a:extLst>
                        <a:ext uri="{FF2B5EF4-FFF2-40B4-BE49-F238E27FC236}">
                          <a16:creationId xmlns:a16="http://schemas.microsoft.com/office/drawing/2014/main" id="{3AE8651B-89D4-4DB9-92D4-5BA71747ABF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9" name="Rechte verbindingslijn 153">
                      <a:extLst>
                        <a:ext uri="{FF2B5EF4-FFF2-40B4-BE49-F238E27FC236}">
                          <a16:creationId xmlns:a16="http://schemas.microsoft.com/office/drawing/2014/main" id="{BC9437C4-010D-40D5-AC90-9674DB20DEF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0" name="Rechte verbindingslijn 154">
                      <a:extLst>
                        <a:ext uri="{FF2B5EF4-FFF2-40B4-BE49-F238E27FC236}">
                          <a16:creationId xmlns:a16="http://schemas.microsoft.com/office/drawing/2014/main" id="{89606B84-1A95-4A17-8A76-780F3176661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23" name="Groep 147">
                    <a:extLst>
                      <a:ext uri="{FF2B5EF4-FFF2-40B4-BE49-F238E27FC236}">
                        <a16:creationId xmlns:a16="http://schemas.microsoft.com/office/drawing/2014/main" id="{993F8D9C-1CB1-4CA4-965A-6EB87F316716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24" name="Rechthoek 148">
                      <a:extLst>
                        <a:ext uri="{FF2B5EF4-FFF2-40B4-BE49-F238E27FC236}">
                          <a16:creationId xmlns:a16="http://schemas.microsoft.com/office/drawing/2014/main" id="{DEE790FB-97B5-4AB2-9BCB-3C15009E585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25" name="Pijl: punthaak 149">
                      <a:extLst>
                        <a:ext uri="{FF2B5EF4-FFF2-40B4-BE49-F238E27FC236}">
                          <a16:creationId xmlns:a16="http://schemas.microsoft.com/office/drawing/2014/main" id="{B84749A9-9173-428F-8E96-84BFCB5E5182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18" name="Rechthoek 140">
                <a:extLst>
                  <a:ext uri="{FF2B5EF4-FFF2-40B4-BE49-F238E27FC236}">
                    <a16:creationId xmlns:a16="http://schemas.microsoft.com/office/drawing/2014/main" id="{BF544B05-3F02-4C9A-B0A6-D7A1731F616A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219" name="Rechthoek 141">
                <a:extLst>
                  <a:ext uri="{FF2B5EF4-FFF2-40B4-BE49-F238E27FC236}">
                    <a16:creationId xmlns:a16="http://schemas.microsoft.com/office/drawing/2014/main" id="{7909C0BF-7C8A-4F39-9AFE-5D60668CCDC2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184" name="Rechte verbindingslijn 106">
              <a:extLst>
                <a:ext uri="{FF2B5EF4-FFF2-40B4-BE49-F238E27FC236}">
                  <a16:creationId xmlns:a16="http://schemas.microsoft.com/office/drawing/2014/main" id="{C6A0E1EE-AFCD-4693-9D13-70BD8651A74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85" name="Rechthoek 107">
              <a:extLst>
                <a:ext uri="{FF2B5EF4-FFF2-40B4-BE49-F238E27FC236}">
                  <a16:creationId xmlns:a16="http://schemas.microsoft.com/office/drawing/2014/main" id="{A86571E3-24B5-443F-9A64-2783B432568F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186" name="Ovaal 108">
              <a:extLst>
                <a:ext uri="{FF2B5EF4-FFF2-40B4-BE49-F238E27FC236}">
                  <a16:creationId xmlns:a16="http://schemas.microsoft.com/office/drawing/2014/main" id="{5406A62F-969B-4173-94E0-2B957F81E3B1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87" name="Rechthoek 109">
              <a:extLst>
                <a:ext uri="{FF2B5EF4-FFF2-40B4-BE49-F238E27FC236}">
                  <a16:creationId xmlns:a16="http://schemas.microsoft.com/office/drawing/2014/main" id="{CD303BDD-084B-4CD2-9697-9C823762392C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188" name="Ovaal 110">
              <a:extLst>
                <a:ext uri="{FF2B5EF4-FFF2-40B4-BE49-F238E27FC236}">
                  <a16:creationId xmlns:a16="http://schemas.microsoft.com/office/drawing/2014/main" id="{FD4FD5F2-080B-43D5-8BE5-6B29BF4AEC71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89" name="Rechthoek 111">
              <a:extLst>
                <a:ext uri="{FF2B5EF4-FFF2-40B4-BE49-F238E27FC236}">
                  <a16:creationId xmlns:a16="http://schemas.microsoft.com/office/drawing/2014/main" id="{4B45314D-57FB-4455-9B7C-01184008A9AB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90" name="Ovaal 112">
              <a:extLst>
                <a:ext uri="{FF2B5EF4-FFF2-40B4-BE49-F238E27FC236}">
                  <a16:creationId xmlns:a16="http://schemas.microsoft.com/office/drawing/2014/main" id="{057C2D33-B857-485D-A71C-A2F1CA6E7F78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91" name="Rechthoek 113">
              <a:extLst>
                <a:ext uri="{FF2B5EF4-FFF2-40B4-BE49-F238E27FC236}">
                  <a16:creationId xmlns:a16="http://schemas.microsoft.com/office/drawing/2014/main" id="{0DCDCE85-4260-42D8-9D12-0E5FE313A5D4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192" name="Ovaal 114">
              <a:extLst>
                <a:ext uri="{FF2B5EF4-FFF2-40B4-BE49-F238E27FC236}">
                  <a16:creationId xmlns:a16="http://schemas.microsoft.com/office/drawing/2014/main" id="{5EB02ACF-40B9-4577-984A-7FA664169E18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93" name="Rechthoek 115">
              <a:extLst>
                <a:ext uri="{FF2B5EF4-FFF2-40B4-BE49-F238E27FC236}">
                  <a16:creationId xmlns:a16="http://schemas.microsoft.com/office/drawing/2014/main" id="{F8DD725C-B4A4-4861-A520-0FD18C737A25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194" name="Rechte verbindingslijn 116">
              <a:extLst>
                <a:ext uri="{FF2B5EF4-FFF2-40B4-BE49-F238E27FC236}">
                  <a16:creationId xmlns:a16="http://schemas.microsoft.com/office/drawing/2014/main" id="{4AA19624-C7C9-47EC-8EDB-93E6EE349CB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95" name="Meer informatie">
              <a:extLst>
                <a:ext uri="{FF2B5EF4-FFF2-40B4-BE49-F238E27FC236}">
                  <a16:creationId xmlns:a16="http://schemas.microsoft.com/office/drawing/2014/main" id="{27BC0280-85AF-49C7-9D07-48E18C4F2A23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205" name="Freeform 101">
                <a:extLst>
                  <a:ext uri="{FF2B5EF4-FFF2-40B4-BE49-F238E27FC236}">
                    <a16:creationId xmlns:a16="http://schemas.microsoft.com/office/drawing/2014/main" id="{2A5ABD04-E31B-4CD1-B017-28FCF356B71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206" name="Rechthoek 128">
                <a:extLst>
                  <a:ext uri="{FF2B5EF4-FFF2-40B4-BE49-F238E27FC236}">
                    <a16:creationId xmlns:a16="http://schemas.microsoft.com/office/drawing/2014/main" id="{CE67077D-E80B-4BD9-BF73-690951FC0800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07" name="Rechte verbindingslijn 129">
                <a:extLst>
                  <a:ext uri="{FF2B5EF4-FFF2-40B4-BE49-F238E27FC236}">
                    <a16:creationId xmlns:a16="http://schemas.microsoft.com/office/drawing/2014/main" id="{F41EFF9B-FA4F-474C-AE62-8557B6B7621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96" name="Rechthoek 118">
              <a:extLst>
                <a:ext uri="{FF2B5EF4-FFF2-40B4-BE49-F238E27FC236}">
                  <a16:creationId xmlns:a16="http://schemas.microsoft.com/office/drawing/2014/main" id="{A709724C-C00F-4445-929F-2BDE5095FF91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197" name="Ovaal 119">
              <a:extLst>
                <a:ext uri="{FF2B5EF4-FFF2-40B4-BE49-F238E27FC236}">
                  <a16:creationId xmlns:a16="http://schemas.microsoft.com/office/drawing/2014/main" id="{2EC6C6B0-D8A3-47C0-BA76-0211A2B180C0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98" name="Rechthoek 120">
              <a:extLst>
                <a:ext uri="{FF2B5EF4-FFF2-40B4-BE49-F238E27FC236}">
                  <a16:creationId xmlns:a16="http://schemas.microsoft.com/office/drawing/2014/main" id="{7446CA2E-BBC7-45EC-83DC-8564C73C8E22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99" name="Ovaal 121">
              <a:extLst>
                <a:ext uri="{FF2B5EF4-FFF2-40B4-BE49-F238E27FC236}">
                  <a16:creationId xmlns:a16="http://schemas.microsoft.com/office/drawing/2014/main" id="{9C3E4377-B78C-4B12-8BC2-E9BAF7057B06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00" name="Rechthoek 122">
              <a:extLst>
                <a:ext uri="{FF2B5EF4-FFF2-40B4-BE49-F238E27FC236}">
                  <a16:creationId xmlns:a16="http://schemas.microsoft.com/office/drawing/2014/main" id="{FC1B63D5-989B-40AC-905E-CEE0BC1F1953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201" name="Ovaal 123">
              <a:extLst>
                <a:ext uri="{FF2B5EF4-FFF2-40B4-BE49-F238E27FC236}">
                  <a16:creationId xmlns:a16="http://schemas.microsoft.com/office/drawing/2014/main" id="{51A54FE4-761B-4C2A-BB9C-488845FA705D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02" name="Rechthoek 124">
              <a:extLst>
                <a:ext uri="{FF2B5EF4-FFF2-40B4-BE49-F238E27FC236}">
                  <a16:creationId xmlns:a16="http://schemas.microsoft.com/office/drawing/2014/main" id="{5A72AF79-10BF-4D4D-8AAD-57AD6FD9DB06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203" name="Rechthoek 125">
              <a:extLst>
                <a:ext uri="{FF2B5EF4-FFF2-40B4-BE49-F238E27FC236}">
                  <a16:creationId xmlns:a16="http://schemas.microsoft.com/office/drawing/2014/main" id="{592EAD23-F8B3-464B-86DF-DCD674ABC04B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204" name="Ovaal 126">
              <a:extLst>
                <a:ext uri="{FF2B5EF4-FFF2-40B4-BE49-F238E27FC236}">
                  <a16:creationId xmlns:a16="http://schemas.microsoft.com/office/drawing/2014/main" id="{880E9E42-0173-4F01-A395-4E21A530D6FE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  <p:pic>
        <p:nvPicPr>
          <p:cNvPr id="354" name="Afbeelding 353">
            <a:extLst>
              <a:ext uri="{FF2B5EF4-FFF2-40B4-BE49-F238E27FC236}">
                <a16:creationId xmlns:a16="http://schemas.microsoft.com/office/drawing/2014/main" id="{C3DC9CDB-7D02-40BA-8347-E5436758DB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6491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1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78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17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Foto 75%/25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30018937" y="7"/>
            <a:ext cx="12746956" cy="30306751"/>
          </a:xfrm>
          <a:solidFill>
            <a:schemeClr val="bg1">
              <a:lumMod val="95000"/>
            </a:schemeClr>
          </a:solidFill>
        </p:spPr>
        <p:txBody>
          <a:bodyPr tIns="1260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3158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C8A40B12-7E26-4E64-9A7F-C7BE7CAB1C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3" name="Tijdelijke aanduiding voor tekst 14">
            <a:extLst>
              <a:ext uri="{FF2B5EF4-FFF2-40B4-BE49-F238E27FC236}">
                <a16:creationId xmlns:a16="http://schemas.microsoft.com/office/drawing/2014/main" id="{6083995C-1A50-4491-9307-7E1B659A0B1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45" name="Tijdelijke aanduiding voor voettekst 4">
            <a:extLst>
              <a:ext uri="{FF2B5EF4-FFF2-40B4-BE49-F238E27FC236}">
                <a16:creationId xmlns:a16="http://schemas.microsoft.com/office/drawing/2014/main" id="{080EFE03-7FB1-4D06-B653-B56500F8A1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46" name="Tijdelijke aanduiding voor dianummer 5">
            <a:extLst>
              <a:ext uri="{FF2B5EF4-FFF2-40B4-BE49-F238E27FC236}">
                <a16:creationId xmlns:a16="http://schemas.microsoft.com/office/drawing/2014/main" id="{56817633-365A-489C-84DC-22C53FE3A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2" y="27329718"/>
            <a:ext cx="857527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18" name="Tijdelijke aanduiding voor datum 3">
            <a:extLst>
              <a:ext uri="{FF2B5EF4-FFF2-40B4-BE49-F238E27FC236}">
                <a16:creationId xmlns:a16="http://schemas.microsoft.com/office/drawing/2014/main" id="{1660DECE-1BF4-424A-8565-9FDCA21100F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49184B4-41E6-4217-B4F7-E23A450628D2}" type="datetime1">
              <a:rPr lang="nl-NL" noProof="0" smtClean="0"/>
              <a:t>26-6-2023</a:t>
            </a:fld>
            <a:endParaRPr lang="nl-NL" noProof="0"/>
          </a:p>
        </p:txBody>
      </p:sp>
      <p:grpSp>
        <p:nvGrpSpPr>
          <p:cNvPr id="191" name="Groep 258">
            <a:extLst>
              <a:ext uri="{FF2B5EF4-FFF2-40B4-BE49-F238E27FC236}">
                <a16:creationId xmlns:a16="http://schemas.microsoft.com/office/drawing/2014/main" id="{1C9278D4-8C4D-42B3-9B54-A02855EB2408}"/>
              </a:ext>
            </a:extLst>
          </p:cNvPr>
          <p:cNvGrpSpPr/>
          <p:nvPr userDrawn="1"/>
        </p:nvGrpSpPr>
        <p:grpSpPr>
          <a:xfrm>
            <a:off x="43467416" y="5"/>
            <a:ext cx="11167745" cy="23084356"/>
            <a:chOff x="12391601" y="0"/>
            <a:chExt cx="3183678" cy="5229113"/>
          </a:xfrm>
        </p:grpSpPr>
        <p:grpSp>
          <p:nvGrpSpPr>
            <p:cNvPr id="192" name="Meer informatie">
              <a:extLst>
                <a:ext uri="{FF2B5EF4-FFF2-40B4-BE49-F238E27FC236}">
                  <a16:creationId xmlns:a16="http://schemas.microsoft.com/office/drawing/2014/main" id="{F603D93A-66CC-4CC0-95B8-0CC883453AED}"/>
                </a:ext>
              </a:extLst>
            </p:cNvPr>
            <p:cNvGrpSpPr/>
            <p:nvPr userDrawn="1"/>
          </p:nvGrpSpPr>
          <p:grpSpPr>
            <a:xfrm>
              <a:off x="12396764" y="4445840"/>
              <a:ext cx="3178515" cy="783273"/>
              <a:chOff x="-3741486" y="3386444"/>
              <a:chExt cx="3178515" cy="783273"/>
            </a:xfrm>
          </p:grpSpPr>
          <p:sp>
            <p:nvSpPr>
              <p:cNvPr id="369" name="Freeform 101">
                <a:extLst>
                  <a:ext uri="{FF2B5EF4-FFF2-40B4-BE49-F238E27FC236}">
                    <a16:creationId xmlns:a16="http://schemas.microsoft.com/office/drawing/2014/main" id="{F4DDCDCF-5F47-4A4C-B96C-FFC10BC733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370" name="Rechthoek 306">
                <a:extLst>
                  <a:ext uri="{FF2B5EF4-FFF2-40B4-BE49-F238E27FC236}">
                    <a16:creationId xmlns:a16="http://schemas.microsoft.com/office/drawing/2014/main" id="{6256DCC5-8730-4051-849B-62E7C3BB195D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71" name="Rechte verbindingslijn 307">
                <a:extLst>
                  <a:ext uri="{FF2B5EF4-FFF2-40B4-BE49-F238E27FC236}">
                    <a16:creationId xmlns:a16="http://schemas.microsoft.com/office/drawing/2014/main" id="{1DDD24F7-3AAB-4F23-BA56-69A3D2F5542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93" name="Rechthoek 260">
              <a:extLst>
                <a:ext uri="{FF2B5EF4-FFF2-40B4-BE49-F238E27FC236}">
                  <a16:creationId xmlns:a16="http://schemas.microsoft.com/office/drawing/2014/main" id="{F63B76FD-012A-4B59-AD07-5F1D1C5DA297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275" name="Ovaal 261">
              <a:extLst>
                <a:ext uri="{FF2B5EF4-FFF2-40B4-BE49-F238E27FC236}">
                  <a16:creationId xmlns:a16="http://schemas.microsoft.com/office/drawing/2014/main" id="{3C12249D-B7F4-4405-8D36-108CD23E6566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76" name="Rechte verbindingslijn 262">
              <a:extLst>
                <a:ext uri="{FF2B5EF4-FFF2-40B4-BE49-F238E27FC236}">
                  <a16:creationId xmlns:a16="http://schemas.microsoft.com/office/drawing/2014/main" id="{4A37143E-75F8-4960-98E3-FECA33DCCD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77" name="Rechte verbindingslijn 263">
              <a:extLst>
                <a:ext uri="{FF2B5EF4-FFF2-40B4-BE49-F238E27FC236}">
                  <a16:creationId xmlns:a16="http://schemas.microsoft.com/office/drawing/2014/main" id="{910099D0-7766-4D9E-A583-DEB74F91E74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78" name="Rechthoek 264">
              <a:extLst>
                <a:ext uri="{FF2B5EF4-FFF2-40B4-BE49-F238E27FC236}">
                  <a16:creationId xmlns:a16="http://schemas.microsoft.com/office/drawing/2014/main" id="{5F0554AC-AEB4-4C64-9991-B4F008E37A31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oor deze te selecteren en op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om een nieuwe afbeelding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279" name="Rechte verbindingslijn 265">
              <a:extLst>
                <a:ext uri="{FF2B5EF4-FFF2-40B4-BE49-F238E27FC236}">
                  <a16:creationId xmlns:a16="http://schemas.microsoft.com/office/drawing/2014/main" id="{554E9705-CB6D-4C5F-82EC-B9C2094FF8F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4327957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80" name="Ovaal 266">
              <a:extLst>
                <a:ext uri="{FF2B5EF4-FFF2-40B4-BE49-F238E27FC236}">
                  <a16:creationId xmlns:a16="http://schemas.microsoft.com/office/drawing/2014/main" id="{5D74F17A-F1A0-44C7-A707-F7F97C653B3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81" name="Rechthoek 267">
              <a:extLst>
                <a:ext uri="{FF2B5EF4-FFF2-40B4-BE49-F238E27FC236}">
                  <a16:creationId xmlns:a16="http://schemas.microsoft.com/office/drawing/2014/main" id="{ACCAA0DA-4949-44DE-92F3-42EA89A2D26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82" name="Groep 268">
              <a:extLst>
                <a:ext uri="{FF2B5EF4-FFF2-40B4-BE49-F238E27FC236}">
                  <a16:creationId xmlns:a16="http://schemas.microsoft.com/office/drawing/2014/main" id="{2ED0CAE0-7E98-497E-8C78-9C53FE4D89C1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6" name="Rechthoek 302">
                <a:extLst>
                  <a:ext uri="{FF2B5EF4-FFF2-40B4-BE49-F238E27FC236}">
                    <a16:creationId xmlns:a16="http://schemas.microsoft.com/office/drawing/2014/main" id="{842E98B7-85FC-4357-8A7B-1597D029FE6D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367" name="Rechte verbindingslijn 303">
                <a:extLst>
                  <a:ext uri="{FF2B5EF4-FFF2-40B4-BE49-F238E27FC236}">
                    <a16:creationId xmlns:a16="http://schemas.microsoft.com/office/drawing/2014/main" id="{EDB867C8-197C-46AB-AEEA-210BDB7F37AB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8" name="Gelijkbenige driehoek 304">
                <a:extLst>
                  <a:ext uri="{FF2B5EF4-FFF2-40B4-BE49-F238E27FC236}">
                    <a16:creationId xmlns:a16="http://schemas.microsoft.com/office/drawing/2014/main" id="{5530965F-C5FC-416C-8D4F-504341761367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283" name="Groep 269">
              <a:extLst>
                <a:ext uri="{FF2B5EF4-FFF2-40B4-BE49-F238E27FC236}">
                  <a16:creationId xmlns:a16="http://schemas.microsoft.com/office/drawing/2014/main" id="{23875387-E39A-4E2A-B3CE-EA466B42D190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310" name="Rechthoek 296">
                <a:extLst>
                  <a:ext uri="{FF2B5EF4-FFF2-40B4-BE49-F238E27FC236}">
                    <a16:creationId xmlns:a16="http://schemas.microsoft.com/office/drawing/2014/main" id="{4FDBC578-D005-4948-BF60-E9AE4D01554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1" name="Ovaal 297">
                <a:extLst>
                  <a:ext uri="{FF2B5EF4-FFF2-40B4-BE49-F238E27FC236}">
                    <a16:creationId xmlns:a16="http://schemas.microsoft.com/office/drawing/2014/main" id="{E936711E-01B9-4314-AAD9-55EC3286FD9B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2" name="Vrije vorm: vorm 298">
                <a:extLst>
                  <a:ext uri="{FF2B5EF4-FFF2-40B4-BE49-F238E27FC236}">
                    <a16:creationId xmlns:a16="http://schemas.microsoft.com/office/drawing/2014/main" id="{417F7A09-5498-477D-813E-816009BFCA44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Rechthoek: afgeronde hoeken 299">
                <a:extLst>
                  <a:ext uri="{FF2B5EF4-FFF2-40B4-BE49-F238E27FC236}">
                    <a16:creationId xmlns:a16="http://schemas.microsoft.com/office/drawing/2014/main" id="{6B91653D-6A79-4F3F-9558-91704B15E5EB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4" name="Rechte verbindingslijn 300">
                <a:extLst>
                  <a:ext uri="{FF2B5EF4-FFF2-40B4-BE49-F238E27FC236}">
                    <a16:creationId xmlns:a16="http://schemas.microsoft.com/office/drawing/2014/main" id="{C9F72042-A73D-45CC-968D-49C1A6270EA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5" name="Rechte verbindingslijn 301">
                <a:extLst>
                  <a:ext uri="{FF2B5EF4-FFF2-40B4-BE49-F238E27FC236}">
                    <a16:creationId xmlns:a16="http://schemas.microsoft.com/office/drawing/2014/main" id="{B6E109AD-83D6-4DE8-B6CD-5F29E6600A35}"/>
                  </a:ext>
                </a:extLst>
              </p:cNvPr>
              <p:cNvCxnSpPr>
                <a:cxnSpLocks/>
                <a:stCxn id="363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284" name="Ovaal 270">
              <a:extLst>
                <a:ext uri="{FF2B5EF4-FFF2-40B4-BE49-F238E27FC236}">
                  <a16:creationId xmlns:a16="http://schemas.microsoft.com/office/drawing/2014/main" id="{A517D13B-DEF5-4AFF-800E-5D91A52940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85" name="Rechthoek 271">
              <a:extLst>
                <a:ext uri="{FF2B5EF4-FFF2-40B4-BE49-F238E27FC236}">
                  <a16:creationId xmlns:a16="http://schemas.microsoft.com/office/drawing/2014/main" id="{9E07530E-E0CD-4F65-BD41-E536187E267E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43320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aan de linker kant van het scherm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286" name="Rechte verbindingslijn 272">
              <a:extLst>
                <a:ext uri="{FF2B5EF4-FFF2-40B4-BE49-F238E27FC236}">
                  <a16:creationId xmlns:a16="http://schemas.microsoft.com/office/drawing/2014/main" id="{6C53DEF6-7437-453B-AC36-E0E313E646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87" name="Rechthoek 273">
              <a:extLst>
                <a:ext uri="{FF2B5EF4-FFF2-40B4-BE49-F238E27FC236}">
                  <a16:creationId xmlns:a16="http://schemas.microsoft.com/office/drawing/2014/main" id="{10663B49-F833-494E-AC68-D6E492BE381C}"/>
                </a:ext>
              </a:extLst>
            </p:cNvPr>
            <p:cNvSpPr/>
            <p:nvPr userDrawn="1"/>
          </p:nvSpPr>
          <p:spPr>
            <a:xfrm>
              <a:off x="12654153" y="3238910"/>
              <a:ext cx="1624926" cy="805220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3509" b="0" i="1" noProof="0">
                <a:solidFill>
                  <a:schemeClr val="tx1"/>
                </a:solidFill>
              </a:endParaRPr>
            </a:p>
          </p:txBody>
        </p:sp>
        <p:grpSp>
          <p:nvGrpSpPr>
            <p:cNvPr id="288" name="Groep 274">
              <a:extLst>
                <a:ext uri="{FF2B5EF4-FFF2-40B4-BE49-F238E27FC236}">
                  <a16:creationId xmlns:a16="http://schemas.microsoft.com/office/drawing/2014/main" id="{FCD6E60C-D80D-415D-80FA-98219FB39335}"/>
                </a:ext>
              </a:extLst>
            </p:cNvPr>
            <p:cNvGrpSpPr/>
            <p:nvPr userDrawn="1"/>
          </p:nvGrpSpPr>
          <p:grpSpPr>
            <a:xfrm>
              <a:off x="13614067" y="3535184"/>
              <a:ext cx="1195438" cy="678267"/>
              <a:chOff x="12757284" y="3224292"/>
              <a:chExt cx="1195438" cy="678267"/>
            </a:xfrm>
          </p:grpSpPr>
          <p:sp>
            <p:nvSpPr>
              <p:cNvPr id="289" name="Rechthoek 275">
                <a:extLst>
                  <a:ext uri="{FF2B5EF4-FFF2-40B4-BE49-F238E27FC236}">
                    <a16:creationId xmlns:a16="http://schemas.microsoft.com/office/drawing/2014/main" id="{E0442997-2EE5-4B3D-A666-335FF6FE5D30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90" name="Rechthoek 276">
                <a:extLst>
                  <a:ext uri="{FF2B5EF4-FFF2-40B4-BE49-F238E27FC236}">
                    <a16:creationId xmlns:a16="http://schemas.microsoft.com/office/drawing/2014/main" id="{F68E0D8A-00DA-4156-9AF9-05608F4D2318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91" name="Groep 277">
                <a:extLst>
                  <a:ext uri="{FF2B5EF4-FFF2-40B4-BE49-F238E27FC236}">
                    <a16:creationId xmlns:a16="http://schemas.microsoft.com/office/drawing/2014/main" id="{B15F0A56-C558-4AC5-99FA-D483E7898D24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304" name="Rechthoek: afgeronde hoeken 290">
                  <a:extLst>
                    <a:ext uri="{FF2B5EF4-FFF2-40B4-BE49-F238E27FC236}">
                      <a16:creationId xmlns:a16="http://schemas.microsoft.com/office/drawing/2014/main" id="{149E6D31-BCEF-4267-8F0B-25F4379B66B6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endPara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05" name="Rechthoek 291">
                  <a:extLst>
                    <a:ext uri="{FF2B5EF4-FFF2-40B4-BE49-F238E27FC236}">
                      <a16:creationId xmlns:a16="http://schemas.microsoft.com/office/drawing/2014/main" id="{18FE77DE-7C2D-4664-8200-29535729B4D6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6" name="Rechthoek 292">
                  <a:extLst>
                    <a:ext uri="{FF2B5EF4-FFF2-40B4-BE49-F238E27FC236}">
                      <a16:creationId xmlns:a16="http://schemas.microsoft.com/office/drawing/2014/main" id="{CC87E0D4-4E39-4330-8D2F-8C99D51D753E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7" name="Rechthoek 293">
                  <a:extLst>
                    <a:ext uri="{FF2B5EF4-FFF2-40B4-BE49-F238E27FC236}">
                      <a16:creationId xmlns:a16="http://schemas.microsoft.com/office/drawing/2014/main" id="{87D6CCB5-B211-44CC-BD93-A4315E71E358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8" name="Rechthoek 294">
                  <a:extLst>
                    <a:ext uri="{FF2B5EF4-FFF2-40B4-BE49-F238E27FC236}">
                      <a16:creationId xmlns:a16="http://schemas.microsoft.com/office/drawing/2014/main" id="{7381B617-C088-46A9-838D-02A49C3ADB91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9" name="Rechthoek 295">
                  <a:extLst>
                    <a:ext uri="{FF2B5EF4-FFF2-40B4-BE49-F238E27FC236}">
                      <a16:creationId xmlns:a16="http://schemas.microsoft.com/office/drawing/2014/main" id="{B66B3DCF-1B33-4E7F-9AA2-9E83D302FA6A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292" name="Groep 278">
                <a:extLst>
                  <a:ext uri="{FF2B5EF4-FFF2-40B4-BE49-F238E27FC236}">
                    <a16:creationId xmlns:a16="http://schemas.microsoft.com/office/drawing/2014/main" id="{5772217E-BFBD-4ABF-98F6-F21FED78404E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296" name="Groep 282">
                  <a:extLst>
                    <a:ext uri="{FF2B5EF4-FFF2-40B4-BE49-F238E27FC236}">
                      <a16:creationId xmlns:a16="http://schemas.microsoft.com/office/drawing/2014/main" id="{FA01380B-7786-4B3C-9F65-F8910E2FD96C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298" name="Rechthoek: afgeronde hoeken 284">
                    <a:extLst>
                      <a:ext uri="{FF2B5EF4-FFF2-40B4-BE49-F238E27FC236}">
                        <a16:creationId xmlns:a16="http://schemas.microsoft.com/office/drawing/2014/main" id="{BD08EA9B-496E-4F93-AB29-5DE859E94D61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2105"/>
                      </a:spcBef>
                      <a:spcAft>
                        <a:spcPts val="2105"/>
                      </a:spcAft>
                    </a:pPr>
                    <a:endParaRPr lang="nl-NL" sz="280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99" name="Rechthoek 285">
                    <a:extLst>
                      <a:ext uri="{FF2B5EF4-FFF2-40B4-BE49-F238E27FC236}">
                        <a16:creationId xmlns:a16="http://schemas.microsoft.com/office/drawing/2014/main" id="{31B965AE-5DF0-47D8-BD8E-1B0A061023A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0" name="Rechthoek 286">
                    <a:extLst>
                      <a:ext uri="{FF2B5EF4-FFF2-40B4-BE49-F238E27FC236}">
                        <a16:creationId xmlns:a16="http://schemas.microsoft.com/office/drawing/2014/main" id="{112974EA-3276-4798-9928-CB6637443AF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1" name="Rechthoek 287">
                    <a:extLst>
                      <a:ext uri="{FF2B5EF4-FFF2-40B4-BE49-F238E27FC236}">
                        <a16:creationId xmlns:a16="http://schemas.microsoft.com/office/drawing/2014/main" id="{68E96641-5BE4-4D45-9D74-F626189FBDE1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2" name="Rechthoek 288">
                    <a:extLst>
                      <a:ext uri="{FF2B5EF4-FFF2-40B4-BE49-F238E27FC236}">
                        <a16:creationId xmlns:a16="http://schemas.microsoft.com/office/drawing/2014/main" id="{39F5693E-6CD5-49D4-B4C6-3BCF96CFA9B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3" name="Rechthoek 289">
                    <a:extLst>
                      <a:ext uri="{FF2B5EF4-FFF2-40B4-BE49-F238E27FC236}">
                        <a16:creationId xmlns:a16="http://schemas.microsoft.com/office/drawing/2014/main" id="{EE1A2EB6-BE6B-49C8-8DFE-96599E56C4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297" name="Boog 283">
                  <a:extLst>
                    <a:ext uri="{FF2B5EF4-FFF2-40B4-BE49-F238E27FC236}">
                      <a16:creationId xmlns:a16="http://schemas.microsoft.com/office/drawing/2014/main" id="{C8CBAE0C-D286-40E1-AA6D-5EFEB045DA62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</p:grpSp>
          <p:sp>
            <p:nvSpPr>
              <p:cNvPr id="293" name="Tekstvak 279">
                <a:extLst>
                  <a:ext uri="{FF2B5EF4-FFF2-40B4-BE49-F238E27FC236}">
                    <a16:creationId xmlns:a16="http://schemas.microsoft.com/office/drawing/2014/main" id="{AD36B1E0-761D-42B4-A4BF-E8E9E4B1004E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294" name="Tekstvak 280">
                <a:extLst>
                  <a:ext uri="{FF2B5EF4-FFF2-40B4-BE49-F238E27FC236}">
                    <a16:creationId xmlns:a16="http://schemas.microsoft.com/office/drawing/2014/main" id="{35688FCD-3F80-4C13-8DE0-55148E168ACE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295" name="Picture 3">
                <a:extLst>
                  <a:ext uri="{FF2B5EF4-FFF2-40B4-BE49-F238E27FC236}">
                    <a16:creationId xmlns:a16="http://schemas.microsoft.com/office/drawing/2014/main" id="{BCEAF84A-C20F-48EC-98A8-08265F701FA3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810206" y="3671228"/>
                <a:ext cx="14251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sp>
        <p:nvSpPr>
          <p:cNvPr id="142" name="Tijdelijke aanduiding voor tekst 4">
            <a:extLst>
              <a:ext uri="{FF2B5EF4-FFF2-40B4-BE49-F238E27FC236}">
                <a16:creationId xmlns:a16="http://schemas.microsoft.com/office/drawing/2014/main" id="{29CC1D89-6112-4688-A910-6E85CEC383E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742374" y="6476685"/>
            <a:ext cx="25012162" cy="1907433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grpSp>
        <p:nvGrpSpPr>
          <p:cNvPr id="143" name="Groep 101">
            <a:extLst>
              <a:ext uri="{FF2B5EF4-FFF2-40B4-BE49-F238E27FC236}">
                <a16:creationId xmlns:a16="http://schemas.microsoft.com/office/drawing/2014/main" id="{12A72E4A-6CF7-42B3-8555-7E87489ED0CF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144" name="Rechthoek 102">
              <a:extLst>
                <a:ext uri="{FF2B5EF4-FFF2-40B4-BE49-F238E27FC236}">
                  <a16:creationId xmlns:a16="http://schemas.microsoft.com/office/drawing/2014/main" id="{5BE092AD-0DF5-4B2D-8A61-10786024D64A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145" name="Ovaal 103">
              <a:extLst>
                <a:ext uri="{FF2B5EF4-FFF2-40B4-BE49-F238E27FC236}">
                  <a16:creationId xmlns:a16="http://schemas.microsoft.com/office/drawing/2014/main" id="{B79B17D9-A377-4058-A1EF-2846892B35B6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6" name="Rechte verbindingslijn 104">
              <a:extLst>
                <a:ext uri="{FF2B5EF4-FFF2-40B4-BE49-F238E27FC236}">
                  <a16:creationId xmlns:a16="http://schemas.microsoft.com/office/drawing/2014/main" id="{0317B9B3-852E-467F-A16B-AB615F5CFDB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47" name="Groep 105">
              <a:extLst>
                <a:ext uri="{FF2B5EF4-FFF2-40B4-BE49-F238E27FC236}">
                  <a16:creationId xmlns:a16="http://schemas.microsoft.com/office/drawing/2014/main" id="{D732052E-94DC-4F13-9760-736F360FBB49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72" name="Rechthoek 130">
                <a:extLst>
                  <a:ext uri="{FF2B5EF4-FFF2-40B4-BE49-F238E27FC236}">
                    <a16:creationId xmlns:a16="http://schemas.microsoft.com/office/drawing/2014/main" id="{4C9B1721-F96C-4D4D-A440-EF4D9688DC89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173" name="Rechte verbindingslijn 131">
                <a:extLst>
                  <a:ext uri="{FF2B5EF4-FFF2-40B4-BE49-F238E27FC236}">
                    <a16:creationId xmlns:a16="http://schemas.microsoft.com/office/drawing/2014/main" id="{AE03C7BE-DB99-473E-8F58-AB9B9509259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Rechte verbindingslijn 132">
                <a:extLst>
                  <a:ext uri="{FF2B5EF4-FFF2-40B4-BE49-F238E27FC236}">
                    <a16:creationId xmlns:a16="http://schemas.microsoft.com/office/drawing/2014/main" id="{BAB7B4D6-E44C-44D9-9AB6-5837E888664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5" name="Rechthoek 133">
                <a:extLst>
                  <a:ext uri="{FF2B5EF4-FFF2-40B4-BE49-F238E27FC236}">
                    <a16:creationId xmlns:a16="http://schemas.microsoft.com/office/drawing/2014/main" id="{F6BC44AD-C790-40DB-BC18-9360E4ACFEFC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6" name="Groep 134">
                <a:extLst>
                  <a:ext uri="{FF2B5EF4-FFF2-40B4-BE49-F238E27FC236}">
                    <a16:creationId xmlns:a16="http://schemas.microsoft.com/office/drawing/2014/main" id="{DE946025-9964-4691-8D8D-C8B408A214A9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18" name="Groep 175">
                  <a:extLst>
                    <a:ext uri="{FF2B5EF4-FFF2-40B4-BE49-F238E27FC236}">
                      <a16:creationId xmlns:a16="http://schemas.microsoft.com/office/drawing/2014/main" id="{25282692-712E-47CE-B737-55B5B67E8189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22" name="Rechte verbindingslijn 179">
                    <a:extLst>
                      <a:ext uri="{FF2B5EF4-FFF2-40B4-BE49-F238E27FC236}">
                        <a16:creationId xmlns:a16="http://schemas.microsoft.com/office/drawing/2014/main" id="{D975297F-C363-4A91-B08F-FC702D0DE0F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180">
                    <a:extLst>
                      <a:ext uri="{FF2B5EF4-FFF2-40B4-BE49-F238E27FC236}">
                        <a16:creationId xmlns:a16="http://schemas.microsoft.com/office/drawing/2014/main" id="{5E4689A8-BF87-4D6D-A327-5691237F574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181">
                    <a:extLst>
                      <a:ext uri="{FF2B5EF4-FFF2-40B4-BE49-F238E27FC236}">
                        <a16:creationId xmlns:a16="http://schemas.microsoft.com/office/drawing/2014/main" id="{4481CE40-DE80-41EC-966D-4CF9297584C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182">
                    <a:extLst>
                      <a:ext uri="{FF2B5EF4-FFF2-40B4-BE49-F238E27FC236}">
                        <a16:creationId xmlns:a16="http://schemas.microsoft.com/office/drawing/2014/main" id="{6D2D4CD5-9BBB-4FD2-A3AC-F28417CBE7E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183">
                    <a:extLst>
                      <a:ext uri="{FF2B5EF4-FFF2-40B4-BE49-F238E27FC236}">
                        <a16:creationId xmlns:a16="http://schemas.microsoft.com/office/drawing/2014/main" id="{1541F988-1145-422A-B24C-91713A5AAA8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176">
                  <a:extLst>
                    <a:ext uri="{FF2B5EF4-FFF2-40B4-BE49-F238E27FC236}">
                      <a16:creationId xmlns:a16="http://schemas.microsoft.com/office/drawing/2014/main" id="{2A6F4C5F-49D7-4FF0-A06D-7EB6E795825C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177">
                    <a:extLst>
                      <a:ext uri="{FF2B5EF4-FFF2-40B4-BE49-F238E27FC236}">
                        <a16:creationId xmlns:a16="http://schemas.microsoft.com/office/drawing/2014/main" id="{2D10FA49-F6F2-472A-9B5C-CC4B345509C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1" name="Pijl: punthaak 178">
                    <a:extLst>
                      <a:ext uri="{FF2B5EF4-FFF2-40B4-BE49-F238E27FC236}">
                        <a16:creationId xmlns:a16="http://schemas.microsoft.com/office/drawing/2014/main" id="{7AECEAA0-B21F-484F-9CAB-B3FE4D087BB6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7" name="Groep 135">
                <a:extLst>
                  <a:ext uri="{FF2B5EF4-FFF2-40B4-BE49-F238E27FC236}">
                    <a16:creationId xmlns:a16="http://schemas.microsoft.com/office/drawing/2014/main" id="{5DA97B60-D3E0-4A23-ABC6-C9D48052696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9" name="Groep 166">
                  <a:extLst>
                    <a:ext uri="{FF2B5EF4-FFF2-40B4-BE49-F238E27FC236}">
                      <a16:creationId xmlns:a16="http://schemas.microsoft.com/office/drawing/2014/main" id="{F310B508-521F-483D-9029-1B78B8964DE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13" name="Rechte verbindingslijn 170">
                    <a:extLst>
                      <a:ext uri="{FF2B5EF4-FFF2-40B4-BE49-F238E27FC236}">
                        <a16:creationId xmlns:a16="http://schemas.microsoft.com/office/drawing/2014/main" id="{D4EF374F-E8A3-4586-9A8E-76AE81B7E82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4" name="Rechte verbindingslijn 171">
                    <a:extLst>
                      <a:ext uri="{FF2B5EF4-FFF2-40B4-BE49-F238E27FC236}">
                        <a16:creationId xmlns:a16="http://schemas.microsoft.com/office/drawing/2014/main" id="{52887A5B-607B-4914-B454-BD7F11D21CA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5" name="Rechte verbindingslijn 172">
                    <a:extLst>
                      <a:ext uri="{FF2B5EF4-FFF2-40B4-BE49-F238E27FC236}">
                        <a16:creationId xmlns:a16="http://schemas.microsoft.com/office/drawing/2014/main" id="{DC1EF143-A254-4D3E-9DC2-7C1FDDACE5E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6" name="Rechte verbindingslijn 173">
                    <a:extLst>
                      <a:ext uri="{FF2B5EF4-FFF2-40B4-BE49-F238E27FC236}">
                        <a16:creationId xmlns:a16="http://schemas.microsoft.com/office/drawing/2014/main" id="{FA18A8F4-EB93-4750-BF03-510FFF41531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7" name="Rechte verbindingslijn 174">
                    <a:extLst>
                      <a:ext uri="{FF2B5EF4-FFF2-40B4-BE49-F238E27FC236}">
                        <a16:creationId xmlns:a16="http://schemas.microsoft.com/office/drawing/2014/main" id="{D6EF6D22-CE38-4C8D-AA17-96D86687669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0" name="Groep 167">
                  <a:extLst>
                    <a:ext uri="{FF2B5EF4-FFF2-40B4-BE49-F238E27FC236}">
                      <a16:creationId xmlns:a16="http://schemas.microsoft.com/office/drawing/2014/main" id="{23C3BDDC-0862-4103-A2B8-A7ED34BCB019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11" name="Rechthoek 168">
                    <a:extLst>
                      <a:ext uri="{FF2B5EF4-FFF2-40B4-BE49-F238E27FC236}">
                        <a16:creationId xmlns:a16="http://schemas.microsoft.com/office/drawing/2014/main" id="{151FE795-305D-4137-ABEB-E4984BA5F9B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2" name="Pijl: punthaak 169">
                    <a:extLst>
                      <a:ext uri="{FF2B5EF4-FFF2-40B4-BE49-F238E27FC236}">
                        <a16:creationId xmlns:a16="http://schemas.microsoft.com/office/drawing/2014/main" id="{7CB676B1-DC82-4B48-A8A1-2D057C6EB4F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8" name="Rechte verbindingslijn 136">
                <a:extLst>
                  <a:ext uri="{FF2B5EF4-FFF2-40B4-BE49-F238E27FC236}">
                    <a16:creationId xmlns:a16="http://schemas.microsoft.com/office/drawing/2014/main" id="{6E1CC731-1E2E-4A01-8995-A33E6E229A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9" name="Rechte verbindingslijn 137">
                <a:extLst>
                  <a:ext uri="{FF2B5EF4-FFF2-40B4-BE49-F238E27FC236}">
                    <a16:creationId xmlns:a16="http://schemas.microsoft.com/office/drawing/2014/main" id="{F53B65F7-1332-486F-B4F4-D2044AB65A6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80" name="Groep 138">
                <a:extLst>
                  <a:ext uri="{FF2B5EF4-FFF2-40B4-BE49-F238E27FC236}">
                    <a16:creationId xmlns:a16="http://schemas.microsoft.com/office/drawing/2014/main" id="{251AB20E-4EA8-48ED-B829-615738FBFE6A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8" name="Rechthoek 155">
                  <a:extLst>
                    <a:ext uri="{FF2B5EF4-FFF2-40B4-BE49-F238E27FC236}">
                      <a16:creationId xmlns:a16="http://schemas.microsoft.com/office/drawing/2014/main" id="{2587BC2B-165B-4CC7-BBC6-70BA5BE2783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9" name="Groep 156">
                  <a:extLst>
                    <a:ext uri="{FF2B5EF4-FFF2-40B4-BE49-F238E27FC236}">
                      <a16:creationId xmlns:a16="http://schemas.microsoft.com/office/drawing/2014/main" id="{2E372CF0-B5F3-448D-B0A6-DDCD36543787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0" name="Groep 157">
                    <a:extLst>
                      <a:ext uri="{FF2B5EF4-FFF2-40B4-BE49-F238E27FC236}">
                        <a16:creationId xmlns:a16="http://schemas.microsoft.com/office/drawing/2014/main" id="{C0B964D4-697A-48C3-9AEB-70942A2EBF6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04" name="Rechte verbindingslijn 161">
                      <a:extLst>
                        <a:ext uri="{FF2B5EF4-FFF2-40B4-BE49-F238E27FC236}">
                          <a16:creationId xmlns:a16="http://schemas.microsoft.com/office/drawing/2014/main" id="{BFFC8269-C726-4AD3-AD97-021BDE63A74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162">
                      <a:extLst>
                        <a:ext uri="{FF2B5EF4-FFF2-40B4-BE49-F238E27FC236}">
                          <a16:creationId xmlns:a16="http://schemas.microsoft.com/office/drawing/2014/main" id="{CBE2C915-F716-4323-B1EB-EE8EE2AC9FB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163">
                      <a:extLst>
                        <a:ext uri="{FF2B5EF4-FFF2-40B4-BE49-F238E27FC236}">
                          <a16:creationId xmlns:a16="http://schemas.microsoft.com/office/drawing/2014/main" id="{10E78F17-34D6-4C4E-B628-9723C09E0A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7" name="Rechte verbindingslijn 164">
                      <a:extLst>
                        <a:ext uri="{FF2B5EF4-FFF2-40B4-BE49-F238E27FC236}">
                          <a16:creationId xmlns:a16="http://schemas.microsoft.com/office/drawing/2014/main" id="{809B135C-A031-4075-9AAF-6E20C67121A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8" name="Rechte verbindingslijn 165">
                      <a:extLst>
                        <a:ext uri="{FF2B5EF4-FFF2-40B4-BE49-F238E27FC236}">
                          <a16:creationId xmlns:a16="http://schemas.microsoft.com/office/drawing/2014/main" id="{328F8FD6-328C-4C67-A687-451D65FCD59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01" name="Groep 158">
                    <a:extLst>
                      <a:ext uri="{FF2B5EF4-FFF2-40B4-BE49-F238E27FC236}">
                        <a16:creationId xmlns:a16="http://schemas.microsoft.com/office/drawing/2014/main" id="{B8A10E56-6B6F-4794-8E84-0A2AC89D394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2" name="Rechthoek 159">
                      <a:extLst>
                        <a:ext uri="{FF2B5EF4-FFF2-40B4-BE49-F238E27FC236}">
                          <a16:creationId xmlns:a16="http://schemas.microsoft.com/office/drawing/2014/main" id="{91E2C993-99E2-40BF-99AB-C5DB85F467E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3" name="Pijl: punthaak 160">
                      <a:extLst>
                        <a:ext uri="{FF2B5EF4-FFF2-40B4-BE49-F238E27FC236}">
                          <a16:creationId xmlns:a16="http://schemas.microsoft.com/office/drawing/2014/main" id="{27B3E14A-1A3B-4999-9C80-47C749FC8ACF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81" name="Groep 139">
                <a:extLst>
                  <a:ext uri="{FF2B5EF4-FFF2-40B4-BE49-F238E27FC236}">
                    <a16:creationId xmlns:a16="http://schemas.microsoft.com/office/drawing/2014/main" id="{171BE289-F739-4CC7-8323-891B9AF4D152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84" name="Rechthoek 142">
                  <a:extLst>
                    <a:ext uri="{FF2B5EF4-FFF2-40B4-BE49-F238E27FC236}">
                      <a16:creationId xmlns:a16="http://schemas.microsoft.com/office/drawing/2014/main" id="{7F74BB56-3DA2-44E5-B258-AA3BBA084CED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5" name="Groep 143">
                  <a:extLst>
                    <a:ext uri="{FF2B5EF4-FFF2-40B4-BE49-F238E27FC236}">
                      <a16:creationId xmlns:a16="http://schemas.microsoft.com/office/drawing/2014/main" id="{C120988B-C73E-42F5-8DC3-B857034D6AE4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6" name="Groep 144">
                    <a:extLst>
                      <a:ext uri="{FF2B5EF4-FFF2-40B4-BE49-F238E27FC236}">
                        <a16:creationId xmlns:a16="http://schemas.microsoft.com/office/drawing/2014/main" id="{2032EFDC-8481-4B06-A485-40D4A1303EB4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90" name="Rechte verbindingslijn 150">
                      <a:extLst>
                        <a:ext uri="{FF2B5EF4-FFF2-40B4-BE49-F238E27FC236}">
                          <a16:creationId xmlns:a16="http://schemas.microsoft.com/office/drawing/2014/main" id="{B175E117-FFC0-430C-B0B1-543C8DD8664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4" name="Rechte verbindingslijn 151">
                      <a:extLst>
                        <a:ext uri="{FF2B5EF4-FFF2-40B4-BE49-F238E27FC236}">
                          <a16:creationId xmlns:a16="http://schemas.microsoft.com/office/drawing/2014/main" id="{1CD7EC02-E136-4562-919D-0A47E30E82F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5" name="Rechte verbindingslijn 152">
                      <a:extLst>
                        <a:ext uri="{FF2B5EF4-FFF2-40B4-BE49-F238E27FC236}">
                          <a16:creationId xmlns:a16="http://schemas.microsoft.com/office/drawing/2014/main" id="{759F117B-80E1-4A33-AEAE-C031D2A8162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6" name="Rechte verbindingslijn 153">
                      <a:extLst>
                        <a:ext uri="{FF2B5EF4-FFF2-40B4-BE49-F238E27FC236}">
                          <a16:creationId xmlns:a16="http://schemas.microsoft.com/office/drawing/2014/main" id="{43150B4A-F359-46DE-8195-B16E16087CA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54">
                      <a:extLst>
                        <a:ext uri="{FF2B5EF4-FFF2-40B4-BE49-F238E27FC236}">
                          <a16:creationId xmlns:a16="http://schemas.microsoft.com/office/drawing/2014/main" id="{A8BA1755-2363-40F6-A133-A8E47981331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7" name="Groep 147">
                    <a:extLst>
                      <a:ext uri="{FF2B5EF4-FFF2-40B4-BE49-F238E27FC236}">
                        <a16:creationId xmlns:a16="http://schemas.microsoft.com/office/drawing/2014/main" id="{9F8CAD7A-06FB-4E69-9BB6-D93D844956AF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8" name="Rechthoek 148">
                      <a:extLst>
                        <a:ext uri="{FF2B5EF4-FFF2-40B4-BE49-F238E27FC236}">
                          <a16:creationId xmlns:a16="http://schemas.microsoft.com/office/drawing/2014/main" id="{2FBF036D-6595-4E64-AEC0-9C06B139834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9" name="Pijl: punthaak 149">
                      <a:extLst>
                        <a:ext uri="{FF2B5EF4-FFF2-40B4-BE49-F238E27FC236}">
                          <a16:creationId xmlns:a16="http://schemas.microsoft.com/office/drawing/2014/main" id="{36EDD372-D7D2-43F2-840A-00EAD3EC4CA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82" name="Rechthoek 140">
                <a:extLst>
                  <a:ext uri="{FF2B5EF4-FFF2-40B4-BE49-F238E27FC236}">
                    <a16:creationId xmlns:a16="http://schemas.microsoft.com/office/drawing/2014/main" id="{CDCDCA82-07E0-48B1-9C62-036394666E0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183" name="Rechthoek 141">
                <a:extLst>
                  <a:ext uri="{FF2B5EF4-FFF2-40B4-BE49-F238E27FC236}">
                    <a16:creationId xmlns:a16="http://schemas.microsoft.com/office/drawing/2014/main" id="{579B6D84-257C-420F-8B98-44D221ED428B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148" name="Rechte verbindingslijn 106">
              <a:extLst>
                <a:ext uri="{FF2B5EF4-FFF2-40B4-BE49-F238E27FC236}">
                  <a16:creationId xmlns:a16="http://schemas.microsoft.com/office/drawing/2014/main" id="{53509D9F-9466-4E77-A22E-AAA64289BFB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9" name="Rechthoek 107">
              <a:extLst>
                <a:ext uri="{FF2B5EF4-FFF2-40B4-BE49-F238E27FC236}">
                  <a16:creationId xmlns:a16="http://schemas.microsoft.com/office/drawing/2014/main" id="{813D89E4-6E30-472F-BDCF-CAC391F46997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150" name="Ovaal 108">
              <a:extLst>
                <a:ext uri="{FF2B5EF4-FFF2-40B4-BE49-F238E27FC236}">
                  <a16:creationId xmlns:a16="http://schemas.microsoft.com/office/drawing/2014/main" id="{77AAFE31-BF04-486B-A911-A27DB748D853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1" name="Rechthoek 109">
              <a:extLst>
                <a:ext uri="{FF2B5EF4-FFF2-40B4-BE49-F238E27FC236}">
                  <a16:creationId xmlns:a16="http://schemas.microsoft.com/office/drawing/2014/main" id="{F3DD63C2-8AFD-42D1-AA17-E3C812DF7D4B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152" name="Ovaal 110">
              <a:extLst>
                <a:ext uri="{FF2B5EF4-FFF2-40B4-BE49-F238E27FC236}">
                  <a16:creationId xmlns:a16="http://schemas.microsoft.com/office/drawing/2014/main" id="{D8B3CDF8-3FF7-47B1-BFF9-623DAECD55F4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11">
              <a:extLst>
                <a:ext uri="{FF2B5EF4-FFF2-40B4-BE49-F238E27FC236}">
                  <a16:creationId xmlns:a16="http://schemas.microsoft.com/office/drawing/2014/main" id="{0CDE75C5-3FB6-411A-AA6B-9E05ABA6009C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54" name="Ovaal 112">
              <a:extLst>
                <a:ext uri="{FF2B5EF4-FFF2-40B4-BE49-F238E27FC236}">
                  <a16:creationId xmlns:a16="http://schemas.microsoft.com/office/drawing/2014/main" id="{C36C2D08-DDE6-49DB-B648-C7427CBD0C25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55" name="Rechthoek 113">
              <a:extLst>
                <a:ext uri="{FF2B5EF4-FFF2-40B4-BE49-F238E27FC236}">
                  <a16:creationId xmlns:a16="http://schemas.microsoft.com/office/drawing/2014/main" id="{3651947C-0C02-47FD-8198-6ACA05D625CE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156" name="Ovaal 114">
              <a:extLst>
                <a:ext uri="{FF2B5EF4-FFF2-40B4-BE49-F238E27FC236}">
                  <a16:creationId xmlns:a16="http://schemas.microsoft.com/office/drawing/2014/main" id="{DAC65B97-AD50-4A4B-A52B-91DEED1F5CDB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57" name="Rechthoek 115">
              <a:extLst>
                <a:ext uri="{FF2B5EF4-FFF2-40B4-BE49-F238E27FC236}">
                  <a16:creationId xmlns:a16="http://schemas.microsoft.com/office/drawing/2014/main" id="{DD0EED19-4759-48B0-99D3-F1756C29FD0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158" name="Rechte verbindingslijn 116">
              <a:extLst>
                <a:ext uri="{FF2B5EF4-FFF2-40B4-BE49-F238E27FC236}">
                  <a16:creationId xmlns:a16="http://schemas.microsoft.com/office/drawing/2014/main" id="{B3A404FF-E418-443C-993E-C046EE62637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9" name="Meer informatie">
              <a:extLst>
                <a:ext uri="{FF2B5EF4-FFF2-40B4-BE49-F238E27FC236}">
                  <a16:creationId xmlns:a16="http://schemas.microsoft.com/office/drawing/2014/main" id="{CAF54774-E82D-4C3B-A1C1-62DC6106C4C6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169" name="Freeform 101">
                <a:extLst>
                  <a:ext uri="{FF2B5EF4-FFF2-40B4-BE49-F238E27FC236}">
                    <a16:creationId xmlns:a16="http://schemas.microsoft.com/office/drawing/2014/main" id="{56B082E7-9C4C-429A-A3F1-E85D9557B1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170" name="Rechthoek 128">
                <a:extLst>
                  <a:ext uri="{FF2B5EF4-FFF2-40B4-BE49-F238E27FC236}">
                    <a16:creationId xmlns:a16="http://schemas.microsoft.com/office/drawing/2014/main" id="{B2334392-13F1-41ED-AB5C-3A10FDC849D7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71" name="Rechte verbindingslijn 129">
                <a:extLst>
                  <a:ext uri="{FF2B5EF4-FFF2-40B4-BE49-F238E27FC236}">
                    <a16:creationId xmlns:a16="http://schemas.microsoft.com/office/drawing/2014/main" id="{DE14C397-DDB9-4313-9B99-664106801E0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0" name="Rechthoek 118">
              <a:extLst>
                <a:ext uri="{FF2B5EF4-FFF2-40B4-BE49-F238E27FC236}">
                  <a16:creationId xmlns:a16="http://schemas.microsoft.com/office/drawing/2014/main" id="{3D9BB6C9-57C4-47DA-BAAB-50D3E0AA3607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161" name="Ovaal 119">
              <a:extLst>
                <a:ext uri="{FF2B5EF4-FFF2-40B4-BE49-F238E27FC236}">
                  <a16:creationId xmlns:a16="http://schemas.microsoft.com/office/drawing/2014/main" id="{8A187101-3BAC-4789-BA69-16F45919C18A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2" name="Rechthoek 120">
              <a:extLst>
                <a:ext uri="{FF2B5EF4-FFF2-40B4-BE49-F238E27FC236}">
                  <a16:creationId xmlns:a16="http://schemas.microsoft.com/office/drawing/2014/main" id="{FC8589D7-57DE-4A5C-A674-5CF7510EFF83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63" name="Ovaal 121">
              <a:extLst>
                <a:ext uri="{FF2B5EF4-FFF2-40B4-BE49-F238E27FC236}">
                  <a16:creationId xmlns:a16="http://schemas.microsoft.com/office/drawing/2014/main" id="{522924C4-04FF-497C-90E3-866D1E4C008E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4" name="Rechthoek 122">
              <a:extLst>
                <a:ext uri="{FF2B5EF4-FFF2-40B4-BE49-F238E27FC236}">
                  <a16:creationId xmlns:a16="http://schemas.microsoft.com/office/drawing/2014/main" id="{8825EF7B-BEC0-4E7D-9723-1A01C82AA276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165" name="Ovaal 123">
              <a:extLst>
                <a:ext uri="{FF2B5EF4-FFF2-40B4-BE49-F238E27FC236}">
                  <a16:creationId xmlns:a16="http://schemas.microsoft.com/office/drawing/2014/main" id="{9D37BDA1-8993-4AEF-AEA8-0D82C8D93D16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6" name="Rechthoek 124">
              <a:extLst>
                <a:ext uri="{FF2B5EF4-FFF2-40B4-BE49-F238E27FC236}">
                  <a16:creationId xmlns:a16="http://schemas.microsoft.com/office/drawing/2014/main" id="{4A9C4BFD-E9F9-4501-9B17-D7BBED67B1AD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67" name="Rechthoek 125">
              <a:extLst>
                <a:ext uri="{FF2B5EF4-FFF2-40B4-BE49-F238E27FC236}">
                  <a16:creationId xmlns:a16="http://schemas.microsoft.com/office/drawing/2014/main" id="{50D07889-836F-4702-8605-2C661B2795D7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168" name="Ovaal 126">
              <a:extLst>
                <a:ext uri="{FF2B5EF4-FFF2-40B4-BE49-F238E27FC236}">
                  <a16:creationId xmlns:a16="http://schemas.microsoft.com/office/drawing/2014/main" id="{CAAC0A2F-5137-4156-AFF2-2EA66880CD31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  <p:sp>
        <p:nvSpPr>
          <p:cNvPr id="227" name="Tijdelijke aanduiding voor tekst 3">
            <a:extLst>
              <a:ext uri="{FF2B5EF4-FFF2-40B4-BE49-F238E27FC236}">
                <a16:creationId xmlns:a16="http://schemas.microsoft.com/office/drawing/2014/main" id="{56BE9A8B-2E1D-4B70-9784-41189D5E3CE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504415" y="1449454"/>
            <a:ext cx="6635238" cy="3534585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51"/>
            </a:lvl1pPr>
          </a:lstStyle>
          <a:p>
            <a:pPr lvl="0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70619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Foto 50%/5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jdelijke aanduiding voor afbeelding 9">
            <a:extLst>
              <a:ext uri="{FF2B5EF4-FFF2-40B4-BE49-F238E27FC236}">
                <a16:creationId xmlns:a16="http://schemas.microsoft.com/office/drawing/2014/main" id="{0ED34533-68FE-488A-8073-AE327759215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2852404" y="2"/>
            <a:ext cx="19913490" cy="30275209"/>
          </a:xfrm>
          <a:solidFill>
            <a:schemeClr val="bg1">
              <a:lumMod val="95000"/>
            </a:schemeClr>
          </a:solidFill>
        </p:spPr>
        <p:txBody>
          <a:bodyPr tIns="1260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9" name="Titel 1">
            <a:extLst>
              <a:ext uri="{FF2B5EF4-FFF2-40B4-BE49-F238E27FC236}">
                <a16:creationId xmlns:a16="http://schemas.microsoft.com/office/drawing/2014/main" id="{38F2616F-48F4-4AA7-A397-7CF72985B8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40" name="Tijdelijke aanduiding voor tekst 14">
            <a:extLst>
              <a:ext uri="{FF2B5EF4-FFF2-40B4-BE49-F238E27FC236}">
                <a16:creationId xmlns:a16="http://schemas.microsoft.com/office/drawing/2014/main" id="{628F315F-0014-4BC5-9D55-3D396FBDC96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56" name="Tijdelijke aanduiding voor voettekst 4">
            <a:extLst>
              <a:ext uri="{FF2B5EF4-FFF2-40B4-BE49-F238E27FC236}">
                <a16:creationId xmlns:a16="http://schemas.microsoft.com/office/drawing/2014/main" id="{338749D9-C675-4DFC-AD08-66934C14A8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57" name="Tijdelijke aanduiding voor dianummer 5">
            <a:extLst>
              <a:ext uri="{FF2B5EF4-FFF2-40B4-BE49-F238E27FC236}">
                <a16:creationId xmlns:a16="http://schemas.microsoft.com/office/drawing/2014/main" id="{0D5A18F8-364B-49D8-899A-40A6F3280B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2" y="27329718"/>
            <a:ext cx="857527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20" name="Tijdelijke aanduiding voor datum 3">
            <a:extLst>
              <a:ext uri="{FF2B5EF4-FFF2-40B4-BE49-F238E27FC236}">
                <a16:creationId xmlns:a16="http://schemas.microsoft.com/office/drawing/2014/main" id="{6AE598E2-80CE-413F-9F85-905285A7345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B0EAA18-3AFB-40A5-B0C9-9E669743B750}" type="datetime1">
              <a:rPr lang="nl-NL" noProof="0" smtClean="0"/>
              <a:t>26-6-2023</a:t>
            </a:fld>
            <a:endParaRPr lang="nl-NL" noProof="0"/>
          </a:p>
        </p:txBody>
      </p:sp>
      <p:grpSp>
        <p:nvGrpSpPr>
          <p:cNvPr id="191" name="Groep 258">
            <a:extLst>
              <a:ext uri="{FF2B5EF4-FFF2-40B4-BE49-F238E27FC236}">
                <a16:creationId xmlns:a16="http://schemas.microsoft.com/office/drawing/2014/main" id="{01744769-4E2D-46AD-880A-D58C0A224D24}"/>
              </a:ext>
            </a:extLst>
          </p:cNvPr>
          <p:cNvGrpSpPr/>
          <p:nvPr userDrawn="1"/>
        </p:nvGrpSpPr>
        <p:grpSpPr>
          <a:xfrm>
            <a:off x="43467416" y="5"/>
            <a:ext cx="11167745" cy="23084356"/>
            <a:chOff x="12391601" y="0"/>
            <a:chExt cx="3183678" cy="5229113"/>
          </a:xfrm>
        </p:grpSpPr>
        <p:grpSp>
          <p:nvGrpSpPr>
            <p:cNvPr id="192" name="Meer informatie">
              <a:extLst>
                <a:ext uri="{FF2B5EF4-FFF2-40B4-BE49-F238E27FC236}">
                  <a16:creationId xmlns:a16="http://schemas.microsoft.com/office/drawing/2014/main" id="{A4EC1C1E-98E3-43C7-BD38-24CDFD976AEB}"/>
                </a:ext>
              </a:extLst>
            </p:cNvPr>
            <p:cNvGrpSpPr/>
            <p:nvPr userDrawn="1"/>
          </p:nvGrpSpPr>
          <p:grpSpPr>
            <a:xfrm>
              <a:off x="12396764" y="4445840"/>
              <a:ext cx="3178515" cy="783273"/>
              <a:chOff x="-3741486" y="3386444"/>
              <a:chExt cx="3178515" cy="783273"/>
            </a:xfrm>
          </p:grpSpPr>
          <p:sp>
            <p:nvSpPr>
              <p:cNvPr id="369" name="Freeform 101">
                <a:extLst>
                  <a:ext uri="{FF2B5EF4-FFF2-40B4-BE49-F238E27FC236}">
                    <a16:creationId xmlns:a16="http://schemas.microsoft.com/office/drawing/2014/main" id="{57C8C1FE-50AE-4F77-B1AF-796AA69FE8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370" name="Rechthoek 306">
                <a:extLst>
                  <a:ext uri="{FF2B5EF4-FFF2-40B4-BE49-F238E27FC236}">
                    <a16:creationId xmlns:a16="http://schemas.microsoft.com/office/drawing/2014/main" id="{F797681D-DBCB-4586-8FC4-D1342256679B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71" name="Rechte verbindingslijn 307">
                <a:extLst>
                  <a:ext uri="{FF2B5EF4-FFF2-40B4-BE49-F238E27FC236}">
                    <a16:creationId xmlns:a16="http://schemas.microsoft.com/office/drawing/2014/main" id="{5C8C70F2-195F-4FF4-886A-ED8F818E1DB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93" name="Rechthoek 260">
              <a:extLst>
                <a:ext uri="{FF2B5EF4-FFF2-40B4-BE49-F238E27FC236}">
                  <a16:creationId xmlns:a16="http://schemas.microsoft.com/office/drawing/2014/main" id="{C9193123-F938-4192-A8F2-22041EB5EF3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194" name="Ovaal 261">
              <a:extLst>
                <a:ext uri="{FF2B5EF4-FFF2-40B4-BE49-F238E27FC236}">
                  <a16:creationId xmlns:a16="http://schemas.microsoft.com/office/drawing/2014/main" id="{62A4F9A0-9240-42F3-81FC-D2933CB6DA57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76" name="Rechte verbindingslijn 262">
              <a:extLst>
                <a:ext uri="{FF2B5EF4-FFF2-40B4-BE49-F238E27FC236}">
                  <a16:creationId xmlns:a16="http://schemas.microsoft.com/office/drawing/2014/main" id="{531D6475-86F7-4A3D-B737-133558F3396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77" name="Rechte verbindingslijn 263">
              <a:extLst>
                <a:ext uri="{FF2B5EF4-FFF2-40B4-BE49-F238E27FC236}">
                  <a16:creationId xmlns:a16="http://schemas.microsoft.com/office/drawing/2014/main" id="{D68DC439-1D0B-44F4-9A0F-05D0F0FA81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78" name="Rechthoek 264">
              <a:extLst>
                <a:ext uri="{FF2B5EF4-FFF2-40B4-BE49-F238E27FC236}">
                  <a16:creationId xmlns:a16="http://schemas.microsoft.com/office/drawing/2014/main" id="{09CF9D97-3183-4CAD-ADF9-40C3EE756F22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oor deze te selecteren en op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om een nieuwe afbeelding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279" name="Rechte verbindingslijn 265">
              <a:extLst>
                <a:ext uri="{FF2B5EF4-FFF2-40B4-BE49-F238E27FC236}">
                  <a16:creationId xmlns:a16="http://schemas.microsoft.com/office/drawing/2014/main" id="{E5249709-D847-47AC-9FA8-A6EF0A0233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4327957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80" name="Ovaal 266">
              <a:extLst>
                <a:ext uri="{FF2B5EF4-FFF2-40B4-BE49-F238E27FC236}">
                  <a16:creationId xmlns:a16="http://schemas.microsoft.com/office/drawing/2014/main" id="{B7406051-6D4F-4746-AE87-FEDB1836B94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81" name="Rechthoek 267">
              <a:extLst>
                <a:ext uri="{FF2B5EF4-FFF2-40B4-BE49-F238E27FC236}">
                  <a16:creationId xmlns:a16="http://schemas.microsoft.com/office/drawing/2014/main" id="{6EC3F820-3DA4-4ABB-93F3-3B71B07D992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82" name="Groep 268">
              <a:extLst>
                <a:ext uri="{FF2B5EF4-FFF2-40B4-BE49-F238E27FC236}">
                  <a16:creationId xmlns:a16="http://schemas.microsoft.com/office/drawing/2014/main" id="{1DC0E739-76B4-4E95-9E6A-AF784261650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6" name="Rechthoek 302">
                <a:extLst>
                  <a:ext uri="{FF2B5EF4-FFF2-40B4-BE49-F238E27FC236}">
                    <a16:creationId xmlns:a16="http://schemas.microsoft.com/office/drawing/2014/main" id="{7481E702-57AF-4E58-9060-713127F9E87A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367" name="Rechte verbindingslijn 303">
                <a:extLst>
                  <a:ext uri="{FF2B5EF4-FFF2-40B4-BE49-F238E27FC236}">
                    <a16:creationId xmlns:a16="http://schemas.microsoft.com/office/drawing/2014/main" id="{D47BDE1C-49AC-4334-90BD-925C4D6024A1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8" name="Gelijkbenige driehoek 304">
                <a:extLst>
                  <a:ext uri="{FF2B5EF4-FFF2-40B4-BE49-F238E27FC236}">
                    <a16:creationId xmlns:a16="http://schemas.microsoft.com/office/drawing/2014/main" id="{DB1FFF35-6F1E-461D-923A-0A59349699B3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283" name="Groep 269">
              <a:extLst>
                <a:ext uri="{FF2B5EF4-FFF2-40B4-BE49-F238E27FC236}">
                  <a16:creationId xmlns:a16="http://schemas.microsoft.com/office/drawing/2014/main" id="{14841377-4B9D-4516-A835-391C048398EF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360" name="Rechthoek 296">
                <a:extLst>
                  <a:ext uri="{FF2B5EF4-FFF2-40B4-BE49-F238E27FC236}">
                    <a16:creationId xmlns:a16="http://schemas.microsoft.com/office/drawing/2014/main" id="{1DFBCEA9-0112-4F27-9066-1731831E84C8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1" name="Ovaal 297">
                <a:extLst>
                  <a:ext uri="{FF2B5EF4-FFF2-40B4-BE49-F238E27FC236}">
                    <a16:creationId xmlns:a16="http://schemas.microsoft.com/office/drawing/2014/main" id="{C3908235-AA32-4370-891B-F085400E908D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2" name="Vrije vorm: vorm 298">
                <a:extLst>
                  <a:ext uri="{FF2B5EF4-FFF2-40B4-BE49-F238E27FC236}">
                    <a16:creationId xmlns:a16="http://schemas.microsoft.com/office/drawing/2014/main" id="{DFAB4706-F142-4681-BCF6-58B4E1701136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Rechthoek: afgeronde hoeken 299">
                <a:extLst>
                  <a:ext uri="{FF2B5EF4-FFF2-40B4-BE49-F238E27FC236}">
                    <a16:creationId xmlns:a16="http://schemas.microsoft.com/office/drawing/2014/main" id="{EB66E7C1-7F3A-47D2-A5A4-776089921B8F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4" name="Rechte verbindingslijn 300">
                <a:extLst>
                  <a:ext uri="{FF2B5EF4-FFF2-40B4-BE49-F238E27FC236}">
                    <a16:creationId xmlns:a16="http://schemas.microsoft.com/office/drawing/2014/main" id="{4B1BC4F4-FBBC-454F-B7F2-68C8C4852EE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5" name="Rechte verbindingslijn 301">
                <a:extLst>
                  <a:ext uri="{FF2B5EF4-FFF2-40B4-BE49-F238E27FC236}">
                    <a16:creationId xmlns:a16="http://schemas.microsoft.com/office/drawing/2014/main" id="{9ED010D8-0712-4FC3-A6E7-AE19BCF4757F}"/>
                  </a:ext>
                </a:extLst>
              </p:cNvPr>
              <p:cNvCxnSpPr>
                <a:cxnSpLocks/>
                <a:stCxn id="363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284" name="Ovaal 270">
              <a:extLst>
                <a:ext uri="{FF2B5EF4-FFF2-40B4-BE49-F238E27FC236}">
                  <a16:creationId xmlns:a16="http://schemas.microsoft.com/office/drawing/2014/main" id="{7BBD33CA-385F-4FCA-BA4D-7090DA22F3E4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85" name="Rechthoek 271">
              <a:extLst>
                <a:ext uri="{FF2B5EF4-FFF2-40B4-BE49-F238E27FC236}">
                  <a16:creationId xmlns:a16="http://schemas.microsoft.com/office/drawing/2014/main" id="{ECD4E39E-3298-4FD3-8237-AABEC59542F2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43320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aan de linker kant van het scherm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286" name="Rechte verbindingslijn 272">
              <a:extLst>
                <a:ext uri="{FF2B5EF4-FFF2-40B4-BE49-F238E27FC236}">
                  <a16:creationId xmlns:a16="http://schemas.microsoft.com/office/drawing/2014/main" id="{1AB340ED-04B1-45DA-9E19-BAFB411A683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87" name="Rechthoek 273">
              <a:extLst>
                <a:ext uri="{FF2B5EF4-FFF2-40B4-BE49-F238E27FC236}">
                  <a16:creationId xmlns:a16="http://schemas.microsoft.com/office/drawing/2014/main" id="{B41E9A49-1280-4B99-92BE-BDB9567125BE}"/>
                </a:ext>
              </a:extLst>
            </p:cNvPr>
            <p:cNvSpPr/>
            <p:nvPr userDrawn="1"/>
          </p:nvSpPr>
          <p:spPr>
            <a:xfrm>
              <a:off x="12654153" y="3238910"/>
              <a:ext cx="1624926" cy="805220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3509" b="0" i="1" noProof="0">
                <a:solidFill>
                  <a:schemeClr val="tx1"/>
                </a:solidFill>
              </a:endParaRPr>
            </a:p>
          </p:txBody>
        </p:sp>
        <p:grpSp>
          <p:nvGrpSpPr>
            <p:cNvPr id="288" name="Groep 274">
              <a:extLst>
                <a:ext uri="{FF2B5EF4-FFF2-40B4-BE49-F238E27FC236}">
                  <a16:creationId xmlns:a16="http://schemas.microsoft.com/office/drawing/2014/main" id="{54E223ED-1085-42D6-99EB-914FD6F7E1A0}"/>
                </a:ext>
              </a:extLst>
            </p:cNvPr>
            <p:cNvGrpSpPr/>
            <p:nvPr userDrawn="1"/>
          </p:nvGrpSpPr>
          <p:grpSpPr>
            <a:xfrm>
              <a:off x="13614067" y="3535184"/>
              <a:ext cx="1195438" cy="678267"/>
              <a:chOff x="12757284" y="3224292"/>
              <a:chExt cx="1195438" cy="678267"/>
            </a:xfrm>
          </p:grpSpPr>
          <p:sp>
            <p:nvSpPr>
              <p:cNvPr id="289" name="Rechthoek 275">
                <a:extLst>
                  <a:ext uri="{FF2B5EF4-FFF2-40B4-BE49-F238E27FC236}">
                    <a16:creationId xmlns:a16="http://schemas.microsoft.com/office/drawing/2014/main" id="{CC76C08A-1510-4513-982A-A02C8202BA56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90" name="Rechthoek 276">
                <a:extLst>
                  <a:ext uri="{FF2B5EF4-FFF2-40B4-BE49-F238E27FC236}">
                    <a16:creationId xmlns:a16="http://schemas.microsoft.com/office/drawing/2014/main" id="{C442DCBD-4DE6-4888-B54A-4EF3AE507F1F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91" name="Groep 277">
                <a:extLst>
                  <a:ext uri="{FF2B5EF4-FFF2-40B4-BE49-F238E27FC236}">
                    <a16:creationId xmlns:a16="http://schemas.microsoft.com/office/drawing/2014/main" id="{541957A1-A8CF-4FD5-A9E9-BB9E710FFA62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304" name="Rechthoek: afgeronde hoeken 290">
                  <a:extLst>
                    <a:ext uri="{FF2B5EF4-FFF2-40B4-BE49-F238E27FC236}">
                      <a16:creationId xmlns:a16="http://schemas.microsoft.com/office/drawing/2014/main" id="{5669CA58-73F3-4349-B230-D8D5315E90B5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endPara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05" name="Rechthoek 291">
                  <a:extLst>
                    <a:ext uri="{FF2B5EF4-FFF2-40B4-BE49-F238E27FC236}">
                      <a16:creationId xmlns:a16="http://schemas.microsoft.com/office/drawing/2014/main" id="{93CDF69C-C871-4BA6-A5E2-1800B3D9774A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6" name="Rechthoek 292">
                  <a:extLst>
                    <a:ext uri="{FF2B5EF4-FFF2-40B4-BE49-F238E27FC236}">
                      <a16:creationId xmlns:a16="http://schemas.microsoft.com/office/drawing/2014/main" id="{8041710A-C457-4091-A108-D3F20E9599F8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7" name="Rechthoek 293">
                  <a:extLst>
                    <a:ext uri="{FF2B5EF4-FFF2-40B4-BE49-F238E27FC236}">
                      <a16:creationId xmlns:a16="http://schemas.microsoft.com/office/drawing/2014/main" id="{2180BB12-5DDB-46CF-B7BC-AAF5262B1195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8" name="Rechthoek 294">
                  <a:extLst>
                    <a:ext uri="{FF2B5EF4-FFF2-40B4-BE49-F238E27FC236}">
                      <a16:creationId xmlns:a16="http://schemas.microsoft.com/office/drawing/2014/main" id="{4EE169E8-99BF-40E4-81BA-E13F9EBDB9D2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9" name="Rechthoek 295">
                  <a:extLst>
                    <a:ext uri="{FF2B5EF4-FFF2-40B4-BE49-F238E27FC236}">
                      <a16:creationId xmlns:a16="http://schemas.microsoft.com/office/drawing/2014/main" id="{A6E86F78-2BBD-4B3E-B793-A9AEC014FA9D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292" name="Groep 278">
                <a:extLst>
                  <a:ext uri="{FF2B5EF4-FFF2-40B4-BE49-F238E27FC236}">
                    <a16:creationId xmlns:a16="http://schemas.microsoft.com/office/drawing/2014/main" id="{115C966E-4EE8-4C15-9562-49CB857CB522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296" name="Groep 282">
                  <a:extLst>
                    <a:ext uri="{FF2B5EF4-FFF2-40B4-BE49-F238E27FC236}">
                      <a16:creationId xmlns:a16="http://schemas.microsoft.com/office/drawing/2014/main" id="{7A6EB598-31BE-43DD-9DDE-A54F95EDDDE0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298" name="Rechthoek: afgeronde hoeken 284">
                    <a:extLst>
                      <a:ext uri="{FF2B5EF4-FFF2-40B4-BE49-F238E27FC236}">
                        <a16:creationId xmlns:a16="http://schemas.microsoft.com/office/drawing/2014/main" id="{759736AF-88C8-49DC-A2F6-CD334246352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2105"/>
                      </a:spcBef>
                      <a:spcAft>
                        <a:spcPts val="2105"/>
                      </a:spcAft>
                    </a:pPr>
                    <a:endParaRPr lang="nl-NL" sz="280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99" name="Rechthoek 285">
                    <a:extLst>
                      <a:ext uri="{FF2B5EF4-FFF2-40B4-BE49-F238E27FC236}">
                        <a16:creationId xmlns:a16="http://schemas.microsoft.com/office/drawing/2014/main" id="{279A3EAF-079D-43B1-827D-F8FED7205E3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0" name="Rechthoek 286">
                    <a:extLst>
                      <a:ext uri="{FF2B5EF4-FFF2-40B4-BE49-F238E27FC236}">
                        <a16:creationId xmlns:a16="http://schemas.microsoft.com/office/drawing/2014/main" id="{6FAB19FC-AED1-4616-A001-C03C7D98337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1" name="Rechthoek 287">
                    <a:extLst>
                      <a:ext uri="{FF2B5EF4-FFF2-40B4-BE49-F238E27FC236}">
                        <a16:creationId xmlns:a16="http://schemas.microsoft.com/office/drawing/2014/main" id="{34A7E423-E7CC-426E-BC06-9144592761B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2" name="Rechthoek 288">
                    <a:extLst>
                      <a:ext uri="{FF2B5EF4-FFF2-40B4-BE49-F238E27FC236}">
                        <a16:creationId xmlns:a16="http://schemas.microsoft.com/office/drawing/2014/main" id="{369030A0-90B4-455D-AF64-FE70CCC6D32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3" name="Rechthoek 289">
                    <a:extLst>
                      <a:ext uri="{FF2B5EF4-FFF2-40B4-BE49-F238E27FC236}">
                        <a16:creationId xmlns:a16="http://schemas.microsoft.com/office/drawing/2014/main" id="{B216A8D2-1122-436A-9A99-449167159CE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297" name="Boog 283">
                  <a:extLst>
                    <a:ext uri="{FF2B5EF4-FFF2-40B4-BE49-F238E27FC236}">
                      <a16:creationId xmlns:a16="http://schemas.microsoft.com/office/drawing/2014/main" id="{4C907D9B-DE0B-44F6-806E-7D4D6B53BE19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</p:grpSp>
          <p:sp>
            <p:nvSpPr>
              <p:cNvPr id="293" name="Tekstvak 279">
                <a:extLst>
                  <a:ext uri="{FF2B5EF4-FFF2-40B4-BE49-F238E27FC236}">
                    <a16:creationId xmlns:a16="http://schemas.microsoft.com/office/drawing/2014/main" id="{86A98F2D-E38C-4C4E-A3B4-DC99D4C79E7B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294" name="Tekstvak 280">
                <a:extLst>
                  <a:ext uri="{FF2B5EF4-FFF2-40B4-BE49-F238E27FC236}">
                    <a16:creationId xmlns:a16="http://schemas.microsoft.com/office/drawing/2014/main" id="{353385DF-A0E6-4CE9-9E8D-DA74E4E6348C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295" name="Picture 3">
                <a:extLst>
                  <a:ext uri="{FF2B5EF4-FFF2-40B4-BE49-F238E27FC236}">
                    <a16:creationId xmlns:a16="http://schemas.microsoft.com/office/drawing/2014/main" id="{43B3043F-F730-4FA6-86E7-82F6E4DD53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810206" y="3671228"/>
                <a:ext cx="14251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sp>
        <p:nvSpPr>
          <p:cNvPr id="142" name="Tijdelijke aanduiding voor tekst 4">
            <a:extLst>
              <a:ext uri="{FF2B5EF4-FFF2-40B4-BE49-F238E27FC236}">
                <a16:creationId xmlns:a16="http://schemas.microsoft.com/office/drawing/2014/main" id="{979ACD1D-A6F7-422F-B2AC-978EE21FAD1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742373" y="6476685"/>
            <a:ext cx="18171872" cy="1907433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grpSp>
        <p:nvGrpSpPr>
          <p:cNvPr id="143" name="Groep 101">
            <a:extLst>
              <a:ext uri="{FF2B5EF4-FFF2-40B4-BE49-F238E27FC236}">
                <a16:creationId xmlns:a16="http://schemas.microsoft.com/office/drawing/2014/main" id="{4D286C39-B37F-45E3-9869-B827A1D6AAB4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144" name="Rechthoek 102">
              <a:extLst>
                <a:ext uri="{FF2B5EF4-FFF2-40B4-BE49-F238E27FC236}">
                  <a16:creationId xmlns:a16="http://schemas.microsoft.com/office/drawing/2014/main" id="{944C8894-D377-4264-BA6C-4FDA3A3FE544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145" name="Ovaal 103">
              <a:extLst>
                <a:ext uri="{FF2B5EF4-FFF2-40B4-BE49-F238E27FC236}">
                  <a16:creationId xmlns:a16="http://schemas.microsoft.com/office/drawing/2014/main" id="{F93C350F-6D09-4744-A7F9-7BD9A88224DC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6" name="Rechte verbindingslijn 104">
              <a:extLst>
                <a:ext uri="{FF2B5EF4-FFF2-40B4-BE49-F238E27FC236}">
                  <a16:creationId xmlns:a16="http://schemas.microsoft.com/office/drawing/2014/main" id="{CBCB6014-CD8F-4573-8258-28219123DA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47" name="Groep 105">
              <a:extLst>
                <a:ext uri="{FF2B5EF4-FFF2-40B4-BE49-F238E27FC236}">
                  <a16:creationId xmlns:a16="http://schemas.microsoft.com/office/drawing/2014/main" id="{9065727D-50AD-4506-BD65-911D5DF63924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72" name="Rechthoek 130">
                <a:extLst>
                  <a:ext uri="{FF2B5EF4-FFF2-40B4-BE49-F238E27FC236}">
                    <a16:creationId xmlns:a16="http://schemas.microsoft.com/office/drawing/2014/main" id="{15DD44AF-BE5C-403B-8044-7F8FC7F6087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173" name="Rechte verbindingslijn 131">
                <a:extLst>
                  <a:ext uri="{FF2B5EF4-FFF2-40B4-BE49-F238E27FC236}">
                    <a16:creationId xmlns:a16="http://schemas.microsoft.com/office/drawing/2014/main" id="{C0A4188A-22F6-4D12-82C3-50B0F36B1B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Rechte verbindingslijn 132">
                <a:extLst>
                  <a:ext uri="{FF2B5EF4-FFF2-40B4-BE49-F238E27FC236}">
                    <a16:creationId xmlns:a16="http://schemas.microsoft.com/office/drawing/2014/main" id="{6A1AC77E-1438-4C62-8336-2E4FECE821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5" name="Rechthoek 133">
                <a:extLst>
                  <a:ext uri="{FF2B5EF4-FFF2-40B4-BE49-F238E27FC236}">
                    <a16:creationId xmlns:a16="http://schemas.microsoft.com/office/drawing/2014/main" id="{8A1EF3A2-4DDC-44A0-B251-1304C612F3D3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6" name="Groep 134">
                <a:extLst>
                  <a:ext uri="{FF2B5EF4-FFF2-40B4-BE49-F238E27FC236}">
                    <a16:creationId xmlns:a16="http://schemas.microsoft.com/office/drawing/2014/main" id="{5AE51326-131F-47DB-A72D-7A4868057468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19" name="Groep 175">
                  <a:extLst>
                    <a:ext uri="{FF2B5EF4-FFF2-40B4-BE49-F238E27FC236}">
                      <a16:creationId xmlns:a16="http://schemas.microsoft.com/office/drawing/2014/main" id="{D406BB82-8500-45C3-ADDC-406DAF460842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23" name="Rechte verbindingslijn 179">
                    <a:extLst>
                      <a:ext uri="{FF2B5EF4-FFF2-40B4-BE49-F238E27FC236}">
                        <a16:creationId xmlns:a16="http://schemas.microsoft.com/office/drawing/2014/main" id="{2772C8FB-6F73-4C02-B807-42578E33030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180">
                    <a:extLst>
                      <a:ext uri="{FF2B5EF4-FFF2-40B4-BE49-F238E27FC236}">
                        <a16:creationId xmlns:a16="http://schemas.microsoft.com/office/drawing/2014/main" id="{4FC40D80-A025-40E3-AE18-00AB4C384A1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181">
                    <a:extLst>
                      <a:ext uri="{FF2B5EF4-FFF2-40B4-BE49-F238E27FC236}">
                        <a16:creationId xmlns:a16="http://schemas.microsoft.com/office/drawing/2014/main" id="{298B0897-0970-4461-92EB-52CAB9E4D11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182">
                    <a:extLst>
                      <a:ext uri="{FF2B5EF4-FFF2-40B4-BE49-F238E27FC236}">
                        <a16:creationId xmlns:a16="http://schemas.microsoft.com/office/drawing/2014/main" id="{F41A4FE8-90A3-4651-AB63-5ABED9B32F4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7" name="Rechte verbindingslijn 183">
                    <a:extLst>
                      <a:ext uri="{FF2B5EF4-FFF2-40B4-BE49-F238E27FC236}">
                        <a16:creationId xmlns:a16="http://schemas.microsoft.com/office/drawing/2014/main" id="{9601243A-A3FA-4474-B36E-BFFE34C6B7D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0" name="Groep 176">
                  <a:extLst>
                    <a:ext uri="{FF2B5EF4-FFF2-40B4-BE49-F238E27FC236}">
                      <a16:creationId xmlns:a16="http://schemas.microsoft.com/office/drawing/2014/main" id="{98FA33BA-83B3-40FB-BE24-B4EBAE8CD08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1" name="Rechthoek 177">
                    <a:extLst>
                      <a:ext uri="{FF2B5EF4-FFF2-40B4-BE49-F238E27FC236}">
                        <a16:creationId xmlns:a16="http://schemas.microsoft.com/office/drawing/2014/main" id="{82674E21-F45F-4212-A375-BAD53E8733B1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2" name="Pijl: punthaak 178">
                    <a:extLst>
                      <a:ext uri="{FF2B5EF4-FFF2-40B4-BE49-F238E27FC236}">
                        <a16:creationId xmlns:a16="http://schemas.microsoft.com/office/drawing/2014/main" id="{4EDDA88B-C048-4B01-8366-1D465AC13E81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7" name="Groep 135">
                <a:extLst>
                  <a:ext uri="{FF2B5EF4-FFF2-40B4-BE49-F238E27FC236}">
                    <a16:creationId xmlns:a16="http://schemas.microsoft.com/office/drawing/2014/main" id="{59A13C78-37AF-4994-A28B-A76349C6472C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0" name="Groep 166">
                  <a:extLst>
                    <a:ext uri="{FF2B5EF4-FFF2-40B4-BE49-F238E27FC236}">
                      <a16:creationId xmlns:a16="http://schemas.microsoft.com/office/drawing/2014/main" id="{118B98EB-79D0-49B4-9785-D2A1F21B4CE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14" name="Rechte verbindingslijn 170">
                    <a:extLst>
                      <a:ext uri="{FF2B5EF4-FFF2-40B4-BE49-F238E27FC236}">
                        <a16:creationId xmlns:a16="http://schemas.microsoft.com/office/drawing/2014/main" id="{0D56F576-CD09-4B80-8736-8D67B356397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5" name="Rechte verbindingslijn 171">
                    <a:extLst>
                      <a:ext uri="{FF2B5EF4-FFF2-40B4-BE49-F238E27FC236}">
                        <a16:creationId xmlns:a16="http://schemas.microsoft.com/office/drawing/2014/main" id="{23DBBE4F-33B5-40E8-AD71-F8B0BB8278D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6" name="Rechte verbindingslijn 172">
                    <a:extLst>
                      <a:ext uri="{FF2B5EF4-FFF2-40B4-BE49-F238E27FC236}">
                        <a16:creationId xmlns:a16="http://schemas.microsoft.com/office/drawing/2014/main" id="{8C2D9578-34D2-470D-BCD9-B54B35070B7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7" name="Rechte verbindingslijn 173">
                    <a:extLst>
                      <a:ext uri="{FF2B5EF4-FFF2-40B4-BE49-F238E27FC236}">
                        <a16:creationId xmlns:a16="http://schemas.microsoft.com/office/drawing/2014/main" id="{81D169F8-8C14-497D-976E-38E4EB7BBB4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8" name="Rechte verbindingslijn 174">
                    <a:extLst>
                      <a:ext uri="{FF2B5EF4-FFF2-40B4-BE49-F238E27FC236}">
                        <a16:creationId xmlns:a16="http://schemas.microsoft.com/office/drawing/2014/main" id="{65DBB552-A277-4750-954E-C2CF2A5D6AE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1" name="Groep 167">
                  <a:extLst>
                    <a:ext uri="{FF2B5EF4-FFF2-40B4-BE49-F238E27FC236}">
                      <a16:creationId xmlns:a16="http://schemas.microsoft.com/office/drawing/2014/main" id="{118E80A2-6FDE-44BA-AEB9-2999FD347A2A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12" name="Rechthoek 168">
                    <a:extLst>
                      <a:ext uri="{FF2B5EF4-FFF2-40B4-BE49-F238E27FC236}">
                        <a16:creationId xmlns:a16="http://schemas.microsoft.com/office/drawing/2014/main" id="{AA506F63-2EB2-4ED7-80E6-5B7113DC39E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3" name="Pijl: punthaak 169">
                    <a:extLst>
                      <a:ext uri="{FF2B5EF4-FFF2-40B4-BE49-F238E27FC236}">
                        <a16:creationId xmlns:a16="http://schemas.microsoft.com/office/drawing/2014/main" id="{019E5937-7BD1-42B6-8530-9E5EC39F9C1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8" name="Rechte verbindingslijn 136">
                <a:extLst>
                  <a:ext uri="{FF2B5EF4-FFF2-40B4-BE49-F238E27FC236}">
                    <a16:creationId xmlns:a16="http://schemas.microsoft.com/office/drawing/2014/main" id="{9DB93ED7-7671-4649-806E-D3AB47854AC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9" name="Rechte verbindingslijn 137">
                <a:extLst>
                  <a:ext uri="{FF2B5EF4-FFF2-40B4-BE49-F238E27FC236}">
                    <a16:creationId xmlns:a16="http://schemas.microsoft.com/office/drawing/2014/main" id="{4D13CC20-C9BD-4BC8-8460-C2870CA76B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80" name="Groep 138">
                <a:extLst>
                  <a:ext uri="{FF2B5EF4-FFF2-40B4-BE49-F238E27FC236}">
                    <a16:creationId xmlns:a16="http://schemas.microsoft.com/office/drawing/2014/main" id="{E4DF3DFD-114A-46B3-B260-86063CF5EF4C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9" name="Rechthoek 155">
                  <a:extLst>
                    <a:ext uri="{FF2B5EF4-FFF2-40B4-BE49-F238E27FC236}">
                      <a16:creationId xmlns:a16="http://schemas.microsoft.com/office/drawing/2014/main" id="{006B03D4-B035-44AA-9B4E-F4E0A37C0883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0" name="Groep 156">
                  <a:extLst>
                    <a:ext uri="{FF2B5EF4-FFF2-40B4-BE49-F238E27FC236}">
                      <a16:creationId xmlns:a16="http://schemas.microsoft.com/office/drawing/2014/main" id="{CD2FB3DE-2823-4200-8809-30946597F6E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1" name="Groep 157">
                    <a:extLst>
                      <a:ext uri="{FF2B5EF4-FFF2-40B4-BE49-F238E27FC236}">
                        <a16:creationId xmlns:a16="http://schemas.microsoft.com/office/drawing/2014/main" id="{8A3AA366-0479-40AB-AEBB-C2A5A46D9824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05" name="Rechte verbindingslijn 161">
                      <a:extLst>
                        <a:ext uri="{FF2B5EF4-FFF2-40B4-BE49-F238E27FC236}">
                          <a16:creationId xmlns:a16="http://schemas.microsoft.com/office/drawing/2014/main" id="{32CBD66F-D88C-4DF2-93A2-AE4CF4EFC63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162">
                      <a:extLst>
                        <a:ext uri="{FF2B5EF4-FFF2-40B4-BE49-F238E27FC236}">
                          <a16:creationId xmlns:a16="http://schemas.microsoft.com/office/drawing/2014/main" id="{D52277AA-ED86-4F5B-B317-3BE78AF6082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7" name="Rechte verbindingslijn 163">
                      <a:extLst>
                        <a:ext uri="{FF2B5EF4-FFF2-40B4-BE49-F238E27FC236}">
                          <a16:creationId xmlns:a16="http://schemas.microsoft.com/office/drawing/2014/main" id="{963E4F93-4FDE-4795-A9B9-F43285A8E5D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8" name="Rechte verbindingslijn 164">
                      <a:extLst>
                        <a:ext uri="{FF2B5EF4-FFF2-40B4-BE49-F238E27FC236}">
                          <a16:creationId xmlns:a16="http://schemas.microsoft.com/office/drawing/2014/main" id="{6E2A2BB2-A62A-4F64-82F9-6E2356A21CC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9" name="Rechte verbindingslijn 165">
                      <a:extLst>
                        <a:ext uri="{FF2B5EF4-FFF2-40B4-BE49-F238E27FC236}">
                          <a16:creationId xmlns:a16="http://schemas.microsoft.com/office/drawing/2014/main" id="{FA44C2E0-8775-4851-B46C-1726E5B2CD0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02" name="Groep 158">
                    <a:extLst>
                      <a:ext uri="{FF2B5EF4-FFF2-40B4-BE49-F238E27FC236}">
                        <a16:creationId xmlns:a16="http://schemas.microsoft.com/office/drawing/2014/main" id="{1A993373-9AD6-43C3-BB85-CAED754EA7A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3" name="Rechthoek 159">
                      <a:extLst>
                        <a:ext uri="{FF2B5EF4-FFF2-40B4-BE49-F238E27FC236}">
                          <a16:creationId xmlns:a16="http://schemas.microsoft.com/office/drawing/2014/main" id="{EFBE0133-4B34-4997-9164-0D8957B71FA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4" name="Pijl: punthaak 160">
                      <a:extLst>
                        <a:ext uri="{FF2B5EF4-FFF2-40B4-BE49-F238E27FC236}">
                          <a16:creationId xmlns:a16="http://schemas.microsoft.com/office/drawing/2014/main" id="{F976B86F-DEE4-4D36-ADDA-D303FF19924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81" name="Groep 139">
                <a:extLst>
                  <a:ext uri="{FF2B5EF4-FFF2-40B4-BE49-F238E27FC236}">
                    <a16:creationId xmlns:a16="http://schemas.microsoft.com/office/drawing/2014/main" id="{75CD57CE-4920-4882-B57E-5E118F8DB4B2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84" name="Rechthoek 142">
                  <a:extLst>
                    <a:ext uri="{FF2B5EF4-FFF2-40B4-BE49-F238E27FC236}">
                      <a16:creationId xmlns:a16="http://schemas.microsoft.com/office/drawing/2014/main" id="{159E2C3E-1C31-41D2-BC52-B16CFCD6FED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5" name="Groep 143">
                  <a:extLst>
                    <a:ext uri="{FF2B5EF4-FFF2-40B4-BE49-F238E27FC236}">
                      <a16:creationId xmlns:a16="http://schemas.microsoft.com/office/drawing/2014/main" id="{D70C491B-9249-4A2D-BB5E-6B6DB2BA2AC7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6" name="Groep 144">
                    <a:extLst>
                      <a:ext uri="{FF2B5EF4-FFF2-40B4-BE49-F238E27FC236}">
                        <a16:creationId xmlns:a16="http://schemas.microsoft.com/office/drawing/2014/main" id="{31F41F17-5472-42EB-8EA5-76172877EBE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90" name="Rechte verbindingslijn 150">
                      <a:extLst>
                        <a:ext uri="{FF2B5EF4-FFF2-40B4-BE49-F238E27FC236}">
                          <a16:creationId xmlns:a16="http://schemas.microsoft.com/office/drawing/2014/main" id="{182D5F25-DD9D-40B9-AAF3-B2A207F2490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5" name="Rechte verbindingslijn 151">
                      <a:extLst>
                        <a:ext uri="{FF2B5EF4-FFF2-40B4-BE49-F238E27FC236}">
                          <a16:creationId xmlns:a16="http://schemas.microsoft.com/office/drawing/2014/main" id="{73DC6B8C-9418-4A2D-AEFF-D4D5A088D48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6" name="Rechte verbindingslijn 152">
                      <a:extLst>
                        <a:ext uri="{FF2B5EF4-FFF2-40B4-BE49-F238E27FC236}">
                          <a16:creationId xmlns:a16="http://schemas.microsoft.com/office/drawing/2014/main" id="{2B1677E2-F5CC-4A1B-980A-7D011D3F50B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53">
                      <a:extLst>
                        <a:ext uri="{FF2B5EF4-FFF2-40B4-BE49-F238E27FC236}">
                          <a16:creationId xmlns:a16="http://schemas.microsoft.com/office/drawing/2014/main" id="{58AE262F-9439-4E26-93F8-94FDAF3C6E4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8" name="Rechte verbindingslijn 154">
                      <a:extLst>
                        <a:ext uri="{FF2B5EF4-FFF2-40B4-BE49-F238E27FC236}">
                          <a16:creationId xmlns:a16="http://schemas.microsoft.com/office/drawing/2014/main" id="{04AB2C8B-EC63-4D20-B43D-4B89B4A3453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7" name="Groep 147">
                    <a:extLst>
                      <a:ext uri="{FF2B5EF4-FFF2-40B4-BE49-F238E27FC236}">
                        <a16:creationId xmlns:a16="http://schemas.microsoft.com/office/drawing/2014/main" id="{59FE7491-82A3-44EC-AF88-F1B3B1CAFECC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8" name="Rechthoek 148">
                      <a:extLst>
                        <a:ext uri="{FF2B5EF4-FFF2-40B4-BE49-F238E27FC236}">
                          <a16:creationId xmlns:a16="http://schemas.microsoft.com/office/drawing/2014/main" id="{28EB51A7-6350-46A0-BF67-4D8B05CF85D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9" name="Pijl: punthaak 149">
                      <a:extLst>
                        <a:ext uri="{FF2B5EF4-FFF2-40B4-BE49-F238E27FC236}">
                          <a16:creationId xmlns:a16="http://schemas.microsoft.com/office/drawing/2014/main" id="{7F9952C6-F38C-4F9A-A33C-016F3FD28743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82" name="Rechthoek 140">
                <a:extLst>
                  <a:ext uri="{FF2B5EF4-FFF2-40B4-BE49-F238E27FC236}">
                    <a16:creationId xmlns:a16="http://schemas.microsoft.com/office/drawing/2014/main" id="{C21F0129-707C-4327-AB56-D7F6F14E4F8A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183" name="Rechthoek 141">
                <a:extLst>
                  <a:ext uri="{FF2B5EF4-FFF2-40B4-BE49-F238E27FC236}">
                    <a16:creationId xmlns:a16="http://schemas.microsoft.com/office/drawing/2014/main" id="{D2E5FF6C-90A9-4A07-BCC6-71BA8E8D26C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148" name="Rechte verbindingslijn 106">
              <a:extLst>
                <a:ext uri="{FF2B5EF4-FFF2-40B4-BE49-F238E27FC236}">
                  <a16:creationId xmlns:a16="http://schemas.microsoft.com/office/drawing/2014/main" id="{56F22300-5841-4ABF-806D-0702D027367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9" name="Rechthoek 107">
              <a:extLst>
                <a:ext uri="{FF2B5EF4-FFF2-40B4-BE49-F238E27FC236}">
                  <a16:creationId xmlns:a16="http://schemas.microsoft.com/office/drawing/2014/main" id="{5B354ADB-C797-4674-A998-90F7647C0A94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150" name="Ovaal 108">
              <a:extLst>
                <a:ext uri="{FF2B5EF4-FFF2-40B4-BE49-F238E27FC236}">
                  <a16:creationId xmlns:a16="http://schemas.microsoft.com/office/drawing/2014/main" id="{73FDE349-3061-47AA-A94C-01A160EFB0A9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1" name="Rechthoek 109">
              <a:extLst>
                <a:ext uri="{FF2B5EF4-FFF2-40B4-BE49-F238E27FC236}">
                  <a16:creationId xmlns:a16="http://schemas.microsoft.com/office/drawing/2014/main" id="{811FCDB0-DBB7-4C50-B6E3-260649866912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152" name="Ovaal 110">
              <a:extLst>
                <a:ext uri="{FF2B5EF4-FFF2-40B4-BE49-F238E27FC236}">
                  <a16:creationId xmlns:a16="http://schemas.microsoft.com/office/drawing/2014/main" id="{72B510FD-7BEE-444B-981C-B1963357D222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11">
              <a:extLst>
                <a:ext uri="{FF2B5EF4-FFF2-40B4-BE49-F238E27FC236}">
                  <a16:creationId xmlns:a16="http://schemas.microsoft.com/office/drawing/2014/main" id="{C480475F-8523-40B4-BCD8-1DA2CF65A392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54" name="Ovaal 112">
              <a:extLst>
                <a:ext uri="{FF2B5EF4-FFF2-40B4-BE49-F238E27FC236}">
                  <a16:creationId xmlns:a16="http://schemas.microsoft.com/office/drawing/2014/main" id="{186A1C9F-2458-4645-9C69-54899B38863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55" name="Rechthoek 113">
              <a:extLst>
                <a:ext uri="{FF2B5EF4-FFF2-40B4-BE49-F238E27FC236}">
                  <a16:creationId xmlns:a16="http://schemas.microsoft.com/office/drawing/2014/main" id="{CE4D95FD-5481-4D5C-9A2C-D0F6233EF34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156" name="Ovaal 114">
              <a:extLst>
                <a:ext uri="{FF2B5EF4-FFF2-40B4-BE49-F238E27FC236}">
                  <a16:creationId xmlns:a16="http://schemas.microsoft.com/office/drawing/2014/main" id="{1D4FC37F-0923-4318-B199-CA61F6469B9F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57" name="Rechthoek 115">
              <a:extLst>
                <a:ext uri="{FF2B5EF4-FFF2-40B4-BE49-F238E27FC236}">
                  <a16:creationId xmlns:a16="http://schemas.microsoft.com/office/drawing/2014/main" id="{175215EE-EC19-4229-8E89-2D1D81339CC8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158" name="Rechte verbindingslijn 116">
              <a:extLst>
                <a:ext uri="{FF2B5EF4-FFF2-40B4-BE49-F238E27FC236}">
                  <a16:creationId xmlns:a16="http://schemas.microsoft.com/office/drawing/2014/main" id="{F90625D9-C302-4274-B890-9806D886D9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9" name="Meer informatie">
              <a:extLst>
                <a:ext uri="{FF2B5EF4-FFF2-40B4-BE49-F238E27FC236}">
                  <a16:creationId xmlns:a16="http://schemas.microsoft.com/office/drawing/2014/main" id="{BEFA6189-A44A-4D2B-AD4C-8ED00B890525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169" name="Freeform 101">
                <a:extLst>
                  <a:ext uri="{FF2B5EF4-FFF2-40B4-BE49-F238E27FC236}">
                    <a16:creationId xmlns:a16="http://schemas.microsoft.com/office/drawing/2014/main" id="{BDC98ECD-C1B9-4F03-8B5D-93BA423E99E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170" name="Rechthoek 128">
                <a:extLst>
                  <a:ext uri="{FF2B5EF4-FFF2-40B4-BE49-F238E27FC236}">
                    <a16:creationId xmlns:a16="http://schemas.microsoft.com/office/drawing/2014/main" id="{5899CC6B-9CE8-4E35-982E-2B83CE5CB7B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71" name="Rechte verbindingslijn 129">
                <a:extLst>
                  <a:ext uri="{FF2B5EF4-FFF2-40B4-BE49-F238E27FC236}">
                    <a16:creationId xmlns:a16="http://schemas.microsoft.com/office/drawing/2014/main" id="{C94587DD-4929-430D-B1EE-B1C75908F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0" name="Rechthoek 118">
              <a:extLst>
                <a:ext uri="{FF2B5EF4-FFF2-40B4-BE49-F238E27FC236}">
                  <a16:creationId xmlns:a16="http://schemas.microsoft.com/office/drawing/2014/main" id="{A1017692-AD5D-4A0D-B5BE-BD2B06FDA75B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161" name="Ovaal 119">
              <a:extLst>
                <a:ext uri="{FF2B5EF4-FFF2-40B4-BE49-F238E27FC236}">
                  <a16:creationId xmlns:a16="http://schemas.microsoft.com/office/drawing/2014/main" id="{FB9F9498-6399-46A8-A801-E2ED0F64580C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2" name="Rechthoek 120">
              <a:extLst>
                <a:ext uri="{FF2B5EF4-FFF2-40B4-BE49-F238E27FC236}">
                  <a16:creationId xmlns:a16="http://schemas.microsoft.com/office/drawing/2014/main" id="{14BD74E6-72C0-46B0-9129-DD59FDB72EF9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63" name="Ovaal 121">
              <a:extLst>
                <a:ext uri="{FF2B5EF4-FFF2-40B4-BE49-F238E27FC236}">
                  <a16:creationId xmlns:a16="http://schemas.microsoft.com/office/drawing/2014/main" id="{680686A9-63CD-413D-AFA8-B5ECD88E2371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4" name="Rechthoek 122">
              <a:extLst>
                <a:ext uri="{FF2B5EF4-FFF2-40B4-BE49-F238E27FC236}">
                  <a16:creationId xmlns:a16="http://schemas.microsoft.com/office/drawing/2014/main" id="{DB775F49-602E-4FF4-9FBB-1C97689F3283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165" name="Ovaal 123">
              <a:extLst>
                <a:ext uri="{FF2B5EF4-FFF2-40B4-BE49-F238E27FC236}">
                  <a16:creationId xmlns:a16="http://schemas.microsoft.com/office/drawing/2014/main" id="{6D423C6F-1944-4CE4-866E-F3212E222344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6" name="Rechthoek 124">
              <a:extLst>
                <a:ext uri="{FF2B5EF4-FFF2-40B4-BE49-F238E27FC236}">
                  <a16:creationId xmlns:a16="http://schemas.microsoft.com/office/drawing/2014/main" id="{24504841-3319-4AFB-AB23-DD005B6BA6B6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67" name="Rechthoek 125">
              <a:extLst>
                <a:ext uri="{FF2B5EF4-FFF2-40B4-BE49-F238E27FC236}">
                  <a16:creationId xmlns:a16="http://schemas.microsoft.com/office/drawing/2014/main" id="{6172DF5C-61BF-429B-B8BB-788DBE393306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168" name="Ovaal 126">
              <a:extLst>
                <a:ext uri="{FF2B5EF4-FFF2-40B4-BE49-F238E27FC236}">
                  <a16:creationId xmlns:a16="http://schemas.microsoft.com/office/drawing/2014/main" id="{223D42B2-601C-4C04-A92F-CA571CF47C03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  <p:sp>
        <p:nvSpPr>
          <p:cNvPr id="228" name="Tijdelijke aanduiding voor tekst 3">
            <a:extLst>
              <a:ext uri="{FF2B5EF4-FFF2-40B4-BE49-F238E27FC236}">
                <a16:creationId xmlns:a16="http://schemas.microsoft.com/office/drawing/2014/main" id="{FFC2BDB8-507D-4930-A994-4A50B17D66B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504415" y="1449454"/>
            <a:ext cx="6635238" cy="3534585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51"/>
            </a:lvl1pPr>
          </a:lstStyle>
          <a:p>
            <a:pPr lvl="0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07252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Foto 25%/75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jdelijke aanduiding voor afbeelding 9">
            <a:extLst>
              <a:ext uri="{FF2B5EF4-FFF2-40B4-BE49-F238E27FC236}">
                <a16:creationId xmlns:a16="http://schemas.microsoft.com/office/drawing/2014/main" id="{9A5BC6B5-1D0E-4188-AFCB-6E3ED1DEF1F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7808958" y="7"/>
            <a:ext cx="24956939" cy="30306751"/>
          </a:xfrm>
          <a:solidFill>
            <a:schemeClr val="bg1">
              <a:lumMod val="95000"/>
            </a:schemeClr>
          </a:solidFill>
        </p:spPr>
        <p:txBody>
          <a:bodyPr tIns="1260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66B7AAC1-E359-4778-A0B1-A6417129C9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41" name="Tijdelijke aanduiding voor tekst 14">
            <a:extLst>
              <a:ext uri="{FF2B5EF4-FFF2-40B4-BE49-F238E27FC236}">
                <a16:creationId xmlns:a16="http://schemas.microsoft.com/office/drawing/2014/main" id="{E72B3531-34B4-4628-B8C4-9BDACE48A2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50" name="Tijdelijke aanduiding voor voettekst 4">
            <a:extLst>
              <a:ext uri="{FF2B5EF4-FFF2-40B4-BE49-F238E27FC236}">
                <a16:creationId xmlns:a16="http://schemas.microsoft.com/office/drawing/2014/main" id="{A09270D3-9B17-4316-B7B6-C7B06757C4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51" name="Tijdelijke aanduiding voor dianummer 5">
            <a:extLst>
              <a:ext uri="{FF2B5EF4-FFF2-40B4-BE49-F238E27FC236}">
                <a16:creationId xmlns:a16="http://schemas.microsoft.com/office/drawing/2014/main" id="{29AED214-F757-4754-B7D3-9AC75D03D5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2" y="27329718"/>
            <a:ext cx="857527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19" name="Tijdelijke aanduiding voor datum 3">
            <a:extLst>
              <a:ext uri="{FF2B5EF4-FFF2-40B4-BE49-F238E27FC236}">
                <a16:creationId xmlns:a16="http://schemas.microsoft.com/office/drawing/2014/main" id="{0AEE7348-CAF6-4BB8-9EF6-AA8E5C2958D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4B87A2C-4DDA-4D72-8940-56FC5F8DE267}" type="datetime1">
              <a:rPr lang="nl-NL" noProof="0" smtClean="0"/>
              <a:t>26-6-2023</a:t>
            </a:fld>
            <a:endParaRPr lang="nl-NL" noProof="0"/>
          </a:p>
        </p:txBody>
      </p:sp>
      <p:grpSp>
        <p:nvGrpSpPr>
          <p:cNvPr id="191" name="Groep 258">
            <a:extLst>
              <a:ext uri="{FF2B5EF4-FFF2-40B4-BE49-F238E27FC236}">
                <a16:creationId xmlns:a16="http://schemas.microsoft.com/office/drawing/2014/main" id="{40FB5E3A-1683-4354-B237-BC02ED9919F8}"/>
              </a:ext>
            </a:extLst>
          </p:cNvPr>
          <p:cNvGrpSpPr/>
          <p:nvPr userDrawn="1"/>
        </p:nvGrpSpPr>
        <p:grpSpPr>
          <a:xfrm>
            <a:off x="43467416" y="5"/>
            <a:ext cx="11167745" cy="23084356"/>
            <a:chOff x="12391601" y="0"/>
            <a:chExt cx="3183678" cy="5229113"/>
          </a:xfrm>
        </p:grpSpPr>
        <p:grpSp>
          <p:nvGrpSpPr>
            <p:cNvPr id="192" name="Meer informatie">
              <a:extLst>
                <a:ext uri="{FF2B5EF4-FFF2-40B4-BE49-F238E27FC236}">
                  <a16:creationId xmlns:a16="http://schemas.microsoft.com/office/drawing/2014/main" id="{E2466BC4-A1C5-4257-B659-F376459BEE07}"/>
                </a:ext>
              </a:extLst>
            </p:cNvPr>
            <p:cNvGrpSpPr/>
            <p:nvPr userDrawn="1"/>
          </p:nvGrpSpPr>
          <p:grpSpPr>
            <a:xfrm>
              <a:off x="12396764" y="4445840"/>
              <a:ext cx="3178515" cy="783273"/>
              <a:chOff x="-3741486" y="3386444"/>
              <a:chExt cx="3178515" cy="783273"/>
            </a:xfrm>
          </p:grpSpPr>
          <p:sp>
            <p:nvSpPr>
              <p:cNvPr id="369" name="Freeform 101">
                <a:extLst>
                  <a:ext uri="{FF2B5EF4-FFF2-40B4-BE49-F238E27FC236}">
                    <a16:creationId xmlns:a16="http://schemas.microsoft.com/office/drawing/2014/main" id="{54E5E35F-A86F-440C-9DA8-EDD14FDF86F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370" name="Rechthoek 306">
                <a:extLst>
                  <a:ext uri="{FF2B5EF4-FFF2-40B4-BE49-F238E27FC236}">
                    <a16:creationId xmlns:a16="http://schemas.microsoft.com/office/drawing/2014/main" id="{E3567B7D-D6CE-4F6F-B28E-491B22F93CDD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71" name="Rechte verbindingslijn 307">
                <a:extLst>
                  <a:ext uri="{FF2B5EF4-FFF2-40B4-BE49-F238E27FC236}">
                    <a16:creationId xmlns:a16="http://schemas.microsoft.com/office/drawing/2014/main" id="{FB6105DD-C255-4BC8-95EF-A32284FD39C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93" name="Rechthoek 260">
              <a:extLst>
                <a:ext uri="{FF2B5EF4-FFF2-40B4-BE49-F238E27FC236}">
                  <a16:creationId xmlns:a16="http://schemas.microsoft.com/office/drawing/2014/main" id="{B4D1CE57-C41E-4F0F-AAFF-05BE38B4AEA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194" name="Ovaal 261">
              <a:extLst>
                <a:ext uri="{FF2B5EF4-FFF2-40B4-BE49-F238E27FC236}">
                  <a16:creationId xmlns:a16="http://schemas.microsoft.com/office/drawing/2014/main" id="{9A448CEC-8570-4E0B-900C-F1AFE2788B8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76" name="Rechte verbindingslijn 262">
              <a:extLst>
                <a:ext uri="{FF2B5EF4-FFF2-40B4-BE49-F238E27FC236}">
                  <a16:creationId xmlns:a16="http://schemas.microsoft.com/office/drawing/2014/main" id="{FAFB83D2-2840-4B20-9D47-C8EE2F4978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77" name="Rechte verbindingslijn 263">
              <a:extLst>
                <a:ext uri="{FF2B5EF4-FFF2-40B4-BE49-F238E27FC236}">
                  <a16:creationId xmlns:a16="http://schemas.microsoft.com/office/drawing/2014/main" id="{C63336C0-4614-4139-9F4B-DEAA3B7FFB7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78" name="Rechthoek 264">
              <a:extLst>
                <a:ext uri="{FF2B5EF4-FFF2-40B4-BE49-F238E27FC236}">
                  <a16:creationId xmlns:a16="http://schemas.microsoft.com/office/drawing/2014/main" id="{3A6B0D9B-3BD8-4EB5-98D2-D8D7BBC9C752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oor deze te selecteren en op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om een nieuwe afbeelding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279" name="Rechte verbindingslijn 265">
              <a:extLst>
                <a:ext uri="{FF2B5EF4-FFF2-40B4-BE49-F238E27FC236}">
                  <a16:creationId xmlns:a16="http://schemas.microsoft.com/office/drawing/2014/main" id="{31A6A145-5BF5-4790-9C90-57EC1AD961A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4327957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80" name="Ovaal 266">
              <a:extLst>
                <a:ext uri="{FF2B5EF4-FFF2-40B4-BE49-F238E27FC236}">
                  <a16:creationId xmlns:a16="http://schemas.microsoft.com/office/drawing/2014/main" id="{2999D9ED-9CBF-4414-B005-7521B3BAE7B8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81" name="Rechthoek 267">
              <a:extLst>
                <a:ext uri="{FF2B5EF4-FFF2-40B4-BE49-F238E27FC236}">
                  <a16:creationId xmlns:a16="http://schemas.microsoft.com/office/drawing/2014/main" id="{AFBCFE4F-8468-4E34-9BD3-4F78F21B1B1A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82" name="Groep 268">
              <a:extLst>
                <a:ext uri="{FF2B5EF4-FFF2-40B4-BE49-F238E27FC236}">
                  <a16:creationId xmlns:a16="http://schemas.microsoft.com/office/drawing/2014/main" id="{8EA65BB4-18FF-4CD3-A111-48F58DAB3067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6" name="Rechthoek 302">
                <a:extLst>
                  <a:ext uri="{FF2B5EF4-FFF2-40B4-BE49-F238E27FC236}">
                    <a16:creationId xmlns:a16="http://schemas.microsoft.com/office/drawing/2014/main" id="{DE42ED16-EA6E-491F-9FDF-C217DB0F87B3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367" name="Rechte verbindingslijn 303">
                <a:extLst>
                  <a:ext uri="{FF2B5EF4-FFF2-40B4-BE49-F238E27FC236}">
                    <a16:creationId xmlns:a16="http://schemas.microsoft.com/office/drawing/2014/main" id="{9B528681-8CB4-4038-851F-93689F45977F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8" name="Gelijkbenige driehoek 304">
                <a:extLst>
                  <a:ext uri="{FF2B5EF4-FFF2-40B4-BE49-F238E27FC236}">
                    <a16:creationId xmlns:a16="http://schemas.microsoft.com/office/drawing/2014/main" id="{ACB706CD-267C-4F02-9B2E-D398C339CFA7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283" name="Groep 269">
              <a:extLst>
                <a:ext uri="{FF2B5EF4-FFF2-40B4-BE49-F238E27FC236}">
                  <a16:creationId xmlns:a16="http://schemas.microsoft.com/office/drawing/2014/main" id="{20C36CE3-02FB-485A-ADF5-3228EC9E1CF3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360" name="Rechthoek 296">
                <a:extLst>
                  <a:ext uri="{FF2B5EF4-FFF2-40B4-BE49-F238E27FC236}">
                    <a16:creationId xmlns:a16="http://schemas.microsoft.com/office/drawing/2014/main" id="{2576F5FE-D63E-4391-9E4A-21C1700EEAE4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1" name="Ovaal 297">
                <a:extLst>
                  <a:ext uri="{FF2B5EF4-FFF2-40B4-BE49-F238E27FC236}">
                    <a16:creationId xmlns:a16="http://schemas.microsoft.com/office/drawing/2014/main" id="{1F7C324A-DD50-4C1D-8A67-2090A494114D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2" name="Vrije vorm: vorm 298">
                <a:extLst>
                  <a:ext uri="{FF2B5EF4-FFF2-40B4-BE49-F238E27FC236}">
                    <a16:creationId xmlns:a16="http://schemas.microsoft.com/office/drawing/2014/main" id="{A7F13442-6C8F-4B85-A9EC-920F0334071C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Rechthoek: afgeronde hoeken 299">
                <a:extLst>
                  <a:ext uri="{FF2B5EF4-FFF2-40B4-BE49-F238E27FC236}">
                    <a16:creationId xmlns:a16="http://schemas.microsoft.com/office/drawing/2014/main" id="{ACE54911-B6E3-405E-B570-C1081CEC07A2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4" name="Rechte verbindingslijn 300">
                <a:extLst>
                  <a:ext uri="{FF2B5EF4-FFF2-40B4-BE49-F238E27FC236}">
                    <a16:creationId xmlns:a16="http://schemas.microsoft.com/office/drawing/2014/main" id="{7855BE15-885A-4F48-ACE5-4F0B0B885E7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5" name="Rechte verbindingslijn 301">
                <a:extLst>
                  <a:ext uri="{FF2B5EF4-FFF2-40B4-BE49-F238E27FC236}">
                    <a16:creationId xmlns:a16="http://schemas.microsoft.com/office/drawing/2014/main" id="{B9AE14E8-A1B4-47B1-A306-1E240713AFCA}"/>
                  </a:ext>
                </a:extLst>
              </p:cNvPr>
              <p:cNvCxnSpPr>
                <a:cxnSpLocks/>
                <a:stCxn id="363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284" name="Ovaal 270">
              <a:extLst>
                <a:ext uri="{FF2B5EF4-FFF2-40B4-BE49-F238E27FC236}">
                  <a16:creationId xmlns:a16="http://schemas.microsoft.com/office/drawing/2014/main" id="{29DF477B-AE11-418A-B31D-CD638DF3A1F9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85" name="Rechthoek 271">
              <a:extLst>
                <a:ext uri="{FF2B5EF4-FFF2-40B4-BE49-F238E27FC236}">
                  <a16:creationId xmlns:a16="http://schemas.microsoft.com/office/drawing/2014/main" id="{5564A70B-0928-4F44-A943-9F4780918B27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43320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aan de linker kant van het scherm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286" name="Rechte verbindingslijn 272">
              <a:extLst>
                <a:ext uri="{FF2B5EF4-FFF2-40B4-BE49-F238E27FC236}">
                  <a16:creationId xmlns:a16="http://schemas.microsoft.com/office/drawing/2014/main" id="{F3C3B2AF-1084-49A9-B902-4BFB5B0F679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87" name="Rechthoek 273">
              <a:extLst>
                <a:ext uri="{FF2B5EF4-FFF2-40B4-BE49-F238E27FC236}">
                  <a16:creationId xmlns:a16="http://schemas.microsoft.com/office/drawing/2014/main" id="{A135759B-43B6-43BC-8360-44D2CBAFC9F9}"/>
                </a:ext>
              </a:extLst>
            </p:cNvPr>
            <p:cNvSpPr/>
            <p:nvPr userDrawn="1"/>
          </p:nvSpPr>
          <p:spPr>
            <a:xfrm>
              <a:off x="12654153" y="3238910"/>
              <a:ext cx="1624926" cy="805220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3509" b="0" i="1" noProof="0">
                <a:solidFill>
                  <a:schemeClr val="tx1"/>
                </a:solidFill>
              </a:endParaRPr>
            </a:p>
          </p:txBody>
        </p:sp>
        <p:grpSp>
          <p:nvGrpSpPr>
            <p:cNvPr id="288" name="Groep 274">
              <a:extLst>
                <a:ext uri="{FF2B5EF4-FFF2-40B4-BE49-F238E27FC236}">
                  <a16:creationId xmlns:a16="http://schemas.microsoft.com/office/drawing/2014/main" id="{3D16E314-A00E-4902-9555-C8AF63100C3E}"/>
                </a:ext>
              </a:extLst>
            </p:cNvPr>
            <p:cNvGrpSpPr/>
            <p:nvPr userDrawn="1"/>
          </p:nvGrpSpPr>
          <p:grpSpPr>
            <a:xfrm>
              <a:off x="13614067" y="3535184"/>
              <a:ext cx="1195438" cy="678267"/>
              <a:chOff x="12757284" y="3224292"/>
              <a:chExt cx="1195438" cy="678267"/>
            </a:xfrm>
          </p:grpSpPr>
          <p:sp>
            <p:nvSpPr>
              <p:cNvPr id="289" name="Rechthoek 275">
                <a:extLst>
                  <a:ext uri="{FF2B5EF4-FFF2-40B4-BE49-F238E27FC236}">
                    <a16:creationId xmlns:a16="http://schemas.microsoft.com/office/drawing/2014/main" id="{7132EF36-4882-44B9-9492-FE1C5C88FE21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90" name="Rechthoek 276">
                <a:extLst>
                  <a:ext uri="{FF2B5EF4-FFF2-40B4-BE49-F238E27FC236}">
                    <a16:creationId xmlns:a16="http://schemas.microsoft.com/office/drawing/2014/main" id="{AE67D01D-4F1E-41BC-B54C-50AF2DFA0C32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91" name="Groep 277">
                <a:extLst>
                  <a:ext uri="{FF2B5EF4-FFF2-40B4-BE49-F238E27FC236}">
                    <a16:creationId xmlns:a16="http://schemas.microsoft.com/office/drawing/2014/main" id="{8BCE8B5F-03E8-4C3B-801C-04D5EDECA88F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304" name="Rechthoek: afgeronde hoeken 290">
                  <a:extLst>
                    <a:ext uri="{FF2B5EF4-FFF2-40B4-BE49-F238E27FC236}">
                      <a16:creationId xmlns:a16="http://schemas.microsoft.com/office/drawing/2014/main" id="{C16D2BB7-8C75-4924-A3C0-D604FD06B974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endPara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05" name="Rechthoek 291">
                  <a:extLst>
                    <a:ext uri="{FF2B5EF4-FFF2-40B4-BE49-F238E27FC236}">
                      <a16:creationId xmlns:a16="http://schemas.microsoft.com/office/drawing/2014/main" id="{6A36F7C3-70DB-44AE-A6B4-D3AE4EF131A7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6" name="Rechthoek 292">
                  <a:extLst>
                    <a:ext uri="{FF2B5EF4-FFF2-40B4-BE49-F238E27FC236}">
                      <a16:creationId xmlns:a16="http://schemas.microsoft.com/office/drawing/2014/main" id="{9AF79D50-D1BB-48B3-BC16-315BEA94593A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7" name="Rechthoek 293">
                  <a:extLst>
                    <a:ext uri="{FF2B5EF4-FFF2-40B4-BE49-F238E27FC236}">
                      <a16:creationId xmlns:a16="http://schemas.microsoft.com/office/drawing/2014/main" id="{12DDC76F-82D2-4316-B65F-5AF2B7A42A7F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8" name="Rechthoek 294">
                  <a:extLst>
                    <a:ext uri="{FF2B5EF4-FFF2-40B4-BE49-F238E27FC236}">
                      <a16:creationId xmlns:a16="http://schemas.microsoft.com/office/drawing/2014/main" id="{87BBB889-B708-4370-9D5D-9E4E57CDBAFA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9" name="Rechthoek 295">
                  <a:extLst>
                    <a:ext uri="{FF2B5EF4-FFF2-40B4-BE49-F238E27FC236}">
                      <a16:creationId xmlns:a16="http://schemas.microsoft.com/office/drawing/2014/main" id="{216802CF-5D04-4CC7-9A63-18A991BF5671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292" name="Groep 278">
                <a:extLst>
                  <a:ext uri="{FF2B5EF4-FFF2-40B4-BE49-F238E27FC236}">
                    <a16:creationId xmlns:a16="http://schemas.microsoft.com/office/drawing/2014/main" id="{E9270009-F7F9-45F2-BF21-39F16478D316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296" name="Groep 282">
                  <a:extLst>
                    <a:ext uri="{FF2B5EF4-FFF2-40B4-BE49-F238E27FC236}">
                      <a16:creationId xmlns:a16="http://schemas.microsoft.com/office/drawing/2014/main" id="{CC3384F8-0722-4C52-9C2D-BDA8DDFF7446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298" name="Rechthoek: afgeronde hoeken 284">
                    <a:extLst>
                      <a:ext uri="{FF2B5EF4-FFF2-40B4-BE49-F238E27FC236}">
                        <a16:creationId xmlns:a16="http://schemas.microsoft.com/office/drawing/2014/main" id="{AAA5A4F3-4D5A-4B6A-9384-59DB060FDE4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2105"/>
                      </a:spcBef>
                      <a:spcAft>
                        <a:spcPts val="2105"/>
                      </a:spcAft>
                    </a:pPr>
                    <a:endParaRPr lang="nl-NL" sz="280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99" name="Rechthoek 285">
                    <a:extLst>
                      <a:ext uri="{FF2B5EF4-FFF2-40B4-BE49-F238E27FC236}">
                        <a16:creationId xmlns:a16="http://schemas.microsoft.com/office/drawing/2014/main" id="{86578FCF-5D4A-45DC-BEF5-B6D25F896C2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0" name="Rechthoek 286">
                    <a:extLst>
                      <a:ext uri="{FF2B5EF4-FFF2-40B4-BE49-F238E27FC236}">
                        <a16:creationId xmlns:a16="http://schemas.microsoft.com/office/drawing/2014/main" id="{B24F7570-02BD-4480-95CE-076A7670D89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1" name="Rechthoek 287">
                    <a:extLst>
                      <a:ext uri="{FF2B5EF4-FFF2-40B4-BE49-F238E27FC236}">
                        <a16:creationId xmlns:a16="http://schemas.microsoft.com/office/drawing/2014/main" id="{0E99CD79-BEDE-4750-8F1C-70397E347C4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2" name="Rechthoek 288">
                    <a:extLst>
                      <a:ext uri="{FF2B5EF4-FFF2-40B4-BE49-F238E27FC236}">
                        <a16:creationId xmlns:a16="http://schemas.microsoft.com/office/drawing/2014/main" id="{EE0F2034-5A05-430E-A0EF-6A5D831D83F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3" name="Rechthoek 289">
                    <a:extLst>
                      <a:ext uri="{FF2B5EF4-FFF2-40B4-BE49-F238E27FC236}">
                        <a16:creationId xmlns:a16="http://schemas.microsoft.com/office/drawing/2014/main" id="{ACBAF9FB-59A9-4392-9B47-C5F16933CD5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297" name="Boog 283">
                  <a:extLst>
                    <a:ext uri="{FF2B5EF4-FFF2-40B4-BE49-F238E27FC236}">
                      <a16:creationId xmlns:a16="http://schemas.microsoft.com/office/drawing/2014/main" id="{BBEA7134-418E-45DF-A89A-8F37ABB7C51F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</p:grpSp>
          <p:sp>
            <p:nvSpPr>
              <p:cNvPr id="293" name="Tekstvak 279">
                <a:extLst>
                  <a:ext uri="{FF2B5EF4-FFF2-40B4-BE49-F238E27FC236}">
                    <a16:creationId xmlns:a16="http://schemas.microsoft.com/office/drawing/2014/main" id="{A5164764-6B7C-45B2-9CB7-C9A52F800030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294" name="Tekstvak 280">
                <a:extLst>
                  <a:ext uri="{FF2B5EF4-FFF2-40B4-BE49-F238E27FC236}">
                    <a16:creationId xmlns:a16="http://schemas.microsoft.com/office/drawing/2014/main" id="{5A8F24C6-78EC-425F-842A-63CA3C6D913E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295" name="Picture 3">
                <a:extLst>
                  <a:ext uri="{FF2B5EF4-FFF2-40B4-BE49-F238E27FC236}">
                    <a16:creationId xmlns:a16="http://schemas.microsoft.com/office/drawing/2014/main" id="{E2EF7E99-417D-4201-97E3-622D245B16FA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810206" y="3671228"/>
                <a:ext cx="14251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sp>
        <p:nvSpPr>
          <p:cNvPr id="142" name="Tijdelijke aanduiding voor tekst 4">
            <a:extLst>
              <a:ext uri="{FF2B5EF4-FFF2-40B4-BE49-F238E27FC236}">
                <a16:creationId xmlns:a16="http://schemas.microsoft.com/office/drawing/2014/main" id="{E67291DA-A1B8-4533-97BA-4D19DA14FDC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742374" y="6476685"/>
            <a:ext cx="13885872" cy="1907433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bullet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bullet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grpSp>
        <p:nvGrpSpPr>
          <p:cNvPr id="143" name="Groep 101">
            <a:extLst>
              <a:ext uri="{FF2B5EF4-FFF2-40B4-BE49-F238E27FC236}">
                <a16:creationId xmlns:a16="http://schemas.microsoft.com/office/drawing/2014/main" id="{48D3E1B0-5A07-40B6-BEDF-4151EF7CABAF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144" name="Rechthoek 102">
              <a:extLst>
                <a:ext uri="{FF2B5EF4-FFF2-40B4-BE49-F238E27FC236}">
                  <a16:creationId xmlns:a16="http://schemas.microsoft.com/office/drawing/2014/main" id="{8AFC135A-0D63-4ADB-9385-6F305B2A3536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145" name="Ovaal 103">
              <a:extLst>
                <a:ext uri="{FF2B5EF4-FFF2-40B4-BE49-F238E27FC236}">
                  <a16:creationId xmlns:a16="http://schemas.microsoft.com/office/drawing/2014/main" id="{656F466B-23E7-439A-B094-38733A582A70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6" name="Rechte verbindingslijn 104">
              <a:extLst>
                <a:ext uri="{FF2B5EF4-FFF2-40B4-BE49-F238E27FC236}">
                  <a16:creationId xmlns:a16="http://schemas.microsoft.com/office/drawing/2014/main" id="{CE3B3CE1-72F4-4CA8-AD7E-B414C7F6DF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47" name="Groep 105">
              <a:extLst>
                <a:ext uri="{FF2B5EF4-FFF2-40B4-BE49-F238E27FC236}">
                  <a16:creationId xmlns:a16="http://schemas.microsoft.com/office/drawing/2014/main" id="{4A650C74-6D85-41CC-8425-332C9AB586BC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72" name="Rechthoek 130">
                <a:extLst>
                  <a:ext uri="{FF2B5EF4-FFF2-40B4-BE49-F238E27FC236}">
                    <a16:creationId xmlns:a16="http://schemas.microsoft.com/office/drawing/2014/main" id="{25CF96BC-EEA5-4C75-BE31-458CCC2B4B0C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173" name="Rechte verbindingslijn 131">
                <a:extLst>
                  <a:ext uri="{FF2B5EF4-FFF2-40B4-BE49-F238E27FC236}">
                    <a16:creationId xmlns:a16="http://schemas.microsoft.com/office/drawing/2014/main" id="{DD201BEF-6AD9-4546-BC70-E568D6F982E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Rechte verbindingslijn 132">
                <a:extLst>
                  <a:ext uri="{FF2B5EF4-FFF2-40B4-BE49-F238E27FC236}">
                    <a16:creationId xmlns:a16="http://schemas.microsoft.com/office/drawing/2014/main" id="{00C831D7-3211-4C2E-9A03-1B0D25DC04A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5" name="Rechthoek 133">
                <a:extLst>
                  <a:ext uri="{FF2B5EF4-FFF2-40B4-BE49-F238E27FC236}">
                    <a16:creationId xmlns:a16="http://schemas.microsoft.com/office/drawing/2014/main" id="{80270A7F-603A-4304-AF42-1E0000F4D660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6" name="Groep 134">
                <a:extLst>
                  <a:ext uri="{FF2B5EF4-FFF2-40B4-BE49-F238E27FC236}">
                    <a16:creationId xmlns:a16="http://schemas.microsoft.com/office/drawing/2014/main" id="{D0BFF8E0-6986-497E-975D-6BA26D0E3853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19" name="Groep 175">
                  <a:extLst>
                    <a:ext uri="{FF2B5EF4-FFF2-40B4-BE49-F238E27FC236}">
                      <a16:creationId xmlns:a16="http://schemas.microsoft.com/office/drawing/2014/main" id="{AC0A8EB5-B95C-48F7-BFE8-CD7EFF5A99C3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23" name="Rechte verbindingslijn 179">
                    <a:extLst>
                      <a:ext uri="{FF2B5EF4-FFF2-40B4-BE49-F238E27FC236}">
                        <a16:creationId xmlns:a16="http://schemas.microsoft.com/office/drawing/2014/main" id="{BE0E2265-DD56-4CDB-902D-B44F148483E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180">
                    <a:extLst>
                      <a:ext uri="{FF2B5EF4-FFF2-40B4-BE49-F238E27FC236}">
                        <a16:creationId xmlns:a16="http://schemas.microsoft.com/office/drawing/2014/main" id="{B519EBF8-B28E-44C8-958B-DD1AFDA5926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181">
                    <a:extLst>
                      <a:ext uri="{FF2B5EF4-FFF2-40B4-BE49-F238E27FC236}">
                        <a16:creationId xmlns:a16="http://schemas.microsoft.com/office/drawing/2014/main" id="{C6664D87-D737-4450-B8BA-435D4D451C2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182">
                    <a:extLst>
                      <a:ext uri="{FF2B5EF4-FFF2-40B4-BE49-F238E27FC236}">
                        <a16:creationId xmlns:a16="http://schemas.microsoft.com/office/drawing/2014/main" id="{ACC81043-1808-4AB9-B8EE-377BAC340E9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7" name="Rechte verbindingslijn 183">
                    <a:extLst>
                      <a:ext uri="{FF2B5EF4-FFF2-40B4-BE49-F238E27FC236}">
                        <a16:creationId xmlns:a16="http://schemas.microsoft.com/office/drawing/2014/main" id="{CEEEE8F4-2B4C-48C0-ADF6-7CD0D8486AF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0" name="Groep 176">
                  <a:extLst>
                    <a:ext uri="{FF2B5EF4-FFF2-40B4-BE49-F238E27FC236}">
                      <a16:creationId xmlns:a16="http://schemas.microsoft.com/office/drawing/2014/main" id="{14D27936-067A-467E-AC9C-C1C2CEBDC1A8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1" name="Rechthoek 177">
                    <a:extLst>
                      <a:ext uri="{FF2B5EF4-FFF2-40B4-BE49-F238E27FC236}">
                        <a16:creationId xmlns:a16="http://schemas.microsoft.com/office/drawing/2014/main" id="{674FBCE4-880A-4A18-B25F-B8543F10040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2" name="Pijl: punthaak 178">
                    <a:extLst>
                      <a:ext uri="{FF2B5EF4-FFF2-40B4-BE49-F238E27FC236}">
                        <a16:creationId xmlns:a16="http://schemas.microsoft.com/office/drawing/2014/main" id="{D40BF820-7BF3-45E4-96A7-7785540A6A1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7" name="Groep 135">
                <a:extLst>
                  <a:ext uri="{FF2B5EF4-FFF2-40B4-BE49-F238E27FC236}">
                    <a16:creationId xmlns:a16="http://schemas.microsoft.com/office/drawing/2014/main" id="{18254846-9173-4A25-9B70-D83845297975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0" name="Groep 166">
                  <a:extLst>
                    <a:ext uri="{FF2B5EF4-FFF2-40B4-BE49-F238E27FC236}">
                      <a16:creationId xmlns:a16="http://schemas.microsoft.com/office/drawing/2014/main" id="{738577DD-61F7-497B-8B16-099A5357A8CF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14" name="Rechte verbindingslijn 170">
                    <a:extLst>
                      <a:ext uri="{FF2B5EF4-FFF2-40B4-BE49-F238E27FC236}">
                        <a16:creationId xmlns:a16="http://schemas.microsoft.com/office/drawing/2014/main" id="{49BB2BA4-69B9-404C-AF47-7981EEAADE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5" name="Rechte verbindingslijn 171">
                    <a:extLst>
                      <a:ext uri="{FF2B5EF4-FFF2-40B4-BE49-F238E27FC236}">
                        <a16:creationId xmlns:a16="http://schemas.microsoft.com/office/drawing/2014/main" id="{A8D36574-0E46-4E88-93EC-777EA6921F1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6" name="Rechte verbindingslijn 172">
                    <a:extLst>
                      <a:ext uri="{FF2B5EF4-FFF2-40B4-BE49-F238E27FC236}">
                        <a16:creationId xmlns:a16="http://schemas.microsoft.com/office/drawing/2014/main" id="{8BCCC43B-B871-4007-A379-18FE9889B65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7" name="Rechte verbindingslijn 173">
                    <a:extLst>
                      <a:ext uri="{FF2B5EF4-FFF2-40B4-BE49-F238E27FC236}">
                        <a16:creationId xmlns:a16="http://schemas.microsoft.com/office/drawing/2014/main" id="{872051DC-97C2-42AD-9B94-9E08D65D95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8" name="Rechte verbindingslijn 174">
                    <a:extLst>
                      <a:ext uri="{FF2B5EF4-FFF2-40B4-BE49-F238E27FC236}">
                        <a16:creationId xmlns:a16="http://schemas.microsoft.com/office/drawing/2014/main" id="{C5CFCAD1-86DC-4B90-B571-873C031ADEE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1" name="Groep 167">
                  <a:extLst>
                    <a:ext uri="{FF2B5EF4-FFF2-40B4-BE49-F238E27FC236}">
                      <a16:creationId xmlns:a16="http://schemas.microsoft.com/office/drawing/2014/main" id="{65462723-0FDC-408D-8030-077C2040BC7E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12" name="Rechthoek 168">
                    <a:extLst>
                      <a:ext uri="{FF2B5EF4-FFF2-40B4-BE49-F238E27FC236}">
                        <a16:creationId xmlns:a16="http://schemas.microsoft.com/office/drawing/2014/main" id="{E8DD260F-882D-49E5-A66B-D3A6B779DEC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3" name="Pijl: punthaak 169">
                    <a:extLst>
                      <a:ext uri="{FF2B5EF4-FFF2-40B4-BE49-F238E27FC236}">
                        <a16:creationId xmlns:a16="http://schemas.microsoft.com/office/drawing/2014/main" id="{3694A5C3-9269-40A4-B628-7DA43EEF9BE4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8" name="Rechte verbindingslijn 136">
                <a:extLst>
                  <a:ext uri="{FF2B5EF4-FFF2-40B4-BE49-F238E27FC236}">
                    <a16:creationId xmlns:a16="http://schemas.microsoft.com/office/drawing/2014/main" id="{2A08F50C-0D68-4665-9F79-5CF6658431E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9" name="Rechte verbindingslijn 137">
                <a:extLst>
                  <a:ext uri="{FF2B5EF4-FFF2-40B4-BE49-F238E27FC236}">
                    <a16:creationId xmlns:a16="http://schemas.microsoft.com/office/drawing/2014/main" id="{8BEBFB40-FBF9-46BB-8C67-29E391323BD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80" name="Groep 138">
                <a:extLst>
                  <a:ext uri="{FF2B5EF4-FFF2-40B4-BE49-F238E27FC236}">
                    <a16:creationId xmlns:a16="http://schemas.microsoft.com/office/drawing/2014/main" id="{92A74A92-A270-48D1-B32D-F7AE95355AC8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9" name="Rechthoek 155">
                  <a:extLst>
                    <a:ext uri="{FF2B5EF4-FFF2-40B4-BE49-F238E27FC236}">
                      <a16:creationId xmlns:a16="http://schemas.microsoft.com/office/drawing/2014/main" id="{B95B09FC-C5E4-4CF7-A72B-5D8C2909DBE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0" name="Groep 156">
                  <a:extLst>
                    <a:ext uri="{FF2B5EF4-FFF2-40B4-BE49-F238E27FC236}">
                      <a16:creationId xmlns:a16="http://schemas.microsoft.com/office/drawing/2014/main" id="{27C7D59B-98AD-49F3-8190-78573887F134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1" name="Groep 157">
                    <a:extLst>
                      <a:ext uri="{FF2B5EF4-FFF2-40B4-BE49-F238E27FC236}">
                        <a16:creationId xmlns:a16="http://schemas.microsoft.com/office/drawing/2014/main" id="{19E2C2D9-7066-4DF3-A0B9-32A02D54F10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05" name="Rechte verbindingslijn 161">
                      <a:extLst>
                        <a:ext uri="{FF2B5EF4-FFF2-40B4-BE49-F238E27FC236}">
                          <a16:creationId xmlns:a16="http://schemas.microsoft.com/office/drawing/2014/main" id="{D6C6488F-1FDA-407E-BC8D-5B2333A5FE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162">
                      <a:extLst>
                        <a:ext uri="{FF2B5EF4-FFF2-40B4-BE49-F238E27FC236}">
                          <a16:creationId xmlns:a16="http://schemas.microsoft.com/office/drawing/2014/main" id="{379DFEF3-7D60-4502-A46F-C5478453DF8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7" name="Rechte verbindingslijn 163">
                      <a:extLst>
                        <a:ext uri="{FF2B5EF4-FFF2-40B4-BE49-F238E27FC236}">
                          <a16:creationId xmlns:a16="http://schemas.microsoft.com/office/drawing/2014/main" id="{D7BE6CD4-D6AB-4B79-ACC6-0286542B5B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8" name="Rechte verbindingslijn 164">
                      <a:extLst>
                        <a:ext uri="{FF2B5EF4-FFF2-40B4-BE49-F238E27FC236}">
                          <a16:creationId xmlns:a16="http://schemas.microsoft.com/office/drawing/2014/main" id="{5807F63D-3E33-4902-BFC7-EBB1A0C837A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9" name="Rechte verbindingslijn 165">
                      <a:extLst>
                        <a:ext uri="{FF2B5EF4-FFF2-40B4-BE49-F238E27FC236}">
                          <a16:creationId xmlns:a16="http://schemas.microsoft.com/office/drawing/2014/main" id="{45A0EF4F-42F2-4DBD-84D4-1DC03C91BEA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02" name="Groep 158">
                    <a:extLst>
                      <a:ext uri="{FF2B5EF4-FFF2-40B4-BE49-F238E27FC236}">
                        <a16:creationId xmlns:a16="http://schemas.microsoft.com/office/drawing/2014/main" id="{6649D5CD-CA63-40AD-AB97-C36D93354A9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3" name="Rechthoek 159">
                      <a:extLst>
                        <a:ext uri="{FF2B5EF4-FFF2-40B4-BE49-F238E27FC236}">
                          <a16:creationId xmlns:a16="http://schemas.microsoft.com/office/drawing/2014/main" id="{55ADC91B-3A08-4109-8989-AACEE9CDD8B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4" name="Pijl: punthaak 160">
                      <a:extLst>
                        <a:ext uri="{FF2B5EF4-FFF2-40B4-BE49-F238E27FC236}">
                          <a16:creationId xmlns:a16="http://schemas.microsoft.com/office/drawing/2014/main" id="{F7B1E57F-10E8-4CC6-B214-337108E87700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81" name="Groep 139">
                <a:extLst>
                  <a:ext uri="{FF2B5EF4-FFF2-40B4-BE49-F238E27FC236}">
                    <a16:creationId xmlns:a16="http://schemas.microsoft.com/office/drawing/2014/main" id="{11ACD5CE-BA59-47A1-979F-31C45DCD8F17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84" name="Rechthoek 142">
                  <a:extLst>
                    <a:ext uri="{FF2B5EF4-FFF2-40B4-BE49-F238E27FC236}">
                      <a16:creationId xmlns:a16="http://schemas.microsoft.com/office/drawing/2014/main" id="{BADC8FC8-135E-480A-A134-351D8B60210F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5" name="Groep 143">
                  <a:extLst>
                    <a:ext uri="{FF2B5EF4-FFF2-40B4-BE49-F238E27FC236}">
                      <a16:creationId xmlns:a16="http://schemas.microsoft.com/office/drawing/2014/main" id="{7EBCFB61-8DC9-44EB-B067-1D136F478C5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6" name="Groep 144">
                    <a:extLst>
                      <a:ext uri="{FF2B5EF4-FFF2-40B4-BE49-F238E27FC236}">
                        <a16:creationId xmlns:a16="http://schemas.microsoft.com/office/drawing/2014/main" id="{E5DBDAD9-64F3-4F9B-8960-F7B6C79EF69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90" name="Rechte verbindingslijn 150">
                      <a:extLst>
                        <a:ext uri="{FF2B5EF4-FFF2-40B4-BE49-F238E27FC236}">
                          <a16:creationId xmlns:a16="http://schemas.microsoft.com/office/drawing/2014/main" id="{045B5589-EFE0-4CEA-93B7-DE024F4FE80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5" name="Rechte verbindingslijn 151">
                      <a:extLst>
                        <a:ext uri="{FF2B5EF4-FFF2-40B4-BE49-F238E27FC236}">
                          <a16:creationId xmlns:a16="http://schemas.microsoft.com/office/drawing/2014/main" id="{B1F57D13-6943-4EB2-9F0C-ECAEED859A3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6" name="Rechte verbindingslijn 152">
                      <a:extLst>
                        <a:ext uri="{FF2B5EF4-FFF2-40B4-BE49-F238E27FC236}">
                          <a16:creationId xmlns:a16="http://schemas.microsoft.com/office/drawing/2014/main" id="{9663AB4D-7856-4F43-9D73-1AA2211BBC0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53">
                      <a:extLst>
                        <a:ext uri="{FF2B5EF4-FFF2-40B4-BE49-F238E27FC236}">
                          <a16:creationId xmlns:a16="http://schemas.microsoft.com/office/drawing/2014/main" id="{02A25210-BB3D-4CA0-9FE6-E512FB0ED9A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8" name="Rechte verbindingslijn 154">
                      <a:extLst>
                        <a:ext uri="{FF2B5EF4-FFF2-40B4-BE49-F238E27FC236}">
                          <a16:creationId xmlns:a16="http://schemas.microsoft.com/office/drawing/2014/main" id="{723D88F6-01BF-4A02-B2E7-90D41540033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7" name="Groep 147">
                    <a:extLst>
                      <a:ext uri="{FF2B5EF4-FFF2-40B4-BE49-F238E27FC236}">
                        <a16:creationId xmlns:a16="http://schemas.microsoft.com/office/drawing/2014/main" id="{0C25196E-F77C-41AD-B901-5FD5F85F0638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8" name="Rechthoek 148">
                      <a:extLst>
                        <a:ext uri="{FF2B5EF4-FFF2-40B4-BE49-F238E27FC236}">
                          <a16:creationId xmlns:a16="http://schemas.microsoft.com/office/drawing/2014/main" id="{C3FD91C5-DF52-4C74-A2E6-DE43CD8D977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9" name="Pijl: punthaak 149">
                      <a:extLst>
                        <a:ext uri="{FF2B5EF4-FFF2-40B4-BE49-F238E27FC236}">
                          <a16:creationId xmlns:a16="http://schemas.microsoft.com/office/drawing/2014/main" id="{72EDE694-78CA-45FF-8139-963C8359D982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82" name="Rechthoek 140">
                <a:extLst>
                  <a:ext uri="{FF2B5EF4-FFF2-40B4-BE49-F238E27FC236}">
                    <a16:creationId xmlns:a16="http://schemas.microsoft.com/office/drawing/2014/main" id="{3AA0483E-8221-40D1-8913-6D27537D4C32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183" name="Rechthoek 141">
                <a:extLst>
                  <a:ext uri="{FF2B5EF4-FFF2-40B4-BE49-F238E27FC236}">
                    <a16:creationId xmlns:a16="http://schemas.microsoft.com/office/drawing/2014/main" id="{939D9EE8-4178-435F-991E-48DA8AD1D2E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148" name="Rechte verbindingslijn 106">
              <a:extLst>
                <a:ext uri="{FF2B5EF4-FFF2-40B4-BE49-F238E27FC236}">
                  <a16:creationId xmlns:a16="http://schemas.microsoft.com/office/drawing/2014/main" id="{C1875108-AFEA-4F4A-9FB1-FF33B329D7A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9" name="Rechthoek 107">
              <a:extLst>
                <a:ext uri="{FF2B5EF4-FFF2-40B4-BE49-F238E27FC236}">
                  <a16:creationId xmlns:a16="http://schemas.microsoft.com/office/drawing/2014/main" id="{A179CD03-D19A-429F-A272-21D5FB7C9470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150" name="Ovaal 108">
              <a:extLst>
                <a:ext uri="{FF2B5EF4-FFF2-40B4-BE49-F238E27FC236}">
                  <a16:creationId xmlns:a16="http://schemas.microsoft.com/office/drawing/2014/main" id="{3CA79ACB-1460-444D-B393-38FCE03A25A2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1" name="Rechthoek 109">
              <a:extLst>
                <a:ext uri="{FF2B5EF4-FFF2-40B4-BE49-F238E27FC236}">
                  <a16:creationId xmlns:a16="http://schemas.microsoft.com/office/drawing/2014/main" id="{D648D9F3-B15C-4A45-93E7-E8393C659304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152" name="Ovaal 110">
              <a:extLst>
                <a:ext uri="{FF2B5EF4-FFF2-40B4-BE49-F238E27FC236}">
                  <a16:creationId xmlns:a16="http://schemas.microsoft.com/office/drawing/2014/main" id="{B98572BC-0107-4349-8E80-4E73636B6A22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11">
              <a:extLst>
                <a:ext uri="{FF2B5EF4-FFF2-40B4-BE49-F238E27FC236}">
                  <a16:creationId xmlns:a16="http://schemas.microsoft.com/office/drawing/2014/main" id="{B7238D6F-8670-4A6E-88A0-E35A5B391F2F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54" name="Ovaal 112">
              <a:extLst>
                <a:ext uri="{FF2B5EF4-FFF2-40B4-BE49-F238E27FC236}">
                  <a16:creationId xmlns:a16="http://schemas.microsoft.com/office/drawing/2014/main" id="{BC116ABB-11D9-4934-BD96-ECE3D72A0D4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55" name="Rechthoek 113">
              <a:extLst>
                <a:ext uri="{FF2B5EF4-FFF2-40B4-BE49-F238E27FC236}">
                  <a16:creationId xmlns:a16="http://schemas.microsoft.com/office/drawing/2014/main" id="{77228255-0A9D-4924-B73B-79D0649B791D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156" name="Ovaal 114">
              <a:extLst>
                <a:ext uri="{FF2B5EF4-FFF2-40B4-BE49-F238E27FC236}">
                  <a16:creationId xmlns:a16="http://schemas.microsoft.com/office/drawing/2014/main" id="{1CE99CA4-07B5-455F-8FC1-C030994A72FE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57" name="Rechthoek 115">
              <a:extLst>
                <a:ext uri="{FF2B5EF4-FFF2-40B4-BE49-F238E27FC236}">
                  <a16:creationId xmlns:a16="http://schemas.microsoft.com/office/drawing/2014/main" id="{5DF93B5E-C24C-4A7A-BBF6-647EFB316117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158" name="Rechte verbindingslijn 116">
              <a:extLst>
                <a:ext uri="{FF2B5EF4-FFF2-40B4-BE49-F238E27FC236}">
                  <a16:creationId xmlns:a16="http://schemas.microsoft.com/office/drawing/2014/main" id="{27F996DF-C54C-44A9-BA17-7225C73B26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9" name="Meer informatie">
              <a:extLst>
                <a:ext uri="{FF2B5EF4-FFF2-40B4-BE49-F238E27FC236}">
                  <a16:creationId xmlns:a16="http://schemas.microsoft.com/office/drawing/2014/main" id="{505F7183-52D3-4461-8BBE-BCCF94D16BED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169" name="Freeform 101">
                <a:extLst>
                  <a:ext uri="{FF2B5EF4-FFF2-40B4-BE49-F238E27FC236}">
                    <a16:creationId xmlns:a16="http://schemas.microsoft.com/office/drawing/2014/main" id="{56D6718B-F102-4CBD-818D-FA1345E5F3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170" name="Rechthoek 128">
                <a:extLst>
                  <a:ext uri="{FF2B5EF4-FFF2-40B4-BE49-F238E27FC236}">
                    <a16:creationId xmlns:a16="http://schemas.microsoft.com/office/drawing/2014/main" id="{6ED19956-5242-46FB-88BD-EE6812E798AE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71" name="Rechte verbindingslijn 129">
                <a:extLst>
                  <a:ext uri="{FF2B5EF4-FFF2-40B4-BE49-F238E27FC236}">
                    <a16:creationId xmlns:a16="http://schemas.microsoft.com/office/drawing/2014/main" id="{F2814E00-81CE-4F3B-AC77-909BDAC8DCF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0" name="Rechthoek 118">
              <a:extLst>
                <a:ext uri="{FF2B5EF4-FFF2-40B4-BE49-F238E27FC236}">
                  <a16:creationId xmlns:a16="http://schemas.microsoft.com/office/drawing/2014/main" id="{6913605C-195F-4825-8813-58D1B976A45C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161" name="Ovaal 119">
              <a:extLst>
                <a:ext uri="{FF2B5EF4-FFF2-40B4-BE49-F238E27FC236}">
                  <a16:creationId xmlns:a16="http://schemas.microsoft.com/office/drawing/2014/main" id="{28DF4496-CEAC-4599-8078-4F4253FEF5B0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2" name="Rechthoek 120">
              <a:extLst>
                <a:ext uri="{FF2B5EF4-FFF2-40B4-BE49-F238E27FC236}">
                  <a16:creationId xmlns:a16="http://schemas.microsoft.com/office/drawing/2014/main" id="{91B7A4E5-E9C1-4531-A427-D3075DD3BBE5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63" name="Ovaal 121">
              <a:extLst>
                <a:ext uri="{FF2B5EF4-FFF2-40B4-BE49-F238E27FC236}">
                  <a16:creationId xmlns:a16="http://schemas.microsoft.com/office/drawing/2014/main" id="{E050FCC6-D84A-4D90-8182-3C80E384AF5A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4" name="Rechthoek 122">
              <a:extLst>
                <a:ext uri="{FF2B5EF4-FFF2-40B4-BE49-F238E27FC236}">
                  <a16:creationId xmlns:a16="http://schemas.microsoft.com/office/drawing/2014/main" id="{58F884CF-F3DD-4AE5-9146-035A435D4865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165" name="Ovaal 123">
              <a:extLst>
                <a:ext uri="{FF2B5EF4-FFF2-40B4-BE49-F238E27FC236}">
                  <a16:creationId xmlns:a16="http://schemas.microsoft.com/office/drawing/2014/main" id="{CCED7891-47D1-461A-A868-3757B8A39CC8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6" name="Rechthoek 124">
              <a:extLst>
                <a:ext uri="{FF2B5EF4-FFF2-40B4-BE49-F238E27FC236}">
                  <a16:creationId xmlns:a16="http://schemas.microsoft.com/office/drawing/2014/main" id="{2455E502-0EAC-4445-8536-C61F5244BD1F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67" name="Rechthoek 125">
              <a:extLst>
                <a:ext uri="{FF2B5EF4-FFF2-40B4-BE49-F238E27FC236}">
                  <a16:creationId xmlns:a16="http://schemas.microsoft.com/office/drawing/2014/main" id="{B7F73BF4-9D66-4EC0-ACD1-A2306C034212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168" name="Ovaal 126">
              <a:extLst>
                <a:ext uri="{FF2B5EF4-FFF2-40B4-BE49-F238E27FC236}">
                  <a16:creationId xmlns:a16="http://schemas.microsoft.com/office/drawing/2014/main" id="{922BAE2A-D2D6-43FC-8E69-9A3CCC7160C0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  <p:sp>
        <p:nvSpPr>
          <p:cNvPr id="228" name="Tijdelijke aanduiding voor tekst 3">
            <a:extLst>
              <a:ext uri="{FF2B5EF4-FFF2-40B4-BE49-F238E27FC236}">
                <a16:creationId xmlns:a16="http://schemas.microsoft.com/office/drawing/2014/main" id="{B4F78CBF-9872-475F-8C41-7E5DA6A65BC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504415" y="1449454"/>
            <a:ext cx="6635238" cy="3534585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51"/>
            </a:lvl1pPr>
          </a:lstStyle>
          <a:p>
            <a:pPr lvl="0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63178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Tabel 50%/5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tabel 8"/>
          <p:cNvSpPr>
            <a:spLocks noGrp="1"/>
          </p:cNvSpPr>
          <p:nvPr>
            <p:ph type="tbl" sz="quarter" idx="15" hasCustomPrompt="1"/>
          </p:nvPr>
        </p:nvSpPr>
        <p:spPr>
          <a:xfrm>
            <a:off x="22853752" y="6476680"/>
            <a:ext cx="18171104" cy="19074348"/>
          </a:xfrm>
          <a:solidFill>
            <a:schemeClr val="bg1">
              <a:lumMod val="95000"/>
            </a:schemeClr>
          </a:solidFill>
        </p:spPr>
        <p:txBody>
          <a:bodyPr tIns="936000" anchor="ctr">
            <a:normAutofit/>
          </a:bodyPr>
          <a:lstStyle>
            <a:lvl1pPr marL="0" indent="0" algn="ctr">
              <a:buNone/>
              <a:defRPr sz="1677" b="0" i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tabel in te voegen</a:t>
            </a:r>
          </a:p>
        </p:txBody>
      </p:sp>
      <p:sp>
        <p:nvSpPr>
          <p:cNvPr id="34" name="Titel 1">
            <a:extLst>
              <a:ext uri="{FF2B5EF4-FFF2-40B4-BE49-F238E27FC236}">
                <a16:creationId xmlns:a16="http://schemas.microsoft.com/office/drawing/2014/main" id="{53A6CE20-1E7A-4F87-96EC-7E964AA913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78" y="1766065"/>
            <a:ext cx="32281087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41" name="Tijdelijke aanduiding voor tekst 14">
            <a:extLst>
              <a:ext uri="{FF2B5EF4-FFF2-40B4-BE49-F238E27FC236}">
                <a16:creationId xmlns:a16="http://schemas.microsoft.com/office/drawing/2014/main" id="{4B035891-3F3E-4E86-9D5A-96D1E3B9D0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78" y="3469430"/>
            <a:ext cx="32281087" cy="1195424"/>
          </a:xfrm>
        </p:spPr>
        <p:txBody>
          <a:bodyPr>
            <a:noAutofit/>
          </a:bodyPr>
          <a:lstStyle>
            <a:lvl1pPr marL="0" indent="0">
              <a:buNone/>
              <a:defRPr sz="2794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58" name="Tijdelijke aanduiding voor voettekst 4">
            <a:extLst>
              <a:ext uri="{FF2B5EF4-FFF2-40B4-BE49-F238E27FC236}">
                <a16:creationId xmlns:a16="http://schemas.microsoft.com/office/drawing/2014/main" id="{0E659B60-CF7C-460A-A879-0DDBF9C652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7" y="27345278"/>
            <a:ext cx="18027561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59" name="Tijdelijke aanduiding voor dianummer 5">
            <a:extLst>
              <a:ext uri="{FF2B5EF4-FFF2-40B4-BE49-F238E27FC236}">
                <a16:creationId xmlns:a16="http://schemas.microsoft.com/office/drawing/2014/main" id="{F1A38C1E-7B15-4C30-B676-08D9095C1F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7" y="27329717"/>
            <a:ext cx="834511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cxnSp>
        <p:nvCxnSpPr>
          <p:cNvPr id="16" name="Rechte verbindingslijn 15">
            <a:extLst>
              <a:ext uri="{FF2B5EF4-FFF2-40B4-BE49-F238E27FC236}">
                <a16:creationId xmlns:a16="http://schemas.microsoft.com/office/drawing/2014/main" id="{FFF3BAD7-1631-43B4-803E-B259FAD5CBD9}"/>
              </a:ext>
            </a:extLst>
          </p:cNvPr>
          <p:cNvCxnSpPr/>
          <p:nvPr userDrawn="1"/>
        </p:nvCxnSpPr>
        <p:spPr>
          <a:xfrm>
            <a:off x="21383620" y="6476680"/>
            <a:ext cx="0" cy="19074343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jdelijke aanduiding voor datum 3">
            <a:extLst>
              <a:ext uri="{FF2B5EF4-FFF2-40B4-BE49-F238E27FC236}">
                <a16:creationId xmlns:a16="http://schemas.microsoft.com/office/drawing/2014/main" id="{1CAF262E-2810-4D1F-9499-C43352B839B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503"/>
            <a:ext cx="9622631" cy="1000848"/>
          </a:xfrm>
        </p:spPr>
        <p:txBody>
          <a:bodyPr/>
          <a:lstStyle/>
          <a:p>
            <a:fld id="{40D1CF22-7FF8-47A0-9650-2B0221F03856}" type="datetime1">
              <a:rPr lang="nl-NL" noProof="0" smtClean="0"/>
              <a:t>26-6-2023</a:t>
            </a:fld>
            <a:endParaRPr lang="nl-NL" noProof="0"/>
          </a:p>
        </p:txBody>
      </p:sp>
      <p:grpSp>
        <p:nvGrpSpPr>
          <p:cNvPr id="280" name="Instructie">
            <a:extLst>
              <a:ext uri="{FF2B5EF4-FFF2-40B4-BE49-F238E27FC236}">
                <a16:creationId xmlns:a16="http://schemas.microsoft.com/office/drawing/2014/main" id="{2B4A24AC-D413-4868-8058-2E7028169D2D}"/>
              </a:ext>
            </a:extLst>
          </p:cNvPr>
          <p:cNvGrpSpPr/>
          <p:nvPr userDrawn="1"/>
        </p:nvGrpSpPr>
        <p:grpSpPr>
          <a:xfrm>
            <a:off x="43467422" y="1"/>
            <a:ext cx="11167745" cy="15089918"/>
            <a:chOff x="12391601" y="0"/>
            <a:chExt cx="3183678" cy="3418198"/>
          </a:xfrm>
        </p:grpSpPr>
        <p:grpSp>
          <p:nvGrpSpPr>
            <p:cNvPr id="281" name="Meer informatie">
              <a:extLst>
                <a:ext uri="{FF2B5EF4-FFF2-40B4-BE49-F238E27FC236}">
                  <a16:creationId xmlns:a16="http://schemas.microsoft.com/office/drawing/2014/main" id="{9243C2AD-1B75-45D3-92DD-DD1FB0FD99FA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03" name="Freeform 101">
                <a:extLst>
                  <a:ext uri="{FF2B5EF4-FFF2-40B4-BE49-F238E27FC236}">
                    <a16:creationId xmlns:a16="http://schemas.microsoft.com/office/drawing/2014/main" id="{2C391DC9-8B6D-4222-8692-E7BF2DBE2E6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537" noProof="0"/>
              </a:p>
            </p:txBody>
          </p:sp>
          <p:sp>
            <p:nvSpPr>
              <p:cNvPr id="304" name="Rechthoek 42">
                <a:extLst>
                  <a:ext uri="{FF2B5EF4-FFF2-40B4-BE49-F238E27FC236}">
                    <a16:creationId xmlns:a16="http://schemas.microsoft.com/office/drawing/2014/main" id="{FF65114B-0581-431C-AB31-34A98540EC8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1277217" eaLnBrk="1" fontAlgn="auto" latinLnBrk="0" hangingPunct="1">
                  <a:lnSpc>
                    <a:spcPct val="90000"/>
                  </a:lnSpc>
                  <a:spcBef>
                    <a:spcPts val="839"/>
                  </a:spcBef>
                  <a:spcAft>
                    <a:spcPts val="839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537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537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537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537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1537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05" name="Rechte verbindingslijn 43">
                <a:extLst>
                  <a:ext uri="{FF2B5EF4-FFF2-40B4-BE49-F238E27FC236}">
                    <a16:creationId xmlns:a16="http://schemas.microsoft.com/office/drawing/2014/main" id="{A4B20D59-F67D-4587-99BA-C28562D568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82" name="Rechthoek 18">
              <a:extLst>
                <a:ext uri="{FF2B5EF4-FFF2-40B4-BE49-F238E27FC236}">
                  <a16:creationId xmlns:a16="http://schemas.microsoft.com/office/drawing/2014/main" id="{34C62FF0-4CB9-400C-B7FA-3540D4950E77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1277217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957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abel invoegen/veranderen</a:t>
              </a:r>
            </a:p>
          </p:txBody>
        </p:sp>
        <p:sp>
          <p:nvSpPr>
            <p:cNvPr id="283" name="Ovaal 19">
              <a:extLst>
                <a:ext uri="{FF2B5EF4-FFF2-40B4-BE49-F238E27FC236}">
                  <a16:creationId xmlns:a16="http://schemas.microsoft.com/office/drawing/2014/main" id="{124D720E-45AC-4FC1-8F70-1AC44897E716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84" name="Rechte verbindingslijn 20">
              <a:extLst>
                <a:ext uri="{FF2B5EF4-FFF2-40B4-BE49-F238E27FC236}">
                  <a16:creationId xmlns:a16="http://schemas.microsoft.com/office/drawing/2014/main" id="{AA8A2DE9-5C6E-4413-B83A-1258C023B84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85" name="Rechte verbindingslijn 21">
              <a:extLst>
                <a:ext uri="{FF2B5EF4-FFF2-40B4-BE49-F238E27FC236}">
                  <a16:creationId xmlns:a16="http://schemas.microsoft.com/office/drawing/2014/main" id="{1BF8BE4C-0321-40BF-90C0-75FB67D901E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86" name="Rechthoek 22">
              <a:extLst>
                <a:ext uri="{FF2B5EF4-FFF2-40B4-BE49-F238E27FC236}">
                  <a16:creationId xmlns:a16="http://schemas.microsoft.com/office/drawing/2014/main" id="{79699C99-630D-4ECC-AE0D-E9BAF27776BF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1277217" eaLnBrk="1" fontAlgn="auto" latinLnBrk="0" hangingPunct="1">
                <a:lnSpc>
                  <a:spcPct val="90000"/>
                </a:lnSpc>
                <a:spcBef>
                  <a:spcPts val="839"/>
                </a:spcBef>
                <a:spcAft>
                  <a:spcPts val="839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tabel d.m.v. de 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knop</a:t>
              </a: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Klik op het pictogram om een nieuwe tabel in te voegen. </a:t>
              </a:r>
              <a:r>
                <a:rPr kumimoji="0" lang="nl-NL" sz="1537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153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87" name="Ovaal 23">
              <a:extLst>
                <a:ext uri="{FF2B5EF4-FFF2-40B4-BE49-F238E27FC236}">
                  <a16:creationId xmlns:a16="http://schemas.microsoft.com/office/drawing/2014/main" id="{C9AFDD1C-F9AE-4720-9E74-A1569AB69780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88" name="Rechthoek 24">
              <a:extLst>
                <a:ext uri="{FF2B5EF4-FFF2-40B4-BE49-F238E27FC236}">
                  <a16:creationId xmlns:a16="http://schemas.microsoft.com/office/drawing/2014/main" id="{7ABBC656-B28C-4130-B400-5607AA4923A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1277217" eaLnBrk="1" fontAlgn="auto" latinLnBrk="0" hangingPunct="1">
                <a:lnSpc>
                  <a:spcPct val="90000"/>
                </a:lnSpc>
                <a:spcBef>
                  <a:spcPts val="839"/>
                </a:spcBef>
                <a:spcAft>
                  <a:spcPts val="839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het gewenste aantal rijen en kolommen en klik op 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OK´</a:t>
              </a: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537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89" name="Groep 25">
              <a:extLst>
                <a:ext uri="{FF2B5EF4-FFF2-40B4-BE49-F238E27FC236}">
                  <a16:creationId xmlns:a16="http://schemas.microsoft.com/office/drawing/2014/main" id="{553EF675-8D57-4CDB-96AE-82482E39D73C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00" name="Rechthoek 38">
                <a:extLst>
                  <a:ext uri="{FF2B5EF4-FFF2-40B4-BE49-F238E27FC236}">
                    <a16:creationId xmlns:a16="http://schemas.microsoft.com/office/drawing/2014/main" id="{2F857859-306A-4329-8E7B-5FBDD9ADE31D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839"/>
                  </a:spcBef>
                  <a:spcAft>
                    <a:spcPts val="839"/>
                  </a:spcAft>
                </a:pPr>
                <a:r>
                  <a:rPr lang="nl-NL" sz="1117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01" name="Rechte verbindingslijn 39">
                <a:extLst>
                  <a:ext uri="{FF2B5EF4-FFF2-40B4-BE49-F238E27FC236}">
                    <a16:creationId xmlns:a16="http://schemas.microsoft.com/office/drawing/2014/main" id="{7DE06FE1-B8EA-41EE-ADC6-40F6101952F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02" name="Gelijkbenige driehoek 40">
                <a:extLst>
                  <a:ext uri="{FF2B5EF4-FFF2-40B4-BE49-F238E27FC236}">
                    <a16:creationId xmlns:a16="http://schemas.microsoft.com/office/drawing/2014/main" id="{7E63E397-3C23-4D4C-AE99-F9FD9BAC558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398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90" name="Rechte verbindingslijn 26">
              <a:extLst>
                <a:ext uri="{FF2B5EF4-FFF2-40B4-BE49-F238E27FC236}">
                  <a16:creationId xmlns:a16="http://schemas.microsoft.com/office/drawing/2014/main" id="{1375935E-2E70-4D67-92F9-D1CB32E3F7E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91" name="Tabel icoon">
              <a:extLst>
                <a:ext uri="{FF2B5EF4-FFF2-40B4-BE49-F238E27FC236}">
                  <a16:creationId xmlns:a16="http://schemas.microsoft.com/office/drawing/2014/main" id="{F80D05A0-B5F2-45BC-B9FC-0832D5DF8AF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292" name="Rechthoek 28">
                <a:extLst>
                  <a:ext uri="{FF2B5EF4-FFF2-40B4-BE49-F238E27FC236}">
                    <a16:creationId xmlns:a16="http://schemas.microsoft.com/office/drawing/2014/main" id="{70B563BA-0620-491B-B293-056902650706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2515" noProof="0"/>
              </a:p>
            </p:txBody>
          </p:sp>
          <p:sp>
            <p:nvSpPr>
              <p:cNvPr id="293" name="Rechthoek 29">
                <a:extLst>
                  <a:ext uri="{FF2B5EF4-FFF2-40B4-BE49-F238E27FC236}">
                    <a16:creationId xmlns:a16="http://schemas.microsoft.com/office/drawing/2014/main" id="{35D5FEF4-598D-4BBF-9B8D-1CA3FB8FFF8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2515" noProof="0"/>
              </a:p>
            </p:txBody>
          </p:sp>
          <p:cxnSp>
            <p:nvCxnSpPr>
              <p:cNvPr id="294" name="Rechte verbindingslijn 31">
                <a:extLst>
                  <a:ext uri="{FF2B5EF4-FFF2-40B4-BE49-F238E27FC236}">
                    <a16:creationId xmlns:a16="http://schemas.microsoft.com/office/drawing/2014/main" id="{7BF67D53-15DA-455D-863E-D2527CD34144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5" name="Rechte verbindingslijn 32">
                <a:extLst>
                  <a:ext uri="{FF2B5EF4-FFF2-40B4-BE49-F238E27FC236}">
                    <a16:creationId xmlns:a16="http://schemas.microsoft.com/office/drawing/2014/main" id="{00D1984A-FE07-4608-A2C0-F79191030836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6" name="Rechte verbindingslijn 33">
                <a:extLst>
                  <a:ext uri="{FF2B5EF4-FFF2-40B4-BE49-F238E27FC236}">
                    <a16:creationId xmlns:a16="http://schemas.microsoft.com/office/drawing/2014/main" id="{F80FBDA0-7AC6-415C-96ED-2EA9BDDEA33E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7" name="Rechte verbindingslijn 34">
                <a:extLst>
                  <a:ext uri="{FF2B5EF4-FFF2-40B4-BE49-F238E27FC236}">
                    <a16:creationId xmlns:a16="http://schemas.microsoft.com/office/drawing/2014/main" id="{41F1123B-31D8-4B3F-B094-FC72371A715D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8" name="Rechte verbindingslijn 35">
                <a:extLst>
                  <a:ext uri="{FF2B5EF4-FFF2-40B4-BE49-F238E27FC236}">
                    <a16:creationId xmlns:a16="http://schemas.microsoft.com/office/drawing/2014/main" id="{6A12731C-DD13-4DC0-AC4B-5D001DA969D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99" name="Rechthoek 36">
                <a:extLst>
                  <a:ext uri="{FF2B5EF4-FFF2-40B4-BE49-F238E27FC236}">
                    <a16:creationId xmlns:a16="http://schemas.microsoft.com/office/drawing/2014/main" id="{C065C823-BDF7-4F3A-97CF-917B4D5F0E6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2515" noProof="0"/>
              </a:p>
            </p:txBody>
          </p:sp>
        </p:grpSp>
      </p:grpSp>
      <p:sp>
        <p:nvSpPr>
          <p:cNvPr id="131" name="Tijdelijke aanduiding voor tekst 4">
            <a:extLst>
              <a:ext uri="{FF2B5EF4-FFF2-40B4-BE49-F238E27FC236}">
                <a16:creationId xmlns:a16="http://schemas.microsoft.com/office/drawing/2014/main" id="{00E166CD-7E11-4ACD-A2FC-A33D649ED95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42379" y="6476685"/>
            <a:ext cx="18171872" cy="1907433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bullet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bullet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grpSp>
        <p:nvGrpSpPr>
          <p:cNvPr id="132" name="Groep 101">
            <a:extLst>
              <a:ext uri="{FF2B5EF4-FFF2-40B4-BE49-F238E27FC236}">
                <a16:creationId xmlns:a16="http://schemas.microsoft.com/office/drawing/2014/main" id="{567835C9-B128-4388-A905-EC39C38F0441}"/>
              </a:ext>
            </a:extLst>
          </p:cNvPr>
          <p:cNvGrpSpPr/>
          <p:nvPr userDrawn="1"/>
        </p:nvGrpSpPr>
        <p:grpSpPr>
          <a:xfrm>
            <a:off x="-12058269" y="6335"/>
            <a:ext cx="11229652" cy="26966673"/>
            <a:chOff x="-3437547" y="1434"/>
            <a:chExt cx="3201327" cy="6108543"/>
          </a:xfrm>
        </p:grpSpPr>
        <p:sp>
          <p:nvSpPr>
            <p:cNvPr id="133" name="Rechthoek 102">
              <a:extLst>
                <a:ext uri="{FF2B5EF4-FFF2-40B4-BE49-F238E27FC236}">
                  <a16:creationId xmlns:a16="http://schemas.microsoft.com/office/drawing/2014/main" id="{A1EC0658-3BB0-4EBF-9091-A1C16CAC101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1277217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957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1957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1957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134" name="Ovaal 103">
              <a:extLst>
                <a:ext uri="{FF2B5EF4-FFF2-40B4-BE49-F238E27FC236}">
                  <a16:creationId xmlns:a16="http://schemas.microsoft.com/office/drawing/2014/main" id="{9BF17C1E-019D-4DD2-9095-5982D00EFB2E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5" name="Rechte verbindingslijn 104">
              <a:extLst>
                <a:ext uri="{FF2B5EF4-FFF2-40B4-BE49-F238E27FC236}">
                  <a16:creationId xmlns:a16="http://schemas.microsoft.com/office/drawing/2014/main" id="{8B774C17-9041-40BA-8A5E-45B2AC79C0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6" name="Groep 105">
              <a:extLst>
                <a:ext uri="{FF2B5EF4-FFF2-40B4-BE49-F238E27FC236}">
                  <a16:creationId xmlns:a16="http://schemas.microsoft.com/office/drawing/2014/main" id="{2413DCA5-AAC1-4C49-AF1A-1BE0D77A5558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61" name="Rechthoek 130">
                <a:extLst>
                  <a:ext uri="{FF2B5EF4-FFF2-40B4-BE49-F238E27FC236}">
                    <a16:creationId xmlns:a16="http://schemas.microsoft.com/office/drawing/2014/main" id="{BBBFDFCF-1B35-4472-8144-07BB29BECE4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1117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162" name="Rechte verbindingslijn 131">
                <a:extLst>
                  <a:ext uri="{FF2B5EF4-FFF2-40B4-BE49-F238E27FC236}">
                    <a16:creationId xmlns:a16="http://schemas.microsoft.com/office/drawing/2014/main" id="{1D6D1223-7E7A-447F-9E2B-CDDC6DF1873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Rechte verbindingslijn 132">
                <a:extLst>
                  <a:ext uri="{FF2B5EF4-FFF2-40B4-BE49-F238E27FC236}">
                    <a16:creationId xmlns:a16="http://schemas.microsoft.com/office/drawing/2014/main" id="{FBEDABC6-8278-4769-B611-FF1331F5011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4" name="Rechthoek 133">
                <a:extLst>
                  <a:ext uri="{FF2B5EF4-FFF2-40B4-BE49-F238E27FC236}">
                    <a16:creationId xmlns:a16="http://schemas.microsoft.com/office/drawing/2014/main" id="{16F083F3-851B-4977-9633-B9F5A6F619CB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398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65" name="Groep 134">
                <a:extLst>
                  <a:ext uri="{FF2B5EF4-FFF2-40B4-BE49-F238E27FC236}">
                    <a16:creationId xmlns:a16="http://schemas.microsoft.com/office/drawing/2014/main" id="{89C60A64-B359-45DD-9C74-76A52EF0C235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04" name="Groep 175">
                  <a:extLst>
                    <a:ext uri="{FF2B5EF4-FFF2-40B4-BE49-F238E27FC236}">
                      <a16:creationId xmlns:a16="http://schemas.microsoft.com/office/drawing/2014/main" id="{88927F47-5879-43A0-8F81-4DCE1E99E6D8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08" name="Rechte verbindingslijn 179">
                    <a:extLst>
                      <a:ext uri="{FF2B5EF4-FFF2-40B4-BE49-F238E27FC236}">
                        <a16:creationId xmlns:a16="http://schemas.microsoft.com/office/drawing/2014/main" id="{43230C98-0AAF-4558-BFF4-296310BAE8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9" name="Rechte verbindingslijn 180">
                    <a:extLst>
                      <a:ext uri="{FF2B5EF4-FFF2-40B4-BE49-F238E27FC236}">
                        <a16:creationId xmlns:a16="http://schemas.microsoft.com/office/drawing/2014/main" id="{11A08B21-977F-47F9-88E6-D179CA04DCD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0" name="Rechte verbindingslijn 181">
                    <a:extLst>
                      <a:ext uri="{FF2B5EF4-FFF2-40B4-BE49-F238E27FC236}">
                        <a16:creationId xmlns:a16="http://schemas.microsoft.com/office/drawing/2014/main" id="{8AD3D414-8938-49CF-8C4C-0D5EA87C69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1" name="Rechte verbindingslijn 182">
                    <a:extLst>
                      <a:ext uri="{FF2B5EF4-FFF2-40B4-BE49-F238E27FC236}">
                        <a16:creationId xmlns:a16="http://schemas.microsoft.com/office/drawing/2014/main" id="{A4FC1E39-E2CE-4241-AD9D-D78149DD9F1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06" name="Rechte verbindingslijn 183">
                    <a:extLst>
                      <a:ext uri="{FF2B5EF4-FFF2-40B4-BE49-F238E27FC236}">
                        <a16:creationId xmlns:a16="http://schemas.microsoft.com/office/drawing/2014/main" id="{B5ABCD7F-C89B-4AC4-98A1-2A3602A9CE9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5" name="Groep 176">
                  <a:extLst>
                    <a:ext uri="{FF2B5EF4-FFF2-40B4-BE49-F238E27FC236}">
                      <a16:creationId xmlns:a16="http://schemas.microsoft.com/office/drawing/2014/main" id="{8C0CBCED-C746-4BED-BB8C-077E2FB407F8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6" name="Rechthoek 177">
                    <a:extLst>
                      <a:ext uri="{FF2B5EF4-FFF2-40B4-BE49-F238E27FC236}">
                        <a16:creationId xmlns:a16="http://schemas.microsoft.com/office/drawing/2014/main" id="{457E2ECD-5F1C-46E4-8EDC-1950FCEBE6F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398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7" name="Pijl: punthaak 178">
                    <a:extLst>
                      <a:ext uri="{FF2B5EF4-FFF2-40B4-BE49-F238E27FC236}">
                        <a16:creationId xmlns:a16="http://schemas.microsoft.com/office/drawing/2014/main" id="{14C3D550-F63B-4EFD-9437-DFBEB8D634E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398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66" name="Groep 135">
                <a:extLst>
                  <a:ext uri="{FF2B5EF4-FFF2-40B4-BE49-F238E27FC236}">
                    <a16:creationId xmlns:a16="http://schemas.microsoft.com/office/drawing/2014/main" id="{2D66C02B-AC8C-4DD9-B0BA-E7415F7FAA0E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95" name="Groep 166">
                  <a:extLst>
                    <a:ext uri="{FF2B5EF4-FFF2-40B4-BE49-F238E27FC236}">
                      <a16:creationId xmlns:a16="http://schemas.microsoft.com/office/drawing/2014/main" id="{63089621-8CD3-4A7E-B49F-3E98199D8233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9" name="Rechte verbindingslijn 170">
                    <a:extLst>
                      <a:ext uri="{FF2B5EF4-FFF2-40B4-BE49-F238E27FC236}">
                        <a16:creationId xmlns:a16="http://schemas.microsoft.com/office/drawing/2014/main" id="{B222357E-96F6-4F02-ACDE-789C4510C0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171">
                    <a:extLst>
                      <a:ext uri="{FF2B5EF4-FFF2-40B4-BE49-F238E27FC236}">
                        <a16:creationId xmlns:a16="http://schemas.microsoft.com/office/drawing/2014/main" id="{3C21D942-0C6D-450B-80E3-0A352500F55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172">
                    <a:extLst>
                      <a:ext uri="{FF2B5EF4-FFF2-40B4-BE49-F238E27FC236}">
                        <a16:creationId xmlns:a16="http://schemas.microsoft.com/office/drawing/2014/main" id="{BE96836E-2C3B-4FDB-AEA0-0D35027CD8C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173">
                    <a:extLst>
                      <a:ext uri="{FF2B5EF4-FFF2-40B4-BE49-F238E27FC236}">
                        <a16:creationId xmlns:a16="http://schemas.microsoft.com/office/drawing/2014/main" id="{AA56C7F1-454C-4A11-AD98-A557E9FE261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174">
                    <a:extLst>
                      <a:ext uri="{FF2B5EF4-FFF2-40B4-BE49-F238E27FC236}">
                        <a16:creationId xmlns:a16="http://schemas.microsoft.com/office/drawing/2014/main" id="{30FAD6E7-EF7B-4889-94B7-22AE7525C15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167">
                  <a:extLst>
                    <a:ext uri="{FF2B5EF4-FFF2-40B4-BE49-F238E27FC236}">
                      <a16:creationId xmlns:a16="http://schemas.microsoft.com/office/drawing/2014/main" id="{EA046BA6-00A4-4295-A460-CCCD1171F13F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168">
                    <a:extLst>
                      <a:ext uri="{FF2B5EF4-FFF2-40B4-BE49-F238E27FC236}">
                        <a16:creationId xmlns:a16="http://schemas.microsoft.com/office/drawing/2014/main" id="{6AD43176-054E-4C6C-9AE0-26004C8E2B31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398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Pijl: punthaak 169">
                    <a:extLst>
                      <a:ext uri="{FF2B5EF4-FFF2-40B4-BE49-F238E27FC236}">
                        <a16:creationId xmlns:a16="http://schemas.microsoft.com/office/drawing/2014/main" id="{3879E932-3544-4208-A00E-C51AA6F78D4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398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67" name="Rechte verbindingslijn 136">
                <a:extLst>
                  <a:ext uri="{FF2B5EF4-FFF2-40B4-BE49-F238E27FC236}">
                    <a16:creationId xmlns:a16="http://schemas.microsoft.com/office/drawing/2014/main" id="{35B1AAEB-05FD-4D50-AFC3-5E5954C009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68" name="Rechte verbindingslijn 137">
                <a:extLst>
                  <a:ext uri="{FF2B5EF4-FFF2-40B4-BE49-F238E27FC236}">
                    <a16:creationId xmlns:a16="http://schemas.microsoft.com/office/drawing/2014/main" id="{C4FB6C9C-C5E3-436A-9A8C-09F05847DC5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9" name="Groep 138">
                <a:extLst>
                  <a:ext uri="{FF2B5EF4-FFF2-40B4-BE49-F238E27FC236}">
                    <a16:creationId xmlns:a16="http://schemas.microsoft.com/office/drawing/2014/main" id="{129CEDA6-1545-4C1C-A3E1-F2AF3C3BF9FC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84" name="Rechthoek 155">
                  <a:extLst>
                    <a:ext uri="{FF2B5EF4-FFF2-40B4-BE49-F238E27FC236}">
                      <a16:creationId xmlns:a16="http://schemas.microsoft.com/office/drawing/2014/main" id="{841DC097-5E36-4C64-9283-2BB0777BE43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468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5" name="Groep 156">
                  <a:extLst>
                    <a:ext uri="{FF2B5EF4-FFF2-40B4-BE49-F238E27FC236}">
                      <a16:creationId xmlns:a16="http://schemas.microsoft.com/office/drawing/2014/main" id="{40AE14A5-58AB-40D8-A8CC-0C5C94E8C6F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86" name="Groep 157">
                    <a:extLst>
                      <a:ext uri="{FF2B5EF4-FFF2-40B4-BE49-F238E27FC236}">
                        <a16:creationId xmlns:a16="http://schemas.microsoft.com/office/drawing/2014/main" id="{B6D9D285-90D2-431F-9E7A-8A701B39441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0" name="Rechte verbindingslijn 161">
                      <a:extLst>
                        <a:ext uri="{FF2B5EF4-FFF2-40B4-BE49-F238E27FC236}">
                          <a16:creationId xmlns:a16="http://schemas.microsoft.com/office/drawing/2014/main" id="{9A870CDF-6C59-4275-9555-7D3347C60AB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1" name="Rechte verbindingslijn 162">
                      <a:extLst>
                        <a:ext uri="{FF2B5EF4-FFF2-40B4-BE49-F238E27FC236}">
                          <a16:creationId xmlns:a16="http://schemas.microsoft.com/office/drawing/2014/main" id="{7E50BD3C-FE61-42F0-9534-A1CDE34341E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2" name="Rechte verbindingslijn 163">
                      <a:extLst>
                        <a:ext uri="{FF2B5EF4-FFF2-40B4-BE49-F238E27FC236}">
                          <a16:creationId xmlns:a16="http://schemas.microsoft.com/office/drawing/2014/main" id="{61385B85-5234-4A41-9923-CABD8165C0B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3" name="Rechte verbindingslijn 164">
                      <a:extLst>
                        <a:ext uri="{FF2B5EF4-FFF2-40B4-BE49-F238E27FC236}">
                          <a16:creationId xmlns:a16="http://schemas.microsoft.com/office/drawing/2014/main" id="{6236E2B2-29F0-4263-81F0-A83E4AADD3D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4" name="Rechte verbindingslijn 165">
                      <a:extLst>
                        <a:ext uri="{FF2B5EF4-FFF2-40B4-BE49-F238E27FC236}">
                          <a16:creationId xmlns:a16="http://schemas.microsoft.com/office/drawing/2014/main" id="{34F45B6F-E663-4C97-800E-860BA67D050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7" name="Groep 158">
                    <a:extLst>
                      <a:ext uri="{FF2B5EF4-FFF2-40B4-BE49-F238E27FC236}">
                        <a16:creationId xmlns:a16="http://schemas.microsoft.com/office/drawing/2014/main" id="{ADC83032-FF34-4D00-86C6-D5F21D296BF4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8" name="Rechthoek 159">
                      <a:extLst>
                        <a:ext uri="{FF2B5EF4-FFF2-40B4-BE49-F238E27FC236}">
                          <a16:creationId xmlns:a16="http://schemas.microsoft.com/office/drawing/2014/main" id="{70902A04-7D59-4C17-98ED-BC310A23E8A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398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9" name="Pijl: punthaak 160">
                      <a:extLst>
                        <a:ext uri="{FF2B5EF4-FFF2-40B4-BE49-F238E27FC236}">
                          <a16:creationId xmlns:a16="http://schemas.microsoft.com/office/drawing/2014/main" id="{93B4D83B-F085-46CF-973B-2524AD42920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398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0" name="Groep 139">
                <a:extLst>
                  <a:ext uri="{FF2B5EF4-FFF2-40B4-BE49-F238E27FC236}">
                    <a16:creationId xmlns:a16="http://schemas.microsoft.com/office/drawing/2014/main" id="{37C09F35-B81E-45AB-A0A3-D10C5CB705D3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3" name="Rechthoek 142">
                  <a:extLst>
                    <a:ext uri="{FF2B5EF4-FFF2-40B4-BE49-F238E27FC236}">
                      <a16:creationId xmlns:a16="http://schemas.microsoft.com/office/drawing/2014/main" id="{79A80045-72E1-4D66-85A6-DCE9C4B3641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468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4" name="Groep 143">
                  <a:extLst>
                    <a:ext uri="{FF2B5EF4-FFF2-40B4-BE49-F238E27FC236}">
                      <a16:creationId xmlns:a16="http://schemas.microsoft.com/office/drawing/2014/main" id="{5DFFF8E4-6A9D-4924-8B4E-A5AAB1937BEC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75" name="Groep 144">
                    <a:extLst>
                      <a:ext uri="{FF2B5EF4-FFF2-40B4-BE49-F238E27FC236}">
                        <a16:creationId xmlns:a16="http://schemas.microsoft.com/office/drawing/2014/main" id="{69D647B7-A8C1-40D3-BF5A-886857789E3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9" name="Rechte verbindingslijn 150">
                      <a:extLst>
                        <a:ext uri="{FF2B5EF4-FFF2-40B4-BE49-F238E27FC236}">
                          <a16:creationId xmlns:a16="http://schemas.microsoft.com/office/drawing/2014/main" id="{D201D167-1A34-4576-9B51-9EF1AA3A4C5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0" name="Rechte verbindingslijn 151">
                      <a:extLst>
                        <a:ext uri="{FF2B5EF4-FFF2-40B4-BE49-F238E27FC236}">
                          <a16:creationId xmlns:a16="http://schemas.microsoft.com/office/drawing/2014/main" id="{3724FC78-B582-43EC-A683-F52EE41CA88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1" name="Rechte verbindingslijn 152">
                      <a:extLst>
                        <a:ext uri="{FF2B5EF4-FFF2-40B4-BE49-F238E27FC236}">
                          <a16:creationId xmlns:a16="http://schemas.microsoft.com/office/drawing/2014/main" id="{DF40A37B-A2E6-4233-A64B-2B159E6E081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153">
                      <a:extLst>
                        <a:ext uri="{FF2B5EF4-FFF2-40B4-BE49-F238E27FC236}">
                          <a16:creationId xmlns:a16="http://schemas.microsoft.com/office/drawing/2014/main" id="{6C86622D-01C6-4049-BD86-69AC95CCC5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154">
                      <a:extLst>
                        <a:ext uri="{FF2B5EF4-FFF2-40B4-BE49-F238E27FC236}">
                          <a16:creationId xmlns:a16="http://schemas.microsoft.com/office/drawing/2014/main" id="{064CF244-2AEB-4EAF-863F-9E538AF59D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6" name="Groep 147">
                    <a:extLst>
                      <a:ext uri="{FF2B5EF4-FFF2-40B4-BE49-F238E27FC236}">
                        <a16:creationId xmlns:a16="http://schemas.microsoft.com/office/drawing/2014/main" id="{27F889A0-DD66-4969-B5F3-49ABF8BA546F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7" name="Rechthoek 148">
                      <a:extLst>
                        <a:ext uri="{FF2B5EF4-FFF2-40B4-BE49-F238E27FC236}">
                          <a16:creationId xmlns:a16="http://schemas.microsoft.com/office/drawing/2014/main" id="{7ECD9D23-35BF-4754-BE5D-20F0F1C7157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398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78" name="Pijl: punthaak 149">
                      <a:extLst>
                        <a:ext uri="{FF2B5EF4-FFF2-40B4-BE49-F238E27FC236}">
                          <a16:creationId xmlns:a16="http://schemas.microsoft.com/office/drawing/2014/main" id="{0BB7F6B3-64AF-4729-BA23-8F114249C0F2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398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1" name="Rechthoek 140">
                <a:extLst>
                  <a:ext uri="{FF2B5EF4-FFF2-40B4-BE49-F238E27FC236}">
                    <a16:creationId xmlns:a16="http://schemas.microsoft.com/office/drawing/2014/main" id="{87D45D06-B442-44D0-B66A-F6851F4A04AF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1277217" eaLnBrk="1" fontAlgn="auto" latinLnBrk="0" hangingPunct="1">
                  <a:lnSpc>
                    <a:spcPct val="90000"/>
                  </a:lnSpc>
                  <a:spcBef>
                    <a:spcPts val="839"/>
                  </a:spcBef>
                  <a:spcAft>
                    <a:spcPts val="839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537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172" name="Rechthoek 141">
                <a:extLst>
                  <a:ext uri="{FF2B5EF4-FFF2-40B4-BE49-F238E27FC236}">
                    <a16:creationId xmlns:a16="http://schemas.microsoft.com/office/drawing/2014/main" id="{02F3FAEE-393B-4E88-91C1-8E64AFE73E01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1277217" eaLnBrk="1" fontAlgn="auto" latinLnBrk="0" hangingPunct="1">
                  <a:lnSpc>
                    <a:spcPct val="90000"/>
                  </a:lnSpc>
                  <a:spcBef>
                    <a:spcPts val="839"/>
                  </a:spcBef>
                  <a:spcAft>
                    <a:spcPts val="839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537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137" name="Rechte verbindingslijn 106">
              <a:extLst>
                <a:ext uri="{FF2B5EF4-FFF2-40B4-BE49-F238E27FC236}">
                  <a16:creationId xmlns:a16="http://schemas.microsoft.com/office/drawing/2014/main" id="{AFB99157-DA5C-46C3-85E6-82E74922C86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38" name="Rechthoek 107">
              <a:extLst>
                <a:ext uri="{FF2B5EF4-FFF2-40B4-BE49-F238E27FC236}">
                  <a16:creationId xmlns:a16="http://schemas.microsoft.com/office/drawing/2014/main" id="{1EB70A77-4D24-4B1F-A168-9C6633B7B45E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1537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139" name="Ovaal 108">
              <a:extLst>
                <a:ext uri="{FF2B5EF4-FFF2-40B4-BE49-F238E27FC236}">
                  <a16:creationId xmlns:a16="http://schemas.microsoft.com/office/drawing/2014/main" id="{93BDBE71-0899-40AB-9228-23FFBA3F1A3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0" name="Rechthoek 109">
              <a:extLst>
                <a:ext uri="{FF2B5EF4-FFF2-40B4-BE49-F238E27FC236}">
                  <a16:creationId xmlns:a16="http://schemas.microsoft.com/office/drawing/2014/main" id="{C1EC5EDC-3D42-4554-A084-0E0A90DF279B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1277217" rtl="0" eaLnBrk="1" fontAlgn="auto" latinLnBrk="0" hangingPunct="1">
                <a:lnSpc>
                  <a:spcPct val="90000"/>
                </a:lnSpc>
                <a:spcBef>
                  <a:spcPts val="839"/>
                </a:spcBef>
                <a:spcAft>
                  <a:spcPts val="839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141" name="Ovaal 110">
              <a:extLst>
                <a:ext uri="{FF2B5EF4-FFF2-40B4-BE49-F238E27FC236}">
                  <a16:creationId xmlns:a16="http://schemas.microsoft.com/office/drawing/2014/main" id="{2CC0A145-60E4-462A-A69C-0C364F924528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2" name="Rechthoek 111">
              <a:extLst>
                <a:ext uri="{FF2B5EF4-FFF2-40B4-BE49-F238E27FC236}">
                  <a16:creationId xmlns:a16="http://schemas.microsoft.com/office/drawing/2014/main" id="{D2CDA024-405E-4DA2-ABD4-ECCE29B0C6D4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252781" marR="0" lvl="0" indent="-252781" defTabSz="1277217" eaLnBrk="1" fontAlgn="auto" latinLnBrk="0" hangingPunct="1">
                <a:lnSpc>
                  <a:spcPct val="90000"/>
                </a:lnSpc>
                <a:spcBef>
                  <a:spcPts val="839"/>
                </a:spcBef>
                <a:spcAft>
                  <a:spcPts val="839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1537" noProof="0"/>
                <a:t>Derde Niveau</a:t>
              </a:r>
              <a:endParaRPr kumimoji="0" lang="nl-NL" sz="153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43" name="Ovaal 112">
              <a:extLst>
                <a:ext uri="{FF2B5EF4-FFF2-40B4-BE49-F238E27FC236}">
                  <a16:creationId xmlns:a16="http://schemas.microsoft.com/office/drawing/2014/main" id="{2B2E7192-0402-4FCF-AF31-A170B4FF60C8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4" name="Rechthoek 113">
              <a:extLst>
                <a:ext uri="{FF2B5EF4-FFF2-40B4-BE49-F238E27FC236}">
                  <a16:creationId xmlns:a16="http://schemas.microsoft.com/office/drawing/2014/main" id="{73AD1A30-4E0C-427A-991A-1E7E8EBF0CB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239479" marR="0" lvl="0" indent="-239479" defTabSz="1277217" eaLnBrk="1" fontAlgn="auto" latinLnBrk="0" hangingPunct="1">
                <a:lnSpc>
                  <a:spcPct val="90000"/>
                </a:lnSpc>
                <a:spcBef>
                  <a:spcPts val="839"/>
                </a:spcBef>
                <a:spcAft>
                  <a:spcPts val="839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145" name="Ovaal 114">
              <a:extLst>
                <a:ext uri="{FF2B5EF4-FFF2-40B4-BE49-F238E27FC236}">
                  <a16:creationId xmlns:a16="http://schemas.microsoft.com/office/drawing/2014/main" id="{D0AB2B93-DF30-4D53-9B11-276748D84CB4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6" name="Rechthoek 115">
              <a:extLst>
                <a:ext uri="{FF2B5EF4-FFF2-40B4-BE49-F238E27FC236}">
                  <a16:creationId xmlns:a16="http://schemas.microsoft.com/office/drawing/2014/main" id="{DCEEC80C-03E8-4ED4-8042-8E160D2DBFA6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19306" marR="0" lvl="0" indent="-319306" defTabSz="1277217" eaLnBrk="1" fontAlgn="auto" latinLnBrk="0" hangingPunct="1">
                <a:lnSpc>
                  <a:spcPct val="90000"/>
                </a:lnSpc>
                <a:spcBef>
                  <a:spcPts val="839"/>
                </a:spcBef>
                <a:spcAft>
                  <a:spcPts val="839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1677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147" name="Rechte verbindingslijn 116">
              <a:extLst>
                <a:ext uri="{FF2B5EF4-FFF2-40B4-BE49-F238E27FC236}">
                  <a16:creationId xmlns:a16="http://schemas.microsoft.com/office/drawing/2014/main" id="{CC419C43-526A-4F3A-BC3F-12C32F2C15B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48" name="Meer informatie">
              <a:extLst>
                <a:ext uri="{FF2B5EF4-FFF2-40B4-BE49-F238E27FC236}">
                  <a16:creationId xmlns:a16="http://schemas.microsoft.com/office/drawing/2014/main" id="{8725FBB4-0254-4BC3-9A16-F6F60B765C19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158" name="Freeform 101">
                <a:extLst>
                  <a:ext uri="{FF2B5EF4-FFF2-40B4-BE49-F238E27FC236}">
                    <a16:creationId xmlns:a16="http://schemas.microsoft.com/office/drawing/2014/main" id="{CFBA7BDB-DF1A-4849-A772-762E5DF987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537" noProof="0"/>
              </a:p>
            </p:txBody>
          </p:sp>
          <p:sp>
            <p:nvSpPr>
              <p:cNvPr id="159" name="Rechthoek 128">
                <a:extLst>
                  <a:ext uri="{FF2B5EF4-FFF2-40B4-BE49-F238E27FC236}">
                    <a16:creationId xmlns:a16="http://schemas.microsoft.com/office/drawing/2014/main" id="{3B188684-AC32-4862-A945-C623AB851D52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1277217" eaLnBrk="1" fontAlgn="auto" latinLnBrk="0" hangingPunct="1">
                  <a:lnSpc>
                    <a:spcPct val="90000"/>
                  </a:lnSpc>
                  <a:spcBef>
                    <a:spcPts val="839"/>
                  </a:spcBef>
                  <a:spcAft>
                    <a:spcPts val="839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537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537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537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537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1537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60" name="Rechte verbindingslijn 129">
                <a:extLst>
                  <a:ext uri="{FF2B5EF4-FFF2-40B4-BE49-F238E27FC236}">
                    <a16:creationId xmlns:a16="http://schemas.microsoft.com/office/drawing/2014/main" id="{5F7DC580-5AEB-4513-B436-052BFA01B91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Rechthoek 118">
              <a:extLst>
                <a:ext uri="{FF2B5EF4-FFF2-40B4-BE49-F238E27FC236}">
                  <a16:creationId xmlns:a16="http://schemas.microsoft.com/office/drawing/2014/main" id="{27C5F8F2-478C-4DA0-BA95-9B1969EA3167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1277217" eaLnBrk="1" fontAlgn="auto" latinLnBrk="0" hangingPunct="1">
                <a:lnSpc>
                  <a:spcPct val="90000"/>
                </a:lnSpc>
                <a:spcBef>
                  <a:spcPts val="839"/>
                </a:spcBef>
                <a:spcAft>
                  <a:spcPts val="839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150" name="Ovaal 119">
              <a:extLst>
                <a:ext uri="{FF2B5EF4-FFF2-40B4-BE49-F238E27FC236}">
                  <a16:creationId xmlns:a16="http://schemas.microsoft.com/office/drawing/2014/main" id="{658643E3-49C5-4076-B365-96476588E226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51" name="Rechthoek 120">
              <a:extLst>
                <a:ext uri="{FF2B5EF4-FFF2-40B4-BE49-F238E27FC236}">
                  <a16:creationId xmlns:a16="http://schemas.microsoft.com/office/drawing/2014/main" id="{D0E05C12-73DC-4E9F-8C5B-033E096621A5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498913" marR="0" lvl="0" indent="-252781" algn="l" defTabSz="1277217" rtl="0" eaLnBrk="1" fontAlgn="auto" latinLnBrk="0" hangingPunct="1">
                <a:lnSpc>
                  <a:spcPct val="90000"/>
                </a:lnSpc>
                <a:spcBef>
                  <a:spcPts val="839"/>
                </a:spcBef>
                <a:spcAft>
                  <a:spcPts val="839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537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1537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52" name="Ovaal 121">
              <a:extLst>
                <a:ext uri="{FF2B5EF4-FFF2-40B4-BE49-F238E27FC236}">
                  <a16:creationId xmlns:a16="http://schemas.microsoft.com/office/drawing/2014/main" id="{81C45B65-BEC7-47D3-877D-B5BE0C066D58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53" name="Rechthoek 122">
              <a:extLst>
                <a:ext uri="{FF2B5EF4-FFF2-40B4-BE49-F238E27FC236}">
                  <a16:creationId xmlns:a16="http://schemas.microsoft.com/office/drawing/2014/main" id="{F3B30888-2411-4496-9C47-716D822BB671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756132" marR="0" lvl="7" indent="-503347" algn="l" defTabSz="1277217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1677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1468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154" name="Ovaal 123">
              <a:extLst>
                <a:ext uri="{FF2B5EF4-FFF2-40B4-BE49-F238E27FC236}">
                  <a16:creationId xmlns:a16="http://schemas.microsoft.com/office/drawing/2014/main" id="{C6FDCC2B-F897-440A-8333-0CE5AD6CD5ED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55" name="Rechthoek 124">
              <a:extLst>
                <a:ext uri="{FF2B5EF4-FFF2-40B4-BE49-F238E27FC236}">
                  <a16:creationId xmlns:a16="http://schemas.microsoft.com/office/drawing/2014/main" id="{05563509-8824-4428-85BB-F0DEE1A81C9A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1277217" rtl="0" eaLnBrk="1" fontAlgn="auto" latinLnBrk="0" hangingPunct="1">
                <a:lnSpc>
                  <a:spcPct val="90000"/>
                </a:lnSpc>
                <a:spcBef>
                  <a:spcPts val="839"/>
                </a:spcBef>
                <a:spcAft>
                  <a:spcPts val="839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537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1537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56" name="Rechthoek 125">
              <a:extLst>
                <a:ext uri="{FF2B5EF4-FFF2-40B4-BE49-F238E27FC236}">
                  <a16:creationId xmlns:a16="http://schemas.microsoft.com/office/drawing/2014/main" id="{3E6957DA-D08C-4A4B-9F06-1D6A08D914AE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1277217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1677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2235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157" name="Ovaal 126">
              <a:extLst>
                <a:ext uri="{FF2B5EF4-FFF2-40B4-BE49-F238E27FC236}">
                  <a16:creationId xmlns:a16="http://schemas.microsoft.com/office/drawing/2014/main" id="{5CA2E8CD-A03D-41DF-BCC8-ABB9FFB2E45E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  <p:pic>
        <p:nvPicPr>
          <p:cNvPr id="307" name="Afbeelding 306">
            <a:extLst>
              <a:ext uri="{FF2B5EF4-FFF2-40B4-BE49-F238E27FC236}">
                <a16:creationId xmlns:a16="http://schemas.microsoft.com/office/drawing/2014/main" id="{F7CBAA26-C3F6-4707-A0EF-91BEAF96AB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5" y="831727"/>
            <a:ext cx="9249575" cy="4281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1726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hoekje 8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-5567" y="6476684"/>
            <a:ext cx="42767257" cy="23798534"/>
          </a:xfrm>
          <a:solidFill>
            <a:schemeClr val="bg1">
              <a:lumMod val="95000"/>
            </a:schemeClr>
          </a:solidFill>
        </p:spPr>
        <p:txBody>
          <a:bodyPr tIns="1044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0" name="Tijdelijke aanduiding voor voettekst 4">
            <a:extLst>
              <a:ext uri="{FF2B5EF4-FFF2-40B4-BE49-F238E27FC236}">
                <a16:creationId xmlns:a16="http://schemas.microsoft.com/office/drawing/2014/main" id="{1DA20FBD-9D0F-4EAB-B12C-126591D8B7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6644E39-2AF2-4EA0-9C3F-28C89D5A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2" y="27329718"/>
            <a:ext cx="828945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7" name="Tijdelijke aanduiding voor tekst 14">
            <a:extLst>
              <a:ext uri="{FF2B5EF4-FFF2-40B4-BE49-F238E27FC236}">
                <a16:creationId xmlns:a16="http://schemas.microsoft.com/office/drawing/2014/main" id="{A6BF4B27-7FC5-4896-80CE-3BA6119B83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15" name="Tijdelijke aanduiding voor datum 3">
            <a:extLst>
              <a:ext uri="{FF2B5EF4-FFF2-40B4-BE49-F238E27FC236}">
                <a16:creationId xmlns:a16="http://schemas.microsoft.com/office/drawing/2014/main" id="{B4AED1A4-683A-4021-8F91-6EB13C2447C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503FAE-A68E-49CA-B3F3-F3703A2361C4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26" name="Tijdelijke aanduiding voor tekst 3">
            <a:extLst>
              <a:ext uri="{FF2B5EF4-FFF2-40B4-BE49-F238E27FC236}">
                <a16:creationId xmlns:a16="http://schemas.microsoft.com/office/drawing/2014/main" id="{3A586398-8104-4AD7-A024-8ECF8764CDF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926337" y="8948021"/>
            <a:ext cx="1525800" cy="1913241"/>
          </a:xfrm>
          <a:custGeom>
            <a:avLst/>
            <a:gdLst>
              <a:gd name="connsiteX0" fmla="*/ 0 w 1174750"/>
              <a:gd name="connsiteY0" fmla="*/ 0 h 923925"/>
              <a:gd name="connsiteX1" fmla="*/ 1174750 w 1174750"/>
              <a:gd name="connsiteY1" fmla="*/ 0 h 923925"/>
              <a:gd name="connsiteX2" fmla="*/ 1174750 w 1174750"/>
              <a:gd name="connsiteY2" fmla="*/ 923925 h 923925"/>
              <a:gd name="connsiteX3" fmla="*/ 0 w 1174750"/>
              <a:gd name="connsiteY3" fmla="*/ 923925 h 923925"/>
              <a:gd name="connsiteX4" fmla="*/ 0 w 1174750"/>
              <a:gd name="connsiteY4" fmla="*/ 0 h 923925"/>
              <a:gd name="connsiteX0" fmla="*/ 1174750 w 1266190"/>
              <a:gd name="connsiteY0" fmla="*/ 923925 h 1015365"/>
              <a:gd name="connsiteX1" fmla="*/ 0 w 1266190"/>
              <a:gd name="connsiteY1" fmla="*/ 923925 h 1015365"/>
              <a:gd name="connsiteX2" fmla="*/ 0 w 1266190"/>
              <a:gd name="connsiteY2" fmla="*/ 0 h 1015365"/>
              <a:gd name="connsiteX3" fmla="*/ 1174750 w 1266190"/>
              <a:gd name="connsiteY3" fmla="*/ 0 h 1015365"/>
              <a:gd name="connsiteX4" fmla="*/ 1266190 w 1266190"/>
              <a:gd name="connsiteY4" fmla="*/ 1015365 h 1015365"/>
              <a:gd name="connsiteX0" fmla="*/ 1174750 w 1174750"/>
              <a:gd name="connsiteY0" fmla="*/ 923925 h 923925"/>
              <a:gd name="connsiteX1" fmla="*/ 0 w 1174750"/>
              <a:gd name="connsiteY1" fmla="*/ 923925 h 923925"/>
              <a:gd name="connsiteX2" fmla="*/ 0 w 1174750"/>
              <a:gd name="connsiteY2" fmla="*/ 0 h 923925"/>
              <a:gd name="connsiteX3" fmla="*/ 1174750 w 1174750"/>
              <a:gd name="connsiteY3" fmla="*/ 0 h 923925"/>
              <a:gd name="connsiteX0" fmla="*/ 0 w 1174750"/>
              <a:gd name="connsiteY0" fmla="*/ 923925 h 923925"/>
              <a:gd name="connsiteX1" fmla="*/ 0 w 1174750"/>
              <a:gd name="connsiteY1" fmla="*/ 0 h 923925"/>
              <a:gd name="connsiteX2" fmla="*/ 1174750 w 1174750"/>
              <a:gd name="connsiteY2" fmla="*/ 0 h 923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74750" h="923925">
                <a:moveTo>
                  <a:pt x="0" y="923925"/>
                </a:moveTo>
                <a:lnTo>
                  <a:pt x="0" y="0"/>
                </a:lnTo>
                <a:lnTo>
                  <a:pt x="1174750" y="0"/>
                </a:lnTo>
              </a:path>
            </a:pathLst>
          </a:custGeom>
          <a:ln w="190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  <a:alpha val="0"/>
                  </a:schemeClr>
                </a:solidFill>
              </a:defRPr>
            </a:lvl1pPr>
          </a:lstStyle>
          <a:p>
            <a:pPr lvl="0"/>
            <a:endParaRPr lang="nl-NL" noProof="0"/>
          </a:p>
        </p:txBody>
      </p:sp>
      <p:sp>
        <p:nvSpPr>
          <p:cNvPr id="27" name="Tijdelijke aanduiding voor tekst 4">
            <a:extLst>
              <a:ext uri="{FF2B5EF4-FFF2-40B4-BE49-F238E27FC236}">
                <a16:creationId xmlns:a16="http://schemas.microsoft.com/office/drawing/2014/main" id="{F6F978E4-0108-406E-AB96-5F885709DC6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890136" y="8914373"/>
            <a:ext cx="16488774" cy="7793064"/>
          </a:xfrm>
          <a:noFill/>
        </p:spPr>
        <p:txBody>
          <a:bodyPr lIns="360000" tIns="288000" rIns="360000" bIns="36000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419" b="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/>
              <a:t>Klik om tekst in te voegen</a:t>
            </a:r>
          </a:p>
        </p:txBody>
      </p:sp>
      <p:sp>
        <p:nvSpPr>
          <p:cNvPr id="32" name="Tijdelijke aanduiding voor tekst 5">
            <a:extLst>
              <a:ext uri="{FF2B5EF4-FFF2-40B4-BE49-F238E27FC236}">
                <a16:creationId xmlns:a16="http://schemas.microsoft.com/office/drawing/2014/main" id="{E42E3748-C94C-4A0F-BA64-33E6792422C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7833612" y="14745158"/>
            <a:ext cx="1511892" cy="1948270"/>
          </a:xfrm>
          <a:custGeom>
            <a:avLst/>
            <a:gdLst>
              <a:gd name="connsiteX0" fmla="*/ 0 w 1014412"/>
              <a:gd name="connsiteY0" fmla="*/ 196584 h 908050"/>
              <a:gd name="connsiteX1" fmla="*/ 196584 w 1014412"/>
              <a:gd name="connsiteY1" fmla="*/ 0 h 908050"/>
              <a:gd name="connsiteX2" fmla="*/ 817828 w 1014412"/>
              <a:gd name="connsiteY2" fmla="*/ 0 h 908050"/>
              <a:gd name="connsiteX3" fmla="*/ 1014412 w 1014412"/>
              <a:gd name="connsiteY3" fmla="*/ 196584 h 908050"/>
              <a:gd name="connsiteX4" fmla="*/ 1014412 w 1014412"/>
              <a:gd name="connsiteY4" fmla="*/ 711466 h 908050"/>
              <a:gd name="connsiteX5" fmla="*/ 817828 w 1014412"/>
              <a:gd name="connsiteY5" fmla="*/ 908050 h 908050"/>
              <a:gd name="connsiteX6" fmla="*/ 196584 w 1014412"/>
              <a:gd name="connsiteY6" fmla="*/ 908050 h 908050"/>
              <a:gd name="connsiteX7" fmla="*/ 0 w 1014412"/>
              <a:gd name="connsiteY7" fmla="*/ 711466 h 908050"/>
              <a:gd name="connsiteX8" fmla="*/ 0 w 1014412"/>
              <a:gd name="connsiteY8" fmla="*/ 196584 h 908050"/>
              <a:gd name="connsiteX0" fmla="*/ 1014412 w 1105852"/>
              <a:gd name="connsiteY0" fmla="*/ 196584 h 908050"/>
              <a:gd name="connsiteX1" fmla="*/ 1014412 w 1105852"/>
              <a:gd name="connsiteY1" fmla="*/ 711466 h 908050"/>
              <a:gd name="connsiteX2" fmla="*/ 817828 w 1105852"/>
              <a:gd name="connsiteY2" fmla="*/ 908050 h 908050"/>
              <a:gd name="connsiteX3" fmla="*/ 196584 w 1105852"/>
              <a:gd name="connsiteY3" fmla="*/ 908050 h 908050"/>
              <a:gd name="connsiteX4" fmla="*/ 0 w 1105852"/>
              <a:gd name="connsiteY4" fmla="*/ 711466 h 908050"/>
              <a:gd name="connsiteX5" fmla="*/ 0 w 1105852"/>
              <a:gd name="connsiteY5" fmla="*/ 196584 h 908050"/>
              <a:gd name="connsiteX6" fmla="*/ 196584 w 1105852"/>
              <a:gd name="connsiteY6" fmla="*/ 0 h 908050"/>
              <a:gd name="connsiteX7" fmla="*/ 817828 w 1105852"/>
              <a:gd name="connsiteY7" fmla="*/ 0 h 908050"/>
              <a:gd name="connsiteX8" fmla="*/ 1105852 w 1105852"/>
              <a:gd name="connsiteY8" fmla="*/ 288024 h 908050"/>
              <a:gd name="connsiteX0" fmla="*/ 1014412 w 1014412"/>
              <a:gd name="connsiteY0" fmla="*/ 196584 h 908050"/>
              <a:gd name="connsiteX1" fmla="*/ 1014412 w 1014412"/>
              <a:gd name="connsiteY1" fmla="*/ 711466 h 908050"/>
              <a:gd name="connsiteX2" fmla="*/ 817828 w 1014412"/>
              <a:gd name="connsiteY2" fmla="*/ 908050 h 908050"/>
              <a:gd name="connsiteX3" fmla="*/ 196584 w 1014412"/>
              <a:gd name="connsiteY3" fmla="*/ 908050 h 908050"/>
              <a:gd name="connsiteX4" fmla="*/ 0 w 1014412"/>
              <a:gd name="connsiteY4" fmla="*/ 711466 h 908050"/>
              <a:gd name="connsiteX5" fmla="*/ 0 w 1014412"/>
              <a:gd name="connsiteY5" fmla="*/ 196584 h 908050"/>
              <a:gd name="connsiteX6" fmla="*/ 196584 w 1014412"/>
              <a:gd name="connsiteY6" fmla="*/ 0 h 908050"/>
              <a:gd name="connsiteX7" fmla="*/ 817828 w 1014412"/>
              <a:gd name="connsiteY7" fmla="*/ 0 h 908050"/>
              <a:gd name="connsiteX0" fmla="*/ 1014412 w 1014412"/>
              <a:gd name="connsiteY0" fmla="*/ 196584 h 908050"/>
              <a:gd name="connsiteX1" fmla="*/ 1014412 w 1014412"/>
              <a:gd name="connsiteY1" fmla="*/ 711466 h 908050"/>
              <a:gd name="connsiteX2" fmla="*/ 817828 w 1014412"/>
              <a:gd name="connsiteY2" fmla="*/ 908050 h 908050"/>
              <a:gd name="connsiteX3" fmla="*/ 196584 w 1014412"/>
              <a:gd name="connsiteY3" fmla="*/ 908050 h 908050"/>
              <a:gd name="connsiteX4" fmla="*/ 0 w 1014412"/>
              <a:gd name="connsiteY4" fmla="*/ 711466 h 908050"/>
              <a:gd name="connsiteX5" fmla="*/ 0 w 1014412"/>
              <a:gd name="connsiteY5" fmla="*/ 196584 h 908050"/>
              <a:gd name="connsiteX6" fmla="*/ 196584 w 1014412"/>
              <a:gd name="connsiteY6" fmla="*/ 0 h 908050"/>
              <a:gd name="connsiteX0" fmla="*/ 1014412 w 1014412"/>
              <a:gd name="connsiteY0" fmla="*/ 0 h 711466"/>
              <a:gd name="connsiteX1" fmla="*/ 1014412 w 1014412"/>
              <a:gd name="connsiteY1" fmla="*/ 514882 h 711466"/>
              <a:gd name="connsiteX2" fmla="*/ 817828 w 1014412"/>
              <a:gd name="connsiteY2" fmla="*/ 711466 h 711466"/>
              <a:gd name="connsiteX3" fmla="*/ 196584 w 1014412"/>
              <a:gd name="connsiteY3" fmla="*/ 711466 h 711466"/>
              <a:gd name="connsiteX4" fmla="*/ 0 w 1014412"/>
              <a:gd name="connsiteY4" fmla="*/ 514882 h 711466"/>
              <a:gd name="connsiteX5" fmla="*/ 0 w 1014412"/>
              <a:gd name="connsiteY5" fmla="*/ 0 h 711466"/>
              <a:gd name="connsiteX0" fmla="*/ 1014412 w 1014412"/>
              <a:gd name="connsiteY0" fmla="*/ 0 h 711466"/>
              <a:gd name="connsiteX1" fmla="*/ 1014412 w 1014412"/>
              <a:gd name="connsiteY1" fmla="*/ 514882 h 711466"/>
              <a:gd name="connsiteX2" fmla="*/ 817828 w 1014412"/>
              <a:gd name="connsiteY2" fmla="*/ 711466 h 711466"/>
              <a:gd name="connsiteX3" fmla="*/ 196584 w 1014412"/>
              <a:gd name="connsiteY3" fmla="*/ 711466 h 711466"/>
              <a:gd name="connsiteX4" fmla="*/ 0 w 1014412"/>
              <a:gd name="connsiteY4" fmla="*/ 514882 h 711466"/>
              <a:gd name="connsiteX0" fmla="*/ 817828 w 817828"/>
              <a:gd name="connsiteY0" fmla="*/ 0 h 711466"/>
              <a:gd name="connsiteX1" fmla="*/ 817828 w 817828"/>
              <a:gd name="connsiteY1" fmla="*/ 514882 h 711466"/>
              <a:gd name="connsiteX2" fmla="*/ 621244 w 817828"/>
              <a:gd name="connsiteY2" fmla="*/ 711466 h 711466"/>
              <a:gd name="connsiteX3" fmla="*/ 0 w 817828"/>
              <a:gd name="connsiteY3" fmla="*/ 711466 h 711466"/>
              <a:gd name="connsiteX0" fmla="*/ 817828 w 817828"/>
              <a:gd name="connsiteY0" fmla="*/ 0 h 711466"/>
              <a:gd name="connsiteX1" fmla="*/ 815446 w 817828"/>
              <a:gd name="connsiteY1" fmla="*/ 270140 h 711466"/>
              <a:gd name="connsiteX2" fmla="*/ 817828 w 817828"/>
              <a:gd name="connsiteY2" fmla="*/ 514882 h 711466"/>
              <a:gd name="connsiteX3" fmla="*/ 621244 w 817828"/>
              <a:gd name="connsiteY3" fmla="*/ 711466 h 711466"/>
              <a:gd name="connsiteX4" fmla="*/ 0 w 817828"/>
              <a:gd name="connsiteY4" fmla="*/ 711466 h 711466"/>
              <a:gd name="connsiteX0" fmla="*/ 817828 w 817828"/>
              <a:gd name="connsiteY0" fmla="*/ 0 h 711466"/>
              <a:gd name="connsiteX1" fmla="*/ 815446 w 817828"/>
              <a:gd name="connsiteY1" fmla="*/ 270140 h 711466"/>
              <a:gd name="connsiteX2" fmla="*/ 817828 w 817828"/>
              <a:gd name="connsiteY2" fmla="*/ 514882 h 711466"/>
              <a:gd name="connsiteX3" fmla="*/ 621244 w 817828"/>
              <a:gd name="connsiteY3" fmla="*/ 711466 h 711466"/>
              <a:gd name="connsiteX4" fmla="*/ 386821 w 817828"/>
              <a:gd name="connsiteY4" fmla="*/ 708290 h 711466"/>
              <a:gd name="connsiteX5" fmla="*/ 0 w 817828"/>
              <a:gd name="connsiteY5" fmla="*/ 711466 h 711466"/>
              <a:gd name="connsiteX0" fmla="*/ 431007 w 431007"/>
              <a:gd name="connsiteY0" fmla="*/ 0 h 711466"/>
              <a:gd name="connsiteX1" fmla="*/ 428625 w 431007"/>
              <a:gd name="connsiteY1" fmla="*/ 270140 h 711466"/>
              <a:gd name="connsiteX2" fmla="*/ 431007 w 431007"/>
              <a:gd name="connsiteY2" fmla="*/ 514882 h 711466"/>
              <a:gd name="connsiteX3" fmla="*/ 234423 w 431007"/>
              <a:gd name="connsiteY3" fmla="*/ 711466 h 711466"/>
              <a:gd name="connsiteX4" fmla="*/ 0 w 431007"/>
              <a:gd name="connsiteY4" fmla="*/ 708290 h 711466"/>
              <a:gd name="connsiteX0" fmla="*/ 428625 w 431007"/>
              <a:gd name="connsiteY0" fmla="*/ 0 h 441326"/>
              <a:gd name="connsiteX1" fmla="*/ 431007 w 431007"/>
              <a:gd name="connsiteY1" fmla="*/ 244742 h 441326"/>
              <a:gd name="connsiteX2" fmla="*/ 234423 w 431007"/>
              <a:gd name="connsiteY2" fmla="*/ 441326 h 441326"/>
              <a:gd name="connsiteX3" fmla="*/ 0 w 431007"/>
              <a:gd name="connsiteY3" fmla="*/ 438150 h 441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007" h="441326">
                <a:moveTo>
                  <a:pt x="428625" y="0"/>
                </a:moveTo>
                <a:lnTo>
                  <a:pt x="431007" y="244742"/>
                </a:lnTo>
                <a:cubicBezTo>
                  <a:pt x="431007" y="353312"/>
                  <a:pt x="342993" y="441326"/>
                  <a:pt x="234423" y="441326"/>
                </a:cubicBezTo>
                <a:lnTo>
                  <a:pt x="0" y="438150"/>
                </a:lnTo>
              </a:path>
            </a:pathLst>
          </a:custGeom>
          <a:noFill/>
          <a:ln w="15875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  <a:alpha val="0"/>
                  </a:schemeClr>
                </a:solidFill>
              </a:defRPr>
            </a:lvl1pPr>
          </a:lstStyle>
          <a:p>
            <a:pPr lvl="0"/>
            <a:endParaRPr lang="nl-NL" noProof="0"/>
          </a:p>
        </p:txBody>
      </p:sp>
      <p:grpSp>
        <p:nvGrpSpPr>
          <p:cNvPr id="193" name="Groep 258">
            <a:extLst>
              <a:ext uri="{FF2B5EF4-FFF2-40B4-BE49-F238E27FC236}">
                <a16:creationId xmlns:a16="http://schemas.microsoft.com/office/drawing/2014/main" id="{2971AD4F-366B-4E40-BA05-1CB448D5BAD2}"/>
              </a:ext>
            </a:extLst>
          </p:cNvPr>
          <p:cNvGrpSpPr/>
          <p:nvPr userDrawn="1"/>
        </p:nvGrpSpPr>
        <p:grpSpPr>
          <a:xfrm>
            <a:off x="43467416" y="5"/>
            <a:ext cx="11167745" cy="23084356"/>
            <a:chOff x="12391601" y="0"/>
            <a:chExt cx="3183678" cy="5229113"/>
          </a:xfrm>
        </p:grpSpPr>
        <p:grpSp>
          <p:nvGrpSpPr>
            <p:cNvPr id="194" name="Meer informatie">
              <a:extLst>
                <a:ext uri="{FF2B5EF4-FFF2-40B4-BE49-F238E27FC236}">
                  <a16:creationId xmlns:a16="http://schemas.microsoft.com/office/drawing/2014/main" id="{286982BD-B312-4566-B12B-4B05D60B1164}"/>
                </a:ext>
              </a:extLst>
            </p:cNvPr>
            <p:cNvGrpSpPr/>
            <p:nvPr userDrawn="1"/>
          </p:nvGrpSpPr>
          <p:grpSpPr>
            <a:xfrm>
              <a:off x="12396764" y="4445840"/>
              <a:ext cx="3178515" cy="783273"/>
              <a:chOff x="-3741486" y="3386444"/>
              <a:chExt cx="3178515" cy="783273"/>
            </a:xfrm>
          </p:grpSpPr>
          <p:sp>
            <p:nvSpPr>
              <p:cNvPr id="371" name="Freeform 101">
                <a:extLst>
                  <a:ext uri="{FF2B5EF4-FFF2-40B4-BE49-F238E27FC236}">
                    <a16:creationId xmlns:a16="http://schemas.microsoft.com/office/drawing/2014/main" id="{E03F5211-188C-494D-8C4C-95E416330DB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372" name="Rechthoek 306">
                <a:extLst>
                  <a:ext uri="{FF2B5EF4-FFF2-40B4-BE49-F238E27FC236}">
                    <a16:creationId xmlns:a16="http://schemas.microsoft.com/office/drawing/2014/main" id="{BD649D4E-7FB1-487B-8105-9D807B7DF153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73" name="Rechte verbindingslijn 307">
                <a:extLst>
                  <a:ext uri="{FF2B5EF4-FFF2-40B4-BE49-F238E27FC236}">
                    <a16:creationId xmlns:a16="http://schemas.microsoft.com/office/drawing/2014/main" id="{DCC2BC89-C4EC-444F-93D5-020B9E7B0B3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95" name="Rechthoek 260">
              <a:extLst>
                <a:ext uri="{FF2B5EF4-FFF2-40B4-BE49-F238E27FC236}">
                  <a16:creationId xmlns:a16="http://schemas.microsoft.com/office/drawing/2014/main" id="{50E1DC5C-266F-4743-9170-86B38D99F2E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277" name="Ovaal 261">
              <a:extLst>
                <a:ext uri="{FF2B5EF4-FFF2-40B4-BE49-F238E27FC236}">
                  <a16:creationId xmlns:a16="http://schemas.microsoft.com/office/drawing/2014/main" id="{A01D54F2-DAC8-4816-9D68-887D9FE1AE1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78" name="Rechte verbindingslijn 262">
              <a:extLst>
                <a:ext uri="{FF2B5EF4-FFF2-40B4-BE49-F238E27FC236}">
                  <a16:creationId xmlns:a16="http://schemas.microsoft.com/office/drawing/2014/main" id="{8F418CE3-621E-4ECF-AE67-042214F1EC0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79" name="Rechte verbindingslijn 263">
              <a:extLst>
                <a:ext uri="{FF2B5EF4-FFF2-40B4-BE49-F238E27FC236}">
                  <a16:creationId xmlns:a16="http://schemas.microsoft.com/office/drawing/2014/main" id="{4F2B94E1-BCBB-4F26-B68B-FDC99A3D8F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80" name="Rechthoek 264">
              <a:extLst>
                <a:ext uri="{FF2B5EF4-FFF2-40B4-BE49-F238E27FC236}">
                  <a16:creationId xmlns:a16="http://schemas.microsoft.com/office/drawing/2014/main" id="{5C602C05-284A-457E-8980-51DB058DA74C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oor deze te selecteren en op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om een nieuwe afbeelding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281" name="Rechte verbindingslijn 265">
              <a:extLst>
                <a:ext uri="{FF2B5EF4-FFF2-40B4-BE49-F238E27FC236}">
                  <a16:creationId xmlns:a16="http://schemas.microsoft.com/office/drawing/2014/main" id="{CB2DA5FE-3E02-423D-8E15-CF9E1AB792A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4327957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82" name="Ovaal 266">
              <a:extLst>
                <a:ext uri="{FF2B5EF4-FFF2-40B4-BE49-F238E27FC236}">
                  <a16:creationId xmlns:a16="http://schemas.microsoft.com/office/drawing/2014/main" id="{DD258FEB-69EA-450B-A536-66359AE5247F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83" name="Rechthoek 267">
              <a:extLst>
                <a:ext uri="{FF2B5EF4-FFF2-40B4-BE49-F238E27FC236}">
                  <a16:creationId xmlns:a16="http://schemas.microsoft.com/office/drawing/2014/main" id="{1F0BE5B5-69E3-49A5-8113-C729874E26CF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84" name="Groep 268">
              <a:extLst>
                <a:ext uri="{FF2B5EF4-FFF2-40B4-BE49-F238E27FC236}">
                  <a16:creationId xmlns:a16="http://schemas.microsoft.com/office/drawing/2014/main" id="{F6230B4F-5457-4651-AEE1-F9754FF76FF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8" name="Rechthoek 302">
                <a:extLst>
                  <a:ext uri="{FF2B5EF4-FFF2-40B4-BE49-F238E27FC236}">
                    <a16:creationId xmlns:a16="http://schemas.microsoft.com/office/drawing/2014/main" id="{22B3D1F6-F60F-4EB2-ADF0-38C2A3D0C83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369" name="Rechte verbindingslijn 303">
                <a:extLst>
                  <a:ext uri="{FF2B5EF4-FFF2-40B4-BE49-F238E27FC236}">
                    <a16:creationId xmlns:a16="http://schemas.microsoft.com/office/drawing/2014/main" id="{2840ADCD-96B7-44F3-B757-104951BD229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0" name="Gelijkbenige driehoek 304">
                <a:extLst>
                  <a:ext uri="{FF2B5EF4-FFF2-40B4-BE49-F238E27FC236}">
                    <a16:creationId xmlns:a16="http://schemas.microsoft.com/office/drawing/2014/main" id="{C4D1AE4C-38A2-4780-A253-460B2402CBC9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285" name="Groep 269">
              <a:extLst>
                <a:ext uri="{FF2B5EF4-FFF2-40B4-BE49-F238E27FC236}">
                  <a16:creationId xmlns:a16="http://schemas.microsoft.com/office/drawing/2014/main" id="{EE8F6AE5-0422-43EF-877C-37DE7B8883EB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362" name="Rechthoek 296">
                <a:extLst>
                  <a:ext uri="{FF2B5EF4-FFF2-40B4-BE49-F238E27FC236}">
                    <a16:creationId xmlns:a16="http://schemas.microsoft.com/office/drawing/2014/main" id="{571F1463-BB84-492B-889F-C00776B46D26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3" name="Ovaal 297">
                <a:extLst>
                  <a:ext uri="{FF2B5EF4-FFF2-40B4-BE49-F238E27FC236}">
                    <a16:creationId xmlns:a16="http://schemas.microsoft.com/office/drawing/2014/main" id="{6129ECE2-57A2-435D-A4EE-0EEE354F5426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Vrije vorm: vorm 298">
                <a:extLst>
                  <a:ext uri="{FF2B5EF4-FFF2-40B4-BE49-F238E27FC236}">
                    <a16:creationId xmlns:a16="http://schemas.microsoft.com/office/drawing/2014/main" id="{BB9BEEC9-1D96-4E9A-BE22-AA17726B27E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5" name="Rechthoek: afgeronde hoeken 299">
                <a:extLst>
                  <a:ext uri="{FF2B5EF4-FFF2-40B4-BE49-F238E27FC236}">
                    <a16:creationId xmlns:a16="http://schemas.microsoft.com/office/drawing/2014/main" id="{AD6D05A4-F59F-4D21-883D-EF7056DF02F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6" name="Rechte verbindingslijn 300">
                <a:extLst>
                  <a:ext uri="{FF2B5EF4-FFF2-40B4-BE49-F238E27FC236}">
                    <a16:creationId xmlns:a16="http://schemas.microsoft.com/office/drawing/2014/main" id="{F1C839E8-D756-44F4-B793-0E8FF1C8795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7" name="Rechte verbindingslijn 301">
                <a:extLst>
                  <a:ext uri="{FF2B5EF4-FFF2-40B4-BE49-F238E27FC236}">
                    <a16:creationId xmlns:a16="http://schemas.microsoft.com/office/drawing/2014/main" id="{30FE9343-0C7B-4465-A4DC-DC54D21AD6C2}"/>
                  </a:ext>
                </a:extLst>
              </p:cNvPr>
              <p:cNvCxnSpPr>
                <a:cxnSpLocks/>
                <a:stCxn id="365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286" name="Ovaal 270">
              <a:extLst>
                <a:ext uri="{FF2B5EF4-FFF2-40B4-BE49-F238E27FC236}">
                  <a16:creationId xmlns:a16="http://schemas.microsoft.com/office/drawing/2014/main" id="{7AE386D5-78FB-4B79-8BE7-23312AE41E2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87" name="Rechthoek 271">
              <a:extLst>
                <a:ext uri="{FF2B5EF4-FFF2-40B4-BE49-F238E27FC236}">
                  <a16:creationId xmlns:a16="http://schemas.microsoft.com/office/drawing/2014/main" id="{3038A79B-91FF-4661-911E-D680E9CC8213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43320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aan de linker kant van het scherm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288" name="Rechte verbindingslijn 272">
              <a:extLst>
                <a:ext uri="{FF2B5EF4-FFF2-40B4-BE49-F238E27FC236}">
                  <a16:creationId xmlns:a16="http://schemas.microsoft.com/office/drawing/2014/main" id="{D0B59C2B-E3E3-49E2-BFCA-BB09B27EC74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89" name="Rechthoek 273">
              <a:extLst>
                <a:ext uri="{FF2B5EF4-FFF2-40B4-BE49-F238E27FC236}">
                  <a16:creationId xmlns:a16="http://schemas.microsoft.com/office/drawing/2014/main" id="{C3D70EB3-E91D-448C-8B3A-FFA5FDDA4D06}"/>
                </a:ext>
              </a:extLst>
            </p:cNvPr>
            <p:cNvSpPr/>
            <p:nvPr userDrawn="1"/>
          </p:nvSpPr>
          <p:spPr>
            <a:xfrm>
              <a:off x="12654153" y="3238910"/>
              <a:ext cx="1624926" cy="805220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3509" b="0" i="1" noProof="0">
                <a:solidFill>
                  <a:schemeClr val="tx1"/>
                </a:solidFill>
              </a:endParaRPr>
            </a:p>
          </p:txBody>
        </p:sp>
        <p:grpSp>
          <p:nvGrpSpPr>
            <p:cNvPr id="290" name="Groep 274">
              <a:extLst>
                <a:ext uri="{FF2B5EF4-FFF2-40B4-BE49-F238E27FC236}">
                  <a16:creationId xmlns:a16="http://schemas.microsoft.com/office/drawing/2014/main" id="{B1F56C95-C493-4744-8D1A-DAFF50412708}"/>
                </a:ext>
              </a:extLst>
            </p:cNvPr>
            <p:cNvGrpSpPr/>
            <p:nvPr userDrawn="1"/>
          </p:nvGrpSpPr>
          <p:grpSpPr>
            <a:xfrm>
              <a:off x="13614067" y="3535184"/>
              <a:ext cx="1195438" cy="678267"/>
              <a:chOff x="12757284" y="3224292"/>
              <a:chExt cx="1195438" cy="678267"/>
            </a:xfrm>
          </p:grpSpPr>
          <p:sp>
            <p:nvSpPr>
              <p:cNvPr id="291" name="Rechthoek 275">
                <a:extLst>
                  <a:ext uri="{FF2B5EF4-FFF2-40B4-BE49-F238E27FC236}">
                    <a16:creationId xmlns:a16="http://schemas.microsoft.com/office/drawing/2014/main" id="{4E864FC8-874C-4730-9704-A3AF76325A16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92" name="Rechthoek 276">
                <a:extLst>
                  <a:ext uri="{FF2B5EF4-FFF2-40B4-BE49-F238E27FC236}">
                    <a16:creationId xmlns:a16="http://schemas.microsoft.com/office/drawing/2014/main" id="{C6701BA7-565F-4F08-A268-29BF69F5694E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93" name="Groep 277">
                <a:extLst>
                  <a:ext uri="{FF2B5EF4-FFF2-40B4-BE49-F238E27FC236}">
                    <a16:creationId xmlns:a16="http://schemas.microsoft.com/office/drawing/2014/main" id="{F837D2C2-C090-4859-A59E-617962948D87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306" name="Rechthoek: afgeronde hoeken 290">
                  <a:extLst>
                    <a:ext uri="{FF2B5EF4-FFF2-40B4-BE49-F238E27FC236}">
                      <a16:creationId xmlns:a16="http://schemas.microsoft.com/office/drawing/2014/main" id="{0F9DB7E2-00A2-4A86-BB1F-048032508F6E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endPara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07" name="Rechthoek 291">
                  <a:extLst>
                    <a:ext uri="{FF2B5EF4-FFF2-40B4-BE49-F238E27FC236}">
                      <a16:creationId xmlns:a16="http://schemas.microsoft.com/office/drawing/2014/main" id="{4D0B0408-546F-4C2B-A4BB-C883B2334917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8" name="Rechthoek 292">
                  <a:extLst>
                    <a:ext uri="{FF2B5EF4-FFF2-40B4-BE49-F238E27FC236}">
                      <a16:creationId xmlns:a16="http://schemas.microsoft.com/office/drawing/2014/main" id="{36F539AC-96C5-49A3-B6FE-8A1258D12269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9" name="Rechthoek 293">
                  <a:extLst>
                    <a:ext uri="{FF2B5EF4-FFF2-40B4-BE49-F238E27FC236}">
                      <a16:creationId xmlns:a16="http://schemas.microsoft.com/office/drawing/2014/main" id="{F73F991C-6652-423A-96E4-42F900271BEF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10" name="Rechthoek 294">
                  <a:extLst>
                    <a:ext uri="{FF2B5EF4-FFF2-40B4-BE49-F238E27FC236}">
                      <a16:creationId xmlns:a16="http://schemas.microsoft.com/office/drawing/2014/main" id="{7EA8C298-6998-4F78-BE30-C940D037066C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11" name="Rechthoek 295">
                  <a:extLst>
                    <a:ext uri="{FF2B5EF4-FFF2-40B4-BE49-F238E27FC236}">
                      <a16:creationId xmlns:a16="http://schemas.microsoft.com/office/drawing/2014/main" id="{324B9107-8BE1-47B3-B86A-8023966A2B46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294" name="Groep 278">
                <a:extLst>
                  <a:ext uri="{FF2B5EF4-FFF2-40B4-BE49-F238E27FC236}">
                    <a16:creationId xmlns:a16="http://schemas.microsoft.com/office/drawing/2014/main" id="{7686BF6E-68E7-49C3-B1EA-499D30BC896C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298" name="Groep 282">
                  <a:extLst>
                    <a:ext uri="{FF2B5EF4-FFF2-40B4-BE49-F238E27FC236}">
                      <a16:creationId xmlns:a16="http://schemas.microsoft.com/office/drawing/2014/main" id="{3FC7067E-8D0E-4554-A7C0-E8E8593E9CBB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300" name="Rechthoek: afgeronde hoeken 284">
                    <a:extLst>
                      <a:ext uri="{FF2B5EF4-FFF2-40B4-BE49-F238E27FC236}">
                        <a16:creationId xmlns:a16="http://schemas.microsoft.com/office/drawing/2014/main" id="{2E32EFA6-6837-48D7-AB71-A58701D1D06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2105"/>
                      </a:spcBef>
                      <a:spcAft>
                        <a:spcPts val="2105"/>
                      </a:spcAft>
                    </a:pPr>
                    <a:endParaRPr lang="nl-NL" sz="280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301" name="Rechthoek 285">
                    <a:extLst>
                      <a:ext uri="{FF2B5EF4-FFF2-40B4-BE49-F238E27FC236}">
                        <a16:creationId xmlns:a16="http://schemas.microsoft.com/office/drawing/2014/main" id="{7201A464-F0A0-4EA2-8AA2-0FFF8952362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2" name="Rechthoek 286">
                    <a:extLst>
                      <a:ext uri="{FF2B5EF4-FFF2-40B4-BE49-F238E27FC236}">
                        <a16:creationId xmlns:a16="http://schemas.microsoft.com/office/drawing/2014/main" id="{F998DE25-860D-4486-842F-3CCB9BF46FA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3" name="Rechthoek 287">
                    <a:extLst>
                      <a:ext uri="{FF2B5EF4-FFF2-40B4-BE49-F238E27FC236}">
                        <a16:creationId xmlns:a16="http://schemas.microsoft.com/office/drawing/2014/main" id="{4E557AA1-1712-4FF2-A967-290C22B78C4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4" name="Rechthoek 288">
                    <a:extLst>
                      <a:ext uri="{FF2B5EF4-FFF2-40B4-BE49-F238E27FC236}">
                        <a16:creationId xmlns:a16="http://schemas.microsoft.com/office/drawing/2014/main" id="{D61A6982-10BC-4B01-8394-2B23781F985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5" name="Rechthoek 289">
                    <a:extLst>
                      <a:ext uri="{FF2B5EF4-FFF2-40B4-BE49-F238E27FC236}">
                        <a16:creationId xmlns:a16="http://schemas.microsoft.com/office/drawing/2014/main" id="{8FD3E83F-7748-44E3-A281-C85532C4FB9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299" name="Boog 283">
                  <a:extLst>
                    <a:ext uri="{FF2B5EF4-FFF2-40B4-BE49-F238E27FC236}">
                      <a16:creationId xmlns:a16="http://schemas.microsoft.com/office/drawing/2014/main" id="{A30AAC2F-0F76-42C7-A015-C0DB4F80FBAA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</p:grpSp>
          <p:sp>
            <p:nvSpPr>
              <p:cNvPr id="295" name="Tekstvak 279">
                <a:extLst>
                  <a:ext uri="{FF2B5EF4-FFF2-40B4-BE49-F238E27FC236}">
                    <a16:creationId xmlns:a16="http://schemas.microsoft.com/office/drawing/2014/main" id="{6FFCC4B5-9E92-49E9-9961-E4A1A8AAC380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296" name="Tekstvak 280">
                <a:extLst>
                  <a:ext uri="{FF2B5EF4-FFF2-40B4-BE49-F238E27FC236}">
                    <a16:creationId xmlns:a16="http://schemas.microsoft.com/office/drawing/2014/main" id="{1354E724-79E1-473B-A1AC-31E67C55E4B8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297" name="Picture 3">
                <a:extLst>
                  <a:ext uri="{FF2B5EF4-FFF2-40B4-BE49-F238E27FC236}">
                    <a16:creationId xmlns:a16="http://schemas.microsoft.com/office/drawing/2014/main" id="{67B72367-B811-4518-935A-790E55536DD6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810206" y="3671228"/>
                <a:ext cx="14251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grpSp>
        <p:nvGrpSpPr>
          <p:cNvPr id="143" name="Groep 101">
            <a:extLst>
              <a:ext uri="{FF2B5EF4-FFF2-40B4-BE49-F238E27FC236}">
                <a16:creationId xmlns:a16="http://schemas.microsoft.com/office/drawing/2014/main" id="{47CB4194-5173-468E-A122-789407343460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144" name="Rechthoek 102">
              <a:extLst>
                <a:ext uri="{FF2B5EF4-FFF2-40B4-BE49-F238E27FC236}">
                  <a16:creationId xmlns:a16="http://schemas.microsoft.com/office/drawing/2014/main" id="{7526EC12-1432-4121-8A0A-15C09256EC3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145" name="Ovaal 103">
              <a:extLst>
                <a:ext uri="{FF2B5EF4-FFF2-40B4-BE49-F238E27FC236}">
                  <a16:creationId xmlns:a16="http://schemas.microsoft.com/office/drawing/2014/main" id="{1142519C-4D88-4F7E-B22F-3DB38A9EB6E8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6" name="Rechte verbindingslijn 104">
              <a:extLst>
                <a:ext uri="{FF2B5EF4-FFF2-40B4-BE49-F238E27FC236}">
                  <a16:creationId xmlns:a16="http://schemas.microsoft.com/office/drawing/2014/main" id="{BB90E575-E4F2-49A2-9788-21DEC5F6A18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47" name="Groep 105">
              <a:extLst>
                <a:ext uri="{FF2B5EF4-FFF2-40B4-BE49-F238E27FC236}">
                  <a16:creationId xmlns:a16="http://schemas.microsoft.com/office/drawing/2014/main" id="{8086BD83-065C-4B46-9118-111D75A9CD54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72" name="Rechthoek 130">
                <a:extLst>
                  <a:ext uri="{FF2B5EF4-FFF2-40B4-BE49-F238E27FC236}">
                    <a16:creationId xmlns:a16="http://schemas.microsoft.com/office/drawing/2014/main" id="{2CC40364-CCA8-4909-A89F-AFB068E73802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173" name="Rechte verbindingslijn 131">
                <a:extLst>
                  <a:ext uri="{FF2B5EF4-FFF2-40B4-BE49-F238E27FC236}">
                    <a16:creationId xmlns:a16="http://schemas.microsoft.com/office/drawing/2014/main" id="{58E40CA8-9E34-4258-9E9E-7C5A3497691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Rechte verbindingslijn 132">
                <a:extLst>
                  <a:ext uri="{FF2B5EF4-FFF2-40B4-BE49-F238E27FC236}">
                    <a16:creationId xmlns:a16="http://schemas.microsoft.com/office/drawing/2014/main" id="{91E3B00F-D7FE-4FBD-A2A4-A55A6356596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5" name="Rechthoek 133">
                <a:extLst>
                  <a:ext uri="{FF2B5EF4-FFF2-40B4-BE49-F238E27FC236}">
                    <a16:creationId xmlns:a16="http://schemas.microsoft.com/office/drawing/2014/main" id="{266C5721-EA7A-49E2-8BC3-28586E44FB07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6" name="Groep 134">
                <a:extLst>
                  <a:ext uri="{FF2B5EF4-FFF2-40B4-BE49-F238E27FC236}">
                    <a16:creationId xmlns:a16="http://schemas.microsoft.com/office/drawing/2014/main" id="{8232EF18-7C94-4C65-A6F3-99310ECE4E54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18" name="Groep 175">
                  <a:extLst>
                    <a:ext uri="{FF2B5EF4-FFF2-40B4-BE49-F238E27FC236}">
                      <a16:creationId xmlns:a16="http://schemas.microsoft.com/office/drawing/2014/main" id="{F9F171ED-5786-4227-8780-5ECDB522A521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22" name="Rechte verbindingslijn 179">
                    <a:extLst>
                      <a:ext uri="{FF2B5EF4-FFF2-40B4-BE49-F238E27FC236}">
                        <a16:creationId xmlns:a16="http://schemas.microsoft.com/office/drawing/2014/main" id="{3FCD3111-2C94-474F-86BB-B8E963ADAAC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180">
                    <a:extLst>
                      <a:ext uri="{FF2B5EF4-FFF2-40B4-BE49-F238E27FC236}">
                        <a16:creationId xmlns:a16="http://schemas.microsoft.com/office/drawing/2014/main" id="{6615A7D3-E532-4EA1-9470-4578AF031E3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181">
                    <a:extLst>
                      <a:ext uri="{FF2B5EF4-FFF2-40B4-BE49-F238E27FC236}">
                        <a16:creationId xmlns:a16="http://schemas.microsoft.com/office/drawing/2014/main" id="{3AD09CA9-1F8B-4BBE-9E6B-5B55E2CEDC1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182">
                    <a:extLst>
                      <a:ext uri="{FF2B5EF4-FFF2-40B4-BE49-F238E27FC236}">
                        <a16:creationId xmlns:a16="http://schemas.microsoft.com/office/drawing/2014/main" id="{0B780755-3DBA-415B-A0BA-B5E2F31BAE3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183">
                    <a:extLst>
                      <a:ext uri="{FF2B5EF4-FFF2-40B4-BE49-F238E27FC236}">
                        <a16:creationId xmlns:a16="http://schemas.microsoft.com/office/drawing/2014/main" id="{CB22B8AA-DDF8-43D8-B822-3010C5EAE8C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176">
                  <a:extLst>
                    <a:ext uri="{FF2B5EF4-FFF2-40B4-BE49-F238E27FC236}">
                      <a16:creationId xmlns:a16="http://schemas.microsoft.com/office/drawing/2014/main" id="{26099D74-B28E-487B-8C9E-B5391E5FA5EF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177">
                    <a:extLst>
                      <a:ext uri="{FF2B5EF4-FFF2-40B4-BE49-F238E27FC236}">
                        <a16:creationId xmlns:a16="http://schemas.microsoft.com/office/drawing/2014/main" id="{74045800-A7E4-4800-B832-E38D0FF2BBB1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1" name="Pijl: punthaak 178">
                    <a:extLst>
                      <a:ext uri="{FF2B5EF4-FFF2-40B4-BE49-F238E27FC236}">
                        <a16:creationId xmlns:a16="http://schemas.microsoft.com/office/drawing/2014/main" id="{4C84ED2F-CCA7-4DDA-A192-694035B70E1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7" name="Groep 135">
                <a:extLst>
                  <a:ext uri="{FF2B5EF4-FFF2-40B4-BE49-F238E27FC236}">
                    <a16:creationId xmlns:a16="http://schemas.microsoft.com/office/drawing/2014/main" id="{8E2B5D0D-8AFF-48B9-B4CD-011D8DFE28A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9" name="Groep 166">
                  <a:extLst>
                    <a:ext uri="{FF2B5EF4-FFF2-40B4-BE49-F238E27FC236}">
                      <a16:creationId xmlns:a16="http://schemas.microsoft.com/office/drawing/2014/main" id="{370A416A-4921-40B7-91F1-F83D5C0A8588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13" name="Rechte verbindingslijn 170">
                    <a:extLst>
                      <a:ext uri="{FF2B5EF4-FFF2-40B4-BE49-F238E27FC236}">
                        <a16:creationId xmlns:a16="http://schemas.microsoft.com/office/drawing/2014/main" id="{6F98FE2A-DBA0-4097-87CA-4A709E48D5F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4" name="Rechte verbindingslijn 171">
                    <a:extLst>
                      <a:ext uri="{FF2B5EF4-FFF2-40B4-BE49-F238E27FC236}">
                        <a16:creationId xmlns:a16="http://schemas.microsoft.com/office/drawing/2014/main" id="{DD92E75E-44EA-4554-BC1A-BA1B0E487E9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5" name="Rechte verbindingslijn 172">
                    <a:extLst>
                      <a:ext uri="{FF2B5EF4-FFF2-40B4-BE49-F238E27FC236}">
                        <a16:creationId xmlns:a16="http://schemas.microsoft.com/office/drawing/2014/main" id="{728DEDFB-98D4-496F-8DB5-E116C7F6FA4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6" name="Rechte verbindingslijn 173">
                    <a:extLst>
                      <a:ext uri="{FF2B5EF4-FFF2-40B4-BE49-F238E27FC236}">
                        <a16:creationId xmlns:a16="http://schemas.microsoft.com/office/drawing/2014/main" id="{7F621123-FEB4-4E20-84FF-A3B35D89395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7" name="Rechte verbindingslijn 174">
                    <a:extLst>
                      <a:ext uri="{FF2B5EF4-FFF2-40B4-BE49-F238E27FC236}">
                        <a16:creationId xmlns:a16="http://schemas.microsoft.com/office/drawing/2014/main" id="{B1FE9D5D-BB1D-41A4-B0F4-7C350A8E617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0" name="Groep 167">
                  <a:extLst>
                    <a:ext uri="{FF2B5EF4-FFF2-40B4-BE49-F238E27FC236}">
                      <a16:creationId xmlns:a16="http://schemas.microsoft.com/office/drawing/2014/main" id="{ADA822AE-1A83-4567-822C-D1AB5826C177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11" name="Rechthoek 168">
                    <a:extLst>
                      <a:ext uri="{FF2B5EF4-FFF2-40B4-BE49-F238E27FC236}">
                        <a16:creationId xmlns:a16="http://schemas.microsoft.com/office/drawing/2014/main" id="{E1A1B1F9-B377-4F1A-8482-972BC132C66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2" name="Pijl: punthaak 169">
                    <a:extLst>
                      <a:ext uri="{FF2B5EF4-FFF2-40B4-BE49-F238E27FC236}">
                        <a16:creationId xmlns:a16="http://schemas.microsoft.com/office/drawing/2014/main" id="{BB744F2D-AE1A-4FB1-8534-D14D3121F4F1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8" name="Rechte verbindingslijn 136">
                <a:extLst>
                  <a:ext uri="{FF2B5EF4-FFF2-40B4-BE49-F238E27FC236}">
                    <a16:creationId xmlns:a16="http://schemas.microsoft.com/office/drawing/2014/main" id="{12DA91C2-769F-4D99-939A-8F36BA942D8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9" name="Rechte verbindingslijn 137">
                <a:extLst>
                  <a:ext uri="{FF2B5EF4-FFF2-40B4-BE49-F238E27FC236}">
                    <a16:creationId xmlns:a16="http://schemas.microsoft.com/office/drawing/2014/main" id="{706D3FDB-7ADA-40DF-8174-478847061D8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80" name="Groep 138">
                <a:extLst>
                  <a:ext uri="{FF2B5EF4-FFF2-40B4-BE49-F238E27FC236}">
                    <a16:creationId xmlns:a16="http://schemas.microsoft.com/office/drawing/2014/main" id="{4423A69A-8F35-428F-A283-8FD2652570BB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8" name="Rechthoek 155">
                  <a:extLst>
                    <a:ext uri="{FF2B5EF4-FFF2-40B4-BE49-F238E27FC236}">
                      <a16:creationId xmlns:a16="http://schemas.microsoft.com/office/drawing/2014/main" id="{EE45D136-EF41-4B80-932F-752AF802DEB3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9" name="Groep 156">
                  <a:extLst>
                    <a:ext uri="{FF2B5EF4-FFF2-40B4-BE49-F238E27FC236}">
                      <a16:creationId xmlns:a16="http://schemas.microsoft.com/office/drawing/2014/main" id="{CB97E053-6FAF-4325-A1C4-E10799B8D42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0" name="Groep 157">
                    <a:extLst>
                      <a:ext uri="{FF2B5EF4-FFF2-40B4-BE49-F238E27FC236}">
                        <a16:creationId xmlns:a16="http://schemas.microsoft.com/office/drawing/2014/main" id="{B924C37B-DDF7-45DF-80A4-CCB22B105A5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04" name="Rechte verbindingslijn 161">
                      <a:extLst>
                        <a:ext uri="{FF2B5EF4-FFF2-40B4-BE49-F238E27FC236}">
                          <a16:creationId xmlns:a16="http://schemas.microsoft.com/office/drawing/2014/main" id="{6585FB54-F4A0-41BF-B0CE-E7CC317AC6C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162">
                      <a:extLst>
                        <a:ext uri="{FF2B5EF4-FFF2-40B4-BE49-F238E27FC236}">
                          <a16:creationId xmlns:a16="http://schemas.microsoft.com/office/drawing/2014/main" id="{BC13B9DA-DE40-4745-B878-48FB34BA513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163">
                      <a:extLst>
                        <a:ext uri="{FF2B5EF4-FFF2-40B4-BE49-F238E27FC236}">
                          <a16:creationId xmlns:a16="http://schemas.microsoft.com/office/drawing/2014/main" id="{3CFFA4AA-2B83-4240-82DC-2F59C35D1A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7" name="Rechte verbindingslijn 164">
                      <a:extLst>
                        <a:ext uri="{FF2B5EF4-FFF2-40B4-BE49-F238E27FC236}">
                          <a16:creationId xmlns:a16="http://schemas.microsoft.com/office/drawing/2014/main" id="{D1643326-0AA8-423D-A027-E53A0EC942C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8" name="Rechte verbindingslijn 165">
                      <a:extLst>
                        <a:ext uri="{FF2B5EF4-FFF2-40B4-BE49-F238E27FC236}">
                          <a16:creationId xmlns:a16="http://schemas.microsoft.com/office/drawing/2014/main" id="{A19D1767-3EA8-48FB-B2DD-EB7A7E4376F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01" name="Groep 158">
                    <a:extLst>
                      <a:ext uri="{FF2B5EF4-FFF2-40B4-BE49-F238E27FC236}">
                        <a16:creationId xmlns:a16="http://schemas.microsoft.com/office/drawing/2014/main" id="{6A653AF7-20A6-4F5D-A1CF-7E7889C572D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2" name="Rechthoek 159">
                      <a:extLst>
                        <a:ext uri="{FF2B5EF4-FFF2-40B4-BE49-F238E27FC236}">
                          <a16:creationId xmlns:a16="http://schemas.microsoft.com/office/drawing/2014/main" id="{16E1C486-3B35-4714-8DA3-6E1CA06E5A1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3" name="Pijl: punthaak 160">
                      <a:extLst>
                        <a:ext uri="{FF2B5EF4-FFF2-40B4-BE49-F238E27FC236}">
                          <a16:creationId xmlns:a16="http://schemas.microsoft.com/office/drawing/2014/main" id="{C9A572C7-D8BD-40A9-BD77-C14179F5B46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81" name="Groep 139">
                <a:extLst>
                  <a:ext uri="{FF2B5EF4-FFF2-40B4-BE49-F238E27FC236}">
                    <a16:creationId xmlns:a16="http://schemas.microsoft.com/office/drawing/2014/main" id="{07491E33-4D1A-4825-843B-8C97CC3121A2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84" name="Rechthoek 142">
                  <a:extLst>
                    <a:ext uri="{FF2B5EF4-FFF2-40B4-BE49-F238E27FC236}">
                      <a16:creationId xmlns:a16="http://schemas.microsoft.com/office/drawing/2014/main" id="{0049DFFC-2D58-4E46-A764-184463979C4F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5" name="Groep 143">
                  <a:extLst>
                    <a:ext uri="{FF2B5EF4-FFF2-40B4-BE49-F238E27FC236}">
                      <a16:creationId xmlns:a16="http://schemas.microsoft.com/office/drawing/2014/main" id="{869765FA-7FA6-4A49-9FA3-B506969F1A3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6" name="Groep 144">
                    <a:extLst>
                      <a:ext uri="{FF2B5EF4-FFF2-40B4-BE49-F238E27FC236}">
                        <a16:creationId xmlns:a16="http://schemas.microsoft.com/office/drawing/2014/main" id="{21157C45-5328-43C2-BE64-07AD427B8C6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90" name="Rechte verbindingslijn 150">
                      <a:extLst>
                        <a:ext uri="{FF2B5EF4-FFF2-40B4-BE49-F238E27FC236}">
                          <a16:creationId xmlns:a16="http://schemas.microsoft.com/office/drawing/2014/main" id="{34E10DF4-33FA-4CAC-AF38-E9FE624CE74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1" name="Rechte verbindingslijn 151">
                      <a:extLst>
                        <a:ext uri="{FF2B5EF4-FFF2-40B4-BE49-F238E27FC236}">
                          <a16:creationId xmlns:a16="http://schemas.microsoft.com/office/drawing/2014/main" id="{ACBB9494-C05E-4B07-8047-7527AED9E39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2" name="Rechte verbindingslijn 152">
                      <a:extLst>
                        <a:ext uri="{FF2B5EF4-FFF2-40B4-BE49-F238E27FC236}">
                          <a16:creationId xmlns:a16="http://schemas.microsoft.com/office/drawing/2014/main" id="{F1B2964A-A6F8-474F-98E0-CFC487131C7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6" name="Rechte verbindingslijn 153">
                      <a:extLst>
                        <a:ext uri="{FF2B5EF4-FFF2-40B4-BE49-F238E27FC236}">
                          <a16:creationId xmlns:a16="http://schemas.microsoft.com/office/drawing/2014/main" id="{09EBA0F5-F4D1-4B6D-9554-64E3F7D1175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54">
                      <a:extLst>
                        <a:ext uri="{FF2B5EF4-FFF2-40B4-BE49-F238E27FC236}">
                          <a16:creationId xmlns:a16="http://schemas.microsoft.com/office/drawing/2014/main" id="{2C2926A1-7C8C-4BB6-90FD-433F4B3497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7" name="Groep 147">
                    <a:extLst>
                      <a:ext uri="{FF2B5EF4-FFF2-40B4-BE49-F238E27FC236}">
                        <a16:creationId xmlns:a16="http://schemas.microsoft.com/office/drawing/2014/main" id="{64230569-40E4-4157-B262-1D067D3CBBD6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8" name="Rechthoek 148">
                      <a:extLst>
                        <a:ext uri="{FF2B5EF4-FFF2-40B4-BE49-F238E27FC236}">
                          <a16:creationId xmlns:a16="http://schemas.microsoft.com/office/drawing/2014/main" id="{14513BC9-6C6D-4AFB-A408-7519FF4140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9" name="Pijl: punthaak 149">
                      <a:extLst>
                        <a:ext uri="{FF2B5EF4-FFF2-40B4-BE49-F238E27FC236}">
                          <a16:creationId xmlns:a16="http://schemas.microsoft.com/office/drawing/2014/main" id="{10C28501-2868-4383-BFBE-FD7CBBDC3820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82" name="Rechthoek 140">
                <a:extLst>
                  <a:ext uri="{FF2B5EF4-FFF2-40B4-BE49-F238E27FC236}">
                    <a16:creationId xmlns:a16="http://schemas.microsoft.com/office/drawing/2014/main" id="{21365C5A-0F97-40FA-BB38-95DDC6EF6A76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183" name="Rechthoek 141">
                <a:extLst>
                  <a:ext uri="{FF2B5EF4-FFF2-40B4-BE49-F238E27FC236}">
                    <a16:creationId xmlns:a16="http://schemas.microsoft.com/office/drawing/2014/main" id="{37837E00-DD2E-4AA0-A2CB-74BBA2A57F3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148" name="Rechte verbindingslijn 106">
              <a:extLst>
                <a:ext uri="{FF2B5EF4-FFF2-40B4-BE49-F238E27FC236}">
                  <a16:creationId xmlns:a16="http://schemas.microsoft.com/office/drawing/2014/main" id="{34E29B9B-7652-4990-83F8-4473D9C65AA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9" name="Rechthoek 107">
              <a:extLst>
                <a:ext uri="{FF2B5EF4-FFF2-40B4-BE49-F238E27FC236}">
                  <a16:creationId xmlns:a16="http://schemas.microsoft.com/office/drawing/2014/main" id="{89398ACB-B8C9-4D2A-A364-A80B12B157DF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150" name="Ovaal 108">
              <a:extLst>
                <a:ext uri="{FF2B5EF4-FFF2-40B4-BE49-F238E27FC236}">
                  <a16:creationId xmlns:a16="http://schemas.microsoft.com/office/drawing/2014/main" id="{BDE9CF40-3969-40F5-BB61-2CFFFB24C8A6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1" name="Rechthoek 109">
              <a:extLst>
                <a:ext uri="{FF2B5EF4-FFF2-40B4-BE49-F238E27FC236}">
                  <a16:creationId xmlns:a16="http://schemas.microsoft.com/office/drawing/2014/main" id="{10BCBFBD-DD59-4297-A87A-B3E73640C0B5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152" name="Ovaal 110">
              <a:extLst>
                <a:ext uri="{FF2B5EF4-FFF2-40B4-BE49-F238E27FC236}">
                  <a16:creationId xmlns:a16="http://schemas.microsoft.com/office/drawing/2014/main" id="{073BFF21-0359-4606-B732-D9C5945CFEE6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11">
              <a:extLst>
                <a:ext uri="{FF2B5EF4-FFF2-40B4-BE49-F238E27FC236}">
                  <a16:creationId xmlns:a16="http://schemas.microsoft.com/office/drawing/2014/main" id="{20B7250B-6593-4731-9E21-4829ACA97F6F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54" name="Ovaal 112">
              <a:extLst>
                <a:ext uri="{FF2B5EF4-FFF2-40B4-BE49-F238E27FC236}">
                  <a16:creationId xmlns:a16="http://schemas.microsoft.com/office/drawing/2014/main" id="{39129DF6-F3FB-4899-A7D4-5740B57D6D60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55" name="Rechthoek 113">
              <a:extLst>
                <a:ext uri="{FF2B5EF4-FFF2-40B4-BE49-F238E27FC236}">
                  <a16:creationId xmlns:a16="http://schemas.microsoft.com/office/drawing/2014/main" id="{3EDE12DB-AF9D-4A48-9115-641838745370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156" name="Ovaal 114">
              <a:extLst>
                <a:ext uri="{FF2B5EF4-FFF2-40B4-BE49-F238E27FC236}">
                  <a16:creationId xmlns:a16="http://schemas.microsoft.com/office/drawing/2014/main" id="{CA3E41B2-CBB5-4E61-994B-1655477F4792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57" name="Rechthoek 115">
              <a:extLst>
                <a:ext uri="{FF2B5EF4-FFF2-40B4-BE49-F238E27FC236}">
                  <a16:creationId xmlns:a16="http://schemas.microsoft.com/office/drawing/2014/main" id="{C243CA18-696C-4E9D-9415-E118247A3EFD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158" name="Rechte verbindingslijn 116">
              <a:extLst>
                <a:ext uri="{FF2B5EF4-FFF2-40B4-BE49-F238E27FC236}">
                  <a16:creationId xmlns:a16="http://schemas.microsoft.com/office/drawing/2014/main" id="{CCAF0C87-FF42-4E5E-B537-87ACB54C2A7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9" name="Meer informatie">
              <a:extLst>
                <a:ext uri="{FF2B5EF4-FFF2-40B4-BE49-F238E27FC236}">
                  <a16:creationId xmlns:a16="http://schemas.microsoft.com/office/drawing/2014/main" id="{D24260ED-0E94-42F9-B7B1-580768F08BF1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169" name="Freeform 101">
                <a:extLst>
                  <a:ext uri="{FF2B5EF4-FFF2-40B4-BE49-F238E27FC236}">
                    <a16:creationId xmlns:a16="http://schemas.microsoft.com/office/drawing/2014/main" id="{FD5154E9-FFA9-43E8-977E-51019192FEB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170" name="Rechthoek 128">
                <a:extLst>
                  <a:ext uri="{FF2B5EF4-FFF2-40B4-BE49-F238E27FC236}">
                    <a16:creationId xmlns:a16="http://schemas.microsoft.com/office/drawing/2014/main" id="{61AB07E5-3658-45F5-8C37-78EFA4D5C2F4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71" name="Rechte verbindingslijn 129">
                <a:extLst>
                  <a:ext uri="{FF2B5EF4-FFF2-40B4-BE49-F238E27FC236}">
                    <a16:creationId xmlns:a16="http://schemas.microsoft.com/office/drawing/2014/main" id="{1D7D7F5F-1FCC-4E83-92F8-C85353D6541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0" name="Rechthoek 118">
              <a:extLst>
                <a:ext uri="{FF2B5EF4-FFF2-40B4-BE49-F238E27FC236}">
                  <a16:creationId xmlns:a16="http://schemas.microsoft.com/office/drawing/2014/main" id="{CA33DCEA-B4B6-4802-8B31-DD18ACC8DA7B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161" name="Ovaal 119">
              <a:extLst>
                <a:ext uri="{FF2B5EF4-FFF2-40B4-BE49-F238E27FC236}">
                  <a16:creationId xmlns:a16="http://schemas.microsoft.com/office/drawing/2014/main" id="{930C8539-5B35-4905-82D8-44323D79DDBD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2" name="Rechthoek 120">
              <a:extLst>
                <a:ext uri="{FF2B5EF4-FFF2-40B4-BE49-F238E27FC236}">
                  <a16:creationId xmlns:a16="http://schemas.microsoft.com/office/drawing/2014/main" id="{628F65A6-C775-4FA0-8A88-6C1A45E476A2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63" name="Ovaal 121">
              <a:extLst>
                <a:ext uri="{FF2B5EF4-FFF2-40B4-BE49-F238E27FC236}">
                  <a16:creationId xmlns:a16="http://schemas.microsoft.com/office/drawing/2014/main" id="{60258EC1-FF6B-48F3-ABB0-8F6BDB4FF067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4" name="Rechthoek 122">
              <a:extLst>
                <a:ext uri="{FF2B5EF4-FFF2-40B4-BE49-F238E27FC236}">
                  <a16:creationId xmlns:a16="http://schemas.microsoft.com/office/drawing/2014/main" id="{A6FED3C7-8F3F-413F-8431-9D846CFB4E7E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165" name="Ovaal 123">
              <a:extLst>
                <a:ext uri="{FF2B5EF4-FFF2-40B4-BE49-F238E27FC236}">
                  <a16:creationId xmlns:a16="http://schemas.microsoft.com/office/drawing/2014/main" id="{5F2FC2CF-452C-4AA3-B06A-62C0671D625F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6" name="Rechthoek 124">
              <a:extLst>
                <a:ext uri="{FF2B5EF4-FFF2-40B4-BE49-F238E27FC236}">
                  <a16:creationId xmlns:a16="http://schemas.microsoft.com/office/drawing/2014/main" id="{27280BE1-45CF-401A-B8D3-0E8FCB828B85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67" name="Rechthoek 125">
              <a:extLst>
                <a:ext uri="{FF2B5EF4-FFF2-40B4-BE49-F238E27FC236}">
                  <a16:creationId xmlns:a16="http://schemas.microsoft.com/office/drawing/2014/main" id="{2A10BF97-CCA1-4BBA-8718-37635ACAF9A0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168" name="Ovaal 126">
              <a:extLst>
                <a:ext uri="{FF2B5EF4-FFF2-40B4-BE49-F238E27FC236}">
                  <a16:creationId xmlns:a16="http://schemas.microsoft.com/office/drawing/2014/main" id="{2E20D8F4-98C5-46DB-90AC-E5439F1606C1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  <p:pic>
        <p:nvPicPr>
          <p:cNvPr id="228" name="Afbeelding 227">
            <a:extLst>
              <a:ext uri="{FF2B5EF4-FFF2-40B4-BE49-F238E27FC236}">
                <a16:creationId xmlns:a16="http://schemas.microsoft.com/office/drawing/2014/main" id="{424325DF-F4FE-41DA-8233-E1C830FB8F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4763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Tekst horizontaal 50%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136292"/>
            <a:ext cx="42767250" cy="15138926"/>
          </a:xfrm>
          <a:solidFill>
            <a:schemeClr val="bg1">
              <a:lumMod val="95000"/>
            </a:schemeClr>
          </a:solidFill>
        </p:spPr>
        <p:txBody>
          <a:bodyPr tIns="1008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0" name="Tijdelijke aanduiding voor verticale tekst 2">
            <a:extLst>
              <a:ext uri="{FF2B5EF4-FFF2-40B4-BE49-F238E27FC236}">
                <a16:creationId xmlns:a16="http://schemas.microsoft.com/office/drawing/2014/main" id="{F8646127-FAA8-40B9-BA27-B65B55E1D214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731100" y="6455413"/>
            <a:ext cx="19652523" cy="6270810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 marL="623677" indent="-623677">
              <a:buFont typeface="Arial" panose="020B0604020202020204" pitchFamily="34" charset="0"/>
              <a:buChar char="•"/>
              <a:defRPr sz="5612">
                <a:latin typeface="+mj-lt"/>
              </a:defRPr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bullet #2</a:t>
            </a:r>
          </a:p>
          <a:p>
            <a:pPr lvl="3"/>
            <a:r>
              <a:rPr lang="nl-NL" noProof="0"/>
              <a:t>Platte tekst1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D9B5C8AD-E451-4910-BCD7-D1E346AA05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0" name="Tijdelijke aanduiding voor tekst 14">
            <a:extLst>
              <a:ext uri="{FF2B5EF4-FFF2-40B4-BE49-F238E27FC236}">
                <a16:creationId xmlns:a16="http://schemas.microsoft.com/office/drawing/2014/main" id="{9A64BF12-7DFA-4BAF-9073-5EB142A323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47" name="Tijdelijke aanduiding voor voettekst 4">
            <a:extLst>
              <a:ext uri="{FF2B5EF4-FFF2-40B4-BE49-F238E27FC236}">
                <a16:creationId xmlns:a16="http://schemas.microsoft.com/office/drawing/2014/main" id="{58C156A9-63A9-476C-A14C-D38512258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48" name="Tijdelijke aanduiding voor dianummer 5">
            <a:extLst>
              <a:ext uri="{FF2B5EF4-FFF2-40B4-BE49-F238E27FC236}">
                <a16:creationId xmlns:a16="http://schemas.microsoft.com/office/drawing/2014/main" id="{4873E8A5-4959-4902-84E2-A62C718138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7" y="27329718"/>
            <a:ext cx="857530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7" name="Tijdelijke aanduiding voor datum 3">
            <a:extLst>
              <a:ext uri="{FF2B5EF4-FFF2-40B4-BE49-F238E27FC236}">
                <a16:creationId xmlns:a16="http://schemas.microsoft.com/office/drawing/2014/main" id="{35B3F705-7563-46B4-AC7E-1ADE5F14C8B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9541AB-70E6-4E41-922C-2B951D28D1F5}" type="datetime1">
              <a:rPr lang="nl-NL" noProof="0" smtClean="0"/>
              <a:t>26-6-2023</a:t>
            </a:fld>
            <a:endParaRPr lang="nl-NL" noProof="0"/>
          </a:p>
        </p:txBody>
      </p:sp>
      <p:grpSp>
        <p:nvGrpSpPr>
          <p:cNvPr id="316" name="Groep 258">
            <a:extLst>
              <a:ext uri="{FF2B5EF4-FFF2-40B4-BE49-F238E27FC236}">
                <a16:creationId xmlns:a16="http://schemas.microsoft.com/office/drawing/2014/main" id="{36D1E311-8D84-4CAC-90BA-2D5A3B87AEDF}"/>
              </a:ext>
            </a:extLst>
          </p:cNvPr>
          <p:cNvGrpSpPr/>
          <p:nvPr userDrawn="1"/>
        </p:nvGrpSpPr>
        <p:grpSpPr>
          <a:xfrm>
            <a:off x="43467416" y="5"/>
            <a:ext cx="11167745" cy="23084356"/>
            <a:chOff x="12391601" y="0"/>
            <a:chExt cx="3183678" cy="5229113"/>
          </a:xfrm>
        </p:grpSpPr>
        <p:grpSp>
          <p:nvGrpSpPr>
            <p:cNvPr id="317" name="Meer informatie">
              <a:extLst>
                <a:ext uri="{FF2B5EF4-FFF2-40B4-BE49-F238E27FC236}">
                  <a16:creationId xmlns:a16="http://schemas.microsoft.com/office/drawing/2014/main" id="{F247902E-2F32-467F-831D-B3867F4015B2}"/>
                </a:ext>
              </a:extLst>
            </p:cNvPr>
            <p:cNvGrpSpPr/>
            <p:nvPr userDrawn="1"/>
          </p:nvGrpSpPr>
          <p:grpSpPr>
            <a:xfrm>
              <a:off x="12396764" y="4445840"/>
              <a:ext cx="3178515" cy="783273"/>
              <a:chOff x="-3741486" y="3386444"/>
              <a:chExt cx="3178515" cy="783273"/>
            </a:xfrm>
          </p:grpSpPr>
          <p:sp>
            <p:nvSpPr>
              <p:cNvPr id="363" name="Freeform 101">
                <a:extLst>
                  <a:ext uri="{FF2B5EF4-FFF2-40B4-BE49-F238E27FC236}">
                    <a16:creationId xmlns:a16="http://schemas.microsoft.com/office/drawing/2014/main" id="{B5E8F268-F552-4075-961E-C623F2BD71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364" name="Rechthoek 306">
                <a:extLst>
                  <a:ext uri="{FF2B5EF4-FFF2-40B4-BE49-F238E27FC236}">
                    <a16:creationId xmlns:a16="http://schemas.microsoft.com/office/drawing/2014/main" id="{579E171F-FBD9-4E2A-8058-8D3D2556DFCF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65" name="Rechte verbindingslijn 307">
                <a:extLst>
                  <a:ext uri="{FF2B5EF4-FFF2-40B4-BE49-F238E27FC236}">
                    <a16:creationId xmlns:a16="http://schemas.microsoft.com/office/drawing/2014/main" id="{3CE04F83-6BC5-49E8-B74F-8E37B1B115C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18" name="Rechthoek 260">
              <a:extLst>
                <a:ext uri="{FF2B5EF4-FFF2-40B4-BE49-F238E27FC236}">
                  <a16:creationId xmlns:a16="http://schemas.microsoft.com/office/drawing/2014/main" id="{9DEA071A-65DE-4416-907A-CAD853D3C9C7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319" name="Ovaal 261">
              <a:extLst>
                <a:ext uri="{FF2B5EF4-FFF2-40B4-BE49-F238E27FC236}">
                  <a16:creationId xmlns:a16="http://schemas.microsoft.com/office/drawing/2014/main" id="{8CA01E0A-E885-4E74-9735-525DBACDE80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20" name="Rechte verbindingslijn 262">
              <a:extLst>
                <a:ext uri="{FF2B5EF4-FFF2-40B4-BE49-F238E27FC236}">
                  <a16:creationId xmlns:a16="http://schemas.microsoft.com/office/drawing/2014/main" id="{FBFFED2D-04EA-4601-9F77-20335A17181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21" name="Rechte verbindingslijn 263">
              <a:extLst>
                <a:ext uri="{FF2B5EF4-FFF2-40B4-BE49-F238E27FC236}">
                  <a16:creationId xmlns:a16="http://schemas.microsoft.com/office/drawing/2014/main" id="{A6204301-5815-40D9-8339-235B499DCA2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22" name="Rechthoek 264">
              <a:extLst>
                <a:ext uri="{FF2B5EF4-FFF2-40B4-BE49-F238E27FC236}">
                  <a16:creationId xmlns:a16="http://schemas.microsoft.com/office/drawing/2014/main" id="{474AECF9-5584-41BC-BB53-539C9CD6945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oor deze te selecteren en op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om een nieuwe afbeelding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23" name="Rechte verbindingslijn 265">
              <a:extLst>
                <a:ext uri="{FF2B5EF4-FFF2-40B4-BE49-F238E27FC236}">
                  <a16:creationId xmlns:a16="http://schemas.microsoft.com/office/drawing/2014/main" id="{E2E9C9A3-7EA1-4CB4-BE0B-3BFD20A669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4327957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24" name="Ovaal 266">
              <a:extLst>
                <a:ext uri="{FF2B5EF4-FFF2-40B4-BE49-F238E27FC236}">
                  <a16:creationId xmlns:a16="http://schemas.microsoft.com/office/drawing/2014/main" id="{DC97E41A-8AB2-4D00-A818-50F2DBCD702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25" name="Rechthoek 267">
              <a:extLst>
                <a:ext uri="{FF2B5EF4-FFF2-40B4-BE49-F238E27FC236}">
                  <a16:creationId xmlns:a16="http://schemas.microsoft.com/office/drawing/2014/main" id="{CDB87134-79CA-43C7-BE52-FBDCE655B907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26" name="Groep 268">
              <a:extLst>
                <a:ext uri="{FF2B5EF4-FFF2-40B4-BE49-F238E27FC236}">
                  <a16:creationId xmlns:a16="http://schemas.microsoft.com/office/drawing/2014/main" id="{4316D768-2ECD-478E-9B0C-EFFFE89C661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0" name="Rechthoek 302">
                <a:extLst>
                  <a:ext uri="{FF2B5EF4-FFF2-40B4-BE49-F238E27FC236}">
                    <a16:creationId xmlns:a16="http://schemas.microsoft.com/office/drawing/2014/main" id="{E6C8724B-930C-4249-87DE-FBEA86630750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361" name="Rechte verbindingslijn 303">
                <a:extLst>
                  <a:ext uri="{FF2B5EF4-FFF2-40B4-BE49-F238E27FC236}">
                    <a16:creationId xmlns:a16="http://schemas.microsoft.com/office/drawing/2014/main" id="{BA5CEE17-E7CF-413F-B94A-70F065A7458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2" name="Gelijkbenige driehoek 304">
                <a:extLst>
                  <a:ext uri="{FF2B5EF4-FFF2-40B4-BE49-F238E27FC236}">
                    <a16:creationId xmlns:a16="http://schemas.microsoft.com/office/drawing/2014/main" id="{835ADAE6-D3D7-4BA4-B429-BD8B1F4A415E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27" name="Groep 269">
              <a:extLst>
                <a:ext uri="{FF2B5EF4-FFF2-40B4-BE49-F238E27FC236}">
                  <a16:creationId xmlns:a16="http://schemas.microsoft.com/office/drawing/2014/main" id="{88245547-2CB6-4EA5-AA7D-D9318CC5DE38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354" name="Rechthoek 296">
                <a:extLst>
                  <a:ext uri="{FF2B5EF4-FFF2-40B4-BE49-F238E27FC236}">
                    <a16:creationId xmlns:a16="http://schemas.microsoft.com/office/drawing/2014/main" id="{F0857272-19EB-49AA-93EF-10DED9064E85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55" name="Ovaal 297">
                <a:extLst>
                  <a:ext uri="{FF2B5EF4-FFF2-40B4-BE49-F238E27FC236}">
                    <a16:creationId xmlns:a16="http://schemas.microsoft.com/office/drawing/2014/main" id="{2498E560-5C87-4882-A1C6-4C4CAD08A39D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56" name="Vrije vorm: vorm 298">
                <a:extLst>
                  <a:ext uri="{FF2B5EF4-FFF2-40B4-BE49-F238E27FC236}">
                    <a16:creationId xmlns:a16="http://schemas.microsoft.com/office/drawing/2014/main" id="{291A8D1E-5609-465B-A7D6-31B4403635CE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57" name="Rechthoek: afgeronde hoeken 299">
                <a:extLst>
                  <a:ext uri="{FF2B5EF4-FFF2-40B4-BE49-F238E27FC236}">
                    <a16:creationId xmlns:a16="http://schemas.microsoft.com/office/drawing/2014/main" id="{6896E2FD-E642-42E5-900E-D97DAE4D4415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58" name="Rechte verbindingslijn 300">
                <a:extLst>
                  <a:ext uri="{FF2B5EF4-FFF2-40B4-BE49-F238E27FC236}">
                    <a16:creationId xmlns:a16="http://schemas.microsoft.com/office/drawing/2014/main" id="{0C7F6D9A-4123-4E61-B449-32DEC7D55B2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59" name="Rechte verbindingslijn 301">
                <a:extLst>
                  <a:ext uri="{FF2B5EF4-FFF2-40B4-BE49-F238E27FC236}">
                    <a16:creationId xmlns:a16="http://schemas.microsoft.com/office/drawing/2014/main" id="{39470C20-F42A-421F-AD86-6A7275F8F832}"/>
                  </a:ext>
                </a:extLst>
              </p:cNvPr>
              <p:cNvCxnSpPr>
                <a:cxnSpLocks/>
                <a:stCxn id="35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28" name="Ovaal 270">
              <a:extLst>
                <a:ext uri="{FF2B5EF4-FFF2-40B4-BE49-F238E27FC236}">
                  <a16:creationId xmlns:a16="http://schemas.microsoft.com/office/drawing/2014/main" id="{556F0622-7777-4EA3-915C-9BDF6980D118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29" name="Rechthoek 271">
              <a:extLst>
                <a:ext uri="{FF2B5EF4-FFF2-40B4-BE49-F238E27FC236}">
                  <a16:creationId xmlns:a16="http://schemas.microsoft.com/office/drawing/2014/main" id="{3230BBC0-9B33-4F5C-B1F9-A65620C0EB0C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43320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aan de linker kant van het scherm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30" name="Rechte verbindingslijn 272">
              <a:extLst>
                <a:ext uri="{FF2B5EF4-FFF2-40B4-BE49-F238E27FC236}">
                  <a16:creationId xmlns:a16="http://schemas.microsoft.com/office/drawing/2014/main" id="{4A1507E3-D3B4-40FD-90E1-E1D092B966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31" name="Rechthoek 273">
              <a:extLst>
                <a:ext uri="{FF2B5EF4-FFF2-40B4-BE49-F238E27FC236}">
                  <a16:creationId xmlns:a16="http://schemas.microsoft.com/office/drawing/2014/main" id="{3001FB9C-B5D0-40F3-A0A3-A6B48F046D2D}"/>
                </a:ext>
              </a:extLst>
            </p:cNvPr>
            <p:cNvSpPr/>
            <p:nvPr userDrawn="1"/>
          </p:nvSpPr>
          <p:spPr>
            <a:xfrm>
              <a:off x="12654153" y="3238910"/>
              <a:ext cx="1624926" cy="805220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3509" b="0" i="1" noProof="0">
                <a:solidFill>
                  <a:schemeClr val="tx1"/>
                </a:solidFill>
              </a:endParaRPr>
            </a:p>
          </p:txBody>
        </p:sp>
        <p:grpSp>
          <p:nvGrpSpPr>
            <p:cNvPr id="332" name="Groep 274">
              <a:extLst>
                <a:ext uri="{FF2B5EF4-FFF2-40B4-BE49-F238E27FC236}">
                  <a16:creationId xmlns:a16="http://schemas.microsoft.com/office/drawing/2014/main" id="{D73EA66C-7BB5-4EA8-BE8A-2442C4935B97}"/>
                </a:ext>
              </a:extLst>
            </p:cNvPr>
            <p:cNvGrpSpPr/>
            <p:nvPr userDrawn="1"/>
          </p:nvGrpSpPr>
          <p:grpSpPr>
            <a:xfrm>
              <a:off x="13614067" y="3535184"/>
              <a:ext cx="1195438" cy="678267"/>
              <a:chOff x="12757284" y="3224292"/>
              <a:chExt cx="1195438" cy="678267"/>
            </a:xfrm>
          </p:grpSpPr>
          <p:sp>
            <p:nvSpPr>
              <p:cNvPr id="333" name="Rechthoek 275">
                <a:extLst>
                  <a:ext uri="{FF2B5EF4-FFF2-40B4-BE49-F238E27FC236}">
                    <a16:creationId xmlns:a16="http://schemas.microsoft.com/office/drawing/2014/main" id="{811796B3-EF4C-4E6E-B30D-CBFD96DAF072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34" name="Rechthoek 276">
                <a:extLst>
                  <a:ext uri="{FF2B5EF4-FFF2-40B4-BE49-F238E27FC236}">
                    <a16:creationId xmlns:a16="http://schemas.microsoft.com/office/drawing/2014/main" id="{D6EA42A0-F0B9-4BA6-B151-395CB3391C6B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35" name="Groep 277">
                <a:extLst>
                  <a:ext uri="{FF2B5EF4-FFF2-40B4-BE49-F238E27FC236}">
                    <a16:creationId xmlns:a16="http://schemas.microsoft.com/office/drawing/2014/main" id="{1CC3F710-8816-4F24-94E8-E5396578E567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348" name="Rechthoek: afgeronde hoeken 290">
                  <a:extLst>
                    <a:ext uri="{FF2B5EF4-FFF2-40B4-BE49-F238E27FC236}">
                      <a16:creationId xmlns:a16="http://schemas.microsoft.com/office/drawing/2014/main" id="{CFFFE2AC-1CF5-4448-8D61-DA96ED94CE34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endPara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49" name="Rechthoek 291">
                  <a:extLst>
                    <a:ext uri="{FF2B5EF4-FFF2-40B4-BE49-F238E27FC236}">
                      <a16:creationId xmlns:a16="http://schemas.microsoft.com/office/drawing/2014/main" id="{2C4F7AC9-8649-49D6-8297-BCF8F4918AAE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0" name="Rechthoek 292">
                  <a:extLst>
                    <a:ext uri="{FF2B5EF4-FFF2-40B4-BE49-F238E27FC236}">
                      <a16:creationId xmlns:a16="http://schemas.microsoft.com/office/drawing/2014/main" id="{2011685F-B6F3-4B1B-987A-066DF85D5454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1" name="Rechthoek 293">
                  <a:extLst>
                    <a:ext uri="{FF2B5EF4-FFF2-40B4-BE49-F238E27FC236}">
                      <a16:creationId xmlns:a16="http://schemas.microsoft.com/office/drawing/2014/main" id="{147F988F-82F9-45EB-A843-CADD842A40C7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2" name="Rechthoek 294">
                  <a:extLst>
                    <a:ext uri="{FF2B5EF4-FFF2-40B4-BE49-F238E27FC236}">
                      <a16:creationId xmlns:a16="http://schemas.microsoft.com/office/drawing/2014/main" id="{93174B6E-9980-4110-85E1-62C76E877C97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3" name="Rechthoek 295">
                  <a:extLst>
                    <a:ext uri="{FF2B5EF4-FFF2-40B4-BE49-F238E27FC236}">
                      <a16:creationId xmlns:a16="http://schemas.microsoft.com/office/drawing/2014/main" id="{013B3206-AD1B-4ACA-B5D3-2C67401630F6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336" name="Groep 278">
                <a:extLst>
                  <a:ext uri="{FF2B5EF4-FFF2-40B4-BE49-F238E27FC236}">
                    <a16:creationId xmlns:a16="http://schemas.microsoft.com/office/drawing/2014/main" id="{6ACA6617-2BB6-4ABA-9C68-5FA3F3DA54B0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340" name="Groep 282">
                  <a:extLst>
                    <a:ext uri="{FF2B5EF4-FFF2-40B4-BE49-F238E27FC236}">
                      <a16:creationId xmlns:a16="http://schemas.microsoft.com/office/drawing/2014/main" id="{E7440BAB-4AC5-40E9-9257-C3345E62E5D2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342" name="Rechthoek: afgeronde hoeken 284">
                    <a:extLst>
                      <a:ext uri="{FF2B5EF4-FFF2-40B4-BE49-F238E27FC236}">
                        <a16:creationId xmlns:a16="http://schemas.microsoft.com/office/drawing/2014/main" id="{666EA79E-EB4D-421E-91C5-BC365649C3F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2105"/>
                      </a:spcBef>
                      <a:spcAft>
                        <a:spcPts val="2105"/>
                      </a:spcAft>
                    </a:pPr>
                    <a:endParaRPr lang="nl-NL" sz="280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343" name="Rechthoek 285">
                    <a:extLst>
                      <a:ext uri="{FF2B5EF4-FFF2-40B4-BE49-F238E27FC236}">
                        <a16:creationId xmlns:a16="http://schemas.microsoft.com/office/drawing/2014/main" id="{9294C2A9-8FB4-4AB3-909D-F398C507DC8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44" name="Rechthoek 286">
                    <a:extLst>
                      <a:ext uri="{FF2B5EF4-FFF2-40B4-BE49-F238E27FC236}">
                        <a16:creationId xmlns:a16="http://schemas.microsoft.com/office/drawing/2014/main" id="{D0A0093F-0BEC-4AE7-A4E6-D61C469D369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45" name="Rechthoek 287">
                    <a:extLst>
                      <a:ext uri="{FF2B5EF4-FFF2-40B4-BE49-F238E27FC236}">
                        <a16:creationId xmlns:a16="http://schemas.microsoft.com/office/drawing/2014/main" id="{4753C24D-B9A2-43DD-B063-211D2499DB7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46" name="Rechthoek 288">
                    <a:extLst>
                      <a:ext uri="{FF2B5EF4-FFF2-40B4-BE49-F238E27FC236}">
                        <a16:creationId xmlns:a16="http://schemas.microsoft.com/office/drawing/2014/main" id="{DDC0FA9C-30F8-41BA-9DDF-765A6245932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47" name="Rechthoek 289">
                    <a:extLst>
                      <a:ext uri="{FF2B5EF4-FFF2-40B4-BE49-F238E27FC236}">
                        <a16:creationId xmlns:a16="http://schemas.microsoft.com/office/drawing/2014/main" id="{22AC01F9-94D0-4481-8711-74AB927E9A3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341" name="Boog 283">
                  <a:extLst>
                    <a:ext uri="{FF2B5EF4-FFF2-40B4-BE49-F238E27FC236}">
                      <a16:creationId xmlns:a16="http://schemas.microsoft.com/office/drawing/2014/main" id="{42C81A20-09EE-4B2C-9B48-06BC245AC19A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</p:grpSp>
          <p:sp>
            <p:nvSpPr>
              <p:cNvPr id="337" name="Tekstvak 279">
                <a:extLst>
                  <a:ext uri="{FF2B5EF4-FFF2-40B4-BE49-F238E27FC236}">
                    <a16:creationId xmlns:a16="http://schemas.microsoft.com/office/drawing/2014/main" id="{97B51EFD-7399-440F-865D-CC5DBAD78393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338" name="Tekstvak 280">
                <a:extLst>
                  <a:ext uri="{FF2B5EF4-FFF2-40B4-BE49-F238E27FC236}">
                    <a16:creationId xmlns:a16="http://schemas.microsoft.com/office/drawing/2014/main" id="{4FB5C194-1412-4668-AA39-753115BD491D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339" name="Picture 3">
                <a:extLst>
                  <a:ext uri="{FF2B5EF4-FFF2-40B4-BE49-F238E27FC236}">
                    <a16:creationId xmlns:a16="http://schemas.microsoft.com/office/drawing/2014/main" id="{E107FAA0-4BCD-4601-815B-47EBB0714F6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810206" y="3671228"/>
                <a:ext cx="14251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grpSp>
        <p:nvGrpSpPr>
          <p:cNvPr id="141" name="Groep 101">
            <a:extLst>
              <a:ext uri="{FF2B5EF4-FFF2-40B4-BE49-F238E27FC236}">
                <a16:creationId xmlns:a16="http://schemas.microsoft.com/office/drawing/2014/main" id="{95B28788-A8A0-42DB-9178-A6F8B7B09410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142" name="Rechthoek 102">
              <a:extLst>
                <a:ext uri="{FF2B5EF4-FFF2-40B4-BE49-F238E27FC236}">
                  <a16:creationId xmlns:a16="http://schemas.microsoft.com/office/drawing/2014/main" id="{7B4F0E3A-F12A-4FB1-B244-F562ACAA5878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143" name="Ovaal 103">
              <a:extLst>
                <a:ext uri="{FF2B5EF4-FFF2-40B4-BE49-F238E27FC236}">
                  <a16:creationId xmlns:a16="http://schemas.microsoft.com/office/drawing/2014/main" id="{5EFC0DB7-5C5B-4AD6-8612-2F223007E59C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4" name="Rechte verbindingslijn 104">
              <a:extLst>
                <a:ext uri="{FF2B5EF4-FFF2-40B4-BE49-F238E27FC236}">
                  <a16:creationId xmlns:a16="http://schemas.microsoft.com/office/drawing/2014/main" id="{D7721EA1-24FD-486E-AF8D-077C60FE4DC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45" name="Groep 105">
              <a:extLst>
                <a:ext uri="{FF2B5EF4-FFF2-40B4-BE49-F238E27FC236}">
                  <a16:creationId xmlns:a16="http://schemas.microsoft.com/office/drawing/2014/main" id="{0F404BF1-31CE-48E3-88EC-8EEB6D3A884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70" name="Rechthoek 130">
                <a:extLst>
                  <a:ext uri="{FF2B5EF4-FFF2-40B4-BE49-F238E27FC236}">
                    <a16:creationId xmlns:a16="http://schemas.microsoft.com/office/drawing/2014/main" id="{56203DD0-B25C-4C83-B449-0B462F88992B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171" name="Rechte verbindingslijn 131">
                <a:extLst>
                  <a:ext uri="{FF2B5EF4-FFF2-40B4-BE49-F238E27FC236}">
                    <a16:creationId xmlns:a16="http://schemas.microsoft.com/office/drawing/2014/main" id="{126D6ADB-0021-4FB2-8E69-075CA37332F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Rechte verbindingslijn 132">
                <a:extLst>
                  <a:ext uri="{FF2B5EF4-FFF2-40B4-BE49-F238E27FC236}">
                    <a16:creationId xmlns:a16="http://schemas.microsoft.com/office/drawing/2014/main" id="{E7B433FD-8DDE-4197-8B26-CD583A9FBB9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3" name="Rechthoek 133">
                <a:extLst>
                  <a:ext uri="{FF2B5EF4-FFF2-40B4-BE49-F238E27FC236}">
                    <a16:creationId xmlns:a16="http://schemas.microsoft.com/office/drawing/2014/main" id="{9099F051-2F9A-4A21-8C9E-F59114D24679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4" name="Groep 134">
                <a:extLst>
                  <a:ext uri="{FF2B5EF4-FFF2-40B4-BE49-F238E27FC236}">
                    <a16:creationId xmlns:a16="http://schemas.microsoft.com/office/drawing/2014/main" id="{163CB3A9-E087-4636-9178-E2EEEF09F987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13" name="Groep 175">
                  <a:extLst>
                    <a:ext uri="{FF2B5EF4-FFF2-40B4-BE49-F238E27FC236}">
                      <a16:creationId xmlns:a16="http://schemas.microsoft.com/office/drawing/2014/main" id="{318D29EA-332C-4650-A0B8-7BA2312EE8CB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17" name="Rechte verbindingslijn 179">
                    <a:extLst>
                      <a:ext uri="{FF2B5EF4-FFF2-40B4-BE49-F238E27FC236}">
                        <a16:creationId xmlns:a16="http://schemas.microsoft.com/office/drawing/2014/main" id="{3BD5FD9E-8E8D-47F5-9643-4857A2681A9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8" name="Rechte verbindingslijn 180">
                    <a:extLst>
                      <a:ext uri="{FF2B5EF4-FFF2-40B4-BE49-F238E27FC236}">
                        <a16:creationId xmlns:a16="http://schemas.microsoft.com/office/drawing/2014/main" id="{67959D2E-60E1-4F42-B446-96E9CF2370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9" name="Rechte verbindingslijn 181">
                    <a:extLst>
                      <a:ext uri="{FF2B5EF4-FFF2-40B4-BE49-F238E27FC236}">
                        <a16:creationId xmlns:a16="http://schemas.microsoft.com/office/drawing/2014/main" id="{63F0E444-6C31-4B95-A0BC-B891F1798F3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0" name="Rechte verbindingslijn 182">
                    <a:extLst>
                      <a:ext uri="{FF2B5EF4-FFF2-40B4-BE49-F238E27FC236}">
                        <a16:creationId xmlns:a16="http://schemas.microsoft.com/office/drawing/2014/main" id="{1A9B8E51-6EDD-4C2C-919C-6F668B526EF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1" name="Rechte verbindingslijn 183">
                    <a:extLst>
                      <a:ext uri="{FF2B5EF4-FFF2-40B4-BE49-F238E27FC236}">
                        <a16:creationId xmlns:a16="http://schemas.microsoft.com/office/drawing/2014/main" id="{D807552D-7B1F-4F1B-9085-CABFD549E3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4" name="Groep 176">
                  <a:extLst>
                    <a:ext uri="{FF2B5EF4-FFF2-40B4-BE49-F238E27FC236}">
                      <a16:creationId xmlns:a16="http://schemas.microsoft.com/office/drawing/2014/main" id="{DED8669F-25EE-45BE-9EA1-3C0320CF61E2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15" name="Rechthoek 177">
                    <a:extLst>
                      <a:ext uri="{FF2B5EF4-FFF2-40B4-BE49-F238E27FC236}">
                        <a16:creationId xmlns:a16="http://schemas.microsoft.com/office/drawing/2014/main" id="{B6C1B673-6013-4D00-A57B-79A95892A1E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6" name="Pijl: punthaak 178">
                    <a:extLst>
                      <a:ext uri="{FF2B5EF4-FFF2-40B4-BE49-F238E27FC236}">
                        <a16:creationId xmlns:a16="http://schemas.microsoft.com/office/drawing/2014/main" id="{8E040766-637E-437B-B545-7E3C3B0F5CEA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5" name="Groep 135">
                <a:extLst>
                  <a:ext uri="{FF2B5EF4-FFF2-40B4-BE49-F238E27FC236}">
                    <a16:creationId xmlns:a16="http://schemas.microsoft.com/office/drawing/2014/main" id="{0683EC59-23DE-4DE7-90A1-8E2027A93EE9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4" name="Groep 166">
                  <a:extLst>
                    <a:ext uri="{FF2B5EF4-FFF2-40B4-BE49-F238E27FC236}">
                      <a16:creationId xmlns:a16="http://schemas.microsoft.com/office/drawing/2014/main" id="{0C58919E-7977-4EA9-A880-90081A3400CA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08" name="Rechte verbindingslijn 170">
                    <a:extLst>
                      <a:ext uri="{FF2B5EF4-FFF2-40B4-BE49-F238E27FC236}">
                        <a16:creationId xmlns:a16="http://schemas.microsoft.com/office/drawing/2014/main" id="{451DE4C4-DEE3-4072-8D3C-90B58C7C39B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9" name="Rechte verbindingslijn 171">
                    <a:extLst>
                      <a:ext uri="{FF2B5EF4-FFF2-40B4-BE49-F238E27FC236}">
                        <a16:creationId xmlns:a16="http://schemas.microsoft.com/office/drawing/2014/main" id="{B8F007B1-8EEB-4365-96CD-9D4F7D93885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0" name="Rechte verbindingslijn 172">
                    <a:extLst>
                      <a:ext uri="{FF2B5EF4-FFF2-40B4-BE49-F238E27FC236}">
                        <a16:creationId xmlns:a16="http://schemas.microsoft.com/office/drawing/2014/main" id="{B72C18C4-D44C-4C72-92FC-DED74F78EFD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1" name="Rechte verbindingslijn 173">
                    <a:extLst>
                      <a:ext uri="{FF2B5EF4-FFF2-40B4-BE49-F238E27FC236}">
                        <a16:creationId xmlns:a16="http://schemas.microsoft.com/office/drawing/2014/main" id="{3408140D-999A-4A2B-AC60-203628EB30F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2" name="Rechte verbindingslijn 174">
                    <a:extLst>
                      <a:ext uri="{FF2B5EF4-FFF2-40B4-BE49-F238E27FC236}">
                        <a16:creationId xmlns:a16="http://schemas.microsoft.com/office/drawing/2014/main" id="{149DCC1F-9A21-43C8-A4E2-BF13F56A907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5" name="Groep 167">
                  <a:extLst>
                    <a:ext uri="{FF2B5EF4-FFF2-40B4-BE49-F238E27FC236}">
                      <a16:creationId xmlns:a16="http://schemas.microsoft.com/office/drawing/2014/main" id="{D12FA5E6-082F-470E-B282-5E58ACF648A3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6" name="Rechthoek 168">
                    <a:extLst>
                      <a:ext uri="{FF2B5EF4-FFF2-40B4-BE49-F238E27FC236}">
                        <a16:creationId xmlns:a16="http://schemas.microsoft.com/office/drawing/2014/main" id="{F53A0DAF-0982-43A8-B3E2-DB6261FAC70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7" name="Pijl: punthaak 169">
                    <a:extLst>
                      <a:ext uri="{FF2B5EF4-FFF2-40B4-BE49-F238E27FC236}">
                        <a16:creationId xmlns:a16="http://schemas.microsoft.com/office/drawing/2014/main" id="{F0637FB2-94DF-46AF-A114-1870C970D729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6" name="Rechte verbindingslijn 136">
                <a:extLst>
                  <a:ext uri="{FF2B5EF4-FFF2-40B4-BE49-F238E27FC236}">
                    <a16:creationId xmlns:a16="http://schemas.microsoft.com/office/drawing/2014/main" id="{4FFF641A-30F6-4B75-B040-12DF3E6FC9C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7" name="Rechte verbindingslijn 137">
                <a:extLst>
                  <a:ext uri="{FF2B5EF4-FFF2-40B4-BE49-F238E27FC236}">
                    <a16:creationId xmlns:a16="http://schemas.microsoft.com/office/drawing/2014/main" id="{1D158DE8-F529-46B9-AB2C-F183C28498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8" name="Groep 138">
                <a:extLst>
                  <a:ext uri="{FF2B5EF4-FFF2-40B4-BE49-F238E27FC236}">
                    <a16:creationId xmlns:a16="http://schemas.microsoft.com/office/drawing/2014/main" id="{E03B6EA6-1A14-486F-A235-0B4137DEC5B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3" name="Rechthoek 155">
                  <a:extLst>
                    <a:ext uri="{FF2B5EF4-FFF2-40B4-BE49-F238E27FC236}">
                      <a16:creationId xmlns:a16="http://schemas.microsoft.com/office/drawing/2014/main" id="{CCEDF5F6-6C86-4A03-AC4E-1D9EBFB4E75A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4" name="Groep 156">
                  <a:extLst>
                    <a:ext uri="{FF2B5EF4-FFF2-40B4-BE49-F238E27FC236}">
                      <a16:creationId xmlns:a16="http://schemas.microsoft.com/office/drawing/2014/main" id="{D6699AB2-9679-4B8E-8921-9636A70C02A4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5" name="Groep 157">
                    <a:extLst>
                      <a:ext uri="{FF2B5EF4-FFF2-40B4-BE49-F238E27FC236}">
                        <a16:creationId xmlns:a16="http://schemas.microsoft.com/office/drawing/2014/main" id="{858DC683-A812-4F48-ACCE-010B99486B2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9" name="Rechte verbindingslijn 161">
                      <a:extLst>
                        <a:ext uri="{FF2B5EF4-FFF2-40B4-BE49-F238E27FC236}">
                          <a16:creationId xmlns:a16="http://schemas.microsoft.com/office/drawing/2014/main" id="{DAA3B30E-C11D-4F38-BDC9-9E3843E2191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62">
                      <a:extLst>
                        <a:ext uri="{FF2B5EF4-FFF2-40B4-BE49-F238E27FC236}">
                          <a16:creationId xmlns:a16="http://schemas.microsoft.com/office/drawing/2014/main" id="{59EB870D-A0BE-4F6A-9D64-056E5601E3C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1" name="Rechte verbindingslijn 163">
                      <a:extLst>
                        <a:ext uri="{FF2B5EF4-FFF2-40B4-BE49-F238E27FC236}">
                          <a16:creationId xmlns:a16="http://schemas.microsoft.com/office/drawing/2014/main" id="{B6119731-43A1-4FEA-9991-1F6696AF39B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2" name="Rechte verbindingslijn 164">
                      <a:extLst>
                        <a:ext uri="{FF2B5EF4-FFF2-40B4-BE49-F238E27FC236}">
                          <a16:creationId xmlns:a16="http://schemas.microsoft.com/office/drawing/2014/main" id="{6FEAB620-C5A7-49FA-A17E-A1F1FB6556A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165">
                      <a:extLst>
                        <a:ext uri="{FF2B5EF4-FFF2-40B4-BE49-F238E27FC236}">
                          <a16:creationId xmlns:a16="http://schemas.microsoft.com/office/drawing/2014/main" id="{CCE77212-90BD-48C3-A72D-D20F73293B0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6" name="Groep 158">
                    <a:extLst>
                      <a:ext uri="{FF2B5EF4-FFF2-40B4-BE49-F238E27FC236}">
                        <a16:creationId xmlns:a16="http://schemas.microsoft.com/office/drawing/2014/main" id="{38128187-8C73-4F95-8831-E575DC55B8B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7" name="Rechthoek 159">
                      <a:extLst>
                        <a:ext uri="{FF2B5EF4-FFF2-40B4-BE49-F238E27FC236}">
                          <a16:creationId xmlns:a16="http://schemas.microsoft.com/office/drawing/2014/main" id="{8D940099-2C07-4DD1-8DF8-9AA8B305A55F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8" name="Pijl: punthaak 160">
                      <a:extLst>
                        <a:ext uri="{FF2B5EF4-FFF2-40B4-BE49-F238E27FC236}">
                          <a16:creationId xmlns:a16="http://schemas.microsoft.com/office/drawing/2014/main" id="{A30EFFCE-54A0-41D4-B683-2FC53C549DD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9" name="Groep 139">
                <a:extLst>
                  <a:ext uri="{FF2B5EF4-FFF2-40B4-BE49-F238E27FC236}">
                    <a16:creationId xmlns:a16="http://schemas.microsoft.com/office/drawing/2014/main" id="{03EF4F76-F9DD-4D00-AFD0-AA82C630F0E7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82" name="Rechthoek 142">
                  <a:extLst>
                    <a:ext uri="{FF2B5EF4-FFF2-40B4-BE49-F238E27FC236}">
                      <a16:creationId xmlns:a16="http://schemas.microsoft.com/office/drawing/2014/main" id="{7A0D19E1-FDA1-46D5-BBDB-7512EA32E17B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3" name="Groep 143">
                  <a:extLst>
                    <a:ext uri="{FF2B5EF4-FFF2-40B4-BE49-F238E27FC236}">
                      <a16:creationId xmlns:a16="http://schemas.microsoft.com/office/drawing/2014/main" id="{14418F93-51E7-404F-883E-49C07E8F348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4" name="Groep 144">
                    <a:extLst>
                      <a:ext uri="{FF2B5EF4-FFF2-40B4-BE49-F238E27FC236}">
                        <a16:creationId xmlns:a16="http://schemas.microsoft.com/office/drawing/2014/main" id="{4EA07D60-2BB4-46B9-AA90-F7D9E0E6F3A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8" name="Rechte verbindingslijn 150">
                      <a:extLst>
                        <a:ext uri="{FF2B5EF4-FFF2-40B4-BE49-F238E27FC236}">
                          <a16:creationId xmlns:a16="http://schemas.microsoft.com/office/drawing/2014/main" id="{F91786A5-D683-454D-B15C-8F20EE52564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51">
                      <a:extLst>
                        <a:ext uri="{FF2B5EF4-FFF2-40B4-BE49-F238E27FC236}">
                          <a16:creationId xmlns:a16="http://schemas.microsoft.com/office/drawing/2014/main" id="{908D2F48-A2AC-479F-83E9-1AC678FA249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0" name="Rechte verbindingslijn 152">
                      <a:extLst>
                        <a:ext uri="{FF2B5EF4-FFF2-40B4-BE49-F238E27FC236}">
                          <a16:creationId xmlns:a16="http://schemas.microsoft.com/office/drawing/2014/main" id="{BD97C232-0430-49B3-BD77-B4443E3FE80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1" name="Rechte verbindingslijn 153">
                      <a:extLst>
                        <a:ext uri="{FF2B5EF4-FFF2-40B4-BE49-F238E27FC236}">
                          <a16:creationId xmlns:a16="http://schemas.microsoft.com/office/drawing/2014/main" id="{21AD0B0A-3231-4919-AE9C-8783831FC84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2" name="Rechte verbindingslijn 154">
                      <a:extLst>
                        <a:ext uri="{FF2B5EF4-FFF2-40B4-BE49-F238E27FC236}">
                          <a16:creationId xmlns:a16="http://schemas.microsoft.com/office/drawing/2014/main" id="{31730319-926D-47A4-BEEF-B35F6C8AFE4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5" name="Groep 147">
                    <a:extLst>
                      <a:ext uri="{FF2B5EF4-FFF2-40B4-BE49-F238E27FC236}">
                        <a16:creationId xmlns:a16="http://schemas.microsoft.com/office/drawing/2014/main" id="{930EBE4A-505C-4500-B43D-F819B8B4D7BB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6" name="Rechthoek 148">
                      <a:extLst>
                        <a:ext uri="{FF2B5EF4-FFF2-40B4-BE49-F238E27FC236}">
                          <a16:creationId xmlns:a16="http://schemas.microsoft.com/office/drawing/2014/main" id="{5D9B5C2A-DD41-4410-8039-48DED8DDD76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7" name="Pijl: punthaak 149">
                      <a:extLst>
                        <a:ext uri="{FF2B5EF4-FFF2-40B4-BE49-F238E27FC236}">
                          <a16:creationId xmlns:a16="http://schemas.microsoft.com/office/drawing/2014/main" id="{AC0AE38C-C2A5-49CF-B750-31A9233D8453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80" name="Rechthoek 140">
                <a:extLst>
                  <a:ext uri="{FF2B5EF4-FFF2-40B4-BE49-F238E27FC236}">
                    <a16:creationId xmlns:a16="http://schemas.microsoft.com/office/drawing/2014/main" id="{9EC08441-0A14-45D8-8AE7-001017CD2CD5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181" name="Rechthoek 141">
                <a:extLst>
                  <a:ext uri="{FF2B5EF4-FFF2-40B4-BE49-F238E27FC236}">
                    <a16:creationId xmlns:a16="http://schemas.microsoft.com/office/drawing/2014/main" id="{AC6BE803-128B-444B-A21A-7201448B6056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146" name="Rechte verbindingslijn 106">
              <a:extLst>
                <a:ext uri="{FF2B5EF4-FFF2-40B4-BE49-F238E27FC236}">
                  <a16:creationId xmlns:a16="http://schemas.microsoft.com/office/drawing/2014/main" id="{8DFCB2FE-A5DB-4FB9-94D2-EB880F7D219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07">
              <a:extLst>
                <a:ext uri="{FF2B5EF4-FFF2-40B4-BE49-F238E27FC236}">
                  <a16:creationId xmlns:a16="http://schemas.microsoft.com/office/drawing/2014/main" id="{32363060-8769-4F5A-A6BD-14177E3B02B0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148" name="Ovaal 108">
              <a:extLst>
                <a:ext uri="{FF2B5EF4-FFF2-40B4-BE49-F238E27FC236}">
                  <a16:creationId xmlns:a16="http://schemas.microsoft.com/office/drawing/2014/main" id="{56BB0D81-9E29-4397-A590-1739A29C850A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9" name="Rechthoek 109">
              <a:extLst>
                <a:ext uri="{FF2B5EF4-FFF2-40B4-BE49-F238E27FC236}">
                  <a16:creationId xmlns:a16="http://schemas.microsoft.com/office/drawing/2014/main" id="{4A32951E-5373-4509-956F-EBE6B5293B17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150" name="Ovaal 110">
              <a:extLst>
                <a:ext uri="{FF2B5EF4-FFF2-40B4-BE49-F238E27FC236}">
                  <a16:creationId xmlns:a16="http://schemas.microsoft.com/office/drawing/2014/main" id="{BB627AE4-2B1C-40A7-8561-42DEA63C8FF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1" name="Rechthoek 111">
              <a:extLst>
                <a:ext uri="{FF2B5EF4-FFF2-40B4-BE49-F238E27FC236}">
                  <a16:creationId xmlns:a16="http://schemas.microsoft.com/office/drawing/2014/main" id="{5DA123F0-CE2F-43AE-AA76-E47C6F191ED2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52" name="Ovaal 112">
              <a:extLst>
                <a:ext uri="{FF2B5EF4-FFF2-40B4-BE49-F238E27FC236}">
                  <a16:creationId xmlns:a16="http://schemas.microsoft.com/office/drawing/2014/main" id="{8DB2C302-6B02-4654-AF96-7E23BB789D9B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53" name="Rechthoek 113">
              <a:extLst>
                <a:ext uri="{FF2B5EF4-FFF2-40B4-BE49-F238E27FC236}">
                  <a16:creationId xmlns:a16="http://schemas.microsoft.com/office/drawing/2014/main" id="{DE51F11D-73DE-4DB0-B208-F80DA2FDFAFC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154" name="Ovaal 114">
              <a:extLst>
                <a:ext uri="{FF2B5EF4-FFF2-40B4-BE49-F238E27FC236}">
                  <a16:creationId xmlns:a16="http://schemas.microsoft.com/office/drawing/2014/main" id="{1C4BF7D6-84DE-4609-A539-87DEB5064240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55" name="Rechthoek 115">
              <a:extLst>
                <a:ext uri="{FF2B5EF4-FFF2-40B4-BE49-F238E27FC236}">
                  <a16:creationId xmlns:a16="http://schemas.microsoft.com/office/drawing/2014/main" id="{6F6884B3-62AD-4DA8-84C6-090C53B64F02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156" name="Rechte verbindingslijn 116">
              <a:extLst>
                <a:ext uri="{FF2B5EF4-FFF2-40B4-BE49-F238E27FC236}">
                  <a16:creationId xmlns:a16="http://schemas.microsoft.com/office/drawing/2014/main" id="{382B0757-10FD-4BBB-8F7D-7BD41D275AE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7" name="Meer informatie">
              <a:extLst>
                <a:ext uri="{FF2B5EF4-FFF2-40B4-BE49-F238E27FC236}">
                  <a16:creationId xmlns:a16="http://schemas.microsoft.com/office/drawing/2014/main" id="{7732049D-66B3-4047-95FB-3042BE786811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167" name="Freeform 101">
                <a:extLst>
                  <a:ext uri="{FF2B5EF4-FFF2-40B4-BE49-F238E27FC236}">
                    <a16:creationId xmlns:a16="http://schemas.microsoft.com/office/drawing/2014/main" id="{CE9B5F8C-1B9A-4A47-BEF0-C86B4AB436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168" name="Rechthoek 128">
                <a:extLst>
                  <a:ext uri="{FF2B5EF4-FFF2-40B4-BE49-F238E27FC236}">
                    <a16:creationId xmlns:a16="http://schemas.microsoft.com/office/drawing/2014/main" id="{9DA2FD3A-2808-4D2C-A244-95CF1B29385C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69" name="Rechte verbindingslijn 129">
                <a:extLst>
                  <a:ext uri="{FF2B5EF4-FFF2-40B4-BE49-F238E27FC236}">
                    <a16:creationId xmlns:a16="http://schemas.microsoft.com/office/drawing/2014/main" id="{ECAA9B25-5625-483D-9F58-EAEC158D944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8" name="Rechthoek 118">
              <a:extLst>
                <a:ext uri="{FF2B5EF4-FFF2-40B4-BE49-F238E27FC236}">
                  <a16:creationId xmlns:a16="http://schemas.microsoft.com/office/drawing/2014/main" id="{D089AD00-4839-4F60-8325-010552F671AF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159" name="Ovaal 119">
              <a:extLst>
                <a:ext uri="{FF2B5EF4-FFF2-40B4-BE49-F238E27FC236}">
                  <a16:creationId xmlns:a16="http://schemas.microsoft.com/office/drawing/2014/main" id="{C1BE77F9-E2B0-4105-B64A-B43743B412D3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0" name="Rechthoek 120">
              <a:extLst>
                <a:ext uri="{FF2B5EF4-FFF2-40B4-BE49-F238E27FC236}">
                  <a16:creationId xmlns:a16="http://schemas.microsoft.com/office/drawing/2014/main" id="{BF228544-777A-4371-AEDF-0B5E09B84F16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61" name="Ovaal 121">
              <a:extLst>
                <a:ext uri="{FF2B5EF4-FFF2-40B4-BE49-F238E27FC236}">
                  <a16:creationId xmlns:a16="http://schemas.microsoft.com/office/drawing/2014/main" id="{0A027ADD-5B3A-43BD-A947-DAB49A777379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2" name="Rechthoek 122">
              <a:extLst>
                <a:ext uri="{FF2B5EF4-FFF2-40B4-BE49-F238E27FC236}">
                  <a16:creationId xmlns:a16="http://schemas.microsoft.com/office/drawing/2014/main" id="{666F6835-E26A-45FF-AA2F-FB2210B7D01B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163" name="Ovaal 123">
              <a:extLst>
                <a:ext uri="{FF2B5EF4-FFF2-40B4-BE49-F238E27FC236}">
                  <a16:creationId xmlns:a16="http://schemas.microsoft.com/office/drawing/2014/main" id="{AE934020-1CCD-453A-831B-0F60AAEA6979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4" name="Rechthoek 124">
              <a:extLst>
                <a:ext uri="{FF2B5EF4-FFF2-40B4-BE49-F238E27FC236}">
                  <a16:creationId xmlns:a16="http://schemas.microsoft.com/office/drawing/2014/main" id="{01F26142-DB92-4568-9D8C-3D83686C2D81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65" name="Rechthoek 125">
              <a:extLst>
                <a:ext uri="{FF2B5EF4-FFF2-40B4-BE49-F238E27FC236}">
                  <a16:creationId xmlns:a16="http://schemas.microsoft.com/office/drawing/2014/main" id="{5E8FFE9E-3A2D-4A67-A039-C2504131D5AB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166" name="Ovaal 126">
              <a:extLst>
                <a:ext uri="{FF2B5EF4-FFF2-40B4-BE49-F238E27FC236}">
                  <a16:creationId xmlns:a16="http://schemas.microsoft.com/office/drawing/2014/main" id="{5D55E49E-FF1A-498F-B2CA-8B9FF26BF087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  <p:pic>
        <p:nvPicPr>
          <p:cNvPr id="222" name="Afbeelding 221">
            <a:extLst>
              <a:ext uri="{FF2B5EF4-FFF2-40B4-BE49-F238E27FC236}">
                <a16:creationId xmlns:a16="http://schemas.microsoft.com/office/drawing/2014/main" id="{602AF7D1-3DFC-492C-95E2-409993E4AC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8252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Wolk 100%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-5567" y="-31537"/>
            <a:ext cx="42767257" cy="30306755"/>
          </a:xfrm>
          <a:solidFill>
            <a:schemeClr val="bg1">
              <a:lumMod val="95000"/>
            </a:schemeClr>
          </a:solidFill>
        </p:spPr>
        <p:txBody>
          <a:bodyPr tIns="1044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3" name="Tijdelijke aanduiding voor voettekst 4">
            <a:extLst>
              <a:ext uri="{FF2B5EF4-FFF2-40B4-BE49-F238E27FC236}">
                <a16:creationId xmlns:a16="http://schemas.microsoft.com/office/drawing/2014/main" id="{3FD2C40F-5ED0-4573-8F6F-31F0DA9D46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4" name="Tijdelijke aanduiding voor dianummer 5">
            <a:extLst>
              <a:ext uri="{FF2B5EF4-FFF2-40B4-BE49-F238E27FC236}">
                <a16:creationId xmlns:a16="http://schemas.microsoft.com/office/drawing/2014/main" id="{FDCACBC6-40CE-484B-AC87-549D0BAA4F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7" y="27329718"/>
            <a:ext cx="828942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D78D1FB9-F46F-4739-84B5-17E9644E515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1062563" y="6639726"/>
            <a:ext cx="15869579" cy="8579805"/>
          </a:xfrm>
          <a:custGeom>
            <a:avLst/>
            <a:gdLst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4067 w 4524067"/>
              <a:gd name="connsiteY3" fmla="*/ 1604261 h 1943514"/>
              <a:gd name="connsiteX4" fmla="*/ 374342 w 4524067"/>
              <a:gd name="connsiteY4" fmla="*/ 1604261 h 1943514"/>
              <a:gd name="connsiteX5" fmla="*/ 374342 w 4524067"/>
              <a:gd name="connsiteY5" fmla="*/ 1604495 h 1943514"/>
              <a:gd name="connsiteX6" fmla="*/ 372031 w 4524067"/>
              <a:gd name="connsiteY6" fmla="*/ 1604262 h 1943514"/>
              <a:gd name="connsiteX7" fmla="*/ 7555 w 4524067"/>
              <a:gd name="connsiteY7" fmla="*/ 1901319 h 1943514"/>
              <a:gd name="connsiteX8" fmla="*/ 3301 w 4524067"/>
              <a:gd name="connsiteY8" fmla="*/ 1943514 h 1943514"/>
              <a:gd name="connsiteX9" fmla="*/ 0 w 4524067"/>
              <a:gd name="connsiteY9" fmla="*/ 1935545 h 1943514"/>
              <a:gd name="connsiteX10" fmla="*/ 0 w 4524067"/>
              <a:gd name="connsiteY10" fmla="*/ 71054 h 1943514"/>
              <a:gd name="connsiteX11" fmla="*/ 71054 w 4524067"/>
              <a:gd name="connsiteY11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524067 w 4524067"/>
              <a:gd name="connsiteY4" fmla="*/ 160426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524067 w 4524067"/>
              <a:gd name="connsiteY4" fmla="*/ 1604261 h 1943514"/>
              <a:gd name="connsiteX5" fmla="*/ 4481998 w 4524067"/>
              <a:gd name="connsiteY5" fmla="*/ 1606550 h 1943514"/>
              <a:gd name="connsiteX6" fmla="*/ 374342 w 4524067"/>
              <a:gd name="connsiteY6" fmla="*/ 1604261 h 1943514"/>
              <a:gd name="connsiteX7" fmla="*/ 374342 w 4524067"/>
              <a:gd name="connsiteY7" fmla="*/ 1604495 h 1943514"/>
              <a:gd name="connsiteX8" fmla="*/ 372031 w 4524067"/>
              <a:gd name="connsiteY8" fmla="*/ 1604262 h 1943514"/>
              <a:gd name="connsiteX9" fmla="*/ 7555 w 4524067"/>
              <a:gd name="connsiteY9" fmla="*/ 1901319 h 1943514"/>
              <a:gd name="connsiteX10" fmla="*/ 3301 w 4524067"/>
              <a:gd name="connsiteY10" fmla="*/ 1943514 h 1943514"/>
              <a:gd name="connsiteX11" fmla="*/ 0 w 4524067"/>
              <a:gd name="connsiteY11" fmla="*/ 1935545 h 1943514"/>
              <a:gd name="connsiteX12" fmla="*/ 0 w 4524067"/>
              <a:gd name="connsiteY12" fmla="*/ 71054 h 1943514"/>
              <a:gd name="connsiteX13" fmla="*/ 71054 w 4524067"/>
              <a:gd name="connsiteY13" fmla="*/ 0 h 1943514"/>
              <a:gd name="connsiteX0" fmla="*/ 71054 w 4799095"/>
              <a:gd name="connsiteY0" fmla="*/ 0 h 1943514"/>
              <a:gd name="connsiteX1" fmla="*/ 4453013 w 4799095"/>
              <a:gd name="connsiteY1" fmla="*/ 0 h 1943514"/>
              <a:gd name="connsiteX2" fmla="*/ 4524067 w 4799095"/>
              <a:gd name="connsiteY2" fmla="*/ 71054 h 1943514"/>
              <a:gd name="connsiteX3" fmla="*/ 4522480 w 4799095"/>
              <a:gd name="connsiteY3" fmla="*/ 1547019 h 1943514"/>
              <a:gd name="connsiteX4" fmla="*/ 4524067 w 4799095"/>
              <a:gd name="connsiteY4" fmla="*/ 1604261 h 1943514"/>
              <a:gd name="connsiteX5" fmla="*/ 4481998 w 4799095"/>
              <a:gd name="connsiteY5" fmla="*/ 1606550 h 1943514"/>
              <a:gd name="connsiteX6" fmla="*/ 374342 w 4799095"/>
              <a:gd name="connsiteY6" fmla="*/ 1604261 h 1943514"/>
              <a:gd name="connsiteX7" fmla="*/ 374342 w 4799095"/>
              <a:gd name="connsiteY7" fmla="*/ 1604495 h 1943514"/>
              <a:gd name="connsiteX8" fmla="*/ 372031 w 4799095"/>
              <a:gd name="connsiteY8" fmla="*/ 1604262 h 1943514"/>
              <a:gd name="connsiteX9" fmla="*/ 7555 w 4799095"/>
              <a:gd name="connsiteY9" fmla="*/ 1901319 h 1943514"/>
              <a:gd name="connsiteX10" fmla="*/ 3301 w 4799095"/>
              <a:gd name="connsiteY10" fmla="*/ 1943514 h 1943514"/>
              <a:gd name="connsiteX11" fmla="*/ 0 w 4799095"/>
              <a:gd name="connsiteY11" fmla="*/ 1935545 h 1943514"/>
              <a:gd name="connsiteX12" fmla="*/ 0 w 4799095"/>
              <a:gd name="connsiteY12" fmla="*/ 71054 h 1943514"/>
              <a:gd name="connsiteX13" fmla="*/ 71054 w 4799095"/>
              <a:gd name="connsiteY13" fmla="*/ 0 h 1943514"/>
              <a:gd name="connsiteX0" fmla="*/ 71054 w 4798479"/>
              <a:gd name="connsiteY0" fmla="*/ 0 h 1943514"/>
              <a:gd name="connsiteX1" fmla="*/ 4453013 w 4798479"/>
              <a:gd name="connsiteY1" fmla="*/ 0 h 1943514"/>
              <a:gd name="connsiteX2" fmla="*/ 4524067 w 4798479"/>
              <a:gd name="connsiteY2" fmla="*/ 71054 h 1943514"/>
              <a:gd name="connsiteX3" fmla="*/ 4522480 w 4798479"/>
              <a:gd name="connsiteY3" fmla="*/ 1547019 h 1943514"/>
              <a:gd name="connsiteX4" fmla="*/ 4481998 w 4798479"/>
              <a:gd name="connsiteY4" fmla="*/ 1606550 h 1943514"/>
              <a:gd name="connsiteX5" fmla="*/ 374342 w 4798479"/>
              <a:gd name="connsiteY5" fmla="*/ 1604261 h 1943514"/>
              <a:gd name="connsiteX6" fmla="*/ 374342 w 4798479"/>
              <a:gd name="connsiteY6" fmla="*/ 1604495 h 1943514"/>
              <a:gd name="connsiteX7" fmla="*/ 372031 w 4798479"/>
              <a:gd name="connsiteY7" fmla="*/ 1604262 h 1943514"/>
              <a:gd name="connsiteX8" fmla="*/ 7555 w 4798479"/>
              <a:gd name="connsiteY8" fmla="*/ 1901319 h 1943514"/>
              <a:gd name="connsiteX9" fmla="*/ 3301 w 4798479"/>
              <a:gd name="connsiteY9" fmla="*/ 1943514 h 1943514"/>
              <a:gd name="connsiteX10" fmla="*/ 0 w 4798479"/>
              <a:gd name="connsiteY10" fmla="*/ 1935545 h 1943514"/>
              <a:gd name="connsiteX11" fmla="*/ 0 w 4798479"/>
              <a:gd name="connsiteY11" fmla="*/ 71054 h 1943514"/>
              <a:gd name="connsiteX12" fmla="*/ 71054 w 4798479"/>
              <a:gd name="connsiteY12" fmla="*/ 0 h 1943514"/>
              <a:gd name="connsiteX0" fmla="*/ 71054 w 4801282"/>
              <a:gd name="connsiteY0" fmla="*/ 0 h 1943514"/>
              <a:gd name="connsiteX1" fmla="*/ 4453013 w 4801282"/>
              <a:gd name="connsiteY1" fmla="*/ 0 h 1943514"/>
              <a:gd name="connsiteX2" fmla="*/ 4524067 w 4801282"/>
              <a:gd name="connsiteY2" fmla="*/ 71054 h 1943514"/>
              <a:gd name="connsiteX3" fmla="*/ 4522480 w 4801282"/>
              <a:gd name="connsiteY3" fmla="*/ 1547019 h 1943514"/>
              <a:gd name="connsiteX4" fmla="*/ 4481998 w 4801282"/>
              <a:gd name="connsiteY4" fmla="*/ 1606550 h 1943514"/>
              <a:gd name="connsiteX5" fmla="*/ 374342 w 4801282"/>
              <a:gd name="connsiteY5" fmla="*/ 1604261 h 1943514"/>
              <a:gd name="connsiteX6" fmla="*/ 374342 w 4801282"/>
              <a:gd name="connsiteY6" fmla="*/ 1604495 h 1943514"/>
              <a:gd name="connsiteX7" fmla="*/ 372031 w 4801282"/>
              <a:gd name="connsiteY7" fmla="*/ 1604262 h 1943514"/>
              <a:gd name="connsiteX8" fmla="*/ 7555 w 4801282"/>
              <a:gd name="connsiteY8" fmla="*/ 1901319 h 1943514"/>
              <a:gd name="connsiteX9" fmla="*/ 3301 w 4801282"/>
              <a:gd name="connsiteY9" fmla="*/ 1943514 h 1943514"/>
              <a:gd name="connsiteX10" fmla="*/ 0 w 4801282"/>
              <a:gd name="connsiteY10" fmla="*/ 1935545 h 1943514"/>
              <a:gd name="connsiteX11" fmla="*/ 0 w 4801282"/>
              <a:gd name="connsiteY11" fmla="*/ 71054 h 1943514"/>
              <a:gd name="connsiteX12" fmla="*/ 71054 w 4801282"/>
              <a:gd name="connsiteY12" fmla="*/ 0 h 1943514"/>
              <a:gd name="connsiteX0" fmla="*/ 71054 w 4527104"/>
              <a:gd name="connsiteY0" fmla="*/ 0 h 1943514"/>
              <a:gd name="connsiteX1" fmla="*/ 4453013 w 4527104"/>
              <a:gd name="connsiteY1" fmla="*/ 0 h 1943514"/>
              <a:gd name="connsiteX2" fmla="*/ 4524067 w 4527104"/>
              <a:gd name="connsiteY2" fmla="*/ 71054 h 1943514"/>
              <a:gd name="connsiteX3" fmla="*/ 4522480 w 4527104"/>
              <a:gd name="connsiteY3" fmla="*/ 1547019 h 1943514"/>
              <a:gd name="connsiteX4" fmla="*/ 4481998 w 4527104"/>
              <a:gd name="connsiteY4" fmla="*/ 1606550 h 1943514"/>
              <a:gd name="connsiteX5" fmla="*/ 374342 w 4527104"/>
              <a:gd name="connsiteY5" fmla="*/ 1604261 h 1943514"/>
              <a:gd name="connsiteX6" fmla="*/ 374342 w 4527104"/>
              <a:gd name="connsiteY6" fmla="*/ 1604495 h 1943514"/>
              <a:gd name="connsiteX7" fmla="*/ 372031 w 4527104"/>
              <a:gd name="connsiteY7" fmla="*/ 1604262 h 1943514"/>
              <a:gd name="connsiteX8" fmla="*/ 7555 w 4527104"/>
              <a:gd name="connsiteY8" fmla="*/ 1901319 h 1943514"/>
              <a:gd name="connsiteX9" fmla="*/ 3301 w 4527104"/>
              <a:gd name="connsiteY9" fmla="*/ 1943514 h 1943514"/>
              <a:gd name="connsiteX10" fmla="*/ 0 w 4527104"/>
              <a:gd name="connsiteY10" fmla="*/ 1935545 h 1943514"/>
              <a:gd name="connsiteX11" fmla="*/ 0 w 4527104"/>
              <a:gd name="connsiteY11" fmla="*/ 71054 h 1943514"/>
              <a:gd name="connsiteX12" fmla="*/ 71054 w 4527104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81998 w 4524067"/>
              <a:gd name="connsiteY4" fmla="*/ 1606550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81998 w 4524067"/>
              <a:gd name="connsiteY4" fmla="*/ 1606550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81998 w 4524067"/>
              <a:gd name="connsiteY4" fmla="*/ 1606550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16062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16062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16062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524067" h="1943514">
                <a:moveTo>
                  <a:pt x="71054" y="0"/>
                </a:moveTo>
                <a:lnTo>
                  <a:pt x="4453013" y="0"/>
                </a:lnTo>
                <a:cubicBezTo>
                  <a:pt x="4492255" y="0"/>
                  <a:pt x="4524067" y="31812"/>
                  <a:pt x="4524067" y="71054"/>
                </a:cubicBezTo>
                <a:cubicBezTo>
                  <a:pt x="4523538" y="552723"/>
                  <a:pt x="4522346" y="1479221"/>
                  <a:pt x="4522480" y="1516062"/>
                </a:cubicBezTo>
                <a:cubicBezTo>
                  <a:pt x="4522614" y="1552903"/>
                  <a:pt x="4525654" y="1606535"/>
                  <a:pt x="4458185" y="1608931"/>
                </a:cubicBezTo>
                <a:cubicBezTo>
                  <a:pt x="4390716" y="1611327"/>
                  <a:pt x="1735623" y="1605818"/>
                  <a:pt x="374342" y="1604261"/>
                </a:cubicBezTo>
                <a:lnTo>
                  <a:pt x="374342" y="1604495"/>
                </a:lnTo>
                <a:lnTo>
                  <a:pt x="372031" y="1604262"/>
                </a:lnTo>
                <a:cubicBezTo>
                  <a:pt x="192246" y="1604262"/>
                  <a:pt x="42246" y="1731789"/>
                  <a:pt x="7555" y="1901319"/>
                </a:cubicBezTo>
                <a:lnTo>
                  <a:pt x="3301" y="1943514"/>
                </a:lnTo>
                <a:lnTo>
                  <a:pt x="0" y="1935545"/>
                </a:lnTo>
                <a:lnTo>
                  <a:pt x="0" y="71054"/>
                </a:lnTo>
                <a:cubicBezTo>
                  <a:pt x="0" y="31812"/>
                  <a:pt x="31812" y="0"/>
                  <a:pt x="71054" y="0"/>
                </a:cubicBezTo>
                <a:close/>
              </a:path>
            </a:pathLst>
          </a:custGeom>
          <a:solidFill>
            <a:schemeClr val="tx2">
              <a:alpha val="85000"/>
            </a:schemeClr>
          </a:solidFill>
        </p:spPr>
        <p:txBody>
          <a:bodyPr wrap="square" lIns="360000" tIns="180000" rIns="576000" bIns="180000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419" b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8419" b="0"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/>
              <a:t>Klik om tekst in te voegen</a:t>
            </a:r>
          </a:p>
        </p:txBody>
      </p:sp>
      <p:sp>
        <p:nvSpPr>
          <p:cNvPr id="14" name="Tijdelijke aanduiding voor datum 3">
            <a:extLst>
              <a:ext uri="{FF2B5EF4-FFF2-40B4-BE49-F238E27FC236}">
                <a16:creationId xmlns:a16="http://schemas.microsoft.com/office/drawing/2014/main" id="{6C5C6C08-DDA7-4CC4-B473-244AE8EBA70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B70BE4-B49B-4495-86FF-21BC09262938}" type="datetime1">
              <a:rPr lang="nl-NL" noProof="0" smtClean="0"/>
              <a:t>26-6-2023</a:t>
            </a:fld>
            <a:endParaRPr lang="nl-NL" noProof="0"/>
          </a:p>
        </p:txBody>
      </p:sp>
      <p:grpSp>
        <p:nvGrpSpPr>
          <p:cNvPr id="175" name="Groep 258">
            <a:extLst>
              <a:ext uri="{FF2B5EF4-FFF2-40B4-BE49-F238E27FC236}">
                <a16:creationId xmlns:a16="http://schemas.microsoft.com/office/drawing/2014/main" id="{32746DC4-88FC-4573-AFD3-B1C8E92AA3FC}"/>
              </a:ext>
            </a:extLst>
          </p:cNvPr>
          <p:cNvGrpSpPr/>
          <p:nvPr userDrawn="1"/>
        </p:nvGrpSpPr>
        <p:grpSpPr>
          <a:xfrm>
            <a:off x="43467416" y="5"/>
            <a:ext cx="11167745" cy="23084356"/>
            <a:chOff x="12391601" y="0"/>
            <a:chExt cx="3183678" cy="5229113"/>
          </a:xfrm>
        </p:grpSpPr>
        <p:grpSp>
          <p:nvGrpSpPr>
            <p:cNvPr id="176" name="Meer informatie">
              <a:extLst>
                <a:ext uri="{FF2B5EF4-FFF2-40B4-BE49-F238E27FC236}">
                  <a16:creationId xmlns:a16="http://schemas.microsoft.com/office/drawing/2014/main" id="{B0670A90-84BD-4C03-8E9A-E3A811B1DE03}"/>
                </a:ext>
              </a:extLst>
            </p:cNvPr>
            <p:cNvGrpSpPr/>
            <p:nvPr userDrawn="1"/>
          </p:nvGrpSpPr>
          <p:grpSpPr>
            <a:xfrm>
              <a:off x="12396764" y="4445840"/>
              <a:ext cx="3178515" cy="783273"/>
              <a:chOff x="-3741486" y="3386444"/>
              <a:chExt cx="3178515" cy="783273"/>
            </a:xfrm>
          </p:grpSpPr>
          <p:sp>
            <p:nvSpPr>
              <p:cNvPr id="235" name="Freeform 101">
                <a:extLst>
                  <a:ext uri="{FF2B5EF4-FFF2-40B4-BE49-F238E27FC236}">
                    <a16:creationId xmlns:a16="http://schemas.microsoft.com/office/drawing/2014/main" id="{21EE44E5-6482-4E8B-9DB5-EC22FDA9814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236" name="Rechthoek 306">
                <a:extLst>
                  <a:ext uri="{FF2B5EF4-FFF2-40B4-BE49-F238E27FC236}">
                    <a16:creationId xmlns:a16="http://schemas.microsoft.com/office/drawing/2014/main" id="{68056740-4BDC-40A5-92C4-290C510A0CB3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37" name="Rechte verbindingslijn 307">
                <a:extLst>
                  <a:ext uri="{FF2B5EF4-FFF2-40B4-BE49-F238E27FC236}">
                    <a16:creationId xmlns:a16="http://schemas.microsoft.com/office/drawing/2014/main" id="{F04CC3DB-5360-461B-ADBA-345B3743A5A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77" name="Rechthoek 260">
              <a:extLst>
                <a:ext uri="{FF2B5EF4-FFF2-40B4-BE49-F238E27FC236}">
                  <a16:creationId xmlns:a16="http://schemas.microsoft.com/office/drawing/2014/main" id="{BBFC268C-2613-4F95-919A-428B00EF1E1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178" name="Ovaal 261">
              <a:extLst>
                <a:ext uri="{FF2B5EF4-FFF2-40B4-BE49-F238E27FC236}">
                  <a16:creationId xmlns:a16="http://schemas.microsoft.com/office/drawing/2014/main" id="{419C2E17-C33F-4062-A892-E17A6E639D88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9" name="Rechte verbindingslijn 262">
              <a:extLst>
                <a:ext uri="{FF2B5EF4-FFF2-40B4-BE49-F238E27FC236}">
                  <a16:creationId xmlns:a16="http://schemas.microsoft.com/office/drawing/2014/main" id="{896FA431-FE05-4130-8A0E-F455E9D662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0" name="Rechte verbindingslijn 263">
              <a:extLst>
                <a:ext uri="{FF2B5EF4-FFF2-40B4-BE49-F238E27FC236}">
                  <a16:creationId xmlns:a16="http://schemas.microsoft.com/office/drawing/2014/main" id="{302FC35A-411F-4C1F-A29F-11E63FF7A33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81" name="Rechthoek 264">
              <a:extLst>
                <a:ext uri="{FF2B5EF4-FFF2-40B4-BE49-F238E27FC236}">
                  <a16:creationId xmlns:a16="http://schemas.microsoft.com/office/drawing/2014/main" id="{A755A67A-9BBC-4244-973C-D2A8C42C21A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oor deze te selecteren en op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om een nieuwe afbeelding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82" name="Rechte verbindingslijn 265">
              <a:extLst>
                <a:ext uri="{FF2B5EF4-FFF2-40B4-BE49-F238E27FC236}">
                  <a16:creationId xmlns:a16="http://schemas.microsoft.com/office/drawing/2014/main" id="{76B2D01C-1BE0-4770-9A9F-F28D68D47F3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4327957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83" name="Ovaal 266">
              <a:extLst>
                <a:ext uri="{FF2B5EF4-FFF2-40B4-BE49-F238E27FC236}">
                  <a16:creationId xmlns:a16="http://schemas.microsoft.com/office/drawing/2014/main" id="{7AE8A063-9ECB-487E-B64D-4A50F3013ECA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84" name="Rechthoek 267">
              <a:extLst>
                <a:ext uri="{FF2B5EF4-FFF2-40B4-BE49-F238E27FC236}">
                  <a16:creationId xmlns:a16="http://schemas.microsoft.com/office/drawing/2014/main" id="{A3902585-C030-41F4-8736-968356A94343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85" name="Groep 268">
              <a:extLst>
                <a:ext uri="{FF2B5EF4-FFF2-40B4-BE49-F238E27FC236}">
                  <a16:creationId xmlns:a16="http://schemas.microsoft.com/office/drawing/2014/main" id="{DC07FDFD-2AE0-4E87-8F46-E07793262170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32" name="Rechthoek 302">
                <a:extLst>
                  <a:ext uri="{FF2B5EF4-FFF2-40B4-BE49-F238E27FC236}">
                    <a16:creationId xmlns:a16="http://schemas.microsoft.com/office/drawing/2014/main" id="{C3944425-6892-4ADE-81EE-8F269C56B503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233" name="Rechte verbindingslijn 303">
                <a:extLst>
                  <a:ext uri="{FF2B5EF4-FFF2-40B4-BE49-F238E27FC236}">
                    <a16:creationId xmlns:a16="http://schemas.microsoft.com/office/drawing/2014/main" id="{AA6D1494-D166-4EF1-AB19-C53BDF4AB2F3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34" name="Gelijkbenige driehoek 304">
                <a:extLst>
                  <a:ext uri="{FF2B5EF4-FFF2-40B4-BE49-F238E27FC236}">
                    <a16:creationId xmlns:a16="http://schemas.microsoft.com/office/drawing/2014/main" id="{30A47B12-907C-4F85-A5D5-29F5CBF80A4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86" name="Groep 269">
              <a:extLst>
                <a:ext uri="{FF2B5EF4-FFF2-40B4-BE49-F238E27FC236}">
                  <a16:creationId xmlns:a16="http://schemas.microsoft.com/office/drawing/2014/main" id="{C24B7CB5-91E0-4939-88F8-E2D52FAC4B45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213" name="Rechthoek 296">
                <a:extLst>
                  <a:ext uri="{FF2B5EF4-FFF2-40B4-BE49-F238E27FC236}">
                    <a16:creationId xmlns:a16="http://schemas.microsoft.com/office/drawing/2014/main" id="{869C421D-F735-4172-83F8-6113DE4D1BA7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7" name="Ovaal 297">
                <a:extLst>
                  <a:ext uri="{FF2B5EF4-FFF2-40B4-BE49-F238E27FC236}">
                    <a16:creationId xmlns:a16="http://schemas.microsoft.com/office/drawing/2014/main" id="{ABB8A66C-4036-40C4-BCA1-1C8405EDCF1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8" name="Vrije vorm: vorm 298">
                <a:extLst>
                  <a:ext uri="{FF2B5EF4-FFF2-40B4-BE49-F238E27FC236}">
                    <a16:creationId xmlns:a16="http://schemas.microsoft.com/office/drawing/2014/main" id="{FDED221B-20FC-4FEB-807C-A24B925B1EE0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9" name="Rechthoek: afgeronde hoeken 299">
                <a:extLst>
                  <a:ext uri="{FF2B5EF4-FFF2-40B4-BE49-F238E27FC236}">
                    <a16:creationId xmlns:a16="http://schemas.microsoft.com/office/drawing/2014/main" id="{C5A637DF-387F-4796-9C11-925EE3284C34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230" name="Rechte verbindingslijn 300">
                <a:extLst>
                  <a:ext uri="{FF2B5EF4-FFF2-40B4-BE49-F238E27FC236}">
                    <a16:creationId xmlns:a16="http://schemas.microsoft.com/office/drawing/2014/main" id="{BED97851-1EF9-44DD-A9F7-C30ABE59134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31" name="Rechte verbindingslijn 301">
                <a:extLst>
                  <a:ext uri="{FF2B5EF4-FFF2-40B4-BE49-F238E27FC236}">
                    <a16:creationId xmlns:a16="http://schemas.microsoft.com/office/drawing/2014/main" id="{691BDA09-845E-4BFA-A421-28B572C25D7A}"/>
                  </a:ext>
                </a:extLst>
              </p:cNvPr>
              <p:cNvCxnSpPr>
                <a:cxnSpLocks/>
                <a:stCxn id="229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87" name="Ovaal 270">
              <a:extLst>
                <a:ext uri="{FF2B5EF4-FFF2-40B4-BE49-F238E27FC236}">
                  <a16:creationId xmlns:a16="http://schemas.microsoft.com/office/drawing/2014/main" id="{316501B2-FA5B-4AC3-B66F-07021F7BB709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88" name="Rechthoek 271">
              <a:extLst>
                <a:ext uri="{FF2B5EF4-FFF2-40B4-BE49-F238E27FC236}">
                  <a16:creationId xmlns:a16="http://schemas.microsoft.com/office/drawing/2014/main" id="{C00A2A26-F9E7-4C43-AFF7-A43201DB0241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43320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aan de linker kant van het scherm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89" name="Rechte verbindingslijn 272">
              <a:extLst>
                <a:ext uri="{FF2B5EF4-FFF2-40B4-BE49-F238E27FC236}">
                  <a16:creationId xmlns:a16="http://schemas.microsoft.com/office/drawing/2014/main" id="{5DBBCEC7-1DBB-4B05-8BCA-ED381E55F00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90" name="Rechthoek 273">
              <a:extLst>
                <a:ext uri="{FF2B5EF4-FFF2-40B4-BE49-F238E27FC236}">
                  <a16:creationId xmlns:a16="http://schemas.microsoft.com/office/drawing/2014/main" id="{BA60779A-6B3B-425F-BFC6-DCFFF26ED9CF}"/>
                </a:ext>
              </a:extLst>
            </p:cNvPr>
            <p:cNvSpPr/>
            <p:nvPr userDrawn="1"/>
          </p:nvSpPr>
          <p:spPr>
            <a:xfrm>
              <a:off x="12654153" y="3238910"/>
              <a:ext cx="1624926" cy="805220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3509" b="0" i="1" noProof="0">
                <a:solidFill>
                  <a:schemeClr val="tx1"/>
                </a:solidFill>
              </a:endParaRPr>
            </a:p>
          </p:txBody>
        </p:sp>
        <p:grpSp>
          <p:nvGrpSpPr>
            <p:cNvPr id="191" name="Groep 274">
              <a:extLst>
                <a:ext uri="{FF2B5EF4-FFF2-40B4-BE49-F238E27FC236}">
                  <a16:creationId xmlns:a16="http://schemas.microsoft.com/office/drawing/2014/main" id="{E61A0D1D-B200-4A2A-9DEA-80EC488B11D7}"/>
                </a:ext>
              </a:extLst>
            </p:cNvPr>
            <p:cNvGrpSpPr/>
            <p:nvPr userDrawn="1"/>
          </p:nvGrpSpPr>
          <p:grpSpPr>
            <a:xfrm>
              <a:off x="13614067" y="3535184"/>
              <a:ext cx="1195438" cy="678267"/>
              <a:chOff x="12757284" y="3224292"/>
              <a:chExt cx="1195438" cy="678267"/>
            </a:xfrm>
          </p:grpSpPr>
          <p:sp>
            <p:nvSpPr>
              <p:cNvPr id="192" name="Rechthoek 275">
                <a:extLst>
                  <a:ext uri="{FF2B5EF4-FFF2-40B4-BE49-F238E27FC236}">
                    <a16:creationId xmlns:a16="http://schemas.microsoft.com/office/drawing/2014/main" id="{F5E6DE1B-3A05-4A9A-AA3A-51649ADD934E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3" name="Rechthoek 276">
                <a:extLst>
                  <a:ext uri="{FF2B5EF4-FFF2-40B4-BE49-F238E27FC236}">
                    <a16:creationId xmlns:a16="http://schemas.microsoft.com/office/drawing/2014/main" id="{F567E2FE-17B8-400C-BFF3-450395110597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94" name="Groep 277">
                <a:extLst>
                  <a:ext uri="{FF2B5EF4-FFF2-40B4-BE49-F238E27FC236}">
                    <a16:creationId xmlns:a16="http://schemas.microsoft.com/office/drawing/2014/main" id="{90E12851-D269-4CFD-8A49-89471511595E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207" name="Rechthoek: afgeronde hoeken 290">
                  <a:extLst>
                    <a:ext uri="{FF2B5EF4-FFF2-40B4-BE49-F238E27FC236}">
                      <a16:creationId xmlns:a16="http://schemas.microsoft.com/office/drawing/2014/main" id="{94EB7F95-EBB8-4505-884A-956C1FCD8916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endPara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8" name="Rechthoek 291">
                  <a:extLst>
                    <a:ext uri="{FF2B5EF4-FFF2-40B4-BE49-F238E27FC236}">
                      <a16:creationId xmlns:a16="http://schemas.microsoft.com/office/drawing/2014/main" id="{1BCF18D2-FAED-47FD-A532-D4FD74019981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9" name="Rechthoek 292">
                  <a:extLst>
                    <a:ext uri="{FF2B5EF4-FFF2-40B4-BE49-F238E27FC236}">
                      <a16:creationId xmlns:a16="http://schemas.microsoft.com/office/drawing/2014/main" id="{30E38F31-9E47-4AA5-9F7A-DD258EA31681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0" name="Rechthoek 293">
                  <a:extLst>
                    <a:ext uri="{FF2B5EF4-FFF2-40B4-BE49-F238E27FC236}">
                      <a16:creationId xmlns:a16="http://schemas.microsoft.com/office/drawing/2014/main" id="{DB9BA5A7-87AA-4288-B18A-2849D4A89216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1" name="Rechthoek 294">
                  <a:extLst>
                    <a:ext uri="{FF2B5EF4-FFF2-40B4-BE49-F238E27FC236}">
                      <a16:creationId xmlns:a16="http://schemas.microsoft.com/office/drawing/2014/main" id="{80CDEBB7-8EB9-4525-9FC8-189636894CB0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2" name="Rechthoek 295">
                  <a:extLst>
                    <a:ext uri="{FF2B5EF4-FFF2-40B4-BE49-F238E27FC236}">
                      <a16:creationId xmlns:a16="http://schemas.microsoft.com/office/drawing/2014/main" id="{F0AA582E-92B1-4248-B21F-CCAAAAC8609F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95" name="Groep 278">
                <a:extLst>
                  <a:ext uri="{FF2B5EF4-FFF2-40B4-BE49-F238E27FC236}">
                    <a16:creationId xmlns:a16="http://schemas.microsoft.com/office/drawing/2014/main" id="{6222D373-DC9B-4DDC-B446-DF1D4C73E12B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99" name="Groep 282">
                  <a:extLst>
                    <a:ext uri="{FF2B5EF4-FFF2-40B4-BE49-F238E27FC236}">
                      <a16:creationId xmlns:a16="http://schemas.microsoft.com/office/drawing/2014/main" id="{72C6A67F-7068-43B6-9E98-26C84F2D8B4C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201" name="Rechthoek: afgeronde hoeken 284">
                    <a:extLst>
                      <a:ext uri="{FF2B5EF4-FFF2-40B4-BE49-F238E27FC236}">
                        <a16:creationId xmlns:a16="http://schemas.microsoft.com/office/drawing/2014/main" id="{4E55893D-FCD6-403B-AD26-3876F4A580C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2105"/>
                      </a:spcBef>
                      <a:spcAft>
                        <a:spcPts val="2105"/>
                      </a:spcAft>
                    </a:pPr>
                    <a:endParaRPr lang="nl-NL" sz="280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02" name="Rechthoek 285">
                    <a:extLst>
                      <a:ext uri="{FF2B5EF4-FFF2-40B4-BE49-F238E27FC236}">
                        <a16:creationId xmlns:a16="http://schemas.microsoft.com/office/drawing/2014/main" id="{60B8FAAB-EE20-4314-BA2E-0765E8F72B6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3" name="Rechthoek 286">
                    <a:extLst>
                      <a:ext uri="{FF2B5EF4-FFF2-40B4-BE49-F238E27FC236}">
                        <a16:creationId xmlns:a16="http://schemas.microsoft.com/office/drawing/2014/main" id="{A6D9782F-9F32-43D7-9E8C-AE748003E54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4" name="Rechthoek 287">
                    <a:extLst>
                      <a:ext uri="{FF2B5EF4-FFF2-40B4-BE49-F238E27FC236}">
                        <a16:creationId xmlns:a16="http://schemas.microsoft.com/office/drawing/2014/main" id="{EC5B7045-916A-4AD0-81FE-E4BBBFE389C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5" name="Rechthoek 288">
                    <a:extLst>
                      <a:ext uri="{FF2B5EF4-FFF2-40B4-BE49-F238E27FC236}">
                        <a16:creationId xmlns:a16="http://schemas.microsoft.com/office/drawing/2014/main" id="{098701C8-4361-49B0-BCA7-A8F3FF778E1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6" name="Rechthoek 289">
                    <a:extLst>
                      <a:ext uri="{FF2B5EF4-FFF2-40B4-BE49-F238E27FC236}">
                        <a16:creationId xmlns:a16="http://schemas.microsoft.com/office/drawing/2014/main" id="{7B39F7BB-A445-4FE8-BC6C-955670709E8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200" name="Boog 283">
                  <a:extLst>
                    <a:ext uri="{FF2B5EF4-FFF2-40B4-BE49-F238E27FC236}">
                      <a16:creationId xmlns:a16="http://schemas.microsoft.com/office/drawing/2014/main" id="{F23040F2-5494-432D-B820-CCAA1988ED2E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</p:grpSp>
          <p:sp>
            <p:nvSpPr>
              <p:cNvPr id="196" name="Tekstvak 279">
                <a:extLst>
                  <a:ext uri="{FF2B5EF4-FFF2-40B4-BE49-F238E27FC236}">
                    <a16:creationId xmlns:a16="http://schemas.microsoft.com/office/drawing/2014/main" id="{2942AA11-63F0-4006-AEF1-6D4462308EDB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97" name="Tekstvak 280">
                <a:extLst>
                  <a:ext uri="{FF2B5EF4-FFF2-40B4-BE49-F238E27FC236}">
                    <a16:creationId xmlns:a16="http://schemas.microsoft.com/office/drawing/2014/main" id="{E3210A11-4381-46EA-9E6F-D2E0DFE2C8E2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98" name="Picture 3">
                <a:extLst>
                  <a:ext uri="{FF2B5EF4-FFF2-40B4-BE49-F238E27FC236}">
                    <a16:creationId xmlns:a16="http://schemas.microsoft.com/office/drawing/2014/main" id="{212D6480-E9C7-43EA-A0E9-3A3C5A863653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810206" y="3671228"/>
                <a:ext cx="14251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grpSp>
        <p:nvGrpSpPr>
          <p:cNvPr id="74" name="Instructie">
            <a:extLst>
              <a:ext uri="{FF2B5EF4-FFF2-40B4-BE49-F238E27FC236}">
                <a16:creationId xmlns:a16="http://schemas.microsoft.com/office/drawing/2014/main" id="{6143FC48-7592-4337-8C6F-C8C026048308}"/>
              </a:ext>
            </a:extLst>
          </p:cNvPr>
          <p:cNvGrpSpPr/>
          <p:nvPr userDrawn="1"/>
        </p:nvGrpSpPr>
        <p:grpSpPr>
          <a:xfrm>
            <a:off x="-11761540" y="0"/>
            <a:ext cx="11164508" cy="11743958"/>
            <a:chOff x="-3426088" y="4512342"/>
            <a:chExt cx="3182755" cy="2660264"/>
          </a:xfrm>
        </p:grpSpPr>
        <p:sp>
          <p:nvSpPr>
            <p:cNvPr id="75" name="Rechthoek 127">
              <a:extLst>
                <a:ext uri="{FF2B5EF4-FFF2-40B4-BE49-F238E27FC236}">
                  <a16:creationId xmlns:a16="http://schemas.microsoft.com/office/drawing/2014/main" id="{C2DB9CB0-FDFD-4B95-85C7-62EBC401C533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76" name="Rechte verbindingslijn 128">
              <a:extLst>
                <a:ext uri="{FF2B5EF4-FFF2-40B4-BE49-F238E27FC236}">
                  <a16:creationId xmlns:a16="http://schemas.microsoft.com/office/drawing/2014/main" id="{4DD63A3F-5FCC-405B-81BA-E77F2793647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77" name="Rechthoek 130">
              <a:extLst>
                <a:ext uri="{FF2B5EF4-FFF2-40B4-BE49-F238E27FC236}">
                  <a16:creationId xmlns:a16="http://schemas.microsoft.com/office/drawing/2014/main" id="{58BFF1D8-DB47-4AD7-96CB-2A4E75C45A68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78" name="Rechthoek 133">
              <a:extLst>
                <a:ext uri="{FF2B5EF4-FFF2-40B4-BE49-F238E27FC236}">
                  <a16:creationId xmlns:a16="http://schemas.microsoft.com/office/drawing/2014/main" id="{FDAB2AD8-2C4C-405A-B254-A4EFB4848223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79" name="Rechthoek 136">
              <a:extLst>
                <a:ext uri="{FF2B5EF4-FFF2-40B4-BE49-F238E27FC236}">
                  <a16:creationId xmlns:a16="http://schemas.microsoft.com/office/drawing/2014/main" id="{A889BFAD-371E-4693-90E4-31F482B01473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0" name="Rechthoek 139">
              <a:extLst>
                <a:ext uri="{FF2B5EF4-FFF2-40B4-BE49-F238E27FC236}">
                  <a16:creationId xmlns:a16="http://schemas.microsoft.com/office/drawing/2014/main" id="{18804913-91E7-42B8-90DE-F9FF7DA712E1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81" name="Rechte verbindingslijn 140">
              <a:extLst>
                <a:ext uri="{FF2B5EF4-FFF2-40B4-BE49-F238E27FC236}">
                  <a16:creationId xmlns:a16="http://schemas.microsoft.com/office/drawing/2014/main" id="{C4DDD1F0-B44E-4523-8EA2-5CF570A5558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66" name="Tijdelijke aanduiding voor tekst 3">
            <a:extLst>
              <a:ext uri="{FF2B5EF4-FFF2-40B4-BE49-F238E27FC236}">
                <a16:creationId xmlns:a16="http://schemas.microsoft.com/office/drawing/2014/main" id="{04EB488E-1D5D-4652-9678-D82AC0E2590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504415" y="1449454"/>
            <a:ext cx="6635238" cy="3534585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51"/>
            </a:lvl1pPr>
          </a:lstStyle>
          <a:p>
            <a:pPr lvl="0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86229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4250" fill="hold"/>
                                        <p:tgtEl>
                                          <p:spTgt spid="10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6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Balk 10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-5567" y="-31537"/>
            <a:ext cx="42767257" cy="30306755"/>
          </a:xfrm>
          <a:solidFill>
            <a:schemeClr val="bg1">
              <a:lumMod val="95000"/>
            </a:schemeClr>
          </a:solidFill>
        </p:spPr>
        <p:txBody>
          <a:bodyPr tIns="1440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3" name="Tijdelijke aanduiding voor voettekst 4">
            <a:extLst>
              <a:ext uri="{FF2B5EF4-FFF2-40B4-BE49-F238E27FC236}">
                <a16:creationId xmlns:a16="http://schemas.microsoft.com/office/drawing/2014/main" id="{3FD2C40F-5ED0-4573-8F6F-31F0DA9D46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4" name="Tijdelijke aanduiding voor dianummer 5">
            <a:extLst>
              <a:ext uri="{FF2B5EF4-FFF2-40B4-BE49-F238E27FC236}">
                <a16:creationId xmlns:a16="http://schemas.microsoft.com/office/drawing/2014/main" id="{FDCACBC6-40CE-484B-AC87-549D0BAA4F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7" y="27329718"/>
            <a:ext cx="851960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4" name="Tijdelijke aanduiding voor verticale tekst 2">
            <a:extLst>
              <a:ext uri="{FF2B5EF4-FFF2-40B4-BE49-F238E27FC236}">
                <a16:creationId xmlns:a16="http://schemas.microsoft.com/office/drawing/2014/main" id="{1D71B8A2-5FF8-4862-BD63-087FD3B538C2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-11124" y="5946784"/>
            <a:ext cx="42778377" cy="6438767"/>
          </a:xfrm>
          <a:solidFill>
            <a:schemeClr val="tx2">
              <a:alpha val="82000"/>
            </a:schemeClr>
          </a:solidFill>
        </p:spPr>
        <p:txBody>
          <a:bodyPr vert="horz" lIns="216000" tIns="180000" rIns="216000" bIns="180000" rtlCol="0" anchor="ctr">
            <a:normAutofit/>
          </a:bodyPr>
          <a:lstStyle>
            <a:lvl1pPr marL="0" indent="0" algn="ctr">
              <a:buFontTx/>
              <a:buNone/>
              <a:defRPr lang="en-US" sz="12628" b="0" baseline="0" noProof="0" dirty="0">
                <a:solidFill>
                  <a:schemeClr val="bg1"/>
                </a:solidFill>
              </a:defRPr>
            </a:lvl1pPr>
            <a:lvl2pPr>
              <a:defRPr lang="en-US" noProof="0" dirty="0">
                <a:solidFill>
                  <a:schemeClr val="bg1"/>
                </a:solidFill>
              </a:defRPr>
            </a:lvl2pPr>
            <a:lvl3pPr>
              <a:defRPr lang="en-US" noProof="0" dirty="0">
                <a:solidFill>
                  <a:schemeClr val="bg1"/>
                </a:solidFill>
              </a:defRPr>
            </a:lvl3pPr>
            <a:lvl4pPr>
              <a:defRPr lang="en-US" noProof="0" dirty="0">
                <a:solidFill>
                  <a:schemeClr val="bg1"/>
                </a:solidFill>
              </a:defRPr>
            </a:lvl4pPr>
            <a:lvl5pPr algn="ctr">
              <a:defRPr lang="en-US" sz="12628" b="0" noProof="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/>
              <a:t>Klik om tekst in te voegen</a:t>
            </a:r>
          </a:p>
        </p:txBody>
      </p:sp>
      <p:sp>
        <p:nvSpPr>
          <p:cNvPr id="15" name="Tijdelijke aanduiding voor datum 3">
            <a:extLst>
              <a:ext uri="{FF2B5EF4-FFF2-40B4-BE49-F238E27FC236}">
                <a16:creationId xmlns:a16="http://schemas.microsoft.com/office/drawing/2014/main" id="{C4AEE98B-5CA5-411B-9688-928C7F70CAA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49D2A1-BCAF-464A-ADBC-F90E2254D093}" type="datetime1">
              <a:rPr lang="nl-NL" noProof="0" smtClean="0"/>
              <a:t>26-6-2023</a:t>
            </a:fld>
            <a:endParaRPr lang="nl-NL" noProof="0"/>
          </a:p>
        </p:txBody>
      </p:sp>
      <p:grpSp>
        <p:nvGrpSpPr>
          <p:cNvPr id="173" name="Groep 258">
            <a:extLst>
              <a:ext uri="{FF2B5EF4-FFF2-40B4-BE49-F238E27FC236}">
                <a16:creationId xmlns:a16="http://schemas.microsoft.com/office/drawing/2014/main" id="{C1EFFC3F-9638-4D57-9C97-534AB7CEBD23}"/>
              </a:ext>
            </a:extLst>
          </p:cNvPr>
          <p:cNvGrpSpPr/>
          <p:nvPr userDrawn="1"/>
        </p:nvGrpSpPr>
        <p:grpSpPr>
          <a:xfrm>
            <a:off x="43467416" y="5"/>
            <a:ext cx="11167745" cy="23084356"/>
            <a:chOff x="12391601" y="0"/>
            <a:chExt cx="3183678" cy="5229113"/>
          </a:xfrm>
        </p:grpSpPr>
        <p:grpSp>
          <p:nvGrpSpPr>
            <p:cNvPr id="174" name="Meer informatie">
              <a:extLst>
                <a:ext uri="{FF2B5EF4-FFF2-40B4-BE49-F238E27FC236}">
                  <a16:creationId xmlns:a16="http://schemas.microsoft.com/office/drawing/2014/main" id="{F667BF30-8018-47FD-B527-F0FE71A71227}"/>
                </a:ext>
              </a:extLst>
            </p:cNvPr>
            <p:cNvGrpSpPr/>
            <p:nvPr userDrawn="1"/>
          </p:nvGrpSpPr>
          <p:grpSpPr>
            <a:xfrm>
              <a:off x="12396764" y="4445840"/>
              <a:ext cx="3178515" cy="783273"/>
              <a:chOff x="-3741486" y="3386444"/>
              <a:chExt cx="3178515" cy="783273"/>
            </a:xfrm>
          </p:grpSpPr>
          <p:sp>
            <p:nvSpPr>
              <p:cNvPr id="235" name="Freeform 101">
                <a:extLst>
                  <a:ext uri="{FF2B5EF4-FFF2-40B4-BE49-F238E27FC236}">
                    <a16:creationId xmlns:a16="http://schemas.microsoft.com/office/drawing/2014/main" id="{5E80BC63-2A63-4FDA-B5CD-A7CA400F38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236" name="Rechthoek 306">
                <a:extLst>
                  <a:ext uri="{FF2B5EF4-FFF2-40B4-BE49-F238E27FC236}">
                    <a16:creationId xmlns:a16="http://schemas.microsoft.com/office/drawing/2014/main" id="{689FF9A8-43C3-4406-964F-81D4CAFDCBF0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37" name="Rechte verbindingslijn 307">
                <a:extLst>
                  <a:ext uri="{FF2B5EF4-FFF2-40B4-BE49-F238E27FC236}">
                    <a16:creationId xmlns:a16="http://schemas.microsoft.com/office/drawing/2014/main" id="{5E7D8531-F4E6-425D-A8F2-F9DA26D72C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75" name="Rechthoek 260">
              <a:extLst>
                <a:ext uri="{FF2B5EF4-FFF2-40B4-BE49-F238E27FC236}">
                  <a16:creationId xmlns:a16="http://schemas.microsoft.com/office/drawing/2014/main" id="{6187B742-9185-4FF6-BFAF-312EA12DAABA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176" name="Ovaal 261">
              <a:extLst>
                <a:ext uri="{FF2B5EF4-FFF2-40B4-BE49-F238E27FC236}">
                  <a16:creationId xmlns:a16="http://schemas.microsoft.com/office/drawing/2014/main" id="{F9F2AA75-2B84-4090-AE72-4842E63CAD8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7" name="Rechte verbindingslijn 262">
              <a:extLst>
                <a:ext uri="{FF2B5EF4-FFF2-40B4-BE49-F238E27FC236}">
                  <a16:creationId xmlns:a16="http://schemas.microsoft.com/office/drawing/2014/main" id="{C5B814DC-E462-4AC7-82DD-1D050B7067A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78" name="Rechte verbindingslijn 263">
              <a:extLst>
                <a:ext uri="{FF2B5EF4-FFF2-40B4-BE49-F238E27FC236}">
                  <a16:creationId xmlns:a16="http://schemas.microsoft.com/office/drawing/2014/main" id="{358FFB8B-DB58-4B39-B451-3B230B33A0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9" name="Rechthoek 264">
              <a:extLst>
                <a:ext uri="{FF2B5EF4-FFF2-40B4-BE49-F238E27FC236}">
                  <a16:creationId xmlns:a16="http://schemas.microsoft.com/office/drawing/2014/main" id="{1E0186EA-B3F4-4977-B6C8-B0A55C82EC4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oor deze te selecteren en op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om een nieuwe afbeelding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80" name="Rechte verbindingslijn 265">
              <a:extLst>
                <a:ext uri="{FF2B5EF4-FFF2-40B4-BE49-F238E27FC236}">
                  <a16:creationId xmlns:a16="http://schemas.microsoft.com/office/drawing/2014/main" id="{4CB86C25-16AF-4D7F-876C-0206DA81457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4327957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81" name="Ovaal 266">
              <a:extLst>
                <a:ext uri="{FF2B5EF4-FFF2-40B4-BE49-F238E27FC236}">
                  <a16:creationId xmlns:a16="http://schemas.microsoft.com/office/drawing/2014/main" id="{CDCA5228-950F-4E97-9AB0-CA9BFBCCE7C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82" name="Rechthoek 267">
              <a:extLst>
                <a:ext uri="{FF2B5EF4-FFF2-40B4-BE49-F238E27FC236}">
                  <a16:creationId xmlns:a16="http://schemas.microsoft.com/office/drawing/2014/main" id="{8DAF3E25-27A2-423C-B2AB-29B3EDDBA21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83" name="Groep 268">
              <a:extLst>
                <a:ext uri="{FF2B5EF4-FFF2-40B4-BE49-F238E27FC236}">
                  <a16:creationId xmlns:a16="http://schemas.microsoft.com/office/drawing/2014/main" id="{542482A0-99B6-4164-AE39-A958DBA72BAA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32" name="Rechthoek 302">
                <a:extLst>
                  <a:ext uri="{FF2B5EF4-FFF2-40B4-BE49-F238E27FC236}">
                    <a16:creationId xmlns:a16="http://schemas.microsoft.com/office/drawing/2014/main" id="{F39F8540-2F4A-4394-8149-273296238E71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233" name="Rechte verbindingslijn 303">
                <a:extLst>
                  <a:ext uri="{FF2B5EF4-FFF2-40B4-BE49-F238E27FC236}">
                    <a16:creationId xmlns:a16="http://schemas.microsoft.com/office/drawing/2014/main" id="{06501535-42A3-4EC8-BB29-B9FC044BCC7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34" name="Gelijkbenige driehoek 304">
                <a:extLst>
                  <a:ext uri="{FF2B5EF4-FFF2-40B4-BE49-F238E27FC236}">
                    <a16:creationId xmlns:a16="http://schemas.microsoft.com/office/drawing/2014/main" id="{78A54C8A-AF82-4A15-A3AD-D1ED60EEA7F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84" name="Groep 269">
              <a:extLst>
                <a:ext uri="{FF2B5EF4-FFF2-40B4-BE49-F238E27FC236}">
                  <a16:creationId xmlns:a16="http://schemas.microsoft.com/office/drawing/2014/main" id="{D9F68751-1A39-4A61-A83E-32B1CAABBB9D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211" name="Rechthoek 296">
                <a:extLst>
                  <a:ext uri="{FF2B5EF4-FFF2-40B4-BE49-F238E27FC236}">
                    <a16:creationId xmlns:a16="http://schemas.microsoft.com/office/drawing/2014/main" id="{CE0D5B93-8739-4DFE-94DA-00BC260366E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12" name="Ovaal 297">
                <a:extLst>
                  <a:ext uri="{FF2B5EF4-FFF2-40B4-BE49-F238E27FC236}">
                    <a16:creationId xmlns:a16="http://schemas.microsoft.com/office/drawing/2014/main" id="{CBBBA1E1-9D01-44E3-9225-86D943A0EE3E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Vrije vorm: vorm 298">
                <a:extLst>
                  <a:ext uri="{FF2B5EF4-FFF2-40B4-BE49-F238E27FC236}">
                    <a16:creationId xmlns:a16="http://schemas.microsoft.com/office/drawing/2014/main" id="{DBFDBB89-30E8-4B1A-B33A-1B3138E6E526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9" name="Rechthoek: afgeronde hoeken 299">
                <a:extLst>
                  <a:ext uri="{FF2B5EF4-FFF2-40B4-BE49-F238E27FC236}">
                    <a16:creationId xmlns:a16="http://schemas.microsoft.com/office/drawing/2014/main" id="{999AB046-2619-452F-ACDF-ADC6E68C5425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230" name="Rechte verbindingslijn 300">
                <a:extLst>
                  <a:ext uri="{FF2B5EF4-FFF2-40B4-BE49-F238E27FC236}">
                    <a16:creationId xmlns:a16="http://schemas.microsoft.com/office/drawing/2014/main" id="{A4DB2D6E-8CF7-4684-B700-DF7E7C581C3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31" name="Rechte verbindingslijn 301">
                <a:extLst>
                  <a:ext uri="{FF2B5EF4-FFF2-40B4-BE49-F238E27FC236}">
                    <a16:creationId xmlns:a16="http://schemas.microsoft.com/office/drawing/2014/main" id="{9D4D3B63-E337-4385-BD0C-951DDE56002B}"/>
                  </a:ext>
                </a:extLst>
              </p:cNvPr>
              <p:cNvCxnSpPr>
                <a:cxnSpLocks/>
                <a:stCxn id="229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85" name="Ovaal 270">
              <a:extLst>
                <a:ext uri="{FF2B5EF4-FFF2-40B4-BE49-F238E27FC236}">
                  <a16:creationId xmlns:a16="http://schemas.microsoft.com/office/drawing/2014/main" id="{58C9ED72-D2A8-4EEA-9864-3A615C92B164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86" name="Rechthoek 271">
              <a:extLst>
                <a:ext uri="{FF2B5EF4-FFF2-40B4-BE49-F238E27FC236}">
                  <a16:creationId xmlns:a16="http://schemas.microsoft.com/office/drawing/2014/main" id="{8A432441-0DAA-4B9B-8AA0-D71133FEE396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43320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aan de linker kant van het scherm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87" name="Rechte verbindingslijn 272">
              <a:extLst>
                <a:ext uri="{FF2B5EF4-FFF2-40B4-BE49-F238E27FC236}">
                  <a16:creationId xmlns:a16="http://schemas.microsoft.com/office/drawing/2014/main" id="{8506943D-D6E6-441D-8984-6581D048C39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88" name="Rechthoek 273">
              <a:extLst>
                <a:ext uri="{FF2B5EF4-FFF2-40B4-BE49-F238E27FC236}">
                  <a16:creationId xmlns:a16="http://schemas.microsoft.com/office/drawing/2014/main" id="{3E57D89B-0E56-4A4C-8059-4FB4603F6AF3}"/>
                </a:ext>
              </a:extLst>
            </p:cNvPr>
            <p:cNvSpPr/>
            <p:nvPr userDrawn="1"/>
          </p:nvSpPr>
          <p:spPr>
            <a:xfrm>
              <a:off x="12654153" y="3238910"/>
              <a:ext cx="1624926" cy="805220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3509" b="0" i="1" noProof="0">
                <a:solidFill>
                  <a:schemeClr val="tx1"/>
                </a:solidFill>
              </a:endParaRPr>
            </a:p>
          </p:txBody>
        </p:sp>
        <p:grpSp>
          <p:nvGrpSpPr>
            <p:cNvPr id="189" name="Groep 274">
              <a:extLst>
                <a:ext uri="{FF2B5EF4-FFF2-40B4-BE49-F238E27FC236}">
                  <a16:creationId xmlns:a16="http://schemas.microsoft.com/office/drawing/2014/main" id="{482FCCB4-698B-4EEE-A2B4-18D0CC8FE29F}"/>
                </a:ext>
              </a:extLst>
            </p:cNvPr>
            <p:cNvGrpSpPr/>
            <p:nvPr userDrawn="1"/>
          </p:nvGrpSpPr>
          <p:grpSpPr>
            <a:xfrm>
              <a:off x="13614067" y="3535184"/>
              <a:ext cx="1195438" cy="678267"/>
              <a:chOff x="12757284" y="3224292"/>
              <a:chExt cx="1195438" cy="678267"/>
            </a:xfrm>
          </p:grpSpPr>
          <p:sp>
            <p:nvSpPr>
              <p:cNvPr id="190" name="Rechthoek 275">
                <a:extLst>
                  <a:ext uri="{FF2B5EF4-FFF2-40B4-BE49-F238E27FC236}">
                    <a16:creationId xmlns:a16="http://schemas.microsoft.com/office/drawing/2014/main" id="{AA27D55B-E2DA-4324-BEFF-288A1F1CB785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1" name="Rechthoek 276">
                <a:extLst>
                  <a:ext uri="{FF2B5EF4-FFF2-40B4-BE49-F238E27FC236}">
                    <a16:creationId xmlns:a16="http://schemas.microsoft.com/office/drawing/2014/main" id="{8D0500E3-6A5F-47CD-AB65-8005E13AF02E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92" name="Groep 277">
                <a:extLst>
                  <a:ext uri="{FF2B5EF4-FFF2-40B4-BE49-F238E27FC236}">
                    <a16:creationId xmlns:a16="http://schemas.microsoft.com/office/drawing/2014/main" id="{36B44A3F-F910-4425-A31E-AA256BDD0022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205" name="Rechthoek: afgeronde hoeken 290">
                  <a:extLst>
                    <a:ext uri="{FF2B5EF4-FFF2-40B4-BE49-F238E27FC236}">
                      <a16:creationId xmlns:a16="http://schemas.microsoft.com/office/drawing/2014/main" id="{25CE5A8F-57DF-44FE-92B2-3F6EC4F03327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endPara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6" name="Rechthoek 291">
                  <a:extLst>
                    <a:ext uri="{FF2B5EF4-FFF2-40B4-BE49-F238E27FC236}">
                      <a16:creationId xmlns:a16="http://schemas.microsoft.com/office/drawing/2014/main" id="{F85F14FA-B63C-4308-84D4-DCDFFBB989C2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7" name="Rechthoek 292">
                  <a:extLst>
                    <a:ext uri="{FF2B5EF4-FFF2-40B4-BE49-F238E27FC236}">
                      <a16:creationId xmlns:a16="http://schemas.microsoft.com/office/drawing/2014/main" id="{7D99B6F2-6B94-44D2-ABF7-D5C7E28C86DE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8" name="Rechthoek 293">
                  <a:extLst>
                    <a:ext uri="{FF2B5EF4-FFF2-40B4-BE49-F238E27FC236}">
                      <a16:creationId xmlns:a16="http://schemas.microsoft.com/office/drawing/2014/main" id="{C7C81D0D-F3F4-42E3-9221-5BF634CFA946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9" name="Rechthoek 294">
                  <a:extLst>
                    <a:ext uri="{FF2B5EF4-FFF2-40B4-BE49-F238E27FC236}">
                      <a16:creationId xmlns:a16="http://schemas.microsoft.com/office/drawing/2014/main" id="{1F578291-743C-4720-B3C4-394FA4C40EEB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0" name="Rechthoek 295">
                  <a:extLst>
                    <a:ext uri="{FF2B5EF4-FFF2-40B4-BE49-F238E27FC236}">
                      <a16:creationId xmlns:a16="http://schemas.microsoft.com/office/drawing/2014/main" id="{0C2FC51D-3763-459B-A846-3ED2A9C59AC6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93" name="Groep 278">
                <a:extLst>
                  <a:ext uri="{FF2B5EF4-FFF2-40B4-BE49-F238E27FC236}">
                    <a16:creationId xmlns:a16="http://schemas.microsoft.com/office/drawing/2014/main" id="{26C56313-4505-41C2-BCDF-534F1814EBE9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97" name="Groep 282">
                  <a:extLst>
                    <a:ext uri="{FF2B5EF4-FFF2-40B4-BE49-F238E27FC236}">
                      <a16:creationId xmlns:a16="http://schemas.microsoft.com/office/drawing/2014/main" id="{31F525E5-1974-459F-BD76-F8579F5C2160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99" name="Rechthoek: afgeronde hoeken 284">
                    <a:extLst>
                      <a:ext uri="{FF2B5EF4-FFF2-40B4-BE49-F238E27FC236}">
                        <a16:creationId xmlns:a16="http://schemas.microsoft.com/office/drawing/2014/main" id="{937C8BB9-EFC8-4FB9-A1A2-73C6B77BA941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2105"/>
                      </a:spcBef>
                      <a:spcAft>
                        <a:spcPts val="2105"/>
                      </a:spcAft>
                    </a:pPr>
                    <a:endParaRPr lang="nl-NL" sz="280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00" name="Rechthoek 285">
                    <a:extLst>
                      <a:ext uri="{FF2B5EF4-FFF2-40B4-BE49-F238E27FC236}">
                        <a16:creationId xmlns:a16="http://schemas.microsoft.com/office/drawing/2014/main" id="{00A4B283-B36E-40D3-9C40-8CDB564A0B6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1" name="Rechthoek 286">
                    <a:extLst>
                      <a:ext uri="{FF2B5EF4-FFF2-40B4-BE49-F238E27FC236}">
                        <a16:creationId xmlns:a16="http://schemas.microsoft.com/office/drawing/2014/main" id="{1796BF20-C5B1-4048-9640-69158F3976A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2" name="Rechthoek 287">
                    <a:extLst>
                      <a:ext uri="{FF2B5EF4-FFF2-40B4-BE49-F238E27FC236}">
                        <a16:creationId xmlns:a16="http://schemas.microsoft.com/office/drawing/2014/main" id="{398189E4-06D1-4CBA-8E0E-C87B5C3EA77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3" name="Rechthoek 288">
                    <a:extLst>
                      <a:ext uri="{FF2B5EF4-FFF2-40B4-BE49-F238E27FC236}">
                        <a16:creationId xmlns:a16="http://schemas.microsoft.com/office/drawing/2014/main" id="{531440A8-DB35-40F4-B3C5-15FB670147A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4" name="Rechthoek 289">
                    <a:extLst>
                      <a:ext uri="{FF2B5EF4-FFF2-40B4-BE49-F238E27FC236}">
                        <a16:creationId xmlns:a16="http://schemas.microsoft.com/office/drawing/2014/main" id="{6FD5851A-6E2D-4AD2-AD0F-D95A0B19DA7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198" name="Boog 283">
                  <a:extLst>
                    <a:ext uri="{FF2B5EF4-FFF2-40B4-BE49-F238E27FC236}">
                      <a16:creationId xmlns:a16="http://schemas.microsoft.com/office/drawing/2014/main" id="{1AAF39A5-D9FF-4585-8646-A2EEA9E70D51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</p:grpSp>
          <p:sp>
            <p:nvSpPr>
              <p:cNvPr id="194" name="Tekstvak 279">
                <a:extLst>
                  <a:ext uri="{FF2B5EF4-FFF2-40B4-BE49-F238E27FC236}">
                    <a16:creationId xmlns:a16="http://schemas.microsoft.com/office/drawing/2014/main" id="{17DEFD0A-EFFC-4148-9E20-78CE2DD83BCD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95" name="Tekstvak 280">
                <a:extLst>
                  <a:ext uri="{FF2B5EF4-FFF2-40B4-BE49-F238E27FC236}">
                    <a16:creationId xmlns:a16="http://schemas.microsoft.com/office/drawing/2014/main" id="{DCC7AB1A-3EFC-4533-ACBF-051274587770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96" name="Picture 3">
                <a:extLst>
                  <a:ext uri="{FF2B5EF4-FFF2-40B4-BE49-F238E27FC236}">
                    <a16:creationId xmlns:a16="http://schemas.microsoft.com/office/drawing/2014/main" id="{6CDE7AA1-A80F-4A1C-BB2C-0D6173D5D24D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810206" y="3671228"/>
                <a:ext cx="14251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grpSp>
        <p:nvGrpSpPr>
          <p:cNvPr id="74" name="Instructie">
            <a:extLst>
              <a:ext uri="{FF2B5EF4-FFF2-40B4-BE49-F238E27FC236}">
                <a16:creationId xmlns:a16="http://schemas.microsoft.com/office/drawing/2014/main" id="{5E0F10CF-AB59-49C0-AB85-BF6D3157CDE7}"/>
              </a:ext>
            </a:extLst>
          </p:cNvPr>
          <p:cNvGrpSpPr/>
          <p:nvPr userDrawn="1"/>
        </p:nvGrpSpPr>
        <p:grpSpPr>
          <a:xfrm>
            <a:off x="-11761540" y="0"/>
            <a:ext cx="11164508" cy="11743958"/>
            <a:chOff x="-3426088" y="4512342"/>
            <a:chExt cx="3182755" cy="2660264"/>
          </a:xfrm>
        </p:grpSpPr>
        <p:sp>
          <p:nvSpPr>
            <p:cNvPr id="75" name="Rechthoek 127">
              <a:extLst>
                <a:ext uri="{FF2B5EF4-FFF2-40B4-BE49-F238E27FC236}">
                  <a16:creationId xmlns:a16="http://schemas.microsoft.com/office/drawing/2014/main" id="{5D38BD5B-23F8-41FE-8027-8E44F7F22116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76" name="Rechte verbindingslijn 128">
              <a:extLst>
                <a:ext uri="{FF2B5EF4-FFF2-40B4-BE49-F238E27FC236}">
                  <a16:creationId xmlns:a16="http://schemas.microsoft.com/office/drawing/2014/main" id="{00AAA963-7906-4ECE-8A89-9139ABC167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77" name="Rechthoek 130">
              <a:extLst>
                <a:ext uri="{FF2B5EF4-FFF2-40B4-BE49-F238E27FC236}">
                  <a16:creationId xmlns:a16="http://schemas.microsoft.com/office/drawing/2014/main" id="{548F0181-E434-48B0-B0FE-D94F047CF0F0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78" name="Rechthoek 133">
              <a:extLst>
                <a:ext uri="{FF2B5EF4-FFF2-40B4-BE49-F238E27FC236}">
                  <a16:creationId xmlns:a16="http://schemas.microsoft.com/office/drawing/2014/main" id="{5CC572EB-9A94-4CBF-A5FB-0E1D50EDAEBE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79" name="Rechthoek 136">
              <a:extLst>
                <a:ext uri="{FF2B5EF4-FFF2-40B4-BE49-F238E27FC236}">
                  <a16:creationId xmlns:a16="http://schemas.microsoft.com/office/drawing/2014/main" id="{A209D926-B538-4C9F-92FA-C20CCCEC907B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0" name="Rechthoek 139">
              <a:extLst>
                <a:ext uri="{FF2B5EF4-FFF2-40B4-BE49-F238E27FC236}">
                  <a16:creationId xmlns:a16="http://schemas.microsoft.com/office/drawing/2014/main" id="{422F0FA3-6D89-46D2-A941-C54A720EE31F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81" name="Rechte verbindingslijn 140">
              <a:extLst>
                <a:ext uri="{FF2B5EF4-FFF2-40B4-BE49-F238E27FC236}">
                  <a16:creationId xmlns:a16="http://schemas.microsoft.com/office/drawing/2014/main" id="{0918C9FA-DDF6-4164-B347-0AB0B07FB61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66" name="Tijdelijke aanduiding voor tekst 3">
            <a:extLst>
              <a:ext uri="{FF2B5EF4-FFF2-40B4-BE49-F238E27FC236}">
                <a16:creationId xmlns:a16="http://schemas.microsoft.com/office/drawing/2014/main" id="{A4956C2C-95FD-447A-BD1F-81754DAF602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504415" y="1449454"/>
            <a:ext cx="6635238" cy="3534585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51"/>
            </a:lvl1pPr>
          </a:lstStyle>
          <a:p>
            <a:pPr lvl="0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09505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4250" fill="hold"/>
                                        <p:tgtEl>
                                          <p:spTgt spid="10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4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80%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-2" y="6476679"/>
            <a:ext cx="42710778" cy="23798534"/>
          </a:xfrm>
          <a:solidFill>
            <a:schemeClr val="bg1">
              <a:lumMod val="95000"/>
            </a:schemeClr>
          </a:solidFill>
        </p:spPr>
        <p:txBody>
          <a:bodyPr tIns="1080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0" name="Tijdelijke aanduiding voor voettekst 4">
            <a:extLst>
              <a:ext uri="{FF2B5EF4-FFF2-40B4-BE49-F238E27FC236}">
                <a16:creationId xmlns:a16="http://schemas.microsoft.com/office/drawing/2014/main" id="{1DA20FBD-9D0F-4EAB-B12C-126591D8B7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6644E39-2AF2-4EA0-9C3F-28C89D5A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7" y="27329718"/>
            <a:ext cx="938238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7" name="Tijdelijke aanduiding voor tekst 14">
            <a:extLst>
              <a:ext uri="{FF2B5EF4-FFF2-40B4-BE49-F238E27FC236}">
                <a16:creationId xmlns:a16="http://schemas.microsoft.com/office/drawing/2014/main" id="{A6BF4B27-7FC5-4896-80CE-3BA6119B83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15" name="Tijdelijke aanduiding voor datum 3">
            <a:extLst>
              <a:ext uri="{FF2B5EF4-FFF2-40B4-BE49-F238E27FC236}">
                <a16:creationId xmlns:a16="http://schemas.microsoft.com/office/drawing/2014/main" id="{B4AED1A4-683A-4021-8F91-6EB13C2447C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A659124-FA22-4DE2-958C-6848B49C8891}" type="datetime1">
              <a:rPr lang="nl-NL" noProof="0" smtClean="0"/>
              <a:t>26-6-2023</a:t>
            </a:fld>
            <a:endParaRPr lang="nl-NL" noProof="0"/>
          </a:p>
        </p:txBody>
      </p:sp>
      <p:grpSp>
        <p:nvGrpSpPr>
          <p:cNvPr id="153" name="Groep 258">
            <a:extLst>
              <a:ext uri="{FF2B5EF4-FFF2-40B4-BE49-F238E27FC236}">
                <a16:creationId xmlns:a16="http://schemas.microsoft.com/office/drawing/2014/main" id="{DA1D9589-42C5-473C-B14F-9E4339BBCFCA}"/>
              </a:ext>
            </a:extLst>
          </p:cNvPr>
          <p:cNvGrpSpPr/>
          <p:nvPr userDrawn="1"/>
        </p:nvGrpSpPr>
        <p:grpSpPr>
          <a:xfrm>
            <a:off x="43467416" y="5"/>
            <a:ext cx="11167745" cy="23084356"/>
            <a:chOff x="12391601" y="0"/>
            <a:chExt cx="3183678" cy="5229113"/>
          </a:xfrm>
        </p:grpSpPr>
        <p:grpSp>
          <p:nvGrpSpPr>
            <p:cNvPr id="154" name="Meer informatie">
              <a:extLst>
                <a:ext uri="{FF2B5EF4-FFF2-40B4-BE49-F238E27FC236}">
                  <a16:creationId xmlns:a16="http://schemas.microsoft.com/office/drawing/2014/main" id="{C44F933F-DCEE-4D3F-BF26-8EBF393D3EA5}"/>
                </a:ext>
              </a:extLst>
            </p:cNvPr>
            <p:cNvGrpSpPr/>
            <p:nvPr userDrawn="1"/>
          </p:nvGrpSpPr>
          <p:grpSpPr>
            <a:xfrm>
              <a:off x="12396764" y="4445840"/>
              <a:ext cx="3178515" cy="783273"/>
              <a:chOff x="-3741486" y="3386444"/>
              <a:chExt cx="3178515" cy="783273"/>
            </a:xfrm>
          </p:grpSpPr>
          <p:sp>
            <p:nvSpPr>
              <p:cNvPr id="200" name="Freeform 101">
                <a:extLst>
                  <a:ext uri="{FF2B5EF4-FFF2-40B4-BE49-F238E27FC236}">
                    <a16:creationId xmlns:a16="http://schemas.microsoft.com/office/drawing/2014/main" id="{E0680B05-28BD-4311-8AD4-830F2662FBB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201" name="Rechthoek 306">
                <a:extLst>
                  <a:ext uri="{FF2B5EF4-FFF2-40B4-BE49-F238E27FC236}">
                    <a16:creationId xmlns:a16="http://schemas.microsoft.com/office/drawing/2014/main" id="{5C5EE0C1-0229-4D49-885B-AB366CBDA71D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02" name="Rechte verbindingslijn 307">
                <a:extLst>
                  <a:ext uri="{FF2B5EF4-FFF2-40B4-BE49-F238E27FC236}">
                    <a16:creationId xmlns:a16="http://schemas.microsoft.com/office/drawing/2014/main" id="{15573BEF-5FCB-406C-978A-8717772AAF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5" name="Rechthoek 260">
              <a:extLst>
                <a:ext uri="{FF2B5EF4-FFF2-40B4-BE49-F238E27FC236}">
                  <a16:creationId xmlns:a16="http://schemas.microsoft.com/office/drawing/2014/main" id="{D80855EE-5D78-48AE-AFCD-97EA44C62C9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156" name="Ovaal 261">
              <a:extLst>
                <a:ext uri="{FF2B5EF4-FFF2-40B4-BE49-F238E27FC236}">
                  <a16:creationId xmlns:a16="http://schemas.microsoft.com/office/drawing/2014/main" id="{E2DF79CB-32C3-460F-997E-20B73C07E958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7" name="Rechte verbindingslijn 262">
              <a:extLst>
                <a:ext uri="{FF2B5EF4-FFF2-40B4-BE49-F238E27FC236}">
                  <a16:creationId xmlns:a16="http://schemas.microsoft.com/office/drawing/2014/main" id="{E0DEC3E8-C497-4A23-BA89-B65A4D285A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58" name="Rechte verbindingslijn 263">
              <a:extLst>
                <a:ext uri="{FF2B5EF4-FFF2-40B4-BE49-F238E27FC236}">
                  <a16:creationId xmlns:a16="http://schemas.microsoft.com/office/drawing/2014/main" id="{636DE5FF-E15E-44A3-982E-93DB9003197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9" name="Rechthoek 264">
              <a:extLst>
                <a:ext uri="{FF2B5EF4-FFF2-40B4-BE49-F238E27FC236}">
                  <a16:creationId xmlns:a16="http://schemas.microsoft.com/office/drawing/2014/main" id="{ABA7E3C3-36A7-43D0-AB18-7BB62CE6C32B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oor deze te selecteren en op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om een nieuwe afbeelding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60" name="Rechte verbindingslijn 265">
              <a:extLst>
                <a:ext uri="{FF2B5EF4-FFF2-40B4-BE49-F238E27FC236}">
                  <a16:creationId xmlns:a16="http://schemas.microsoft.com/office/drawing/2014/main" id="{E6CEC6AE-ED76-4367-B1B9-FC5B957FACE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4327957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1" name="Ovaal 266">
              <a:extLst>
                <a:ext uri="{FF2B5EF4-FFF2-40B4-BE49-F238E27FC236}">
                  <a16:creationId xmlns:a16="http://schemas.microsoft.com/office/drawing/2014/main" id="{E056C88D-6140-4DAC-9BBE-E7B428A9D97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62" name="Rechthoek 267">
              <a:extLst>
                <a:ext uri="{FF2B5EF4-FFF2-40B4-BE49-F238E27FC236}">
                  <a16:creationId xmlns:a16="http://schemas.microsoft.com/office/drawing/2014/main" id="{32E164EC-77FD-4FC1-9761-36792135480A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63" name="Groep 268">
              <a:extLst>
                <a:ext uri="{FF2B5EF4-FFF2-40B4-BE49-F238E27FC236}">
                  <a16:creationId xmlns:a16="http://schemas.microsoft.com/office/drawing/2014/main" id="{66A970B5-0C0C-487F-A79A-3858C90E2330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97" name="Rechthoek 302">
                <a:extLst>
                  <a:ext uri="{FF2B5EF4-FFF2-40B4-BE49-F238E27FC236}">
                    <a16:creationId xmlns:a16="http://schemas.microsoft.com/office/drawing/2014/main" id="{A96DAE96-85E8-4F85-B1EB-312E5FD7F723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198" name="Rechte verbindingslijn 303">
                <a:extLst>
                  <a:ext uri="{FF2B5EF4-FFF2-40B4-BE49-F238E27FC236}">
                    <a16:creationId xmlns:a16="http://schemas.microsoft.com/office/drawing/2014/main" id="{4CF5C91E-4661-4756-AB3E-8A36CCED7C0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99" name="Gelijkbenige driehoek 304">
                <a:extLst>
                  <a:ext uri="{FF2B5EF4-FFF2-40B4-BE49-F238E27FC236}">
                    <a16:creationId xmlns:a16="http://schemas.microsoft.com/office/drawing/2014/main" id="{3B90813B-784B-4DFE-92D2-FD85D98D1F05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64" name="Groep 269">
              <a:extLst>
                <a:ext uri="{FF2B5EF4-FFF2-40B4-BE49-F238E27FC236}">
                  <a16:creationId xmlns:a16="http://schemas.microsoft.com/office/drawing/2014/main" id="{7B852B1E-CE1B-46C6-B5D7-D38D38202C16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191" name="Rechthoek 296">
                <a:extLst>
                  <a:ext uri="{FF2B5EF4-FFF2-40B4-BE49-F238E27FC236}">
                    <a16:creationId xmlns:a16="http://schemas.microsoft.com/office/drawing/2014/main" id="{E31C9AB7-98E4-4194-BBB6-44F7032E2EA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2" name="Ovaal 297">
                <a:extLst>
                  <a:ext uri="{FF2B5EF4-FFF2-40B4-BE49-F238E27FC236}">
                    <a16:creationId xmlns:a16="http://schemas.microsoft.com/office/drawing/2014/main" id="{A3D4D748-52E1-44BD-A4E2-839A6CFCB2DA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3" name="Vrije vorm: vorm 298">
                <a:extLst>
                  <a:ext uri="{FF2B5EF4-FFF2-40B4-BE49-F238E27FC236}">
                    <a16:creationId xmlns:a16="http://schemas.microsoft.com/office/drawing/2014/main" id="{7A57264A-23B7-4221-BCC0-78742143AE7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4" name="Rechthoek: afgeronde hoeken 299">
                <a:extLst>
                  <a:ext uri="{FF2B5EF4-FFF2-40B4-BE49-F238E27FC236}">
                    <a16:creationId xmlns:a16="http://schemas.microsoft.com/office/drawing/2014/main" id="{EFE133AF-8CEB-4497-8616-583F4E51C12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95" name="Rechte verbindingslijn 300">
                <a:extLst>
                  <a:ext uri="{FF2B5EF4-FFF2-40B4-BE49-F238E27FC236}">
                    <a16:creationId xmlns:a16="http://schemas.microsoft.com/office/drawing/2014/main" id="{26563C41-B812-44E0-8096-A355745352C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96" name="Rechte verbindingslijn 301">
                <a:extLst>
                  <a:ext uri="{FF2B5EF4-FFF2-40B4-BE49-F238E27FC236}">
                    <a16:creationId xmlns:a16="http://schemas.microsoft.com/office/drawing/2014/main" id="{A7DB654B-B206-4180-A352-57C1FFA1F26D}"/>
                  </a:ext>
                </a:extLst>
              </p:cNvPr>
              <p:cNvCxnSpPr>
                <a:cxnSpLocks/>
                <a:stCxn id="19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65" name="Ovaal 270">
              <a:extLst>
                <a:ext uri="{FF2B5EF4-FFF2-40B4-BE49-F238E27FC236}">
                  <a16:creationId xmlns:a16="http://schemas.microsoft.com/office/drawing/2014/main" id="{B8F12F58-5EEA-402B-8334-FC93673E8D8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6" name="Rechthoek 271">
              <a:extLst>
                <a:ext uri="{FF2B5EF4-FFF2-40B4-BE49-F238E27FC236}">
                  <a16:creationId xmlns:a16="http://schemas.microsoft.com/office/drawing/2014/main" id="{34D6239F-5BAB-43CA-A786-31E13E7F1970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43320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aan de linker kant van het scherm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67" name="Rechte verbindingslijn 272">
              <a:extLst>
                <a:ext uri="{FF2B5EF4-FFF2-40B4-BE49-F238E27FC236}">
                  <a16:creationId xmlns:a16="http://schemas.microsoft.com/office/drawing/2014/main" id="{D376FBCD-AB4C-47FD-BE76-BF4D7048193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8" name="Rechthoek 273">
              <a:extLst>
                <a:ext uri="{FF2B5EF4-FFF2-40B4-BE49-F238E27FC236}">
                  <a16:creationId xmlns:a16="http://schemas.microsoft.com/office/drawing/2014/main" id="{4FDEA777-4601-4BAB-9E85-7443A5A30D79}"/>
                </a:ext>
              </a:extLst>
            </p:cNvPr>
            <p:cNvSpPr/>
            <p:nvPr userDrawn="1"/>
          </p:nvSpPr>
          <p:spPr>
            <a:xfrm>
              <a:off x="12654153" y="3238910"/>
              <a:ext cx="1624926" cy="805220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3509" b="0" i="1" noProof="0">
                <a:solidFill>
                  <a:schemeClr val="tx1"/>
                </a:solidFill>
              </a:endParaRPr>
            </a:p>
          </p:txBody>
        </p:sp>
        <p:grpSp>
          <p:nvGrpSpPr>
            <p:cNvPr id="169" name="Groep 274">
              <a:extLst>
                <a:ext uri="{FF2B5EF4-FFF2-40B4-BE49-F238E27FC236}">
                  <a16:creationId xmlns:a16="http://schemas.microsoft.com/office/drawing/2014/main" id="{25263BD1-BA41-40BD-A5CA-5553E4533937}"/>
                </a:ext>
              </a:extLst>
            </p:cNvPr>
            <p:cNvGrpSpPr/>
            <p:nvPr userDrawn="1"/>
          </p:nvGrpSpPr>
          <p:grpSpPr>
            <a:xfrm>
              <a:off x="13614067" y="3535184"/>
              <a:ext cx="1195438" cy="678267"/>
              <a:chOff x="12757284" y="3224292"/>
              <a:chExt cx="1195438" cy="678267"/>
            </a:xfrm>
          </p:grpSpPr>
          <p:sp>
            <p:nvSpPr>
              <p:cNvPr id="170" name="Rechthoek 275">
                <a:extLst>
                  <a:ext uri="{FF2B5EF4-FFF2-40B4-BE49-F238E27FC236}">
                    <a16:creationId xmlns:a16="http://schemas.microsoft.com/office/drawing/2014/main" id="{BACB4A4D-B220-4C85-866E-EF5D3C9F2E77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1" name="Rechthoek 276">
                <a:extLst>
                  <a:ext uri="{FF2B5EF4-FFF2-40B4-BE49-F238E27FC236}">
                    <a16:creationId xmlns:a16="http://schemas.microsoft.com/office/drawing/2014/main" id="{025FD7B2-79C8-42F3-BF6C-D6CCD81B3842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2" name="Groep 277">
                <a:extLst>
                  <a:ext uri="{FF2B5EF4-FFF2-40B4-BE49-F238E27FC236}">
                    <a16:creationId xmlns:a16="http://schemas.microsoft.com/office/drawing/2014/main" id="{81F9F757-146D-44C8-ADB6-3734949FA9EE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85" name="Rechthoek: afgeronde hoeken 290">
                  <a:extLst>
                    <a:ext uri="{FF2B5EF4-FFF2-40B4-BE49-F238E27FC236}">
                      <a16:creationId xmlns:a16="http://schemas.microsoft.com/office/drawing/2014/main" id="{16731A77-6ECF-4493-A5A4-C3451A8329DC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endPara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86" name="Rechthoek 291">
                  <a:extLst>
                    <a:ext uri="{FF2B5EF4-FFF2-40B4-BE49-F238E27FC236}">
                      <a16:creationId xmlns:a16="http://schemas.microsoft.com/office/drawing/2014/main" id="{F229AB88-426F-4CBB-956D-EF2316183A62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7" name="Rechthoek 292">
                  <a:extLst>
                    <a:ext uri="{FF2B5EF4-FFF2-40B4-BE49-F238E27FC236}">
                      <a16:creationId xmlns:a16="http://schemas.microsoft.com/office/drawing/2014/main" id="{256D338F-6030-465B-976E-83CADA93F170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8" name="Rechthoek 293">
                  <a:extLst>
                    <a:ext uri="{FF2B5EF4-FFF2-40B4-BE49-F238E27FC236}">
                      <a16:creationId xmlns:a16="http://schemas.microsoft.com/office/drawing/2014/main" id="{C50D365A-AE0D-4735-AD40-8DAF2FD67F53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9" name="Rechthoek 294">
                  <a:extLst>
                    <a:ext uri="{FF2B5EF4-FFF2-40B4-BE49-F238E27FC236}">
                      <a16:creationId xmlns:a16="http://schemas.microsoft.com/office/drawing/2014/main" id="{2378150C-3C77-4907-8A1F-865347958F38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0" name="Rechthoek 295">
                  <a:extLst>
                    <a:ext uri="{FF2B5EF4-FFF2-40B4-BE49-F238E27FC236}">
                      <a16:creationId xmlns:a16="http://schemas.microsoft.com/office/drawing/2014/main" id="{6CCC5F73-EBC0-47E3-B939-A9BD1B5FCCFA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73" name="Groep 278">
                <a:extLst>
                  <a:ext uri="{FF2B5EF4-FFF2-40B4-BE49-F238E27FC236}">
                    <a16:creationId xmlns:a16="http://schemas.microsoft.com/office/drawing/2014/main" id="{AE95217F-96A2-4ACB-BDDE-FE168E1D915C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77" name="Groep 282">
                  <a:extLst>
                    <a:ext uri="{FF2B5EF4-FFF2-40B4-BE49-F238E27FC236}">
                      <a16:creationId xmlns:a16="http://schemas.microsoft.com/office/drawing/2014/main" id="{61DC68D2-8FF2-40B0-8103-5D96C0E50E6D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79" name="Rechthoek: afgeronde hoeken 284">
                    <a:extLst>
                      <a:ext uri="{FF2B5EF4-FFF2-40B4-BE49-F238E27FC236}">
                        <a16:creationId xmlns:a16="http://schemas.microsoft.com/office/drawing/2014/main" id="{CDFBC008-32A0-4F0D-9C0A-0133F32E72B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2105"/>
                      </a:spcBef>
                      <a:spcAft>
                        <a:spcPts val="2105"/>
                      </a:spcAft>
                    </a:pPr>
                    <a:endParaRPr lang="nl-NL" sz="280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80" name="Rechthoek 285">
                    <a:extLst>
                      <a:ext uri="{FF2B5EF4-FFF2-40B4-BE49-F238E27FC236}">
                        <a16:creationId xmlns:a16="http://schemas.microsoft.com/office/drawing/2014/main" id="{613EB2D4-E5DB-477E-BFC3-2DA9AF3AE78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1" name="Rechthoek 286">
                    <a:extLst>
                      <a:ext uri="{FF2B5EF4-FFF2-40B4-BE49-F238E27FC236}">
                        <a16:creationId xmlns:a16="http://schemas.microsoft.com/office/drawing/2014/main" id="{AD0883A3-B67A-4B95-991E-E8B093C4E23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2" name="Rechthoek 287">
                    <a:extLst>
                      <a:ext uri="{FF2B5EF4-FFF2-40B4-BE49-F238E27FC236}">
                        <a16:creationId xmlns:a16="http://schemas.microsoft.com/office/drawing/2014/main" id="{667615A5-4510-4FA9-B455-09F6E4B0500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3" name="Rechthoek 288">
                    <a:extLst>
                      <a:ext uri="{FF2B5EF4-FFF2-40B4-BE49-F238E27FC236}">
                        <a16:creationId xmlns:a16="http://schemas.microsoft.com/office/drawing/2014/main" id="{CA41F919-456A-4336-823B-20BCA38C70C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4" name="Rechthoek 289">
                    <a:extLst>
                      <a:ext uri="{FF2B5EF4-FFF2-40B4-BE49-F238E27FC236}">
                        <a16:creationId xmlns:a16="http://schemas.microsoft.com/office/drawing/2014/main" id="{FC58C8E1-0D5B-4880-8053-DBBD4E93AEF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178" name="Boog 283">
                  <a:extLst>
                    <a:ext uri="{FF2B5EF4-FFF2-40B4-BE49-F238E27FC236}">
                      <a16:creationId xmlns:a16="http://schemas.microsoft.com/office/drawing/2014/main" id="{BE1B5382-341F-4AE3-960B-D162EA44B5E1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</p:grpSp>
          <p:sp>
            <p:nvSpPr>
              <p:cNvPr id="174" name="Tekstvak 279">
                <a:extLst>
                  <a:ext uri="{FF2B5EF4-FFF2-40B4-BE49-F238E27FC236}">
                    <a16:creationId xmlns:a16="http://schemas.microsoft.com/office/drawing/2014/main" id="{56CB79DD-AE4C-48D0-9775-6446EEC6116D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75" name="Tekstvak 280">
                <a:extLst>
                  <a:ext uri="{FF2B5EF4-FFF2-40B4-BE49-F238E27FC236}">
                    <a16:creationId xmlns:a16="http://schemas.microsoft.com/office/drawing/2014/main" id="{EFF76582-2E3D-4CFF-A588-BE3C0453870F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76" name="Picture 3">
                <a:extLst>
                  <a:ext uri="{FF2B5EF4-FFF2-40B4-BE49-F238E27FC236}">
                    <a16:creationId xmlns:a16="http://schemas.microsoft.com/office/drawing/2014/main" id="{F374CB61-58A4-4672-80A2-1B90D7B212AD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810206" y="3671228"/>
                <a:ext cx="14251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pic>
        <p:nvPicPr>
          <p:cNvPr id="59" name="Afbeelding 58">
            <a:extLst>
              <a:ext uri="{FF2B5EF4-FFF2-40B4-BE49-F238E27FC236}">
                <a16:creationId xmlns:a16="http://schemas.microsoft.com/office/drawing/2014/main" id="{CD829B4D-4013-4C29-80CF-C4F2F14098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733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tekstvlak 8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-5567" y="6476684"/>
            <a:ext cx="42767257" cy="23798534"/>
          </a:xfrm>
          <a:solidFill>
            <a:schemeClr val="bg1">
              <a:lumMod val="95000"/>
            </a:schemeClr>
          </a:solidFill>
        </p:spPr>
        <p:txBody>
          <a:bodyPr tIns="3024000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tabLst>
                <a:tab pos="32381162" algn="l"/>
              </a:tabLst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0" name="Tijdelijke aanduiding voor voettekst 4">
            <a:extLst>
              <a:ext uri="{FF2B5EF4-FFF2-40B4-BE49-F238E27FC236}">
                <a16:creationId xmlns:a16="http://schemas.microsoft.com/office/drawing/2014/main" id="{1DA20FBD-9D0F-4EAB-B12C-126591D8B7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6644E39-2AF2-4EA0-9C3F-28C89D5A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7" y="27329718"/>
            <a:ext cx="828942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7" name="Tijdelijke aanduiding voor tekst 14">
            <a:extLst>
              <a:ext uri="{FF2B5EF4-FFF2-40B4-BE49-F238E27FC236}">
                <a16:creationId xmlns:a16="http://schemas.microsoft.com/office/drawing/2014/main" id="{A6BF4B27-7FC5-4896-80CE-3BA6119B83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28641602-EFC5-4A31-A66E-7D18FE4BC0D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7317714" y="18836413"/>
            <a:ext cx="13821939" cy="7118065"/>
          </a:xfrm>
          <a:custGeom>
            <a:avLst/>
            <a:gdLst>
              <a:gd name="connsiteX0" fmla="*/ 0 w 3938778"/>
              <a:gd name="connsiteY0" fmla="*/ 84049 h 1609202"/>
              <a:gd name="connsiteX1" fmla="*/ 84049 w 3938778"/>
              <a:gd name="connsiteY1" fmla="*/ 0 h 1609202"/>
              <a:gd name="connsiteX2" fmla="*/ 3854729 w 3938778"/>
              <a:gd name="connsiteY2" fmla="*/ 0 h 1609202"/>
              <a:gd name="connsiteX3" fmla="*/ 3938778 w 3938778"/>
              <a:gd name="connsiteY3" fmla="*/ 84049 h 1609202"/>
              <a:gd name="connsiteX4" fmla="*/ 3938778 w 3938778"/>
              <a:gd name="connsiteY4" fmla="*/ 1525153 h 1609202"/>
              <a:gd name="connsiteX5" fmla="*/ 3854729 w 3938778"/>
              <a:gd name="connsiteY5" fmla="*/ 1609202 h 1609202"/>
              <a:gd name="connsiteX6" fmla="*/ 84049 w 3938778"/>
              <a:gd name="connsiteY6" fmla="*/ 1609202 h 1609202"/>
              <a:gd name="connsiteX7" fmla="*/ 0 w 3938778"/>
              <a:gd name="connsiteY7" fmla="*/ 1525153 h 1609202"/>
              <a:gd name="connsiteX8" fmla="*/ 0 w 3938778"/>
              <a:gd name="connsiteY8" fmla="*/ 84049 h 1609202"/>
              <a:gd name="connsiteX0" fmla="*/ 212359 w 4151137"/>
              <a:gd name="connsiteY0" fmla="*/ 126307 h 1651460"/>
              <a:gd name="connsiteX1" fmla="*/ 237486 w 4151137"/>
              <a:gd name="connsiteY1" fmla="*/ 63809 h 1651460"/>
              <a:gd name="connsiteX2" fmla="*/ 296408 w 4151137"/>
              <a:gd name="connsiteY2" fmla="*/ 42258 h 1651460"/>
              <a:gd name="connsiteX3" fmla="*/ 4067088 w 4151137"/>
              <a:gd name="connsiteY3" fmla="*/ 42258 h 1651460"/>
              <a:gd name="connsiteX4" fmla="*/ 4151137 w 4151137"/>
              <a:gd name="connsiteY4" fmla="*/ 126307 h 1651460"/>
              <a:gd name="connsiteX5" fmla="*/ 4151137 w 4151137"/>
              <a:gd name="connsiteY5" fmla="*/ 1567411 h 1651460"/>
              <a:gd name="connsiteX6" fmla="*/ 4067088 w 4151137"/>
              <a:gd name="connsiteY6" fmla="*/ 1651460 h 1651460"/>
              <a:gd name="connsiteX7" fmla="*/ 296408 w 4151137"/>
              <a:gd name="connsiteY7" fmla="*/ 1651460 h 1651460"/>
              <a:gd name="connsiteX8" fmla="*/ 212359 w 4151137"/>
              <a:gd name="connsiteY8" fmla="*/ 1567411 h 1651460"/>
              <a:gd name="connsiteX9" fmla="*/ 212359 w 4151137"/>
              <a:gd name="connsiteY9" fmla="*/ 126307 h 1651460"/>
              <a:gd name="connsiteX0" fmla="*/ 212359 w 4151137"/>
              <a:gd name="connsiteY0" fmla="*/ 84049 h 1609202"/>
              <a:gd name="connsiteX1" fmla="*/ 237486 w 4151137"/>
              <a:gd name="connsiteY1" fmla="*/ 21551 h 1609202"/>
              <a:gd name="connsiteX2" fmla="*/ 296408 w 4151137"/>
              <a:gd name="connsiteY2" fmla="*/ 0 h 1609202"/>
              <a:gd name="connsiteX3" fmla="*/ 4067088 w 4151137"/>
              <a:gd name="connsiteY3" fmla="*/ 0 h 1609202"/>
              <a:gd name="connsiteX4" fmla="*/ 4151137 w 4151137"/>
              <a:gd name="connsiteY4" fmla="*/ 84049 h 1609202"/>
              <a:gd name="connsiteX5" fmla="*/ 4151137 w 4151137"/>
              <a:gd name="connsiteY5" fmla="*/ 1525153 h 1609202"/>
              <a:gd name="connsiteX6" fmla="*/ 4067088 w 4151137"/>
              <a:gd name="connsiteY6" fmla="*/ 1609202 h 1609202"/>
              <a:gd name="connsiteX7" fmla="*/ 296408 w 4151137"/>
              <a:gd name="connsiteY7" fmla="*/ 1609202 h 1609202"/>
              <a:gd name="connsiteX8" fmla="*/ 212359 w 4151137"/>
              <a:gd name="connsiteY8" fmla="*/ 1525153 h 1609202"/>
              <a:gd name="connsiteX9" fmla="*/ 212359 w 4151137"/>
              <a:gd name="connsiteY9" fmla="*/ 84049 h 1609202"/>
              <a:gd name="connsiteX0" fmla="*/ 21 w 3938799"/>
              <a:gd name="connsiteY0" fmla="*/ 85645 h 1610798"/>
              <a:gd name="connsiteX1" fmla="*/ 25148 w 3938799"/>
              <a:gd name="connsiteY1" fmla="*/ 23147 h 1610798"/>
              <a:gd name="connsiteX2" fmla="*/ 84070 w 3938799"/>
              <a:gd name="connsiteY2" fmla="*/ 1596 h 1610798"/>
              <a:gd name="connsiteX3" fmla="*/ 3854750 w 3938799"/>
              <a:gd name="connsiteY3" fmla="*/ 1596 h 1610798"/>
              <a:gd name="connsiteX4" fmla="*/ 3938799 w 3938799"/>
              <a:gd name="connsiteY4" fmla="*/ 85645 h 1610798"/>
              <a:gd name="connsiteX5" fmla="*/ 3938799 w 3938799"/>
              <a:gd name="connsiteY5" fmla="*/ 1526749 h 1610798"/>
              <a:gd name="connsiteX6" fmla="*/ 3854750 w 3938799"/>
              <a:gd name="connsiteY6" fmla="*/ 1610798 h 1610798"/>
              <a:gd name="connsiteX7" fmla="*/ 84070 w 3938799"/>
              <a:gd name="connsiteY7" fmla="*/ 1610798 h 1610798"/>
              <a:gd name="connsiteX8" fmla="*/ 21 w 3938799"/>
              <a:gd name="connsiteY8" fmla="*/ 1526749 h 1610798"/>
              <a:gd name="connsiteX9" fmla="*/ 21 w 3938799"/>
              <a:gd name="connsiteY9" fmla="*/ 85645 h 1610798"/>
              <a:gd name="connsiteX0" fmla="*/ 221900 w 4160678"/>
              <a:gd name="connsiteY0" fmla="*/ 126307 h 1651460"/>
              <a:gd name="connsiteX1" fmla="*/ 220833 w 4160678"/>
              <a:gd name="connsiteY1" fmla="*/ 63809 h 1651460"/>
              <a:gd name="connsiteX2" fmla="*/ 305949 w 4160678"/>
              <a:gd name="connsiteY2" fmla="*/ 42258 h 1651460"/>
              <a:gd name="connsiteX3" fmla="*/ 4076629 w 4160678"/>
              <a:gd name="connsiteY3" fmla="*/ 42258 h 1651460"/>
              <a:gd name="connsiteX4" fmla="*/ 4160678 w 4160678"/>
              <a:gd name="connsiteY4" fmla="*/ 126307 h 1651460"/>
              <a:gd name="connsiteX5" fmla="*/ 4160678 w 4160678"/>
              <a:gd name="connsiteY5" fmla="*/ 1567411 h 1651460"/>
              <a:gd name="connsiteX6" fmla="*/ 4076629 w 4160678"/>
              <a:gd name="connsiteY6" fmla="*/ 1651460 h 1651460"/>
              <a:gd name="connsiteX7" fmla="*/ 305949 w 4160678"/>
              <a:gd name="connsiteY7" fmla="*/ 1651460 h 1651460"/>
              <a:gd name="connsiteX8" fmla="*/ 221900 w 4160678"/>
              <a:gd name="connsiteY8" fmla="*/ 1567411 h 1651460"/>
              <a:gd name="connsiteX9" fmla="*/ 221900 w 4160678"/>
              <a:gd name="connsiteY9" fmla="*/ 126307 h 1651460"/>
              <a:gd name="connsiteX0" fmla="*/ 222785 w 4161563"/>
              <a:gd name="connsiteY0" fmla="*/ 132298 h 1657451"/>
              <a:gd name="connsiteX1" fmla="*/ 219337 w 4161563"/>
              <a:gd name="connsiteY1" fmla="*/ 55513 h 1657451"/>
              <a:gd name="connsiteX2" fmla="*/ 306834 w 4161563"/>
              <a:gd name="connsiteY2" fmla="*/ 48249 h 1657451"/>
              <a:gd name="connsiteX3" fmla="*/ 4077514 w 4161563"/>
              <a:gd name="connsiteY3" fmla="*/ 48249 h 1657451"/>
              <a:gd name="connsiteX4" fmla="*/ 4161563 w 4161563"/>
              <a:gd name="connsiteY4" fmla="*/ 132298 h 1657451"/>
              <a:gd name="connsiteX5" fmla="*/ 4161563 w 4161563"/>
              <a:gd name="connsiteY5" fmla="*/ 1573402 h 1657451"/>
              <a:gd name="connsiteX6" fmla="*/ 4077514 w 4161563"/>
              <a:gd name="connsiteY6" fmla="*/ 1657451 h 1657451"/>
              <a:gd name="connsiteX7" fmla="*/ 306834 w 4161563"/>
              <a:gd name="connsiteY7" fmla="*/ 1657451 h 1657451"/>
              <a:gd name="connsiteX8" fmla="*/ 222785 w 4161563"/>
              <a:gd name="connsiteY8" fmla="*/ 1573402 h 1657451"/>
              <a:gd name="connsiteX9" fmla="*/ 222785 w 4161563"/>
              <a:gd name="connsiteY9" fmla="*/ 132298 h 1657451"/>
              <a:gd name="connsiteX0" fmla="*/ 8993 w 3947771"/>
              <a:gd name="connsiteY0" fmla="*/ 132298 h 1657451"/>
              <a:gd name="connsiteX1" fmla="*/ 5545 w 3947771"/>
              <a:gd name="connsiteY1" fmla="*/ 55513 h 1657451"/>
              <a:gd name="connsiteX2" fmla="*/ 93042 w 3947771"/>
              <a:gd name="connsiteY2" fmla="*/ 48249 h 1657451"/>
              <a:gd name="connsiteX3" fmla="*/ 3863722 w 3947771"/>
              <a:gd name="connsiteY3" fmla="*/ 48249 h 1657451"/>
              <a:gd name="connsiteX4" fmla="*/ 3947771 w 3947771"/>
              <a:gd name="connsiteY4" fmla="*/ 132298 h 1657451"/>
              <a:gd name="connsiteX5" fmla="*/ 3947771 w 3947771"/>
              <a:gd name="connsiteY5" fmla="*/ 1573402 h 1657451"/>
              <a:gd name="connsiteX6" fmla="*/ 3863722 w 3947771"/>
              <a:gd name="connsiteY6" fmla="*/ 1657451 h 1657451"/>
              <a:gd name="connsiteX7" fmla="*/ 93042 w 3947771"/>
              <a:gd name="connsiteY7" fmla="*/ 1657451 h 1657451"/>
              <a:gd name="connsiteX8" fmla="*/ 8993 w 3947771"/>
              <a:gd name="connsiteY8" fmla="*/ 1573402 h 1657451"/>
              <a:gd name="connsiteX9" fmla="*/ 8993 w 3947771"/>
              <a:gd name="connsiteY9" fmla="*/ 132298 h 1657451"/>
              <a:gd name="connsiteX0" fmla="*/ 9451 w 3948229"/>
              <a:gd name="connsiteY0" fmla="*/ 85220 h 1610373"/>
              <a:gd name="connsiteX1" fmla="*/ 6003 w 3948229"/>
              <a:gd name="connsiteY1" fmla="*/ 8435 h 1610373"/>
              <a:gd name="connsiteX2" fmla="*/ 93500 w 3948229"/>
              <a:gd name="connsiteY2" fmla="*/ 1171 h 1610373"/>
              <a:gd name="connsiteX3" fmla="*/ 3864180 w 3948229"/>
              <a:gd name="connsiteY3" fmla="*/ 1171 h 1610373"/>
              <a:gd name="connsiteX4" fmla="*/ 3948229 w 3948229"/>
              <a:gd name="connsiteY4" fmla="*/ 85220 h 1610373"/>
              <a:gd name="connsiteX5" fmla="*/ 3948229 w 3948229"/>
              <a:gd name="connsiteY5" fmla="*/ 1526324 h 1610373"/>
              <a:gd name="connsiteX6" fmla="*/ 3864180 w 3948229"/>
              <a:gd name="connsiteY6" fmla="*/ 1610373 h 1610373"/>
              <a:gd name="connsiteX7" fmla="*/ 93500 w 3948229"/>
              <a:gd name="connsiteY7" fmla="*/ 1610373 h 1610373"/>
              <a:gd name="connsiteX8" fmla="*/ 9451 w 3948229"/>
              <a:gd name="connsiteY8" fmla="*/ 1526324 h 1610373"/>
              <a:gd name="connsiteX9" fmla="*/ 9451 w 3948229"/>
              <a:gd name="connsiteY9" fmla="*/ 85220 h 1610373"/>
              <a:gd name="connsiteX0" fmla="*/ 9451 w 3948229"/>
              <a:gd name="connsiteY0" fmla="*/ 85220 h 1610373"/>
              <a:gd name="connsiteX1" fmla="*/ 6003 w 3948229"/>
              <a:gd name="connsiteY1" fmla="*/ 8435 h 1610373"/>
              <a:gd name="connsiteX2" fmla="*/ 93500 w 3948229"/>
              <a:gd name="connsiteY2" fmla="*/ 1171 h 1610373"/>
              <a:gd name="connsiteX3" fmla="*/ 3864180 w 3948229"/>
              <a:gd name="connsiteY3" fmla="*/ 1171 h 1610373"/>
              <a:gd name="connsiteX4" fmla="*/ 3948229 w 3948229"/>
              <a:gd name="connsiteY4" fmla="*/ 85220 h 1610373"/>
              <a:gd name="connsiteX5" fmla="*/ 3948229 w 3948229"/>
              <a:gd name="connsiteY5" fmla="*/ 1526324 h 1610373"/>
              <a:gd name="connsiteX6" fmla="*/ 3864180 w 3948229"/>
              <a:gd name="connsiteY6" fmla="*/ 1610373 h 1610373"/>
              <a:gd name="connsiteX7" fmla="*/ 93500 w 3948229"/>
              <a:gd name="connsiteY7" fmla="*/ 1610373 h 1610373"/>
              <a:gd name="connsiteX8" fmla="*/ 9451 w 3948229"/>
              <a:gd name="connsiteY8" fmla="*/ 1526324 h 1610373"/>
              <a:gd name="connsiteX9" fmla="*/ 9451 w 3948229"/>
              <a:gd name="connsiteY9" fmla="*/ 85220 h 1610373"/>
              <a:gd name="connsiteX0" fmla="*/ 12575 w 3951353"/>
              <a:gd name="connsiteY0" fmla="*/ 1632501 h 1716550"/>
              <a:gd name="connsiteX1" fmla="*/ 9127 w 3951353"/>
              <a:gd name="connsiteY1" fmla="*/ 114612 h 1716550"/>
              <a:gd name="connsiteX2" fmla="*/ 96624 w 3951353"/>
              <a:gd name="connsiteY2" fmla="*/ 107348 h 1716550"/>
              <a:gd name="connsiteX3" fmla="*/ 3867304 w 3951353"/>
              <a:gd name="connsiteY3" fmla="*/ 107348 h 1716550"/>
              <a:gd name="connsiteX4" fmla="*/ 3951353 w 3951353"/>
              <a:gd name="connsiteY4" fmla="*/ 191397 h 1716550"/>
              <a:gd name="connsiteX5" fmla="*/ 3951353 w 3951353"/>
              <a:gd name="connsiteY5" fmla="*/ 1632501 h 1716550"/>
              <a:gd name="connsiteX6" fmla="*/ 3867304 w 3951353"/>
              <a:gd name="connsiteY6" fmla="*/ 1716550 h 1716550"/>
              <a:gd name="connsiteX7" fmla="*/ 96624 w 3951353"/>
              <a:gd name="connsiteY7" fmla="*/ 1716550 h 1716550"/>
              <a:gd name="connsiteX8" fmla="*/ 12575 w 3951353"/>
              <a:gd name="connsiteY8" fmla="*/ 1632501 h 1716550"/>
              <a:gd name="connsiteX0" fmla="*/ 9770 w 3948548"/>
              <a:gd name="connsiteY0" fmla="*/ 1632631 h 1716680"/>
              <a:gd name="connsiteX1" fmla="*/ 6322 w 3948548"/>
              <a:gd name="connsiteY1" fmla="*/ 114742 h 1716680"/>
              <a:gd name="connsiteX2" fmla="*/ 93819 w 3948548"/>
              <a:gd name="connsiteY2" fmla="*/ 107478 h 1716680"/>
              <a:gd name="connsiteX3" fmla="*/ 3864499 w 3948548"/>
              <a:gd name="connsiteY3" fmla="*/ 107478 h 1716680"/>
              <a:gd name="connsiteX4" fmla="*/ 3948548 w 3948548"/>
              <a:gd name="connsiteY4" fmla="*/ 191527 h 1716680"/>
              <a:gd name="connsiteX5" fmla="*/ 3948548 w 3948548"/>
              <a:gd name="connsiteY5" fmla="*/ 1632631 h 1716680"/>
              <a:gd name="connsiteX6" fmla="*/ 3864499 w 3948548"/>
              <a:gd name="connsiteY6" fmla="*/ 1716680 h 1716680"/>
              <a:gd name="connsiteX7" fmla="*/ 93819 w 3948548"/>
              <a:gd name="connsiteY7" fmla="*/ 1716680 h 1716680"/>
              <a:gd name="connsiteX8" fmla="*/ 9770 w 3948548"/>
              <a:gd name="connsiteY8" fmla="*/ 1632631 h 1716680"/>
              <a:gd name="connsiteX0" fmla="*/ 6731 w 3945509"/>
              <a:gd name="connsiteY0" fmla="*/ 1632631 h 1780851"/>
              <a:gd name="connsiteX1" fmla="*/ 3283 w 3945509"/>
              <a:gd name="connsiteY1" fmla="*/ 114742 h 1780851"/>
              <a:gd name="connsiteX2" fmla="*/ 90780 w 3945509"/>
              <a:gd name="connsiteY2" fmla="*/ 107478 h 1780851"/>
              <a:gd name="connsiteX3" fmla="*/ 3861460 w 3945509"/>
              <a:gd name="connsiteY3" fmla="*/ 107478 h 1780851"/>
              <a:gd name="connsiteX4" fmla="*/ 3945509 w 3945509"/>
              <a:gd name="connsiteY4" fmla="*/ 191527 h 1780851"/>
              <a:gd name="connsiteX5" fmla="*/ 3945509 w 3945509"/>
              <a:gd name="connsiteY5" fmla="*/ 1632631 h 1780851"/>
              <a:gd name="connsiteX6" fmla="*/ 3861460 w 3945509"/>
              <a:gd name="connsiteY6" fmla="*/ 1716680 h 1780851"/>
              <a:gd name="connsiteX7" fmla="*/ 90780 w 3945509"/>
              <a:gd name="connsiteY7" fmla="*/ 1716680 h 1780851"/>
              <a:gd name="connsiteX8" fmla="*/ 6731 w 3945509"/>
              <a:gd name="connsiteY8" fmla="*/ 1632631 h 1780851"/>
              <a:gd name="connsiteX0" fmla="*/ 5635 w 3944413"/>
              <a:gd name="connsiteY0" fmla="*/ 1632631 h 1730124"/>
              <a:gd name="connsiteX1" fmla="*/ 2187 w 3944413"/>
              <a:gd name="connsiteY1" fmla="*/ 114742 h 1730124"/>
              <a:gd name="connsiteX2" fmla="*/ 89684 w 3944413"/>
              <a:gd name="connsiteY2" fmla="*/ 107478 h 1730124"/>
              <a:gd name="connsiteX3" fmla="*/ 3860364 w 3944413"/>
              <a:gd name="connsiteY3" fmla="*/ 107478 h 1730124"/>
              <a:gd name="connsiteX4" fmla="*/ 3944413 w 3944413"/>
              <a:gd name="connsiteY4" fmla="*/ 191527 h 1730124"/>
              <a:gd name="connsiteX5" fmla="*/ 3944413 w 3944413"/>
              <a:gd name="connsiteY5" fmla="*/ 1632631 h 1730124"/>
              <a:gd name="connsiteX6" fmla="*/ 3860364 w 3944413"/>
              <a:gd name="connsiteY6" fmla="*/ 1716680 h 1730124"/>
              <a:gd name="connsiteX7" fmla="*/ 89684 w 3944413"/>
              <a:gd name="connsiteY7" fmla="*/ 1716680 h 1730124"/>
              <a:gd name="connsiteX8" fmla="*/ 5635 w 3944413"/>
              <a:gd name="connsiteY8" fmla="*/ 1632631 h 1730124"/>
              <a:gd name="connsiteX0" fmla="*/ 6730 w 3945508"/>
              <a:gd name="connsiteY0" fmla="*/ 1632631 h 1718001"/>
              <a:gd name="connsiteX1" fmla="*/ 3282 w 3945508"/>
              <a:gd name="connsiteY1" fmla="*/ 114742 h 1718001"/>
              <a:gd name="connsiteX2" fmla="*/ 90779 w 3945508"/>
              <a:gd name="connsiteY2" fmla="*/ 107478 h 1718001"/>
              <a:gd name="connsiteX3" fmla="*/ 3861459 w 3945508"/>
              <a:gd name="connsiteY3" fmla="*/ 107478 h 1718001"/>
              <a:gd name="connsiteX4" fmla="*/ 3945508 w 3945508"/>
              <a:gd name="connsiteY4" fmla="*/ 191527 h 1718001"/>
              <a:gd name="connsiteX5" fmla="*/ 3945508 w 3945508"/>
              <a:gd name="connsiteY5" fmla="*/ 1632631 h 1718001"/>
              <a:gd name="connsiteX6" fmla="*/ 3861459 w 3945508"/>
              <a:gd name="connsiteY6" fmla="*/ 1716680 h 1718001"/>
              <a:gd name="connsiteX7" fmla="*/ 90779 w 3945508"/>
              <a:gd name="connsiteY7" fmla="*/ 1716680 h 1718001"/>
              <a:gd name="connsiteX8" fmla="*/ 6730 w 3945508"/>
              <a:gd name="connsiteY8" fmla="*/ 1632631 h 1718001"/>
              <a:gd name="connsiteX0" fmla="*/ 5541 w 3944319"/>
              <a:gd name="connsiteY0" fmla="*/ 1632631 h 1716680"/>
              <a:gd name="connsiteX1" fmla="*/ 2093 w 3944319"/>
              <a:gd name="connsiteY1" fmla="*/ 114742 h 1716680"/>
              <a:gd name="connsiteX2" fmla="*/ 89590 w 3944319"/>
              <a:gd name="connsiteY2" fmla="*/ 107478 h 1716680"/>
              <a:gd name="connsiteX3" fmla="*/ 3860270 w 3944319"/>
              <a:gd name="connsiteY3" fmla="*/ 107478 h 1716680"/>
              <a:gd name="connsiteX4" fmla="*/ 3944319 w 3944319"/>
              <a:gd name="connsiteY4" fmla="*/ 191527 h 1716680"/>
              <a:gd name="connsiteX5" fmla="*/ 3944319 w 3944319"/>
              <a:gd name="connsiteY5" fmla="*/ 1632631 h 1716680"/>
              <a:gd name="connsiteX6" fmla="*/ 3860270 w 3944319"/>
              <a:gd name="connsiteY6" fmla="*/ 1716680 h 1716680"/>
              <a:gd name="connsiteX7" fmla="*/ 89590 w 3944319"/>
              <a:gd name="connsiteY7" fmla="*/ 1716680 h 1716680"/>
              <a:gd name="connsiteX8" fmla="*/ 5541 w 3944319"/>
              <a:gd name="connsiteY8" fmla="*/ 1632631 h 1716680"/>
              <a:gd name="connsiteX0" fmla="*/ 4066 w 3942844"/>
              <a:gd name="connsiteY0" fmla="*/ 1541301 h 1625350"/>
              <a:gd name="connsiteX1" fmla="*/ 618 w 3942844"/>
              <a:gd name="connsiteY1" fmla="*/ 23412 h 1625350"/>
              <a:gd name="connsiteX2" fmla="*/ 88115 w 3942844"/>
              <a:gd name="connsiteY2" fmla="*/ 16148 h 1625350"/>
              <a:gd name="connsiteX3" fmla="*/ 3858795 w 3942844"/>
              <a:gd name="connsiteY3" fmla="*/ 16148 h 1625350"/>
              <a:gd name="connsiteX4" fmla="*/ 3942844 w 3942844"/>
              <a:gd name="connsiteY4" fmla="*/ 100197 h 1625350"/>
              <a:gd name="connsiteX5" fmla="*/ 3942844 w 3942844"/>
              <a:gd name="connsiteY5" fmla="*/ 1541301 h 1625350"/>
              <a:gd name="connsiteX6" fmla="*/ 3858795 w 3942844"/>
              <a:gd name="connsiteY6" fmla="*/ 1625350 h 1625350"/>
              <a:gd name="connsiteX7" fmla="*/ 88115 w 3942844"/>
              <a:gd name="connsiteY7" fmla="*/ 1625350 h 1625350"/>
              <a:gd name="connsiteX8" fmla="*/ 4066 w 3942844"/>
              <a:gd name="connsiteY8" fmla="*/ 1541301 h 1625350"/>
              <a:gd name="connsiteX0" fmla="*/ 4276 w 3943054"/>
              <a:gd name="connsiteY0" fmla="*/ 1541301 h 1625350"/>
              <a:gd name="connsiteX1" fmla="*/ 828 w 3943054"/>
              <a:gd name="connsiteY1" fmla="*/ 23412 h 1625350"/>
              <a:gd name="connsiteX2" fmla="*/ 88325 w 3943054"/>
              <a:gd name="connsiteY2" fmla="*/ 16148 h 1625350"/>
              <a:gd name="connsiteX3" fmla="*/ 3859005 w 3943054"/>
              <a:gd name="connsiteY3" fmla="*/ 16148 h 1625350"/>
              <a:gd name="connsiteX4" fmla="*/ 3943054 w 3943054"/>
              <a:gd name="connsiteY4" fmla="*/ 100197 h 1625350"/>
              <a:gd name="connsiteX5" fmla="*/ 3943054 w 3943054"/>
              <a:gd name="connsiteY5" fmla="*/ 1541301 h 1625350"/>
              <a:gd name="connsiteX6" fmla="*/ 3859005 w 3943054"/>
              <a:gd name="connsiteY6" fmla="*/ 1625350 h 1625350"/>
              <a:gd name="connsiteX7" fmla="*/ 88325 w 3943054"/>
              <a:gd name="connsiteY7" fmla="*/ 1625350 h 1625350"/>
              <a:gd name="connsiteX8" fmla="*/ 4276 w 3943054"/>
              <a:gd name="connsiteY8" fmla="*/ 1541301 h 1625350"/>
              <a:gd name="connsiteX0" fmla="*/ 3584 w 3942362"/>
              <a:gd name="connsiteY0" fmla="*/ 1541301 h 1625350"/>
              <a:gd name="connsiteX1" fmla="*/ 136 w 3942362"/>
              <a:gd name="connsiteY1" fmla="*/ 23412 h 1625350"/>
              <a:gd name="connsiteX2" fmla="*/ 87633 w 3942362"/>
              <a:gd name="connsiteY2" fmla="*/ 16148 h 1625350"/>
              <a:gd name="connsiteX3" fmla="*/ 3858313 w 3942362"/>
              <a:gd name="connsiteY3" fmla="*/ 16148 h 1625350"/>
              <a:gd name="connsiteX4" fmla="*/ 3942362 w 3942362"/>
              <a:gd name="connsiteY4" fmla="*/ 100197 h 1625350"/>
              <a:gd name="connsiteX5" fmla="*/ 3942362 w 3942362"/>
              <a:gd name="connsiteY5" fmla="*/ 1541301 h 1625350"/>
              <a:gd name="connsiteX6" fmla="*/ 3858313 w 3942362"/>
              <a:gd name="connsiteY6" fmla="*/ 1625350 h 1625350"/>
              <a:gd name="connsiteX7" fmla="*/ 87633 w 3942362"/>
              <a:gd name="connsiteY7" fmla="*/ 1625350 h 1625350"/>
              <a:gd name="connsiteX8" fmla="*/ 3584 w 3942362"/>
              <a:gd name="connsiteY8" fmla="*/ 1541301 h 1625350"/>
              <a:gd name="connsiteX0" fmla="*/ 4276 w 3943054"/>
              <a:gd name="connsiteY0" fmla="*/ 1525692 h 1609741"/>
              <a:gd name="connsiteX1" fmla="*/ 828 w 3943054"/>
              <a:gd name="connsiteY1" fmla="*/ 7803 h 1609741"/>
              <a:gd name="connsiteX2" fmla="*/ 88325 w 3943054"/>
              <a:gd name="connsiteY2" fmla="*/ 539 h 1609741"/>
              <a:gd name="connsiteX3" fmla="*/ 3859005 w 3943054"/>
              <a:gd name="connsiteY3" fmla="*/ 539 h 1609741"/>
              <a:gd name="connsiteX4" fmla="*/ 3943054 w 3943054"/>
              <a:gd name="connsiteY4" fmla="*/ 84588 h 1609741"/>
              <a:gd name="connsiteX5" fmla="*/ 3943054 w 3943054"/>
              <a:gd name="connsiteY5" fmla="*/ 1525692 h 1609741"/>
              <a:gd name="connsiteX6" fmla="*/ 3859005 w 3943054"/>
              <a:gd name="connsiteY6" fmla="*/ 1609741 h 1609741"/>
              <a:gd name="connsiteX7" fmla="*/ 88325 w 3943054"/>
              <a:gd name="connsiteY7" fmla="*/ 1609741 h 1609741"/>
              <a:gd name="connsiteX8" fmla="*/ 4276 w 3943054"/>
              <a:gd name="connsiteY8" fmla="*/ 1525692 h 1609741"/>
              <a:gd name="connsiteX0" fmla="*/ 3584 w 3942362"/>
              <a:gd name="connsiteY0" fmla="*/ 1525692 h 1609741"/>
              <a:gd name="connsiteX1" fmla="*/ 136 w 3942362"/>
              <a:gd name="connsiteY1" fmla="*/ 7803 h 1609741"/>
              <a:gd name="connsiteX2" fmla="*/ 87633 w 3942362"/>
              <a:gd name="connsiteY2" fmla="*/ 539 h 1609741"/>
              <a:gd name="connsiteX3" fmla="*/ 3858313 w 3942362"/>
              <a:gd name="connsiteY3" fmla="*/ 539 h 1609741"/>
              <a:gd name="connsiteX4" fmla="*/ 3942362 w 3942362"/>
              <a:gd name="connsiteY4" fmla="*/ 84588 h 1609741"/>
              <a:gd name="connsiteX5" fmla="*/ 3942362 w 3942362"/>
              <a:gd name="connsiteY5" fmla="*/ 1525692 h 1609741"/>
              <a:gd name="connsiteX6" fmla="*/ 3858313 w 3942362"/>
              <a:gd name="connsiteY6" fmla="*/ 1609741 h 1609741"/>
              <a:gd name="connsiteX7" fmla="*/ 87633 w 3942362"/>
              <a:gd name="connsiteY7" fmla="*/ 1609741 h 1609741"/>
              <a:gd name="connsiteX8" fmla="*/ 3584 w 3942362"/>
              <a:gd name="connsiteY8" fmla="*/ 1525692 h 1609741"/>
              <a:gd name="connsiteX0" fmla="*/ 3644 w 3942422"/>
              <a:gd name="connsiteY0" fmla="*/ 1525692 h 1609741"/>
              <a:gd name="connsiteX1" fmla="*/ 196 w 3942422"/>
              <a:gd name="connsiteY1" fmla="*/ 7803 h 1609741"/>
              <a:gd name="connsiteX2" fmla="*/ 87693 w 3942422"/>
              <a:gd name="connsiteY2" fmla="*/ 539 h 1609741"/>
              <a:gd name="connsiteX3" fmla="*/ 3858373 w 3942422"/>
              <a:gd name="connsiteY3" fmla="*/ 539 h 1609741"/>
              <a:gd name="connsiteX4" fmla="*/ 3942422 w 3942422"/>
              <a:gd name="connsiteY4" fmla="*/ 84588 h 1609741"/>
              <a:gd name="connsiteX5" fmla="*/ 3942422 w 3942422"/>
              <a:gd name="connsiteY5" fmla="*/ 1525692 h 1609741"/>
              <a:gd name="connsiteX6" fmla="*/ 3858373 w 3942422"/>
              <a:gd name="connsiteY6" fmla="*/ 1609741 h 1609741"/>
              <a:gd name="connsiteX7" fmla="*/ 87693 w 3942422"/>
              <a:gd name="connsiteY7" fmla="*/ 1609741 h 1609741"/>
              <a:gd name="connsiteX8" fmla="*/ 3644 w 3942422"/>
              <a:gd name="connsiteY8" fmla="*/ 1525692 h 1609741"/>
              <a:gd name="connsiteX0" fmla="*/ 225140 w 4163918"/>
              <a:gd name="connsiteY0" fmla="*/ 1528731 h 1674428"/>
              <a:gd name="connsiteX1" fmla="*/ 224074 w 4163918"/>
              <a:gd name="connsiteY1" fmla="*/ 3699 h 1674428"/>
              <a:gd name="connsiteX2" fmla="*/ 309189 w 4163918"/>
              <a:gd name="connsiteY2" fmla="*/ 3578 h 1674428"/>
              <a:gd name="connsiteX3" fmla="*/ 4079869 w 4163918"/>
              <a:gd name="connsiteY3" fmla="*/ 3578 h 1674428"/>
              <a:gd name="connsiteX4" fmla="*/ 4163918 w 4163918"/>
              <a:gd name="connsiteY4" fmla="*/ 87627 h 1674428"/>
              <a:gd name="connsiteX5" fmla="*/ 4163918 w 4163918"/>
              <a:gd name="connsiteY5" fmla="*/ 1528731 h 1674428"/>
              <a:gd name="connsiteX6" fmla="*/ 4079869 w 4163918"/>
              <a:gd name="connsiteY6" fmla="*/ 1612780 h 1674428"/>
              <a:gd name="connsiteX7" fmla="*/ 309189 w 4163918"/>
              <a:gd name="connsiteY7" fmla="*/ 1612780 h 1674428"/>
              <a:gd name="connsiteX8" fmla="*/ 225140 w 4163918"/>
              <a:gd name="connsiteY8" fmla="*/ 1528731 h 1674428"/>
              <a:gd name="connsiteX0" fmla="*/ 6880 w 3945658"/>
              <a:gd name="connsiteY0" fmla="*/ 1528731 h 1674428"/>
              <a:gd name="connsiteX1" fmla="*/ 5814 w 3945658"/>
              <a:gd name="connsiteY1" fmla="*/ 3699 h 1674428"/>
              <a:gd name="connsiteX2" fmla="*/ 90929 w 3945658"/>
              <a:gd name="connsiteY2" fmla="*/ 3578 h 1674428"/>
              <a:gd name="connsiteX3" fmla="*/ 3861609 w 3945658"/>
              <a:gd name="connsiteY3" fmla="*/ 3578 h 1674428"/>
              <a:gd name="connsiteX4" fmla="*/ 3945658 w 3945658"/>
              <a:gd name="connsiteY4" fmla="*/ 87627 h 1674428"/>
              <a:gd name="connsiteX5" fmla="*/ 3945658 w 3945658"/>
              <a:gd name="connsiteY5" fmla="*/ 1528731 h 1674428"/>
              <a:gd name="connsiteX6" fmla="*/ 3861609 w 3945658"/>
              <a:gd name="connsiteY6" fmla="*/ 1612780 h 1674428"/>
              <a:gd name="connsiteX7" fmla="*/ 90929 w 3945658"/>
              <a:gd name="connsiteY7" fmla="*/ 1612780 h 1674428"/>
              <a:gd name="connsiteX8" fmla="*/ 6880 w 3945658"/>
              <a:gd name="connsiteY8" fmla="*/ 1528731 h 1674428"/>
              <a:gd name="connsiteX0" fmla="*/ 225140 w 4163918"/>
              <a:gd name="connsiteY0" fmla="*/ 1526452 h 1671925"/>
              <a:gd name="connsiteX1" fmla="*/ 224074 w 4163918"/>
              <a:gd name="connsiteY1" fmla="*/ 4595 h 1671925"/>
              <a:gd name="connsiteX2" fmla="*/ 309189 w 4163918"/>
              <a:gd name="connsiteY2" fmla="*/ 1299 h 1671925"/>
              <a:gd name="connsiteX3" fmla="*/ 4079869 w 4163918"/>
              <a:gd name="connsiteY3" fmla="*/ 1299 h 1671925"/>
              <a:gd name="connsiteX4" fmla="*/ 4163918 w 4163918"/>
              <a:gd name="connsiteY4" fmla="*/ 85348 h 1671925"/>
              <a:gd name="connsiteX5" fmla="*/ 4163918 w 4163918"/>
              <a:gd name="connsiteY5" fmla="*/ 1526452 h 1671925"/>
              <a:gd name="connsiteX6" fmla="*/ 4079869 w 4163918"/>
              <a:gd name="connsiteY6" fmla="*/ 1610501 h 1671925"/>
              <a:gd name="connsiteX7" fmla="*/ 309189 w 4163918"/>
              <a:gd name="connsiteY7" fmla="*/ 1610501 h 1671925"/>
              <a:gd name="connsiteX8" fmla="*/ 225140 w 4163918"/>
              <a:gd name="connsiteY8" fmla="*/ 1526452 h 1671925"/>
              <a:gd name="connsiteX0" fmla="*/ 6880 w 3945658"/>
              <a:gd name="connsiteY0" fmla="*/ 1527596 h 1673069"/>
              <a:gd name="connsiteX1" fmla="*/ 5814 w 3945658"/>
              <a:gd name="connsiteY1" fmla="*/ 5739 h 1673069"/>
              <a:gd name="connsiteX2" fmla="*/ 90929 w 3945658"/>
              <a:gd name="connsiteY2" fmla="*/ 2443 h 1673069"/>
              <a:gd name="connsiteX3" fmla="*/ 3861609 w 3945658"/>
              <a:gd name="connsiteY3" fmla="*/ 2443 h 1673069"/>
              <a:gd name="connsiteX4" fmla="*/ 3945658 w 3945658"/>
              <a:gd name="connsiteY4" fmla="*/ 86492 h 1673069"/>
              <a:gd name="connsiteX5" fmla="*/ 3945658 w 3945658"/>
              <a:gd name="connsiteY5" fmla="*/ 1527596 h 1673069"/>
              <a:gd name="connsiteX6" fmla="*/ 3861609 w 3945658"/>
              <a:gd name="connsiteY6" fmla="*/ 1611645 h 1673069"/>
              <a:gd name="connsiteX7" fmla="*/ 90929 w 3945658"/>
              <a:gd name="connsiteY7" fmla="*/ 1611645 h 1673069"/>
              <a:gd name="connsiteX8" fmla="*/ 6880 w 3945658"/>
              <a:gd name="connsiteY8" fmla="*/ 1527596 h 1673069"/>
              <a:gd name="connsiteX0" fmla="*/ 4095 w 3942873"/>
              <a:gd name="connsiteY0" fmla="*/ 1527596 h 1611653"/>
              <a:gd name="connsiteX1" fmla="*/ 3029 w 3942873"/>
              <a:gd name="connsiteY1" fmla="*/ 5739 h 1611653"/>
              <a:gd name="connsiteX2" fmla="*/ 88144 w 3942873"/>
              <a:gd name="connsiteY2" fmla="*/ 2443 h 1611653"/>
              <a:gd name="connsiteX3" fmla="*/ 3858824 w 3942873"/>
              <a:gd name="connsiteY3" fmla="*/ 2443 h 1611653"/>
              <a:gd name="connsiteX4" fmla="*/ 3942873 w 3942873"/>
              <a:gd name="connsiteY4" fmla="*/ 86492 h 1611653"/>
              <a:gd name="connsiteX5" fmla="*/ 3942873 w 3942873"/>
              <a:gd name="connsiteY5" fmla="*/ 1527596 h 1611653"/>
              <a:gd name="connsiteX6" fmla="*/ 3858824 w 3942873"/>
              <a:gd name="connsiteY6" fmla="*/ 1611645 h 1611653"/>
              <a:gd name="connsiteX7" fmla="*/ 88144 w 3942873"/>
              <a:gd name="connsiteY7" fmla="*/ 1611645 h 1611653"/>
              <a:gd name="connsiteX8" fmla="*/ 4095 w 3942873"/>
              <a:gd name="connsiteY8" fmla="*/ 1527596 h 1611653"/>
              <a:gd name="connsiteX0" fmla="*/ 9512 w 3948290"/>
              <a:gd name="connsiteY0" fmla="*/ 1527596 h 1673069"/>
              <a:gd name="connsiteX1" fmla="*/ 8446 w 3948290"/>
              <a:gd name="connsiteY1" fmla="*/ 5739 h 1673069"/>
              <a:gd name="connsiteX2" fmla="*/ 93561 w 3948290"/>
              <a:gd name="connsiteY2" fmla="*/ 2443 h 1673069"/>
              <a:gd name="connsiteX3" fmla="*/ 3864241 w 3948290"/>
              <a:gd name="connsiteY3" fmla="*/ 2443 h 1673069"/>
              <a:gd name="connsiteX4" fmla="*/ 3948290 w 3948290"/>
              <a:gd name="connsiteY4" fmla="*/ 86492 h 1673069"/>
              <a:gd name="connsiteX5" fmla="*/ 3948290 w 3948290"/>
              <a:gd name="connsiteY5" fmla="*/ 1527596 h 1673069"/>
              <a:gd name="connsiteX6" fmla="*/ 3864241 w 3948290"/>
              <a:gd name="connsiteY6" fmla="*/ 1611645 h 1673069"/>
              <a:gd name="connsiteX7" fmla="*/ 129280 w 3948290"/>
              <a:gd name="connsiteY7" fmla="*/ 1611645 h 1673069"/>
              <a:gd name="connsiteX8" fmla="*/ 9512 w 3948290"/>
              <a:gd name="connsiteY8" fmla="*/ 1527596 h 1673069"/>
              <a:gd name="connsiteX0" fmla="*/ 3242 w 3942020"/>
              <a:gd name="connsiteY0" fmla="*/ 1527596 h 1614938"/>
              <a:gd name="connsiteX1" fmla="*/ 2176 w 3942020"/>
              <a:gd name="connsiteY1" fmla="*/ 5739 h 1614938"/>
              <a:gd name="connsiteX2" fmla="*/ 87291 w 3942020"/>
              <a:gd name="connsiteY2" fmla="*/ 2443 h 1614938"/>
              <a:gd name="connsiteX3" fmla="*/ 3857971 w 3942020"/>
              <a:gd name="connsiteY3" fmla="*/ 2443 h 1614938"/>
              <a:gd name="connsiteX4" fmla="*/ 3942020 w 3942020"/>
              <a:gd name="connsiteY4" fmla="*/ 86492 h 1614938"/>
              <a:gd name="connsiteX5" fmla="*/ 3942020 w 3942020"/>
              <a:gd name="connsiteY5" fmla="*/ 1527596 h 1614938"/>
              <a:gd name="connsiteX6" fmla="*/ 3857971 w 3942020"/>
              <a:gd name="connsiteY6" fmla="*/ 1611645 h 1614938"/>
              <a:gd name="connsiteX7" fmla="*/ 123010 w 3942020"/>
              <a:gd name="connsiteY7" fmla="*/ 1611645 h 1614938"/>
              <a:gd name="connsiteX8" fmla="*/ 3242 w 3942020"/>
              <a:gd name="connsiteY8" fmla="*/ 1527596 h 1614938"/>
              <a:gd name="connsiteX0" fmla="*/ 1552 w 3940330"/>
              <a:gd name="connsiteY0" fmla="*/ 1527596 h 1612398"/>
              <a:gd name="connsiteX1" fmla="*/ 486 w 3940330"/>
              <a:gd name="connsiteY1" fmla="*/ 5739 h 1612398"/>
              <a:gd name="connsiteX2" fmla="*/ 85601 w 3940330"/>
              <a:gd name="connsiteY2" fmla="*/ 2443 h 1612398"/>
              <a:gd name="connsiteX3" fmla="*/ 3856281 w 3940330"/>
              <a:gd name="connsiteY3" fmla="*/ 2443 h 1612398"/>
              <a:gd name="connsiteX4" fmla="*/ 3940330 w 3940330"/>
              <a:gd name="connsiteY4" fmla="*/ 86492 h 1612398"/>
              <a:gd name="connsiteX5" fmla="*/ 3940330 w 3940330"/>
              <a:gd name="connsiteY5" fmla="*/ 1527596 h 1612398"/>
              <a:gd name="connsiteX6" fmla="*/ 3856281 w 3940330"/>
              <a:gd name="connsiteY6" fmla="*/ 1611645 h 1612398"/>
              <a:gd name="connsiteX7" fmla="*/ 121320 w 3940330"/>
              <a:gd name="connsiteY7" fmla="*/ 1611645 h 1612398"/>
              <a:gd name="connsiteX8" fmla="*/ 1552 w 3940330"/>
              <a:gd name="connsiteY8" fmla="*/ 1527596 h 1612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40330" h="1612398">
                <a:moveTo>
                  <a:pt x="1552" y="1527596"/>
                </a:moveTo>
                <a:cubicBezTo>
                  <a:pt x="463" y="1429014"/>
                  <a:pt x="-671" y="14002"/>
                  <a:pt x="486" y="5739"/>
                </a:cubicBezTo>
                <a:cubicBezTo>
                  <a:pt x="1643" y="-2524"/>
                  <a:pt x="8119" y="-183"/>
                  <a:pt x="85601" y="2443"/>
                </a:cubicBezTo>
                <a:cubicBezTo>
                  <a:pt x="163083" y="5069"/>
                  <a:pt x="2599388" y="2443"/>
                  <a:pt x="3856281" y="2443"/>
                </a:cubicBezTo>
                <a:cubicBezTo>
                  <a:pt x="3902700" y="2443"/>
                  <a:pt x="3940330" y="40073"/>
                  <a:pt x="3940330" y="86492"/>
                </a:cubicBezTo>
                <a:lnTo>
                  <a:pt x="3940330" y="1527596"/>
                </a:lnTo>
                <a:cubicBezTo>
                  <a:pt x="3940330" y="1574015"/>
                  <a:pt x="3902700" y="1611645"/>
                  <a:pt x="3856281" y="1611645"/>
                </a:cubicBezTo>
                <a:lnTo>
                  <a:pt x="121320" y="1611645"/>
                </a:lnTo>
                <a:cubicBezTo>
                  <a:pt x="74901" y="1611645"/>
                  <a:pt x="2641" y="1626178"/>
                  <a:pt x="1552" y="1527596"/>
                </a:cubicBezTo>
                <a:close/>
              </a:path>
            </a:pathLst>
          </a:custGeom>
          <a:solidFill>
            <a:schemeClr val="bg2">
              <a:alpha val="85000"/>
            </a:schemeClr>
          </a:solidFill>
        </p:spPr>
        <p:txBody>
          <a:bodyPr vert="horz" lIns="360000" tIns="252000" rIns="360000" bIns="360000" rtlCol="0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nl-NL" sz="8419" b="0" dirty="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70000"/>
              </a:lnSpc>
              <a:defRPr lang="nl-NL" dirty="0">
                <a:solidFill>
                  <a:schemeClr val="bg1"/>
                </a:solidFill>
                <a:latin typeface="+mj-lt"/>
              </a:defRPr>
            </a:lvl2pPr>
            <a:lvl3pPr>
              <a:lnSpc>
                <a:spcPct val="70000"/>
              </a:lnSpc>
              <a:defRPr lang="nl-NL" dirty="0">
                <a:solidFill>
                  <a:schemeClr val="bg1"/>
                </a:solidFill>
                <a:latin typeface="+mj-lt"/>
              </a:defRPr>
            </a:lvl3pPr>
            <a:lvl4pPr>
              <a:lnSpc>
                <a:spcPct val="70000"/>
              </a:lnSpc>
              <a:defRPr lang="nl-NL" sz="8419" dirty="0">
                <a:solidFill>
                  <a:schemeClr val="bg1"/>
                </a:solidFill>
                <a:latin typeface="+mj-lt"/>
              </a:defRPr>
            </a:lvl4pPr>
            <a:lvl5pPr>
              <a:lnSpc>
                <a:spcPct val="70000"/>
              </a:lnSpc>
              <a:defRPr lang="nl-NL" b="0" dirty="0">
                <a:solidFill>
                  <a:schemeClr val="bg1"/>
                </a:solidFill>
              </a:defRPr>
            </a:lvl5pPr>
            <a:lvl6pPr>
              <a:lnSpc>
                <a:spcPct val="70000"/>
              </a:lnSpc>
              <a:defRPr lang="nl-NL" dirty="0"/>
            </a:lvl6pPr>
          </a:lstStyle>
          <a:p>
            <a:pPr lvl="0"/>
            <a:r>
              <a:rPr lang="nl-NL" noProof="0"/>
              <a:t>Klik om tekst in te voegen</a:t>
            </a:r>
          </a:p>
        </p:txBody>
      </p:sp>
      <p:sp>
        <p:nvSpPr>
          <p:cNvPr id="18" name="Tijdelijke aanduiding voor datum 3">
            <a:extLst>
              <a:ext uri="{FF2B5EF4-FFF2-40B4-BE49-F238E27FC236}">
                <a16:creationId xmlns:a16="http://schemas.microsoft.com/office/drawing/2014/main" id="{272E1BA3-CCCF-465D-9A0D-4F665A96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00A5A8C-9EFD-4AD5-BD15-C5E0C8E9E405}" type="datetime1">
              <a:rPr lang="nl-NL" noProof="0" smtClean="0"/>
              <a:t>26-6-2023</a:t>
            </a:fld>
            <a:endParaRPr lang="nl-NL" noProof="0"/>
          </a:p>
        </p:txBody>
      </p:sp>
      <p:grpSp>
        <p:nvGrpSpPr>
          <p:cNvPr id="180" name="Groep 258">
            <a:extLst>
              <a:ext uri="{FF2B5EF4-FFF2-40B4-BE49-F238E27FC236}">
                <a16:creationId xmlns:a16="http://schemas.microsoft.com/office/drawing/2014/main" id="{85EF3D0B-59E7-4AC4-9317-4F0D3F91CFF8}"/>
              </a:ext>
            </a:extLst>
          </p:cNvPr>
          <p:cNvGrpSpPr/>
          <p:nvPr userDrawn="1"/>
        </p:nvGrpSpPr>
        <p:grpSpPr>
          <a:xfrm>
            <a:off x="43467416" y="5"/>
            <a:ext cx="11167745" cy="23084356"/>
            <a:chOff x="12391601" y="0"/>
            <a:chExt cx="3183678" cy="5229113"/>
          </a:xfrm>
        </p:grpSpPr>
        <p:grpSp>
          <p:nvGrpSpPr>
            <p:cNvPr id="181" name="Meer informatie">
              <a:extLst>
                <a:ext uri="{FF2B5EF4-FFF2-40B4-BE49-F238E27FC236}">
                  <a16:creationId xmlns:a16="http://schemas.microsoft.com/office/drawing/2014/main" id="{094442AC-DEFB-4FBC-A6FC-D9B17099600B}"/>
                </a:ext>
              </a:extLst>
            </p:cNvPr>
            <p:cNvGrpSpPr/>
            <p:nvPr userDrawn="1"/>
          </p:nvGrpSpPr>
          <p:grpSpPr>
            <a:xfrm>
              <a:off x="12396764" y="4445840"/>
              <a:ext cx="3178515" cy="783273"/>
              <a:chOff x="-3741486" y="3386444"/>
              <a:chExt cx="3178515" cy="783273"/>
            </a:xfrm>
          </p:grpSpPr>
          <p:sp>
            <p:nvSpPr>
              <p:cNvPr id="237" name="Freeform 101">
                <a:extLst>
                  <a:ext uri="{FF2B5EF4-FFF2-40B4-BE49-F238E27FC236}">
                    <a16:creationId xmlns:a16="http://schemas.microsoft.com/office/drawing/2014/main" id="{2DA43AFA-A195-42A8-AD29-8D5D18AB3A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238" name="Rechthoek 306">
                <a:extLst>
                  <a:ext uri="{FF2B5EF4-FFF2-40B4-BE49-F238E27FC236}">
                    <a16:creationId xmlns:a16="http://schemas.microsoft.com/office/drawing/2014/main" id="{C0480B14-11BC-41F5-9E35-C261D6C9061F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39" name="Rechte verbindingslijn 307">
                <a:extLst>
                  <a:ext uri="{FF2B5EF4-FFF2-40B4-BE49-F238E27FC236}">
                    <a16:creationId xmlns:a16="http://schemas.microsoft.com/office/drawing/2014/main" id="{9C2E1315-CAB9-498D-B138-9A53CF072D0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82" name="Rechthoek 260">
              <a:extLst>
                <a:ext uri="{FF2B5EF4-FFF2-40B4-BE49-F238E27FC236}">
                  <a16:creationId xmlns:a16="http://schemas.microsoft.com/office/drawing/2014/main" id="{7AF07C0D-E7A5-430C-B291-F3E1DE1C18C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183" name="Ovaal 261">
              <a:extLst>
                <a:ext uri="{FF2B5EF4-FFF2-40B4-BE49-F238E27FC236}">
                  <a16:creationId xmlns:a16="http://schemas.microsoft.com/office/drawing/2014/main" id="{C1D04F3B-93B9-4EFB-B64C-A5F9D8302D86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84" name="Rechte verbindingslijn 262">
              <a:extLst>
                <a:ext uri="{FF2B5EF4-FFF2-40B4-BE49-F238E27FC236}">
                  <a16:creationId xmlns:a16="http://schemas.microsoft.com/office/drawing/2014/main" id="{B4DAF6EA-68D1-43DA-B525-76E18B573F2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5" name="Rechte verbindingslijn 263">
              <a:extLst>
                <a:ext uri="{FF2B5EF4-FFF2-40B4-BE49-F238E27FC236}">
                  <a16:creationId xmlns:a16="http://schemas.microsoft.com/office/drawing/2014/main" id="{AB8C44A2-00F9-43D3-B0B5-16EBFA7C65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86" name="Rechthoek 264">
              <a:extLst>
                <a:ext uri="{FF2B5EF4-FFF2-40B4-BE49-F238E27FC236}">
                  <a16:creationId xmlns:a16="http://schemas.microsoft.com/office/drawing/2014/main" id="{F1627388-9FBE-433F-9A3C-540958DBD4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oor deze te selecteren en op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om een nieuwe afbeelding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87" name="Rechte verbindingslijn 265">
              <a:extLst>
                <a:ext uri="{FF2B5EF4-FFF2-40B4-BE49-F238E27FC236}">
                  <a16:creationId xmlns:a16="http://schemas.microsoft.com/office/drawing/2014/main" id="{BD2560AB-E4B1-4FB9-981B-3DEC3D57964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4327957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88" name="Ovaal 266">
              <a:extLst>
                <a:ext uri="{FF2B5EF4-FFF2-40B4-BE49-F238E27FC236}">
                  <a16:creationId xmlns:a16="http://schemas.microsoft.com/office/drawing/2014/main" id="{7C416F0E-0568-4E3F-8ADB-8E61AD2BBB8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89" name="Rechthoek 267">
              <a:extLst>
                <a:ext uri="{FF2B5EF4-FFF2-40B4-BE49-F238E27FC236}">
                  <a16:creationId xmlns:a16="http://schemas.microsoft.com/office/drawing/2014/main" id="{A292EE0D-C7E6-4B85-8288-EC2F31433C3A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90" name="Groep 268">
              <a:extLst>
                <a:ext uri="{FF2B5EF4-FFF2-40B4-BE49-F238E27FC236}">
                  <a16:creationId xmlns:a16="http://schemas.microsoft.com/office/drawing/2014/main" id="{9E9A9367-EC6B-4197-8FA0-96E1F9E5F9D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34" name="Rechthoek 302">
                <a:extLst>
                  <a:ext uri="{FF2B5EF4-FFF2-40B4-BE49-F238E27FC236}">
                    <a16:creationId xmlns:a16="http://schemas.microsoft.com/office/drawing/2014/main" id="{4D54B517-306E-4291-9C4F-81FF2A0113CC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235" name="Rechte verbindingslijn 303">
                <a:extLst>
                  <a:ext uri="{FF2B5EF4-FFF2-40B4-BE49-F238E27FC236}">
                    <a16:creationId xmlns:a16="http://schemas.microsoft.com/office/drawing/2014/main" id="{30203F76-9A47-4493-AEF3-C40FBF3A4F0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36" name="Gelijkbenige driehoek 304">
                <a:extLst>
                  <a:ext uri="{FF2B5EF4-FFF2-40B4-BE49-F238E27FC236}">
                    <a16:creationId xmlns:a16="http://schemas.microsoft.com/office/drawing/2014/main" id="{E9B5BAF1-5630-47EC-9E69-1D5ED2112EC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91" name="Groep 269">
              <a:extLst>
                <a:ext uri="{FF2B5EF4-FFF2-40B4-BE49-F238E27FC236}">
                  <a16:creationId xmlns:a16="http://schemas.microsoft.com/office/drawing/2014/main" id="{D4C40DF4-2EAE-4FA7-9410-36EF66286AF8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228" name="Rechthoek 296">
                <a:extLst>
                  <a:ext uri="{FF2B5EF4-FFF2-40B4-BE49-F238E27FC236}">
                    <a16:creationId xmlns:a16="http://schemas.microsoft.com/office/drawing/2014/main" id="{E1281EFA-DE5E-440E-AEB4-A0490FBC2D7C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9" name="Ovaal 297">
                <a:extLst>
                  <a:ext uri="{FF2B5EF4-FFF2-40B4-BE49-F238E27FC236}">
                    <a16:creationId xmlns:a16="http://schemas.microsoft.com/office/drawing/2014/main" id="{D3DB4830-3508-45C6-BCCA-955F55428B9A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30" name="Vrije vorm: vorm 298">
                <a:extLst>
                  <a:ext uri="{FF2B5EF4-FFF2-40B4-BE49-F238E27FC236}">
                    <a16:creationId xmlns:a16="http://schemas.microsoft.com/office/drawing/2014/main" id="{89D30EF8-3A2D-4463-85F4-2CBF0D46C74E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31" name="Rechthoek: afgeronde hoeken 299">
                <a:extLst>
                  <a:ext uri="{FF2B5EF4-FFF2-40B4-BE49-F238E27FC236}">
                    <a16:creationId xmlns:a16="http://schemas.microsoft.com/office/drawing/2014/main" id="{7A73EC4B-5214-4DEC-AC2F-BCB91590585E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232" name="Rechte verbindingslijn 300">
                <a:extLst>
                  <a:ext uri="{FF2B5EF4-FFF2-40B4-BE49-F238E27FC236}">
                    <a16:creationId xmlns:a16="http://schemas.microsoft.com/office/drawing/2014/main" id="{F4AFDC55-B06C-409E-A49C-EB62D8188EC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33" name="Rechte verbindingslijn 301">
                <a:extLst>
                  <a:ext uri="{FF2B5EF4-FFF2-40B4-BE49-F238E27FC236}">
                    <a16:creationId xmlns:a16="http://schemas.microsoft.com/office/drawing/2014/main" id="{0A1A0432-1DE3-4078-B7F3-CDD89C48551C}"/>
                  </a:ext>
                </a:extLst>
              </p:cNvPr>
              <p:cNvCxnSpPr>
                <a:cxnSpLocks/>
                <a:stCxn id="23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92" name="Ovaal 270">
              <a:extLst>
                <a:ext uri="{FF2B5EF4-FFF2-40B4-BE49-F238E27FC236}">
                  <a16:creationId xmlns:a16="http://schemas.microsoft.com/office/drawing/2014/main" id="{F5E4CE74-BC6B-42D9-BDEB-33BB16E7B23A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93" name="Rechthoek 271">
              <a:extLst>
                <a:ext uri="{FF2B5EF4-FFF2-40B4-BE49-F238E27FC236}">
                  <a16:creationId xmlns:a16="http://schemas.microsoft.com/office/drawing/2014/main" id="{AD1B83CB-D7B9-4260-8F3A-EE29E5ACAEC1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43320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aan de linker kant van het scherm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94" name="Rechte verbindingslijn 272">
              <a:extLst>
                <a:ext uri="{FF2B5EF4-FFF2-40B4-BE49-F238E27FC236}">
                  <a16:creationId xmlns:a16="http://schemas.microsoft.com/office/drawing/2014/main" id="{7B5D5B99-21DA-48B1-8DF4-253EF8E61C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95" name="Rechthoek 273">
              <a:extLst>
                <a:ext uri="{FF2B5EF4-FFF2-40B4-BE49-F238E27FC236}">
                  <a16:creationId xmlns:a16="http://schemas.microsoft.com/office/drawing/2014/main" id="{B25F762E-81F0-466F-81CB-4B14AA19F0AD}"/>
                </a:ext>
              </a:extLst>
            </p:cNvPr>
            <p:cNvSpPr/>
            <p:nvPr userDrawn="1"/>
          </p:nvSpPr>
          <p:spPr>
            <a:xfrm>
              <a:off x="12654153" y="3238910"/>
              <a:ext cx="1624926" cy="805220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3509" b="0" i="1" noProof="0">
                <a:solidFill>
                  <a:schemeClr val="tx1"/>
                </a:solidFill>
              </a:endParaRPr>
            </a:p>
          </p:txBody>
        </p:sp>
        <p:grpSp>
          <p:nvGrpSpPr>
            <p:cNvPr id="196" name="Groep 274">
              <a:extLst>
                <a:ext uri="{FF2B5EF4-FFF2-40B4-BE49-F238E27FC236}">
                  <a16:creationId xmlns:a16="http://schemas.microsoft.com/office/drawing/2014/main" id="{38715314-EC12-4872-85F5-DC48D0434C73}"/>
                </a:ext>
              </a:extLst>
            </p:cNvPr>
            <p:cNvGrpSpPr/>
            <p:nvPr userDrawn="1"/>
          </p:nvGrpSpPr>
          <p:grpSpPr>
            <a:xfrm>
              <a:off x="13614067" y="3535184"/>
              <a:ext cx="1195438" cy="678267"/>
              <a:chOff x="12757284" y="3224292"/>
              <a:chExt cx="1195438" cy="678267"/>
            </a:xfrm>
          </p:grpSpPr>
          <p:sp>
            <p:nvSpPr>
              <p:cNvPr id="197" name="Rechthoek 275">
                <a:extLst>
                  <a:ext uri="{FF2B5EF4-FFF2-40B4-BE49-F238E27FC236}">
                    <a16:creationId xmlns:a16="http://schemas.microsoft.com/office/drawing/2014/main" id="{6E8BB704-40C6-478D-B37E-A6BA473827BF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8" name="Rechthoek 276">
                <a:extLst>
                  <a:ext uri="{FF2B5EF4-FFF2-40B4-BE49-F238E27FC236}">
                    <a16:creationId xmlns:a16="http://schemas.microsoft.com/office/drawing/2014/main" id="{E8EE5A6A-267B-4CDF-AEB4-071D93D5BDAF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99" name="Groep 277">
                <a:extLst>
                  <a:ext uri="{FF2B5EF4-FFF2-40B4-BE49-F238E27FC236}">
                    <a16:creationId xmlns:a16="http://schemas.microsoft.com/office/drawing/2014/main" id="{12B5F916-2745-4DFA-B42C-7DECFBCDDF6A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212" name="Rechthoek: afgeronde hoeken 290">
                  <a:extLst>
                    <a:ext uri="{FF2B5EF4-FFF2-40B4-BE49-F238E27FC236}">
                      <a16:creationId xmlns:a16="http://schemas.microsoft.com/office/drawing/2014/main" id="{C4F0991F-8969-46A5-8299-C281E112BCC2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endPara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3" name="Rechthoek 291">
                  <a:extLst>
                    <a:ext uri="{FF2B5EF4-FFF2-40B4-BE49-F238E27FC236}">
                      <a16:creationId xmlns:a16="http://schemas.microsoft.com/office/drawing/2014/main" id="{BAD4FCAD-85E5-47C8-B0D6-AF159002D671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4" name="Rechthoek 292">
                  <a:extLst>
                    <a:ext uri="{FF2B5EF4-FFF2-40B4-BE49-F238E27FC236}">
                      <a16:creationId xmlns:a16="http://schemas.microsoft.com/office/drawing/2014/main" id="{DF8003A9-7C16-443C-9218-30B8D63A2977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5" name="Rechthoek 293">
                  <a:extLst>
                    <a:ext uri="{FF2B5EF4-FFF2-40B4-BE49-F238E27FC236}">
                      <a16:creationId xmlns:a16="http://schemas.microsoft.com/office/drawing/2014/main" id="{BEEB4E54-3D33-4D16-87E2-1170DECB06D2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6" name="Rechthoek 294">
                  <a:extLst>
                    <a:ext uri="{FF2B5EF4-FFF2-40B4-BE49-F238E27FC236}">
                      <a16:creationId xmlns:a16="http://schemas.microsoft.com/office/drawing/2014/main" id="{F9EEE1F0-8B23-4C7B-AE93-E83209BF8757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7" name="Rechthoek 295">
                  <a:extLst>
                    <a:ext uri="{FF2B5EF4-FFF2-40B4-BE49-F238E27FC236}">
                      <a16:creationId xmlns:a16="http://schemas.microsoft.com/office/drawing/2014/main" id="{6CCAE864-0170-472F-B125-677A87BBBD84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200" name="Groep 278">
                <a:extLst>
                  <a:ext uri="{FF2B5EF4-FFF2-40B4-BE49-F238E27FC236}">
                    <a16:creationId xmlns:a16="http://schemas.microsoft.com/office/drawing/2014/main" id="{56741DF2-7BA3-4325-A837-64B6FFAE3D26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204" name="Groep 282">
                  <a:extLst>
                    <a:ext uri="{FF2B5EF4-FFF2-40B4-BE49-F238E27FC236}">
                      <a16:creationId xmlns:a16="http://schemas.microsoft.com/office/drawing/2014/main" id="{FEDC01BC-36E6-4C21-810B-9897256EFBEB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206" name="Rechthoek: afgeronde hoeken 284">
                    <a:extLst>
                      <a:ext uri="{FF2B5EF4-FFF2-40B4-BE49-F238E27FC236}">
                        <a16:creationId xmlns:a16="http://schemas.microsoft.com/office/drawing/2014/main" id="{16578572-7E06-4290-949B-61109C8A2FE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2105"/>
                      </a:spcBef>
                      <a:spcAft>
                        <a:spcPts val="2105"/>
                      </a:spcAft>
                    </a:pPr>
                    <a:endParaRPr lang="nl-NL" sz="280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07" name="Rechthoek 285">
                    <a:extLst>
                      <a:ext uri="{FF2B5EF4-FFF2-40B4-BE49-F238E27FC236}">
                        <a16:creationId xmlns:a16="http://schemas.microsoft.com/office/drawing/2014/main" id="{6410265C-9D29-47DF-87A6-E033C3F610E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8" name="Rechthoek 286">
                    <a:extLst>
                      <a:ext uri="{FF2B5EF4-FFF2-40B4-BE49-F238E27FC236}">
                        <a16:creationId xmlns:a16="http://schemas.microsoft.com/office/drawing/2014/main" id="{6F0FEA28-254F-4A16-92A2-29867CCCBB7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9" name="Rechthoek 287">
                    <a:extLst>
                      <a:ext uri="{FF2B5EF4-FFF2-40B4-BE49-F238E27FC236}">
                        <a16:creationId xmlns:a16="http://schemas.microsoft.com/office/drawing/2014/main" id="{E2177107-446F-40BA-B2A8-FF6B4D886D5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0" name="Rechthoek 288">
                    <a:extLst>
                      <a:ext uri="{FF2B5EF4-FFF2-40B4-BE49-F238E27FC236}">
                        <a16:creationId xmlns:a16="http://schemas.microsoft.com/office/drawing/2014/main" id="{4DE5D972-03E6-4AF7-8893-7D492261D0F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1" name="Rechthoek 289">
                    <a:extLst>
                      <a:ext uri="{FF2B5EF4-FFF2-40B4-BE49-F238E27FC236}">
                        <a16:creationId xmlns:a16="http://schemas.microsoft.com/office/drawing/2014/main" id="{1C842460-5630-4292-8F0C-73C8F82F52E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205" name="Boog 283">
                  <a:extLst>
                    <a:ext uri="{FF2B5EF4-FFF2-40B4-BE49-F238E27FC236}">
                      <a16:creationId xmlns:a16="http://schemas.microsoft.com/office/drawing/2014/main" id="{27C64B2C-2F70-4C27-82DA-A52F19F38C0E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</p:grpSp>
          <p:sp>
            <p:nvSpPr>
              <p:cNvPr id="201" name="Tekstvak 279">
                <a:extLst>
                  <a:ext uri="{FF2B5EF4-FFF2-40B4-BE49-F238E27FC236}">
                    <a16:creationId xmlns:a16="http://schemas.microsoft.com/office/drawing/2014/main" id="{CD7E2612-2AEF-4C1D-8C44-62DE8A136EAD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202" name="Tekstvak 280">
                <a:extLst>
                  <a:ext uri="{FF2B5EF4-FFF2-40B4-BE49-F238E27FC236}">
                    <a16:creationId xmlns:a16="http://schemas.microsoft.com/office/drawing/2014/main" id="{0E7A3664-C29E-4F66-B81B-9C375EF647E3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203" name="Picture 3">
                <a:extLst>
                  <a:ext uri="{FF2B5EF4-FFF2-40B4-BE49-F238E27FC236}">
                    <a16:creationId xmlns:a16="http://schemas.microsoft.com/office/drawing/2014/main" id="{610BCC81-F8D1-4CD3-9B57-33536D7ED87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810206" y="3671228"/>
                <a:ext cx="14251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grpSp>
        <p:nvGrpSpPr>
          <p:cNvPr id="76" name="Instructie">
            <a:extLst>
              <a:ext uri="{FF2B5EF4-FFF2-40B4-BE49-F238E27FC236}">
                <a16:creationId xmlns:a16="http://schemas.microsoft.com/office/drawing/2014/main" id="{4603085B-E399-4832-BCA3-76BCA627EC71}"/>
              </a:ext>
            </a:extLst>
          </p:cNvPr>
          <p:cNvGrpSpPr/>
          <p:nvPr userDrawn="1"/>
        </p:nvGrpSpPr>
        <p:grpSpPr>
          <a:xfrm>
            <a:off x="-11761540" y="0"/>
            <a:ext cx="11164508" cy="11743958"/>
            <a:chOff x="-3426088" y="4512342"/>
            <a:chExt cx="3182755" cy="2660264"/>
          </a:xfrm>
        </p:grpSpPr>
        <p:sp>
          <p:nvSpPr>
            <p:cNvPr id="77" name="Rechthoek 127">
              <a:extLst>
                <a:ext uri="{FF2B5EF4-FFF2-40B4-BE49-F238E27FC236}">
                  <a16:creationId xmlns:a16="http://schemas.microsoft.com/office/drawing/2014/main" id="{BFF4F3EC-F7CC-4926-BA67-59424C7E9E81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78" name="Rechte verbindingslijn 128">
              <a:extLst>
                <a:ext uri="{FF2B5EF4-FFF2-40B4-BE49-F238E27FC236}">
                  <a16:creationId xmlns:a16="http://schemas.microsoft.com/office/drawing/2014/main" id="{358CBB5E-9BA0-4D4A-98F7-43DBDCD5E0B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79" name="Rechthoek 130">
              <a:extLst>
                <a:ext uri="{FF2B5EF4-FFF2-40B4-BE49-F238E27FC236}">
                  <a16:creationId xmlns:a16="http://schemas.microsoft.com/office/drawing/2014/main" id="{E340B0A1-85BF-4C01-B9EB-3B2C78ECB25B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80" name="Rechthoek 133">
              <a:extLst>
                <a:ext uri="{FF2B5EF4-FFF2-40B4-BE49-F238E27FC236}">
                  <a16:creationId xmlns:a16="http://schemas.microsoft.com/office/drawing/2014/main" id="{2CBCD737-B2C3-4FF2-9C2B-260B623D367D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1" name="Rechthoek 136">
              <a:extLst>
                <a:ext uri="{FF2B5EF4-FFF2-40B4-BE49-F238E27FC236}">
                  <a16:creationId xmlns:a16="http://schemas.microsoft.com/office/drawing/2014/main" id="{592CF995-A6E6-4755-95C6-53ECB501F2E7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2" name="Rechthoek 139">
              <a:extLst>
                <a:ext uri="{FF2B5EF4-FFF2-40B4-BE49-F238E27FC236}">
                  <a16:creationId xmlns:a16="http://schemas.microsoft.com/office/drawing/2014/main" id="{79B706D0-8D58-40F3-8D42-6BF01C3F95ED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83" name="Rechte verbindingslijn 140">
              <a:extLst>
                <a:ext uri="{FF2B5EF4-FFF2-40B4-BE49-F238E27FC236}">
                  <a16:creationId xmlns:a16="http://schemas.microsoft.com/office/drawing/2014/main" id="{7E4623E2-3B20-49B9-8388-C465BE6F0EB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C7F23BAD-09D9-4D71-9A55-ADE82665CE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6800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Grafiek 50%/5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el 1">
            <a:extLst>
              <a:ext uri="{FF2B5EF4-FFF2-40B4-BE49-F238E27FC236}">
                <a16:creationId xmlns:a16="http://schemas.microsoft.com/office/drawing/2014/main" id="{6FC02832-6172-4872-830B-0E200141D9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41" name="Tijdelijke aanduiding voor tekst 14">
            <a:extLst>
              <a:ext uri="{FF2B5EF4-FFF2-40B4-BE49-F238E27FC236}">
                <a16:creationId xmlns:a16="http://schemas.microsoft.com/office/drawing/2014/main" id="{92B3C0DD-4B30-41A4-ACF0-43DCC142EE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58" name="Tijdelijke aanduiding voor voettekst 4">
            <a:extLst>
              <a:ext uri="{FF2B5EF4-FFF2-40B4-BE49-F238E27FC236}">
                <a16:creationId xmlns:a16="http://schemas.microsoft.com/office/drawing/2014/main" id="{A767B2FF-AFB7-4C77-9D83-2891D4995E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59" name="Tijdelijke aanduiding voor dianummer 5">
            <a:extLst>
              <a:ext uri="{FF2B5EF4-FFF2-40B4-BE49-F238E27FC236}">
                <a16:creationId xmlns:a16="http://schemas.microsoft.com/office/drawing/2014/main" id="{9A2D0BED-D586-4A0C-92B4-0B9B621444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9" y="27329718"/>
            <a:ext cx="834509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cxnSp>
        <p:nvCxnSpPr>
          <p:cNvPr id="4" name="Rechte verbindingslijn 3">
            <a:extLst>
              <a:ext uri="{FF2B5EF4-FFF2-40B4-BE49-F238E27FC236}">
                <a16:creationId xmlns:a16="http://schemas.microsoft.com/office/drawing/2014/main" id="{B7132B7D-5165-4EF7-9B98-0281F140107D}"/>
              </a:ext>
            </a:extLst>
          </p:cNvPr>
          <p:cNvCxnSpPr/>
          <p:nvPr userDrawn="1"/>
        </p:nvCxnSpPr>
        <p:spPr>
          <a:xfrm>
            <a:off x="21383618" y="6476683"/>
            <a:ext cx="0" cy="19074342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jdelijke aanduiding voor datum 3">
            <a:extLst>
              <a:ext uri="{FF2B5EF4-FFF2-40B4-BE49-F238E27FC236}">
                <a16:creationId xmlns:a16="http://schemas.microsoft.com/office/drawing/2014/main" id="{954DA91E-C842-4007-B98B-6B2243FE611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19707B42-73DA-42CB-A5E3-8DE983276932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208" name="Tijdelijke aanduiding voor grafiek 7">
            <a:extLst>
              <a:ext uri="{FF2B5EF4-FFF2-40B4-BE49-F238E27FC236}">
                <a16:creationId xmlns:a16="http://schemas.microsoft.com/office/drawing/2014/main" id="{850783B6-C90B-4AAA-90BA-1DAFC9F22AA9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22853747" y="6476685"/>
            <a:ext cx="18130515" cy="19074338"/>
          </a:xfrm>
          <a:solidFill>
            <a:schemeClr val="bg1">
              <a:lumMod val="95000"/>
            </a:schemeClr>
          </a:solidFill>
        </p:spPr>
        <p:txBody>
          <a:bodyPr tIns="288000" bIns="1440000" anchor="b">
            <a:normAutofit/>
          </a:bodyPr>
          <a:lstStyle>
            <a:lvl1pPr marL="0" indent="0" algn="ctr">
              <a:spcAft>
                <a:spcPts val="0"/>
              </a:spcAft>
              <a:buNone/>
              <a:defRPr sz="4209" b="0" i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grafiek in te voegen</a:t>
            </a:r>
          </a:p>
        </p:txBody>
      </p:sp>
      <p:grpSp>
        <p:nvGrpSpPr>
          <p:cNvPr id="371" name="Instructie">
            <a:extLst>
              <a:ext uri="{FF2B5EF4-FFF2-40B4-BE49-F238E27FC236}">
                <a16:creationId xmlns:a16="http://schemas.microsoft.com/office/drawing/2014/main" id="{093D00D8-0169-418F-BBF9-0B59653C092A}"/>
              </a:ext>
            </a:extLst>
          </p:cNvPr>
          <p:cNvGrpSpPr/>
          <p:nvPr userDrawn="1"/>
        </p:nvGrpSpPr>
        <p:grpSpPr>
          <a:xfrm>
            <a:off x="43460797" y="12724935"/>
            <a:ext cx="11167742" cy="11242262"/>
            <a:chOff x="12389714" y="4327164"/>
            <a:chExt cx="3183677" cy="2546619"/>
          </a:xfrm>
        </p:grpSpPr>
        <p:grpSp>
          <p:nvGrpSpPr>
            <p:cNvPr id="372" name="Meer informatie">
              <a:extLst>
                <a:ext uri="{FF2B5EF4-FFF2-40B4-BE49-F238E27FC236}">
                  <a16:creationId xmlns:a16="http://schemas.microsoft.com/office/drawing/2014/main" id="{CD9D0A7D-373C-43C3-97F7-EEFBA9DDC665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10" name="Freeform 101">
                <a:extLst>
                  <a:ext uri="{FF2B5EF4-FFF2-40B4-BE49-F238E27FC236}">
                    <a16:creationId xmlns:a16="http://schemas.microsoft.com/office/drawing/2014/main" id="{41B52622-B9B7-426F-8D75-BD8B08FDD5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411" name="Rechthoek 67">
                <a:extLst>
                  <a:ext uri="{FF2B5EF4-FFF2-40B4-BE49-F238E27FC236}">
                    <a16:creationId xmlns:a16="http://schemas.microsoft.com/office/drawing/2014/main" id="{4CB3D13E-34A6-4EB3-9748-76ADFD6ED9BA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412" name="Rechte verbindingslijn 68">
                <a:extLst>
                  <a:ext uri="{FF2B5EF4-FFF2-40B4-BE49-F238E27FC236}">
                    <a16:creationId xmlns:a16="http://schemas.microsoft.com/office/drawing/2014/main" id="{E80D425F-D318-4BCE-B843-062A7B2C3F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373" name="Rechte verbindingslijn 18">
              <a:extLst>
                <a:ext uri="{FF2B5EF4-FFF2-40B4-BE49-F238E27FC236}">
                  <a16:creationId xmlns:a16="http://schemas.microsoft.com/office/drawing/2014/main" id="{7F7FD683-3666-4C67-922B-AA6BFC0E614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4" name="Rechthoek 19">
              <a:extLst>
                <a:ext uri="{FF2B5EF4-FFF2-40B4-BE49-F238E27FC236}">
                  <a16:creationId xmlns:a16="http://schemas.microsoft.com/office/drawing/2014/main" id="{F79488E0-33A2-49BB-88CF-6B9A0B62F300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Data van de Grafiek Bewerken</a:t>
              </a:r>
            </a:p>
          </p:txBody>
        </p:sp>
        <p:sp>
          <p:nvSpPr>
            <p:cNvPr id="375" name="Ovaal 20">
              <a:extLst>
                <a:ext uri="{FF2B5EF4-FFF2-40B4-BE49-F238E27FC236}">
                  <a16:creationId xmlns:a16="http://schemas.microsoft.com/office/drawing/2014/main" id="{F8AAD153-49ED-49B6-B9D7-6C39766BF907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6" name="Rechte verbindingslijn 21">
              <a:extLst>
                <a:ext uri="{FF2B5EF4-FFF2-40B4-BE49-F238E27FC236}">
                  <a16:creationId xmlns:a16="http://schemas.microsoft.com/office/drawing/2014/main" id="{A6B7FF75-2363-468F-983B-A790CB25A0E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7" name="Rechthoek 22">
              <a:extLst>
                <a:ext uri="{FF2B5EF4-FFF2-40B4-BE49-F238E27FC236}">
                  <a16:creationId xmlns:a16="http://schemas.microsoft.com/office/drawing/2014/main" id="{7F216100-59E5-4E02-AC7B-1A9B95C69C8C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3859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eer de grafiek, klik met de rechter muisknop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lang="nl-NL" sz="3859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Gegevens bewerk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.</a:t>
              </a:r>
              <a:endParaRPr lang="nl-NL" sz="3859" b="1" kern="0" noProof="0">
                <a:solidFill>
                  <a:schemeClr val="tx1"/>
                </a:solidFill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23">
              <a:extLst>
                <a:ext uri="{FF2B5EF4-FFF2-40B4-BE49-F238E27FC236}">
                  <a16:creationId xmlns:a16="http://schemas.microsoft.com/office/drawing/2014/main" id="{934A9BD4-E68E-4B49-A1BB-712DD237CBF3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379" name="Rechthoek 24">
                <a:extLst>
                  <a:ext uri="{FF2B5EF4-FFF2-40B4-BE49-F238E27FC236}">
                    <a16:creationId xmlns:a16="http://schemas.microsoft.com/office/drawing/2014/main" id="{AA005117-F46F-4614-8165-DC5C3277999A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80" name="Rechthoek 25">
                <a:extLst>
                  <a:ext uri="{FF2B5EF4-FFF2-40B4-BE49-F238E27FC236}">
                    <a16:creationId xmlns:a16="http://schemas.microsoft.com/office/drawing/2014/main" id="{2FFEF778-63EF-4AEB-AE8E-9A724DCC0DE8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1" name="Tekstvak 26">
                <a:extLst>
                  <a:ext uri="{FF2B5EF4-FFF2-40B4-BE49-F238E27FC236}">
                    <a16:creationId xmlns:a16="http://schemas.microsoft.com/office/drawing/2014/main" id="{0CCBAB9C-D1A6-4173-8429-8A0EA0922B9A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1199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3158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Grafiektype wijzigen</a:t>
                </a:r>
              </a:p>
            </p:txBody>
          </p:sp>
          <p:sp>
            <p:nvSpPr>
              <p:cNvPr id="382" name="Tekstvak 27">
                <a:extLst>
                  <a:ext uri="{FF2B5EF4-FFF2-40B4-BE49-F238E27FC236}">
                    <a16:creationId xmlns:a16="http://schemas.microsoft.com/office/drawing/2014/main" id="{CAAFD04C-9D5C-4FB7-B71A-59398FCB167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1199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3158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Gegevens bewerken</a:t>
                </a:r>
              </a:p>
            </p:txBody>
          </p:sp>
          <p:pic>
            <p:nvPicPr>
              <p:cNvPr id="383" name="Picture 3">
                <a:extLst>
                  <a:ext uri="{FF2B5EF4-FFF2-40B4-BE49-F238E27FC236}">
                    <a16:creationId xmlns:a16="http://schemas.microsoft.com/office/drawing/2014/main" id="{AD957B47-D1C9-48FE-84E5-A90F5EAD4F34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384" name="Groep 29">
                <a:extLst>
                  <a:ext uri="{FF2B5EF4-FFF2-40B4-BE49-F238E27FC236}">
                    <a16:creationId xmlns:a16="http://schemas.microsoft.com/office/drawing/2014/main" id="{C4113766-C094-4E7D-8EF6-7C1D276BF6F3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07" name="Rechthoek 63">
                  <a:extLst>
                    <a:ext uri="{FF2B5EF4-FFF2-40B4-BE49-F238E27FC236}">
                      <a16:creationId xmlns:a16="http://schemas.microsoft.com/office/drawing/2014/main" id="{E3BAF8E1-FDE8-47B5-8F23-38F32F317BD0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7016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08" name="Rechthoek 64">
                  <a:extLst>
                    <a:ext uri="{FF2B5EF4-FFF2-40B4-BE49-F238E27FC236}">
                      <a16:creationId xmlns:a16="http://schemas.microsoft.com/office/drawing/2014/main" id="{DCE7D256-538A-4446-BB7E-5518BB24FA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7016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09" name="Rechthoek 65">
                  <a:extLst>
                    <a:ext uri="{FF2B5EF4-FFF2-40B4-BE49-F238E27FC236}">
                      <a16:creationId xmlns:a16="http://schemas.microsoft.com/office/drawing/2014/main" id="{5CF4F56B-4ABB-4412-B96F-04ACF5FC75C8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7016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385" name="Groep 30">
                <a:extLst>
                  <a:ext uri="{FF2B5EF4-FFF2-40B4-BE49-F238E27FC236}">
                    <a16:creationId xmlns:a16="http://schemas.microsoft.com/office/drawing/2014/main" id="{11081DA6-EE72-4F42-A979-CC7211C22323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386" name="Rechthoek 32">
                  <a:extLst>
                    <a:ext uri="{FF2B5EF4-FFF2-40B4-BE49-F238E27FC236}">
                      <a16:creationId xmlns:a16="http://schemas.microsoft.com/office/drawing/2014/main" id="{A009DC1B-61F1-4654-9B32-557931970963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  <p:grpSp>
              <p:nvGrpSpPr>
                <p:cNvPr id="387" name="Groep 33">
                  <a:extLst>
                    <a:ext uri="{FF2B5EF4-FFF2-40B4-BE49-F238E27FC236}">
                      <a16:creationId xmlns:a16="http://schemas.microsoft.com/office/drawing/2014/main" id="{2C60AAEC-DABC-42FC-83A7-33F346E8A1C8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388" name="Groep 34">
                    <a:extLst>
                      <a:ext uri="{FF2B5EF4-FFF2-40B4-BE49-F238E27FC236}">
                        <a16:creationId xmlns:a16="http://schemas.microsoft.com/office/drawing/2014/main" id="{0BB4E1D5-852C-4565-A33D-56864A6CDE5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393" name="Rechthoek 40">
                      <a:extLst>
                        <a:ext uri="{FF2B5EF4-FFF2-40B4-BE49-F238E27FC236}">
                          <a16:creationId xmlns:a16="http://schemas.microsoft.com/office/drawing/2014/main" id="{A4014D79-6CB9-4DC9-9736-EFB5515AE7C8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nl-NL" sz="16213" noProof="0"/>
                    </a:p>
                  </p:txBody>
                </p:sp>
                <p:grpSp>
                  <p:nvGrpSpPr>
                    <p:cNvPr id="394" name="Groep 41">
                      <a:extLst>
                        <a:ext uri="{FF2B5EF4-FFF2-40B4-BE49-F238E27FC236}">
                          <a16:creationId xmlns:a16="http://schemas.microsoft.com/office/drawing/2014/main" id="{D6034686-3E41-472A-B084-4E1462C1312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00" name="Rechte verbindingslijn 54">
                        <a:extLst>
                          <a:ext uri="{FF2B5EF4-FFF2-40B4-BE49-F238E27FC236}">
                            <a16:creationId xmlns:a16="http://schemas.microsoft.com/office/drawing/2014/main" id="{735BD489-492A-446C-A70D-F96FC5D76FFF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01" name="Rechte verbindingslijn 57">
                        <a:extLst>
                          <a:ext uri="{FF2B5EF4-FFF2-40B4-BE49-F238E27FC236}">
                            <a16:creationId xmlns:a16="http://schemas.microsoft.com/office/drawing/2014/main" id="{D9969D38-3548-4DF5-815F-4F73EB32DE12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02" name="Groep 58">
                        <a:extLst>
                          <a:ext uri="{FF2B5EF4-FFF2-40B4-BE49-F238E27FC236}">
                            <a16:creationId xmlns:a16="http://schemas.microsoft.com/office/drawing/2014/main" id="{CE3DCB13-F63E-4ACB-B59C-46CAF9E573FD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03" name="Rechte verbindingslijn 59">
                          <a:extLst>
                            <a:ext uri="{FF2B5EF4-FFF2-40B4-BE49-F238E27FC236}">
                              <a16:creationId xmlns:a16="http://schemas.microsoft.com/office/drawing/2014/main" id="{168075E9-3C3F-481E-A03E-C71F9E99F045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04" name="Rechte verbindingslijn 60">
                          <a:extLst>
                            <a:ext uri="{FF2B5EF4-FFF2-40B4-BE49-F238E27FC236}">
                              <a16:creationId xmlns:a16="http://schemas.microsoft.com/office/drawing/2014/main" id="{F1223E69-7E15-4CE0-9A7F-0CEF4D3D2F2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05" name="Rechte verbindingslijn 61">
                          <a:extLst>
                            <a:ext uri="{FF2B5EF4-FFF2-40B4-BE49-F238E27FC236}">
                              <a16:creationId xmlns:a16="http://schemas.microsoft.com/office/drawing/2014/main" id="{796A5C2D-4401-46A3-9E8F-51008B5D6A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06" name="Rechte verbindingslijn 62">
                          <a:extLst>
                            <a:ext uri="{FF2B5EF4-FFF2-40B4-BE49-F238E27FC236}">
                              <a16:creationId xmlns:a16="http://schemas.microsoft.com/office/drawing/2014/main" id="{767A414E-12E2-4ED1-852F-7D084BB4184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395" name="Rechte verbindingslijn 42">
                      <a:extLst>
                        <a:ext uri="{FF2B5EF4-FFF2-40B4-BE49-F238E27FC236}">
                          <a16:creationId xmlns:a16="http://schemas.microsoft.com/office/drawing/2014/main" id="{A46391AF-2B1B-4114-B45B-83B29F36F281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396" name="Groep 43">
                      <a:extLst>
                        <a:ext uri="{FF2B5EF4-FFF2-40B4-BE49-F238E27FC236}">
                          <a16:creationId xmlns:a16="http://schemas.microsoft.com/office/drawing/2014/main" id="{913B35B5-33A3-41DB-ADA3-82513A2792CC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397" name="Rechte verbindingslijn 44">
                        <a:extLst>
                          <a:ext uri="{FF2B5EF4-FFF2-40B4-BE49-F238E27FC236}">
                            <a16:creationId xmlns:a16="http://schemas.microsoft.com/office/drawing/2014/main" id="{53A0FDE3-5029-4D2B-AE39-77072F1C5786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398" name="Rechte verbindingslijn 45">
                        <a:extLst>
                          <a:ext uri="{FF2B5EF4-FFF2-40B4-BE49-F238E27FC236}">
                            <a16:creationId xmlns:a16="http://schemas.microsoft.com/office/drawing/2014/main" id="{6EDB4DE3-8EAE-4A9F-839C-612A38F6A08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399" name="Rechte verbindingslijn 46">
                        <a:extLst>
                          <a:ext uri="{FF2B5EF4-FFF2-40B4-BE49-F238E27FC236}">
                            <a16:creationId xmlns:a16="http://schemas.microsoft.com/office/drawing/2014/main" id="{A4D9CE07-6E13-45BD-BE4C-50420D7F603B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389" name="Groep 35">
                    <a:extLst>
                      <a:ext uri="{FF2B5EF4-FFF2-40B4-BE49-F238E27FC236}">
                        <a16:creationId xmlns:a16="http://schemas.microsoft.com/office/drawing/2014/main" id="{4D9D5565-5115-4144-B47A-4BBA9094686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390" name="Rechthoek 36">
                      <a:extLst>
                        <a:ext uri="{FF2B5EF4-FFF2-40B4-BE49-F238E27FC236}">
                          <a16:creationId xmlns:a16="http://schemas.microsoft.com/office/drawing/2014/main" id="{6FDF3E12-3196-4FEB-981B-8372B0EF125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nl-NL" sz="16213" noProof="0"/>
                    </a:p>
                  </p:txBody>
                </p:sp>
                <p:sp>
                  <p:nvSpPr>
                    <p:cNvPr id="391" name="Rechthoek: afgeronde bovenhoeken 37">
                      <a:extLst>
                        <a:ext uri="{FF2B5EF4-FFF2-40B4-BE49-F238E27FC236}">
                          <a16:creationId xmlns:a16="http://schemas.microsoft.com/office/drawing/2014/main" id="{49FD1A47-04B4-4681-8C3C-4ADBABB982B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nl-NL" sz="16213" noProof="0"/>
                    </a:p>
                  </p:txBody>
                </p:sp>
                <p:sp>
                  <p:nvSpPr>
                    <p:cNvPr id="392" name="Gelijkbenige driehoek 39">
                      <a:extLst>
                        <a:ext uri="{FF2B5EF4-FFF2-40B4-BE49-F238E27FC236}">
                          <a16:creationId xmlns:a16="http://schemas.microsoft.com/office/drawing/2014/main" id="{150629DD-6053-43E8-B356-5C6C4E228D52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nl-NL" sz="16213" noProof="0"/>
                    </a:p>
                  </p:txBody>
                </p:sp>
              </p:grpSp>
            </p:grpSp>
          </p:grpSp>
        </p:grpSp>
      </p:grpSp>
      <p:grpSp>
        <p:nvGrpSpPr>
          <p:cNvPr id="413" name="Instructie">
            <a:extLst>
              <a:ext uri="{FF2B5EF4-FFF2-40B4-BE49-F238E27FC236}">
                <a16:creationId xmlns:a16="http://schemas.microsoft.com/office/drawing/2014/main" id="{68AFCB9B-7F75-432E-9160-7C164B29B927}"/>
              </a:ext>
            </a:extLst>
          </p:cNvPr>
          <p:cNvGrpSpPr/>
          <p:nvPr userDrawn="1"/>
        </p:nvGrpSpPr>
        <p:grpSpPr>
          <a:xfrm>
            <a:off x="43467415" y="2"/>
            <a:ext cx="11167742" cy="11035527"/>
            <a:chOff x="12391601" y="0"/>
            <a:chExt cx="3183677" cy="2499789"/>
          </a:xfrm>
        </p:grpSpPr>
        <p:sp>
          <p:nvSpPr>
            <p:cNvPr id="414" name="Rechthoek 70">
              <a:extLst>
                <a:ext uri="{FF2B5EF4-FFF2-40B4-BE49-F238E27FC236}">
                  <a16:creationId xmlns:a16="http://schemas.microsoft.com/office/drawing/2014/main" id="{2EBBABD9-7F82-43E6-A6D7-0F272E8A572F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Grafiek invoegen/veranderen</a:t>
              </a:r>
            </a:p>
          </p:txBody>
        </p:sp>
        <p:sp>
          <p:nvSpPr>
            <p:cNvPr id="415" name="Ovaal 71">
              <a:extLst>
                <a:ext uri="{FF2B5EF4-FFF2-40B4-BE49-F238E27FC236}">
                  <a16:creationId xmlns:a16="http://schemas.microsoft.com/office/drawing/2014/main" id="{309D0D22-FC9C-43D4-8212-1DEBBC68CA78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16" name="Rechte verbindingslijn 72">
              <a:extLst>
                <a:ext uri="{FF2B5EF4-FFF2-40B4-BE49-F238E27FC236}">
                  <a16:creationId xmlns:a16="http://schemas.microsoft.com/office/drawing/2014/main" id="{7E3992A7-AA23-45CA-8D5E-CB79B60EDFC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17" name="Rechte verbindingslijn 73">
              <a:extLst>
                <a:ext uri="{FF2B5EF4-FFF2-40B4-BE49-F238E27FC236}">
                  <a16:creationId xmlns:a16="http://schemas.microsoft.com/office/drawing/2014/main" id="{C2771FE0-721C-4E2A-95D0-FA6AE2EF90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18" name="Rechthoek 74">
              <a:extLst>
                <a:ext uri="{FF2B5EF4-FFF2-40B4-BE49-F238E27FC236}">
                  <a16:creationId xmlns:a16="http://schemas.microsoft.com/office/drawing/2014/main" id="{61A4532D-0E16-4C18-8B14-49EA7F3BE0E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grafiek d.m.v.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knop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Klik op het pictogram om een nieuwe grafiek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19" name="Ovaal 75">
              <a:extLst>
                <a:ext uri="{FF2B5EF4-FFF2-40B4-BE49-F238E27FC236}">
                  <a16:creationId xmlns:a16="http://schemas.microsoft.com/office/drawing/2014/main" id="{0CDF15F8-A88D-4EC1-8947-3960A756906A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20" name="Rechthoek 76">
              <a:extLst>
                <a:ext uri="{FF2B5EF4-FFF2-40B4-BE49-F238E27FC236}">
                  <a16:creationId xmlns:a16="http://schemas.microsoft.com/office/drawing/2014/main" id="{0ED0146D-904B-4673-8E6F-FCBAD8403E01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grafiek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21" name="Groep 77">
              <a:extLst>
                <a:ext uri="{FF2B5EF4-FFF2-40B4-BE49-F238E27FC236}">
                  <a16:creationId xmlns:a16="http://schemas.microsoft.com/office/drawing/2014/main" id="{840DE3CA-AB32-4179-9F54-9F7F38509EE5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27" name="Rechthoek 83">
                <a:extLst>
                  <a:ext uri="{FF2B5EF4-FFF2-40B4-BE49-F238E27FC236}">
                    <a16:creationId xmlns:a16="http://schemas.microsoft.com/office/drawing/2014/main" id="{BB172C15-FF99-452D-B4B8-342A8A46D4BA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428" name="Rechte verbindingslijn 84">
                <a:extLst>
                  <a:ext uri="{FF2B5EF4-FFF2-40B4-BE49-F238E27FC236}">
                    <a16:creationId xmlns:a16="http://schemas.microsoft.com/office/drawing/2014/main" id="{298F9C24-5592-4D67-8508-29F6D056FB09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29" name="Gelijkbenige driehoek 85">
                <a:extLst>
                  <a:ext uri="{FF2B5EF4-FFF2-40B4-BE49-F238E27FC236}">
                    <a16:creationId xmlns:a16="http://schemas.microsoft.com/office/drawing/2014/main" id="{864D7842-5CDC-4CB3-B51D-CF3987D8DEA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22" name="Rechte verbindingslijn 78">
              <a:extLst>
                <a:ext uri="{FF2B5EF4-FFF2-40B4-BE49-F238E27FC236}">
                  <a16:creationId xmlns:a16="http://schemas.microsoft.com/office/drawing/2014/main" id="{E647B0A0-E24F-4069-8CAD-422ACA3A1E7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23" name="Groep 79">
              <a:extLst>
                <a:ext uri="{FF2B5EF4-FFF2-40B4-BE49-F238E27FC236}">
                  <a16:creationId xmlns:a16="http://schemas.microsoft.com/office/drawing/2014/main" id="{903D9559-4BCA-488C-8A02-A13C81868821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24" name="Rechthoek 80">
                <a:extLst>
                  <a:ext uri="{FF2B5EF4-FFF2-40B4-BE49-F238E27FC236}">
                    <a16:creationId xmlns:a16="http://schemas.microsoft.com/office/drawing/2014/main" id="{11273E51-6562-486D-819A-1A616E8704FF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213" noProof="0"/>
              </a:p>
            </p:txBody>
          </p:sp>
          <p:sp>
            <p:nvSpPr>
              <p:cNvPr id="425" name="Rechthoek 81">
                <a:extLst>
                  <a:ext uri="{FF2B5EF4-FFF2-40B4-BE49-F238E27FC236}">
                    <a16:creationId xmlns:a16="http://schemas.microsoft.com/office/drawing/2014/main" id="{9B517314-CE28-4E37-A8F1-3E4924550431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213" noProof="0"/>
              </a:p>
            </p:txBody>
          </p:sp>
          <p:sp>
            <p:nvSpPr>
              <p:cNvPr id="426" name="Rechthoek 82">
                <a:extLst>
                  <a:ext uri="{FF2B5EF4-FFF2-40B4-BE49-F238E27FC236}">
                    <a16:creationId xmlns:a16="http://schemas.microsoft.com/office/drawing/2014/main" id="{29646C08-5840-416B-A1AC-36700BF6CF92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213" noProof="0"/>
              </a:p>
            </p:txBody>
          </p:sp>
        </p:grpSp>
      </p:grp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A6AE8251-BA1F-4B6F-B210-0675BB1002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42373" y="6476685"/>
            <a:ext cx="18171872" cy="1907433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bullet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bullet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grpSp>
        <p:nvGrpSpPr>
          <p:cNvPr id="153" name="Groep 101">
            <a:extLst>
              <a:ext uri="{FF2B5EF4-FFF2-40B4-BE49-F238E27FC236}">
                <a16:creationId xmlns:a16="http://schemas.microsoft.com/office/drawing/2014/main" id="{B07B2DB9-C554-4F5A-8A6B-05AF422F8883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154" name="Rechthoek 102">
              <a:extLst>
                <a:ext uri="{FF2B5EF4-FFF2-40B4-BE49-F238E27FC236}">
                  <a16:creationId xmlns:a16="http://schemas.microsoft.com/office/drawing/2014/main" id="{737D46D0-24CE-4011-B6A7-492605AE3110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155" name="Ovaal 103">
              <a:extLst>
                <a:ext uri="{FF2B5EF4-FFF2-40B4-BE49-F238E27FC236}">
                  <a16:creationId xmlns:a16="http://schemas.microsoft.com/office/drawing/2014/main" id="{34892FDB-5F2E-439E-BFD5-E5FB48CABB52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6" name="Rechte verbindingslijn 104">
              <a:extLst>
                <a:ext uri="{FF2B5EF4-FFF2-40B4-BE49-F238E27FC236}">
                  <a16:creationId xmlns:a16="http://schemas.microsoft.com/office/drawing/2014/main" id="{ECA8D625-3B6A-423E-826C-9F6AAA899F8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7" name="Groep 105">
              <a:extLst>
                <a:ext uri="{FF2B5EF4-FFF2-40B4-BE49-F238E27FC236}">
                  <a16:creationId xmlns:a16="http://schemas.microsoft.com/office/drawing/2014/main" id="{43A45C39-6F05-4C84-92CE-4E34F6D034B8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2" name="Rechthoek 130">
                <a:extLst>
                  <a:ext uri="{FF2B5EF4-FFF2-40B4-BE49-F238E27FC236}">
                    <a16:creationId xmlns:a16="http://schemas.microsoft.com/office/drawing/2014/main" id="{FDCB2FA9-7820-4259-A6C8-18B4ABD55CAC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183" name="Rechte verbindingslijn 131">
                <a:extLst>
                  <a:ext uri="{FF2B5EF4-FFF2-40B4-BE49-F238E27FC236}">
                    <a16:creationId xmlns:a16="http://schemas.microsoft.com/office/drawing/2014/main" id="{6BB55DFD-B9E8-4842-ADAA-2C4FC40E8A4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Rechte verbindingslijn 132">
                <a:extLst>
                  <a:ext uri="{FF2B5EF4-FFF2-40B4-BE49-F238E27FC236}">
                    <a16:creationId xmlns:a16="http://schemas.microsoft.com/office/drawing/2014/main" id="{7B77BBA0-2016-4ADC-A959-5EC38A2C61F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5" name="Rechthoek 133">
                <a:extLst>
                  <a:ext uri="{FF2B5EF4-FFF2-40B4-BE49-F238E27FC236}">
                    <a16:creationId xmlns:a16="http://schemas.microsoft.com/office/drawing/2014/main" id="{57A623FF-4601-475F-B6BA-B290E5EF252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6" name="Groep 134">
                <a:extLst>
                  <a:ext uri="{FF2B5EF4-FFF2-40B4-BE49-F238E27FC236}">
                    <a16:creationId xmlns:a16="http://schemas.microsoft.com/office/drawing/2014/main" id="{FF0906F1-7DD8-4E81-A1BB-EE693FEA58B0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41" name="Groep 175">
                  <a:extLst>
                    <a:ext uri="{FF2B5EF4-FFF2-40B4-BE49-F238E27FC236}">
                      <a16:creationId xmlns:a16="http://schemas.microsoft.com/office/drawing/2014/main" id="{69FF20A8-0C79-4B19-9910-EA16DE7727DF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45" name="Rechte verbindingslijn 179">
                    <a:extLst>
                      <a:ext uri="{FF2B5EF4-FFF2-40B4-BE49-F238E27FC236}">
                        <a16:creationId xmlns:a16="http://schemas.microsoft.com/office/drawing/2014/main" id="{36323E0D-0EBE-42FA-BF3E-6E07F479F5E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6" name="Rechte verbindingslijn 180">
                    <a:extLst>
                      <a:ext uri="{FF2B5EF4-FFF2-40B4-BE49-F238E27FC236}">
                        <a16:creationId xmlns:a16="http://schemas.microsoft.com/office/drawing/2014/main" id="{FF17AFD3-A0A9-4696-8B8B-E92B23CFC0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7" name="Rechte verbindingslijn 181">
                    <a:extLst>
                      <a:ext uri="{FF2B5EF4-FFF2-40B4-BE49-F238E27FC236}">
                        <a16:creationId xmlns:a16="http://schemas.microsoft.com/office/drawing/2014/main" id="{067AF921-A81F-4D66-81AD-4D1C1258F4D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8" name="Rechte verbindingslijn 182">
                    <a:extLst>
                      <a:ext uri="{FF2B5EF4-FFF2-40B4-BE49-F238E27FC236}">
                        <a16:creationId xmlns:a16="http://schemas.microsoft.com/office/drawing/2014/main" id="{84CBA6D6-8FA0-4586-9C13-5D96B6F6D6E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9" name="Rechte verbindingslijn 183">
                    <a:extLst>
                      <a:ext uri="{FF2B5EF4-FFF2-40B4-BE49-F238E27FC236}">
                        <a16:creationId xmlns:a16="http://schemas.microsoft.com/office/drawing/2014/main" id="{B4BE99DF-C042-4814-B8B1-364AD391E95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2" name="Groep 176">
                  <a:extLst>
                    <a:ext uri="{FF2B5EF4-FFF2-40B4-BE49-F238E27FC236}">
                      <a16:creationId xmlns:a16="http://schemas.microsoft.com/office/drawing/2014/main" id="{6A8DD279-8E18-4803-B7E4-27343B8C70C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43" name="Rechthoek 177">
                    <a:extLst>
                      <a:ext uri="{FF2B5EF4-FFF2-40B4-BE49-F238E27FC236}">
                        <a16:creationId xmlns:a16="http://schemas.microsoft.com/office/drawing/2014/main" id="{27E197A7-241D-486E-9241-1ABC6BC5D7D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44" name="Pijl: punthaak 178">
                    <a:extLst>
                      <a:ext uri="{FF2B5EF4-FFF2-40B4-BE49-F238E27FC236}">
                        <a16:creationId xmlns:a16="http://schemas.microsoft.com/office/drawing/2014/main" id="{707E1501-AE42-4EC9-B2BC-7F026B6A085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87" name="Groep 135">
                <a:extLst>
                  <a:ext uri="{FF2B5EF4-FFF2-40B4-BE49-F238E27FC236}">
                    <a16:creationId xmlns:a16="http://schemas.microsoft.com/office/drawing/2014/main" id="{AF0FA085-F85B-4F48-8D2E-C1D6EDE4CEF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32" name="Groep 166">
                  <a:extLst>
                    <a:ext uri="{FF2B5EF4-FFF2-40B4-BE49-F238E27FC236}">
                      <a16:creationId xmlns:a16="http://schemas.microsoft.com/office/drawing/2014/main" id="{0064F9E4-1392-4082-9B97-0ED5859618D6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36" name="Rechte verbindingslijn 170">
                    <a:extLst>
                      <a:ext uri="{FF2B5EF4-FFF2-40B4-BE49-F238E27FC236}">
                        <a16:creationId xmlns:a16="http://schemas.microsoft.com/office/drawing/2014/main" id="{3D24178D-2ED9-4505-A93C-4EC7B20C8F6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7" name="Rechte verbindingslijn 171">
                    <a:extLst>
                      <a:ext uri="{FF2B5EF4-FFF2-40B4-BE49-F238E27FC236}">
                        <a16:creationId xmlns:a16="http://schemas.microsoft.com/office/drawing/2014/main" id="{F7E2A6E6-C380-4A50-9929-C1886F640E9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8" name="Rechte verbindingslijn 172">
                    <a:extLst>
                      <a:ext uri="{FF2B5EF4-FFF2-40B4-BE49-F238E27FC236}">
                        <a16:creationId xmlns:a16="http://schemas.microsoft.com/office/drawing/2014/main" id="{18416647-9058-4103-BE83-50FFA0C4FDE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9" name="Rechte verbindingslijn 173">
                    <a:extLst>
                      <a:ext uri="{FF2B5EF4-FFF2-40B4-BE49-F238E27FC236}">
                        <a16:creationId xmlns:a16="http://schemas.microsoft.com/office/drawing/2014/main" id="{BA8D4F74-C5C7-4420-9B81-1598CA1CC72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0" name="Rechte verbindingslijn 174">
                    <a:extLst>
                      <a:ext uri="{FF2B5EF4-FFF2-40B4-BE49-F238E27FC236}">
                        <a16:creationId xmlns:a16="http://schemas.microsoft.com/office/drawing/2014/main" id="{B8F66B19-01D0-4C31-9125-CEAAF76A686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33" name="Groep 167">
                  <a:extLst>
                    <a:ext uri="{FF2B5EF4-FFF2-40B4-BE49-F238E27FC236}">
                      <a16:creationId xmlns:a16="http://schemas.microsoft.com/office/drawing/2014/main" id="{0CC52204-E61B-49A9-9026-876F8615AA7C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34" name="Rechthoek 168">
                    <a:extLst>
                      <a:ext uri="{FF2B5EF4-FFF2-40B4-BE49-F238E27FC236}">
                        <a16:creationId xmlns:a16="http://schemas.microsoft.com/office/drawing/2014/main" id="{49A2AC66-8C59-4DF2-B968-E9203E29B41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5" name="Pijl: punthaak 169">
                    <a:extLst>
                      <a:ext uri="{FF2B5EF4-FFF2-40B4-BE49-F238E27FC236}">
                        <a16:creationId xmlns:a16="http://schemas.microsoft.com/office/drawing/2014/main" id="{F2A3A900-7A1C-47DC-B6CE-220530BAE8FA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88" name="Rechte verbindingslijn 136">
                <a:extLst>
                  <a:ext uri="{FF2B5EF4-FFF2-40B4-BE49-F238E27FC236}">
                    <a16:creationId xmlns:a16="http://schemas.microsoft.com/office/drawing/2014/main" id="{9F3EA019-B34E-47A5-BFCA-584D9B34D34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89" name="Rechte verbindingslijn 137">
                <a:extLst>
                  <a:ext uri="{FF2B5EF4-FFF2-40B4-BE49-F238E27FC236}">
                    <a16:creationId xmlns:a16="http://schemas.microsoft.com/office/drawing/2014/main" id="{835A1A01-4417-474D-A829-43B77CB5E28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0" name="Groep 138">
                <a:extLst>
                  <a:ext uri="{FF2B5EF4-FFF2-40B4-BE49-F238E27FC236}">
                    <a16:creationId xmlns:a16="http://schemas.microsoft.com/office/drawing/2014/main" id="{B885C1C5-394E-41FB-98AB-7B3ED8EC43A9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5" name="Rechthoek 155">
                  <a:extLst>
                    <a:ext uri="{FF2B5EF4-FFF2-40B4-BE49-F238E27FC236}">
                      <a16:creationId xmlns:a16="http://schemas.microsoft.com/office/drawing/2014/main" id="{3450A321-D798-4BA0-9209-8768B34071EA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6" name="Groep 156">
                  <a:extLst>
                    <a:ext uri="{FF2B5EF4-FFF2-40B4-BE49-F238E27FC236}">
                      <a16:creationId xmlns:a16="http://schemas.microsoft.com/office/drawing/2014/main" id="{3DCFE25D-ECE1-4AED-8C66-A3D5C667A388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7" name="Groep 157">
                    <a:extLst>
                      <a:ext uri="{FF2B5EF4-FFF2-40B4-BE49-F238E27FC236}">
                        <a16:creationId xmlns:a16="http://schemas.microsoft.com/office/drawing/2014/main" id="{C6840F30-3051-4F63-BB1A-165BC8343CD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27" name="Rechte verbindingslijn 161">
                      <a:extLst>
                        <a:ext uri="{FF2B5EF4-FFF2-40B4-BE49-F238E27FC236}">
                          <a16:creationId xmlns:a16="http://schemas.microsoft.com/office/drawing/2014/main" id="{3DB9C978-0A81-4B88-91B9-5EE89822353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8" name="Rechte verbindingslijn 162">
                      <a:extLst>
                        <a:ext uri="{FF2B5EF4-FFF2-40B4-BE49-F238E27FC236}">
                          <a16:creationId xmlns:a16="http://schemas.microsoft.com/office/drawing/2014/main" id="{2975E4EC-019D-4D67-88EB-1F191BA4F7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9" name="Rechte verbindingslijn 163">
                      <a:extLst>
                        <a:ext uri="{FF2B5EF4-FFF2-40B4-BE49-F238E27FC236}">
                          <a16:creationId xmlns:a16="http://schemas.microsoft.com/office/drawing/2014/main" id="{9D7261BA-545C-4FE5-AF62-860DB894288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0" name="Rechte verbindingslijn 164">
                      <a:extLst>
                        <a:ext uri="{FF2B5EF4-FFF2-40B4-BE49-F238E27FC236}">
                          <a16:creationId xmlns:a16="http://schemas.microsoft.com/office/drawing/2014/main" id="{25A781D2-8E4B-4609-B2AA-017643BD719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1" name="Rechte verbindingslijn 165">
                      <a:extLst>
                        <a:ext uri="{FF2B5EF4-FFF2-40B4-BE49-F238E27FC236}">
                          <a16:creationId xmlns:a16="http://schemas.microsoft.com/office/drawing/2014/main" id="{014DD1AE-D119-49A0-A1A6-5D1F86EC069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24" name="Groep 158">
                    <a:extLst>
                      <a:ext uri="{FF2B5EF4-FFF2-40B4-BE49-F238E27FC236}">
                        <a16:creationId xmlns:a16="http://schemas.microsoft.com/office/drawing/2014/main" id="{DB25CBFF-B328-4AF9-8B49-08EBF08918C0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25" name="Rechthoek 159">
                      <a:extLst>
                        <a:ext uri="{FF2B5EF4-FFF2-40B4-BE49-F238E27FC236}">
                          <a16:creationId xmlns:a16="http://schemas.microsoft.com/office/drawing/2014/main" id="{4C5D30B6-1824-4479-9968-F3AB2F12F3F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26" name="Pijl: punthaak 160">
                      <a:extLst>
                        <a:ext uri="{FF2B5EF4-FFF2-40B4-BE49-F238E27FC236}">
                          <a16:creationId xmlns:a16="http://schemas.microsoft.com/office/drawing/2014/main" id="{11B0241C-284C-47D9-8718-DA9AD3A53F62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1" name="Groep 139">
                <a:extLst>
                  <a:ext uri="{FF2B5EF4-FFF2-40B4-BE49-F238E27FC236}">
                    <a16:creationId xmlns:a16="http://schemas.microsoft.com/office/drawing/2014/main" id="{6C827328-E172-45E7-ACFE-44FC4705E944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4" name="Rechthoek 142">
                  <a:extLst>
                    <a:ext uri="{FF2B5EF4-FFF2-40B4-BE49-F238E27FC236}">
                      <a16:creationId xmlns:a16="http://schemas.microsoft.com/office/drawing/2014/main" id="{9B0D82EB-4B36-4770-BC34-326E02C8043D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5" name="Groep 143">
                  <a:extLst>
                    <a:ext uri="{FF2B5EF4-FFF2-40B4-BE49-F238E27FC236}">
                      <a16:creationId xmlns:a16="http://schemas.microsoft.com/office/drawing/2014/main" id="{9FC525C1-A250-43C1-A7EA-D846A73209D5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6" name="Groep 144">
                    <a:extLst>
                      <a:ext uri="{FF2B5EF4-FFF2-40B4-BE49-F238E27FC236}">
                        <a16:creationId xmlns:a16="http://schemas.microsoft.com/office/drawing/2014/main" id="{7504C414-3AF2-468E-9DC4-0D58EDEDE7A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0" name="Rechte verbindingslijn 150">
                      <a:extLst>
                        <a:ext uri="{FF2B5EF4-FFF2-40B4-BE49-F238E27FC236}">
                          <a16:creationId xmlns:a16="http://schemas.microsoft.com/office/drawing/2014/main" id="{B17EA66D-288A-4E5E-A9DF-ABD72A1CB29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1" name="Rechte verbindingslijn 151">
                      <a:extLst>
                        <a:ext uri="{FF2B5EF4-FFF2-40B4-BE49-F238E27FC236}">
                          <a16:creationId xmlns:a16="http://schemas.microsoft.com/office/drawing/2014/main" id="{530F4292-7F58-4609-B9E0-94EEDBEB590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2" name="Rechte verbindingslijn 152">
                      <a:extLst>
                        <a:ext uri="{FF2B5EF4-FFF2-40B4-BE49-F238E27FC236}">
                          <a16:creationId xmlns:a16="http://schemas.microsoft.com/office/drawing/2014/main" id="{C12B51EF-C0AB-4DF5-96DB-0B319522964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153">
                      <a:extLst>
                        <a:ext uri="{FF2B5EF4-FFF2-40B4-BE49-F238E27FC236}">
                          <a16:creationId xmlns:a16="http://schemas.microsoft.com/office/drawing/2014/main" id="{79C11B02-EFB8-407F-A733-152042C2657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154">
                      <a:extLst>
                        <a:ext uri="{FF2B5EF4-FFF2-40B4-BE49-F238E27FC236}">
                          <a16:creationId xmlns:a16="http://schemas.microsoft.com/office/drawing/2014/main" id="{1725CD57-4891-4ED8-9473-039A1CAF2C6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7" name="Groep 147">
                    <a:extLst>
                      <a:ext uri="{FF2B5EF4-FFF2-40B4-BE49-F238E27FC236}">
                        <a16:creationId xmlns:a16="http://schemas.microsoft.com/office/drawing/2014/main" id="{DC3FD518-FF68-4CEA-8E17-96DE9C06B728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8" name="Rechthoek 148">
                      <a:extLst>
                        <a:ext uri="{FF2B5EF4-FFF2-40B4-BE49-F238E27FC236}">
                          <a16:creationId xmlns:a16="http://schemas.microsoft.com/office/drawing/2014/main" id="{65CC7189-5331-49FB-9F33-73BED3E56FB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9" name="Pijl: punthaak 149">
                      <a:extLst>
                        <a:ext uri="{FF2B5EF4-FFF2-40B4-BE49-F238E27FC236}">
                          <a16:creationId xmlns:a16="http://schemas.microsoft.com/office/drawing/2014/main" id="{F7EC566A-8DFD-4EA5-9166-A54CD2286310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2" name="Rechthoek 140">
                <a:extLst>
                  <a:ext uri="{FF2B5EF4-FFF2-40B4-BE49-F238E27FC236}">
                    <a16:creationId xmlns:a16="http://schemas.microsoft.com/office/drawing/2014/main" id="{CA83ECBD-81CE-4371-84CE-92C72A1F90B1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193" name="Rechthoek 141">
                <a:extLst>
                  <a:ext uri="{FF2B5EF4-FFF2-40B4-BE49-F238E27FC236}">
                    <a16:creationId xmlns:a16="http://schemas.microsoft.com/office/drawing/2014/main" id="{10774EEF-6A4F-4E55-9C6E-0FF2EEB2881A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158" name="Rechte verbindingslijn 106">
              <a:extLst>
                <a:ext uri="{FF2B5EF4-FFF2-40B4-BE49-F238E27FC236}">
                  <a16:creationId xmlns:a16="http://schemas.microsoft.com/office/drawing/2014/main" id="{676CE7AB-140D-44A7-9AD5-16AEB684192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9" name="Rechthoek 107">
              <a:extLst>
                <a:ext uri="{FF2B5EF4-FFF2-40B4-BE49-F238E27FC236}">
                  <a16:creationId xmlns:a16="http://schemas.microsoft.com/office/drawing/2014/main" id="{3F0568CC-C7F1-443E-B649-4879AFC467D0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160" name="Ovaal 108">
              <a:extLst>
                <a:ext uri="{FF2B5EF4-FFF2-40B4-BE49-F238E27FC236}">
                  <a16:creationId xmlns:a16="http://schemas.microsoft.com/office/drawing/2014/main" id="{2C6685AA-D5C9-48DF-9657-8E02C6E7BDF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61" name="Rechthoek 109">
              <a:extLst>
                <a:ext uri="{FF2B5EF4-FFF2-40B4-BE49-F238E27FC236}">
                  <a16:creationId xmlns:a16="http://schemas.microsoft.com/office/drawing/2014/main" id="{8D597373-E4FF-4494-B14B-3F88BA35F207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162" name="Ovaal 110">
              <a:extLst>
                <a:ext uri="{FF2B5EF4-FFF2-40B4-BE49-F238E27FC236}">
                  <a16:creationId xmlns:a16="http://schemas.microsoft.com/office/drawing/2014/main" id="{DDE13801-D793-4697-810B-50FCB1551075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3" name="Rechthoek 111">
              <a:extLst>
                <a:ext uri="{FF2B5EF4-FFF2-40B4-BE49-F238E27FC236}">
                  <a16:creationId xmlns:a16="http://schemas.microsoft.com/office/drawing/2014/main" id="{00CBFBFB-B51A-4494-B718-5E937DFAF8ED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64" name="Ovaal 112">
              <a:extLst>
                <a:ext uri="{FF2B5EF4-FFF2-40B4-BE49-F238E27FC236}">
                  <a16:creationId xmlns:a16="http://schemas.microsoft.com/office/drawing/2014/main" id="{B91370E5-2326-414F-A4C9-F957B2F1EB52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5" name="Rechthoek 113">
              <a:extLst>
                <a:ext uri="{FF2B5EF4-FFF2-40B4-BE49-F238E27FC236}">
                  <a16:creationId xmlns:a16="http://schemas.microsoft.com/office/drawing/2014/main" id="{B63E6D8B-F044-4051-B4DE-F6C9672EC15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166" name="Ovaal 114">
              <a:extLst>
                <a:ext uri="{FF2B5EF4-FFF2-40B4-BE49-F238E27FC236}">
                  <a16:creationId xmlns:a16="http://schemas.microsoft.com/office/drawing/2014/main" id="{C6516C02-A104-48D8-AB56-9FEB02184B93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7" name="Rechthoek 115">
              <a:extLst>
                <a:ext uri="{FF2B5EF4-FFF2-40B4-BE49-F238E27FC236}">
                  <a16:creationId xmlns:a16="http://schemas.microsoft.com/office/drawing/2014/main" id="{3C00F6DD-CB7D-4799-9377-322954CD34D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168" name="Rechte verbindingslijn 116">
              <a:extLst>
                <a:ext uri="{FF2B5EF4-FFF2-40B4-BE49-F238E27FC236}">
                  <a16:creationId xmlns:a16="http://schemas.microsoft.com/office/drawing/2014/main" id="{F4FABEF1-63DF-467A-9F9B-BDAF4E2A5E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69" name="Meer informatie">
              <a:extLst>
                <a:ext uri="{FF2B5EF4-FFF2-40B4-BE49-F238E27FC236}">
                  <a16:creationId xmlns:a16="http://schemas.microsoft.com/office/drawing/2014/main" id="{97BD3274-96CB-41A6-AF1B-A896FC96C08A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179" name="Freeform 101">
                <a:extLst>
                  <a:ext uri="{FF2B5EF4-FFF2-40B4-BE49-F238E27FC236}">
                    <a16:creationId xmlns:a16="http://schemas.microsoft.com/office/drawing/2014/main" id="{12CD403E-8B30-4C2F-B166-4755C9756C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180" name="Rechthoek 128">
                <a:extLst>
                  <a:ext uri="{FF2B5EF4-FFF2-40B4-BE49-F238E27FC236}">
                    <a16:creationId xmlns:a16="http://schemas.microsoft.com/office/drawing/2014/main" id="{1ABA16FA-DC70-40E2-BBFC-41933A5FDAB3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81" name="Rechte verbindingslijn 129">
                <a:extLst>
                  <a:ext uri="{FF2B5EF4-FFF2-40B4-BE49-F238E27FC236}">
                    <a16:creationId xmlns:a16="http://schemas.microsoft.com/office/drawing/2014/main" id="{EF013C89-C7F9-417D-B42D-96D3011363B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70" name="Rechthoek 118">
              <a:extLst>
                <a:ext uri="{FF2B5EF4-FFF2-40B4-BE49-F238E27FC236}">
                  <a16:creationId xmlns:a16="http://schemas.microsoft.com/office/drawing/2014/main" id="{241DFE93-4E9D-4CC5-B1CE-BAFF7EF493C1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171" name="Ovaal 119">
              <a:extLst>
                <a:ext uri="{FF2B5EF4-FFF2-40B4-BE49-F238E27FC236}">
                  <a16:creationId xmlns:a16="http://schemas.microsoft.com/office/drawing/2014/main" id="{63B1220F-CADE-402E-8DEA-313E543DEA84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72" name="Rechthoek 120">
              <a:extLst>
                <a:ext uri="{FF2B5EF4-FFF2-40B4-BE49-F238E27FC236}">
                  <a16:creationId xmlns:a16="http://schemas.microsoft.com/office/drawing/2014/main" id="{A0A4D364-DF6D-4C06-87CC-B31D6FF17FDB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73" name="Ovaal 121">
              <a:extLst>
                <a:ext uri="{FF2B5EF4-FFF2-40B4-BE49-F238E27FC236}">
                  <a16:creationId xmlns:a16="http://schemas.microsoft.com/office/drawing/2014/main" id="{795CF184-C15B-4454-87CB-F9DDCBDD683B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74" name="Rechthoek 122">
              <a:extLst>
                <a:ext uri="{FF2B5EF4-FFF2-40B4-BE49-F238E27FC236}">
                  <a16:creationId xmlns:a16="http://schemas.microsoft.com/office/drawing/2014/main" id="{D12B8DDF-C03D-4A58-A293-3873FFF0A403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175" name="Ovaal 123">
              <a:extLst>
                <a:ext uri="{FF2B5EF4-FFF2-40B4-BE49-F238E27FC236}">
                  <a16:creationId xmlns:a16="http://schemas.microsoft.com/office/drawing/2014/main" id="{E883818F-E1F4-48B9-A0E0-D948A338F543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76" name="Rechthoek 124">
              <a:extLst>
                <a:ext uri="{FF2B5EF4-FFF2-40B4-BE49-F238E27FC236}">
                  <a16:creationId xmlns:a16="http://schemas.microsoft.com/office/drawing/2014/main" id="{BF6EC4A1-3A46-4501-8722-FF7D3DBF2232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77" name="Rechthoek 125">
              <a:extLst>
                <a:ext uri="{FF2B5EF4-FFF2-40B4-BE49-F238E27FC236}">
                  <a16:creationId xmlns:a16="http://schemas.microsoft.com/office/drawing/2014/main" id="{0434856F-B0B2-458F-87C7-87233BD64C6C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178" name="Ovaal 126">
              <a:extLst>
                <a:ext uri="{FF2B5EF4-FFF2-40B4-BE49-F238E27FC236}">
                  <a16:creationId xmlns:a16="http://schemas.microsoft.com/office/drawing/2014/main" id="{0A995F4E-2C2F-49E0-B8B2-E29D8D7804BC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  <p:pic>
        <p:nvPicPr>
          <p:cNvPr id="250" name="Afbeelding 249">
            <a:extLst>
              <a:ext uri="{FF2B5EF4-FFF2-40B4-BE49-F238E27FC236}">
                <a16:creationId xmlns:a16="http://schemas.microsoft.com/office/drawing/2014/main" id="{B7333475-27ED-427D-91B5-0755C377F9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0107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ek 10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el 1">
            <a:extLst>
              <a:ext uri="{FF2B5EF4-FFF2-40B4-BE49-F238E27FC236}">
                <a16:creationId xmlns:a16="http://schemas.microsoft.com/office/drawing/2014/main" id="{87553EBB-B807-40D8-8ED2-0562C9B374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9" name="Tijdelijke aanduiding voor tekst 14">
            <a:extLst>
              <a:ext uri="{FF2B5EF4-FFF2-40B4-BE49-F238E27FC236}">
                <a16:creationId xmlns:a16="http://schemas.microsoft.com/office/drawing/2014/main" id="{C209BF21-5280-447B-A53B-6C6365D8189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56" name="Tijdelijke aanduiding voor voettekst 4">
            <a:extLst>
              <a:ext uri="{FF2B5EF4-FFF2-40B4-BE49-F238E27FC236}">
                <a16:creationId xmlns:a16="http://schemas.microsoft.com/office/drawing/2014/main" id="{791AE8B8-F5E6-4264-A78D-66A2883015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57" name="Tijdelijke aanduiding voor dianummer 5">
            <a:extLst>
              <a:ext uri="{FF2B5EF4-FFF2-40B4-BE49-F238E27FC236}">
                <a16:creationId xmlns:a16="http://schemas.microsoft.com/office/drawing/2014/main" id="{2D1565BC-73A2-4D18-B68D-8C2F7ADBE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9" y="27329718"/>
            <a:ext cx="836259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15" name="Tijdelijke aanduiding voor datum 3">
            <a:extLst>
              <a:ext uri="{FF2B5EF4-FFF2-40B4-BE49-F238E27FC236}">
                <a16:creationId xmlns:a16="http://schemas.microsoft.com/office/drawing/2014/main" id="{33EDF0CC-2116-441B-BB74-14D41A6FF9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BA924F38-C553-4513-9DED-E0AB471B3E16}" type="datetime1">
              <a:rPr lang="nl-NL" noProof="0" smtClean="0"/>
              <a:t>26-6-2023</a:t>
            </a:fld>
            <a:endParaRPr lang="nl-NL" noProof="0"/>
          </a:p>
        </p:txBody>
      </p:sp>
      <p:grpSp>
        <p:nvGrpSpPr>
          <p:cNvPr id="70" name="Instructie">
            <a:extLst>
              <a:ext uri="{FF2B5EF4-FFF2-40B4-BE49-F238E27FC236}">
                <a16:creationId xmlns:a16="http://schemas.microsoft.com/office/drawing/2014/main" id="{4F288FD3-05D1-4099-935D-17FF265B8685}"/>
              </a:ext>
            </a:extLst>
          </p:cNvPr>
          <p:cNvGrpSpPr/>
          <p:nvPr userDrawn="1"/>
        </p:nvGrpSpPr>
        <p:grpSpPr>
          <a:xfrm>
            <a:off x="43467415" y="2"/>
            <a:ext cx="11167742" cy="11035527"/>
            <a:chOff x="12391601" y="0"/>
            <a:chExt cx="3183677" cy="2499789"/>
          </a:xfrm>
        </p:grpSpPr>
        <p:sp>
          <p:nvSpPr>
            <p:cNvPr id="71" name="Rechthoek 70">
              <a:extLst>
                <a:ext uri="{FF2B5EF4-FFF2-40B4-BE49-F238E27FC236}">
                  <a16:creationId xmlns:a16="http://schemas.microsoft.com/office/drawing/2014/main" id="{80A633F5-2F23-4231-A702-033EBB96D3D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Grafiek invoegen/veranderen</a:t>
              </a:r>
            </a:p>
          </p:txBody>
        </p:sp>
        <p:sp>
          <p:nvSpPr>
            <p:cNvPr id="72" name="Ovaal 71">
              <a:extLst>
                <a:ext uri="{FF2B5EF4-FFF2-40B4-BE49-F238E27FC236}">
                  <a16:creationId xmlns:a16="http://schemas.microsoft.com/office/drawing/2014/main" id="{F2A3122B-D2BD-4946-9657-4CE3B5618E28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73" name="Rechte verbindingslijn 72">
              <a:extLst>
                <a:ext uri="{FF2B5EF4-FFF2-40B4-BE49-F238E27FC236}">
                  <a16:creationId xmlns:a16="http://schemas.microsoft.com/office/drawing/2014/main" id="{DCD1DFF7-D117-413A-AEC4-5BCD59AA84F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74" name="Rechte verbindingslijn 73">
              <a:extLst>
                <a:ext uri="{FF2B5EF4-FFF2-40B4-BE49-F238E27FC236}">
                  <a16:creationId xmlns:a16="http://schemas.microsoft.com/office/drawing/2014/main" id="{85D795B6-3D3A-4FBC-9B53-59315D88AB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75" name="Rechthoek 74">
              <a:extLst>
                <a:ext uri="{FF2B5EF4-FFF2-40B4-BE49-F238E27FC236}">
                  <a16:creationId xmlns:a16="http://schemas.microsoft.com/office/drawing/2014/main" id="{3951DCB9-1786-4CF0-B268-BBEDCFDAE8CC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grafiek d.m.v.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knop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Klik op het pictogram om een nieuwe grafiek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76" name="Ovaal 75">
              <a:extLst>
                <a:ext uri="{FF2B5EF4-FFF2-40B4-BE49-F238E27FC236}">
                  <a16:creationId xmlns:a16="http://schemas.microsoft.com/office/drawing/2014/main" id="{6CC665F5-C71A-4733-BEF6-36417F67603A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77" name="Rechthoek 76">
              <a:extLst>
                <a:ext uri="{FF2B5EF4-FFF2-40B4-BE49-F238E27FC236}">
                  <a16:creationId xmlns:a16="http://schemas.microsoft.com/office/drawing/2014/main" id="{D10D0AF0-EF84-4B57-9ED2-2840C01EC791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grafiek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78" name="Groep 77">
              <a:extLst>
                <a:ext uri="{FF2B5EF4-FFF2-40B4-BE49-F238E27FC236}">
                  <a16:creationId xmlns:a16="http://schemas.microsoft.com/office/drawing/2014/main" id="{8486C80A-5EFA-4995-AA81-95160B4194FC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84" name="Rechthoek 83">
                <a:extLst>
                  <a:ext uri="{FF2B5EF4-FFF2-40B4-BE49-F238E27FC236}">
                    <a16:creationId xmlns:a16="http://schemas.microsoft.com/office/drawing/2014/main" id="{D2EC9DF5-7074-4347-B6B3-6102F1842D33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85" name="Rechte verbindingslijn 84">
                <a:extLst>
                  <a:ext uri="{FF2B5EF4-FFF2-40B4-BE49-F238E27FC236}">
                    <a16:creationId xmlns:a16="http://schemas.microsoft.com/office/drawing/2014/main" id="{DCCA9796-766E-47B3-8B94-1A5609C11781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86" name="Gelijkbenige driehoek 85">
                <a:extLst>
                  <a:ext uri="{FF2B5EF4-FFF2-40B4-BE49-F238E27FC236}">
                    <a16:creationId xmlns:a16="http://schemas.microsoft.com/office/drawing/2014/main" id="{09C46A8C-F799-41C8-8CDE-348B54FDA05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79" name="Rechte verbindingslijn 78">
              <a:extLst>
                <a:ext uri="{FF2B5EF4-FFF2-40B4-BE49-F238E27FC236}">
                  <a16:creationId xmlns:a16="http://schemas.microsoft.com/office/drawing/2014/main" id="{3CD85963-77B0-41A2-968B-2E82770F651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80" name="Groep 79">
              <a:extLst>
                <a:ext uri="{FF2B5EF4-FFF2-40B4-BE49-F238E27FC236}">
                  <a16:creationId xmlns:a16="http://schemas.microsoft.com/office/drawing/2014/main" id="{66DAA3A2-F4D3-48D5-AF57-B97F1FFAC64D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81" name="Rechthoek 80">
                <a:extLst>
                  <a:ext uri="{FF2B5EF4-FFF2-40B4-BE49-F238E27FC236}">
                    <a16:creationId xmlns:a16="http://schemas.microsoft.com/office/drawing/2014/main" id="{BD49D11A-45BD-4A4A-BF27-06207FA8FA6F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213" noProof="0"/>
              </a:p>
            </p:txBody>
          </p:sp>
          <p:sp>
            <p:nvSpPr>
              <p:cNvPr id="82" name="Rechthoek 81">
                <a:extLst>
                  <a:ext uri="{FF2B5EF4-FFF2-40B4-BE49-F238E27FC236}">
                    <a16:creationId xmlns:a16="http://schemas.microsoft.com/office/drawing/2014/main" id="{76F0992F-AFC9-43DD-ADAB-05884C6BFF57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213" noProof="0"/>
              </a:p>
            </p:txBody>
          </p:sp>
          <p:sp>
            <p:nvSpPr>
              <p:cNvPr id="83" name="Rechthoek 82">
                <a:extLst>
                  <a:ext uri="{FF2B5EF4-FFF2-40B4-BE49-F238E27FC236}">
                    <a16:creationId xmlns:a16="http://schemas.microsoft.com/office/drawing/2014/main" id="{85CFF2E3-9064-43B0-950E-92AE39C359D0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213" noProof="0"/>
              </a:p>
            </p:txBody>
          </p:sp>
        </p:grpSp>
      </p:grpSp>
      <p:sp>
        <p:nvSpPr>
          <p:cNvPr id="87" name="Tijdelijke aanduiding voor grafiek 7">
            <a:extLst>
              <a:ext uri="{FF2B5EF4-FFF2-40B4-BE49-F238E27FC236}">
                <a16:creationId xmlns:a16="http://schemas.microsoft.com/office/drawing/2014/main" id="{A9C16D6A-032C-433A-A11B-424C800889B5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1731100" y="6476684"/>
            <a:ext cx="39293754" cy="19046182"/>
          </a:xfrm>
          <a:solidFill>
            <a:schemeClr val="bg1">
              <a:lumMod val="95000"/>
            </a:schemeClr>
          </a:solidFill>
        </p:spPr>
        <p:txBody>
          <a:bodyPr tIns="1260000"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grafiek in te voegen</a:t>
            </a:r>
          </a:p>
        </p:txBody>
      </p:sp>
      <p:grpSp>
        <p:nvGrpSpPr>
          <p:cNvPr id="88" name="Instructie">
            <a:extLst>
              <a:ext uri="{FF2B5EF4-FFF2-40B4-BE49-F238E27FC236}">
                <a16:creationId xmlns:a16="http://schemas.microsoft.com/office/drawing/2014/main" id="{53F7785A-34C7-452E-A1C1-38DE0432DAD8}"/>
              </a:ext>
            </a:extLst>
          </p:cNvPr>
          <p:cNvGrpSpPr/>
          <p:nvPr userDrawn="1"/>
        </p:nvGrpSpPr>
        <p:grpSpPr>
          <a:xfrm>
            <a:off x="43460797" y="12724935"/>
            <a:ext cx="11167742" cy="11242262"/>
            <a:chOff x="12389714" y="4327164"/>
            <a:chExt cx="3183677" cy="2546619"/>
          </a:xfrm>
        </p:grpSpPr>
        <p:grpSp>
          <p:nvGrpSpPr>
            <p:cNvPr id="89" name="Meer informatie">
              <a:extLst>
                <a:ext uri="{FF2B5EF4-FFF2-40B4-BE49-F238E27FC236}">
                  <a16:creationId xmlns:a16="http://schemas.microsoft.com/office/drawing/2014/main" id="{7DD20BE5-1851-47FD-923A-646B1B5B1285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27" name="Freeform 101">
                <a:extLst>
                  <a:ext uri="{FF2B5EF4-FFF2-40B4-BE49-F238E27FC236}">
                    <a16:creationId xmlns:a16="http://schemas.microsoft.com/office/drawing/2014/main" id="{0561BCF6-F9D6-47A3-87C7-BB97886934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128" name="Rechthoek 67">
                <a:extLst>
                  <a:ext uri="{FF2B5EF4-FFF2-40B4-BE49-F238E27FC236}">
                    <a16:creationId xmlns:a16="http://schemas.microsoft.com/office/drawing/2014/main" id="{A7CB8F7D-F7F0-4620-8F5C-408E2BEA3852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9" name="Rechte verbindingslijn 68">
                <a:extLst>
                  <a:ext uri="{FF2B5EF4-FFF2-40B4-BE49-F238E27FC236}">
                    <a16:creationId xmlns:a16="http://schemas.microsoft.com/office/drawing/2014/main" id="{6BF45B2F-0EAE-4976-9150-40DA9CFFC00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90" name="Rechte verbindingslijn 18">
              <a:extLst>
                <a:ext uri="{FF2B5EF4-FFF2-40B4-BE49-F238E27FC236}">
                  <a16:creationId xmlns:a16="http://schemas.microsoft.com/office/drawing/2014/main" id="{4F5C4FCC-62C4-4880-A55C-720365500A9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1" name="Rechthoek 19">
              <a:extLst>
                <a:ext uri="{FF2B5EF4-FFF2-40B4-BE49-F238E27FC236}">
                  <a16:creationId xmlns:a16="http://schemas.microsoft.com/office/drawing/2014/main" id="{951788F5-C0D5-45F2-8CC2-00E00F35EB2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Data van de Grafiek Bewerken</a:t>
              </a:r>
            </a:p>
          </p:txBody>
        </p:sp>
        <p:sp>
          <p:nvSpPr>
            <p:cNvPr id="92" name="Ovaal 20">
              <a:extLst>
                <a:ext uri="{FF2B5EF4-FFF2-40B4-BE49-F238E27FC236}">
                  <a16:creationId xmlns:a16="http://schemas.microsoft.com/office/drawing/2014/main" id="{B6978B74-6709-4498-941B-E7B011D2A3A9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3" name="Rechte verbindingslijn 21">
              <a:extLst>
                <a:ext uri="{FF2B5EF4-FFF2-40B4-BE49-F238E27FC236}">
                  <a16:creationId xmlns:a16="http://schemas.microsoft.com/office/drawing/2014/main" id="{29FE9002-40FB-4F9E-AD3E-B6F2CDCF644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4" name="Rechthoek 22">
              <a:extLst>
                <a:ext uri="{FF2B5EF4-FFF2-40B4-BE49-F238E27FC236}">
                  <a16:creationId xmlns:a16="http://schemas.microsoft.com/office/drawing/2014/main" id="{84347C12-6C19-4086-A84F-C8094EA6DAD5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3859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eer de grafiek, klik met de rechter muisknop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lang="nl-NL" sz="3859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Gegevens bewerk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.</a:t>
              </a:r>
              <a:endParaRPr lang="nl-NL" sz="3859" b="1" kern="0" noProof="0">
                <a:solidFill>
                  <a:schemeClr val="tx1"/>
                </a:solidFill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95" name="Groep 23">
              <a:extLst>
                <a:ext uri="{FF2B5EF4-FFF2-40B4-BE49-F238E27FC236}">
                  <a16:creationId xmlns:a16="http://schemas.microsoft.com/office/drawing/2014/main" id="{CE33C2F0-2E7D-48D1-8C55-50F538B4194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96" name="Rechthoek 24">
                <a:extLst>
                  <a:ext uri="{FF2B5EF4-FFF2-40B4-BE49-F238E27FC236}">
                    <a16:creationId xmlns:a16="http://schemas.microsoft.com/office/drawing/2014/main" id="{66EC7A12-1A64-447B-868E-060FE4FD08AD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7" name="Rechthoek 25">
                <a:extLst>
                  <a:ext uri="{FF2B5EF4-FFF2-40B4-BE49-F238E27FC236}">
                    <a16:creationId xmlns:a16="http://schemas.microsoft.com/office/drawing/2014/main" id="{DB48068D-635D-4706-91B1-C091089BDA66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98" name="Tekstvak 26">
                <a:extLst>
                  <a:ext uri="{FF2B5EF4-FFF2-40B4-BE49-F238E27FC236}">
                    <a16:creationId xmlns:a16="http://schemas.microsoft.com/office/drawing/2014/main" id="{8D7C2E97-4A43-4FC9-B2B2-25AD92EA2650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1199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3158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Grafiektype wijzigen</a:t>
                </a:r>
              </a:p>
            </p:txBody>
          </p:sp>
          <p:sp>
            <p:nvSpPr>
              <p:cNvPr id="99" name="Tekstvak 27">
                <a:extLst>
                  <a:ext uri="{FF2B5EF4-FFF2-40B4-BE49-F238E27FC236}">
                    <a16:creationId xmlns:a16="http://schemas.microsoft.com/office/drawing/2014/main" id="{B51CB4EF-DE70-44A4-8C17-C490F222C671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1199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3158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Gegevens bewerken</a:t>
                </a:r>
              </a:p>
            </p:txBody>
          </p:sp>
          <p:pic>
            <p:nvPicPr>
              <p:cNvPr id="100" name="Picture 3">
                <a:extLst>
                  <a:ext uri="{FF2B5EF4-FFF2-40B4-BE49-F238E27FC236}">
                    <a16:creationId xmlns:a16="http://schemas.microsoft.com/office/drawing/2014/main" id="{CA1C2B67-981A-4B9F-893B-AF816501B632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01" name="Groep 29">
                <a:extLst>
                  <a:ext uri="{FF2B5EF4-FFF2-40B4-BE49-F238E27FC236}">
                    <a16:creationId xmlns:a16="http://schemas.microsoft.com/office/drawing/2014/main" id="{4BF7F814-165D-43E1-9FD8-9B1CDB53F65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24" name="Rechthoek 63">
                  <a:extLst>
                    <a:ext uri="{FF2B5EF4-FFF2-40B4-BE49-F238E27FC236}">
                      <a16:creationId xmlns:a16="http://schemas.microsoft.com/office/drawing/2014/main" id="{1021EA66-9820-4EF4-A601-75D164B751BF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7016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25" name="Rechthoek 64">
                  <a:extLst>
                    <a:ext uri="{FF2B5EF4-FFF2-40B4-BE49-F238E27FC236}">
                      <a16:creationId xmlns:a16="http://schemas.microsoft.com/office/drawing/2014/main" id="{AFCF2F70-4ACF-4D6F-8021-B18FEC7A021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7016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26" name="Rechthoek 65">
                  <a:extLst>
                    <a:ext uri="{FF2B5EF4-FFF2-40B4-BE49-F238E27FC236}">
                      <a16:creationId xmlns:a16="http://schemas.microsoft.com/office/drawing/2014/main" id="{8588A13F-ED52-4C13-82DB-DD1A0121A75C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7016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102" name="Groep 30">
                <a:extLst>
                  <a:ext uri="{FF2B5EF4-FFF2-40B4-BE49-F238E27FC236}">
                    <a16:creationId xmlns:a16="http://schemas.microsoft.com/office/drawing/2014/main" id="{9CC8A7BB-A217-4E82-83FE-18B0CF6CFDDE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03" name="Rechthoek 32">
                  <a:extLst>
                    <a:ext uri="{FF2B5EF4-FFF2-40B4-BE49-F238E27FC236}">
                      <a16:creationId xmlns:a16="http://schemas.microsoft.com/office/drawing/2014/main" id="{DD1653FA-0745-45C9-AB44-9771CBDFB789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  <p:grpSp>
              <p:nvGrpSpPr>
                <p:cNvPr id="104" name="Groep 33">
                  <a:extLst>
                    <a:ext uri="{FF2B5EF4-FFF2-40B4-BE49-F238E27FC236}">
                      <a16:creationId xmlns:a16="http://schemas.microsoft.com/office/drawing/2014/main" id="{E6934D63-7531-43B5-970A-EA9D1E828E6D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05" name="Groep 34">
                    <a:extLst>
                      <a:ext uri="{FF2B5EF4-FFF2-40B4-BE49-F238E27FC236}">
                        <a16:creationId xmlns:a16="http://schemas.microsoft.com/office/drawing/2014/main" id="{F220610C-864B-41F5-BF47-263678A5654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10" name="Rechthoek 40">
                      <a:extLst>
                        <a:ext uri="{FF2B5EF4-FFF2-40B4-BE49-F238E27FC236}">
                          <a16:creationId xmlns:a16="http://schemas.microsoft.com/office/drawing/2014/main" id="{1560DB24-BB90-4DBF-8F10-5835B8C29D3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nl-NL" sz="16213" noProof="0"/>
                    </a:p>
                  </p:txBody>
                </p:sp>
                <p:grpSp>
                  <p:nvGrpSpPr>
                    <p:cNvPr id="111" name="Groep 41">
                      <a:extLst>
                        <a:ext uri="{FF2B5EF4-FFF2-40B4-BE49-F238E27FC236}">
                          <a16:creationId xmlns:a16="http://schemas.microsoft.com/office/drawing/2014/main" id="{8793715A-8E5D-448A-B251-A757AAC6896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17" name="Rechte verbindingslijn 54">
                        <a:extLst>
                          <a:ext uri="{FF2B5EF4-FFF2-40B4-BE49-F238E27FC236}">
                            <a16:creationId xmlns:a16="http://schemas.microsoft.com/office/drawing/2014/main" id="{379454F7-5D8E-4388-BFCE-20C5192CC396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18" name="Rechte verbindingslijn 57">
                        <a:extLst>
                          <a:ext uri="{FF2B5EF4-FFF2-40B4-BE49-F238E27FC236}">
                            <a16:creationId xmlns:a16="http://schemas.microsoft.com/office/drawing/2014/main" id="{D30E02CE-A815-4EB8-86C8-FCCCFD6F9DC2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19" name="Groep 58">
                        <a:extLst>
                          <a:ext uri="{FF2B5EF4-FFF2-40B4-BE49-F238E27FC236}">
                            <a16:creationId xmlns:a16="http://schemas.microsoft.com/office/drawing/2014/main" id="{30FD823C-0C8A-48E0-BE3D-41D3364B4F84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20" name="Rechte verbindingslijn 59">
                          <a:extLst>
                            <a:ext uri="{FF2B5EF4-FFF2-40B4-BE49-F238E27FC236}">
                              <a16:creationId xmlns:a16="http://schemas.microsoft.com/office/drawing/2014/main" id="{5EE368B5-695E-40BB-8BE4-2D60A5FD31E3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21" name="Rechte verbindingslijn 60">
                          <a:extLst>
                            <a:ext uri="{FF2B5EF4-FFF2-40B4-BE49-F238E27FC236}">
                              <a16:creationId xmlns:a16="http://schemas.microsoft.com/office/drawing/2014/main" id="{08250238-2CEC-4486-86E7-87E49DBC950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22" name="Rechte verbindingslijn 61">
                          <a:extLst>
                            <a:ext uri="{FF2B5EF4-FFF2-40B4-BE49-F238E27FC236}">
                              <a16:creationId xmlns:a16="http://schemas.microsoft.com/office/drawing/2014/main" id="{A2916DE2-51F6-431A-989C-6B50E91300B3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23" name="Rechte verbindingslijn 62">
                          <a:extLst>
                            <a:ext uri="{FF2B5EF4-FFF2-40B4-BE49-F238E27FC236}">
                              <a16:creationId xmlns:a16="http://schemas.microsoft.com/office/drawing/2014/main" id="{D01FABA5-56B1-4508-8520-0970B835AA80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12" name="Rechte verbindingslijn 42">
                      <a:extLst>
                        <a:ext uri="{FF2B5EF4-FFF2-40B4-BE49-F238E27FC236}">
                          <a16:creationId xmlns:a16="http://schemas.microsoft.com/office/drawing/2014/main" id="{829D683C-C761-4019-A267-A69DCA14701D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13" name="Groep 43">
                      <a:extLst>
                        <a:ext uri="{FF2B5EF4-FFF2-40B4-BE49-F238E27FC236}">
                          <a16:creationId xmlns:a16="http://schemas.microsoft.com/office/drawing/2014/main" id="{8FA65023-6EBC-42D9-BB44-8F0DA6161724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14" name="Rechte verbindingslijn 44">
                        <a:extLst>
                          <a:ext uri="{FF2B5EF4-FFF2-40B4-BE49-F238E27FC236}">
                            <a16:creationId xmlns:a16="http://schemas.microsoft.com/office/drawing/2014/main" id="{F69C7BF7-CC6B-4928-82BF-951383DD605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15" name="Rechte verbindingslijn 45">
                        <a:extLst>
                          <a:ext uri="{FF2B5EF4-FFF2-40B4-BE49-F238E27FC236}">
                            <a16:creationId xmlns:a16="http://schemas.microsoft.com/office/drawing/2014/main" id="{72AA022E-334F-402C-BF6A-3F130AABEF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16" name="Rechte verbindingslijn 46">
                        <a:extLst>
                          <a:ext uri="{FF2B5EF4-FFF2-40B4-BE49-F238E27FC236}">
                            <a16:creationId xmlns:a16="http://schemas.microsoft.com/office/drawing/2014/main" id="{9A3B6704-48DA-4BFA-9D19-7DD1FB958A8F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06" name="Groep 35">
                    <a:extLst>
                      <a:ext uri="{FF2B5EF4-FFF2-40B4-BE49-F238E27FC236}">
                        <a16:creationId xmlns:a16="http://schemas.microsoft.com/office/drawing/2014/main" id="{36E216B6-C2D1-4038-8361-EAC40813570A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07" name="Rechthoek 36">
                      <a:extLst>
                        <a:ext uri="{FF2B5EF4-FFF2-40B4-BE49-F238E27FC236}">
                          <a16:creationId xmlns:a16="http://schemas.microsoft.com/office/drawing/2014/main" id="{58ED66A8-E7B6-420C-AB99-3A4926A323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nl-NL" sz="16213" noProof="0"/>
                    </a:p>
                  </p:txBody>
                </p:sp>
                <p:sp>
                  <p:nvSpPr>
                    <p:cNvPr id="108" name="Rechthoek: afgeronde bovenhoeken 37">
                      <a:extLst>
                        <a:ext uri="{FF2B5EF4-FFF2-40B4-BE49-F238E27FC236}">
                          <a16:creationId xmlns:a16="http://schemas.microsoft.com/office/drawing/2014/main" id="{690E7ED7-B57C-4D4D-AA59-D3D7262A464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nl-NL" sz="16213" noProof="0"/>
                    </a:p>
                  </p:txBody>
                </p:sp>
                <p:sp>
                  <p:nvSpPr>
                    <p:cNvPr id="109" name="Gelijkbenige driehoek 39">
                      <a:extLst>
                        <a:ext uri="{FF2B5EF4-FFF2-40B4-BE49-F238E27FC236}">
                          <a16:creationId xmlns:a16="http://schemas.microsoft.com/office/drawing/2014/main" id="{43D322D6-9AC6-4A4D-8837-A6FDD92E98B8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nl-NL" sz="16213" noProof="0"/>
                    </a:p>
                  </p:txBody>
                </p:sp>
              </p:grpSp>
            </p:grpSp>
          </p:grpSp>
        </p:grpSp>
      </p:grp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620E16FE-96C3-4B35-80A7-63041DAC8C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4218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7" grpId="0" animBg="1"/>
    </p:bld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Tabel 50%/5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tabel 8"/>
          <p:cNvSpPr>
            <a:spLocks noGrp="1"/>
          </p:cNvSpPr>
          <p:nvPr>
            <p:ph type="tbl" sz="quarter" idx="15" hasCustomPrompt="1"/>
          </p:nvPr>
        </p:nvSpPr>
        <p:spPr>
          <a:xfrm>
            <a:off x="22853749" y="6476679"/>
            <a:ext cx="18171107" cy="19074347"/>
          </a:xfrm>
          <a:solidFill>
            <a:schemeClr val="bg1">
              <a:lumMod val="95000"/>
            </a:schemeClr>
          </a:solidFill>
        </p:spPr>
        <p:txBody>
          <a:bodyPr tIns="936000" anchor="ctr">
            <a:normAutofit/>
          </a:bodyPr>
          <a:lstStyle>
            <a:lvl1pPr marL="0" indent="0" algn="ctr"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tabel in te voegen</a:t>
            </a:r>
          </a:p>
        </p:txBody>
      </p:sp>
      <p:sp>
        <p:nvSpPr>
          <p:cNvPr id="34" name="Titel 1">
            <a:extLst>
              <a:ext uri="{FF2B5EF4-FFF2-40B4-BE49-F238E27FC236}">
                <a16:creationId xmlns:a16="http://schemas.microsoft.com/office/drawing/2014/main" id="{53A6CE20-1E7A-4F87-96EC-7E964AA913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41" name="Tijdelijke aanduiding voor tekst 14">
            <a:extLst>
              <a:ext uri="{FF2B5EF4-FFF2-40B4-BE49-F238E27FC236}">
                <a16:creationId xmlns:a16="http://schemas.microsoft.com/office/drawing/2014/main" id="{4B035891-3F3E-4E86-9D5A-96D1E3B9D0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58" name="Tijdelijke aanduiding voor voettekst 4">
            <a:extLst>
              <a:ext uri="{FF2B5EF4-FFF2-40B4-BE49-F238E27FC236}">
                <a16:creationId xmlns:a16="http://schemas.microsoft.com/office/drawing/2014/main" id="{0E659B60-CF7C-460A-A879-0DDBF9C652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59" name="Tijdelijke aanduiding voor dianummer 5">
            <a:extLst>
              <a:ext uri="{FF2B5EF4-FFF2-40B4-BE49-F238E27FC236}">
                <a16:creationId xmlns:a16="http://schemas.microsoft.com/office/drawing/2014/main" id="{F1A38C1E-7B15-4C30-B676-08D9095C1F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9" y="27329718"/>
            <a:ext cx="834509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cxnSp>
        <p:nvCxnSpPr>
          <p:cNvPr id="16" name="Rechte verbindingslijn 15">
            <a:extLst>
              <a:ext uri="{FF2B5EF4-FFF2-40B4-BE49-F238E27FC236}">
                <a16:creationId xmlns:a16="http://schemas.microsoft.com/office/drawing/2014/main" id="{FFF3BAD7-1631-43B4-803E-B259FAD5CBD9}"/>
              </a:ext>
            </a:extLst>
          </p:cNvPr>
          <p:cNvCxnSpPr/>
          <p:nvPr userDrawn="1"/>
        </p:nvCxnSpPr>
        <p:spPr>
          <a:xfrm>
            <a:off x="21383618" y="6476683"/>
            <a:ext cx="0" cy="19074342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jdelijke aanduiding voor datum 3">
            <a:extLst>
              <a:ext uri="{FF2B5EF4-FFF2-40B4-BE49-F238E27FC236}">
                <a16:creationId xmlns:a16="http://schemas.microsoft.com/office/drawing/2014/main" id="{1CAF262E-2810-4D1F-9499-C43352B839B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40D1CF22-7FF8-47A0-9650-2B0221F03856}" type="datetime1">
              <a:rPr lang="nl-NL" noProof="0" smtClean="0"/>
              <a:t>26-6-2023</a:t>
            </a:fld>
            <a:endParaRPr lang="nl-NL" noProof="0"/>
          </a:p>
        </p:txBody>
      </p:sp>
      <p:grpSp>
        <p:nvGrpSpPr>
          <p:cNvPr id="280" name="Instructie">
            <a:extLst>
              <a:ext uri="{FF2B5EF4-FFF2-40B4-BE49-F238E27FC236}">
                <a16:creationId xmlns:a16="http://schemas.microsoft.com/office/drawing/2014/main" id="{2B4A24AC-D413-4868-8058-2E7028169D2D}"/>
              </a:ext>
            </a:extLst>
          </p:cNvPr>
          <p:cNvGrpSpPr/>
          <p:nvPr userDrawn="1"/>
        </p:nvGrpSpPr>
        <p:grpSpPr>
          <a:xfrm>
            <a:off x="43467416" y="0"/>
            <a:ext cx="11167745" cy="15089920"/>
            <a:chOff x="12391601" y="0"/>
            <a:chExt cx="3183678" cy="3418198"/>
          </a:xfrm>
        </p:grpSpPr>
        <p:grpSp>
          <p:nvGrpSpPr>
            <p:cNvPr id="281" name="Meer informatie">
              <a:extLst>
                <a:ext uri="{FF2B5EF4-FFF2-40B4-BE49-F238E27FC236}">
                  <a16:creationId xmlns:a16="http://schemas.microsoft.com/office/drawing/2014/main" id="{9243C2AD-1B75-45D3-92DD-DD1FB0FD99FA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03" name="Freeform 101">
                <a:extLst>
                  <a:ext uri="{FF2B5EF4-FFF2-40B4-BE49-F238E27FC236}">
                    <a16:creationId xmlns:a16="http://schemas.microsoft.com/office/drawing/2014/main" id="{2C391DC9-8B6D-4222-8692-E7BF2DBE2E6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304" name="Rechthoek 42">
                <a:extLst>
                  <a:ext uri="{FF2B5EF4-FFF2-40B4-BE49-F238E27FC236}">
                    <a16:creationId xmlns:a16="http://schemas.microsoft.com/office/drawing/2014/main" id="{FF65114B-0581-431C-AB31-34A98540EC8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05" name="Rechte verbindingslijn 43">
                <a:extLst>
                  <a:ext uri="{FF2B5EF4-FFF2-40B4-BE49-F238E27FC236}">
                    <a16:creationId xmlns:a16="http://schemas.microsoft.com/office/drawing/2014/main" id="{A4B20D59-F67D-4587-99BA-C28562D568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82" name="Rechthoek 18">
              <a:extLst>
                <a:ext uri="{FF2B5EF4-FFF2-40B4-BE49-F238E27FC236}">
                  <a16:creationId xmlns:a16="http://schemas.microsoft.com/office/drawing/2014/main" id="{34C62FF0-4CB9-400C-B7FA-3540D4950E77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abel invoegen/veranderen</a:t>
              </a:r>
            </a:p>
          </p:txBody>
        </p:sp>
        <p:sp>
          <p:nvSpPr>
            <p:cNvPr id="283" name="Ovaal 19">
              <a:extLst>
                <a:ext uri="{FF2B5EF4-FFF2-40B4-BE49-F238E27FC236}">
                  <a16:creationId xmlns:a16="http://schemas.microsoft.com/office/drawing/2014/main" id="{124D720E-45AC-4FC1-8F70-1AC44897E716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84" name="Rechte verbindingslijn 20">
              <a:extLst>
                <a:ext uri="{FF2B5EF4-FFF2-40B4-BE49-F238E27FC236}">
                  <a16:creationId xmlns:a16="http://schemas.microsoft.com/office/drawing/2014/main" id="{AA8A2DE9-5C6E-4413-B83A-1258C023B84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85" name="Rechte verbindingslijn 21">
              <a:extLst>
                <a:ext uri="{FF2B5EF4-FFF2-40B4-BE49-F238E27FC236}">
                  <a16:creationId xmlns:a16="http://schemas.microsoft.com/office/drawing/2014/main" id="{1BF8BE4C-0321-40BF-90C0-75FB67D901E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86" name="Rechthoek 22">
              <a:extLst>
                <a:ext uri="{FF2B5EF4-FFF2-40B4-BE49-F238E27FC236}">
                  <a16:creationId xmlns:a16="http://schemas.microsoft.com/office/drawing/2014/main" id="{79699C99-630D-4ECC-AE0D-E9BAF27776BF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tabel d.m.v.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knop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Klik op het pictogram om een nieuwe tabel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87" name="Ovaal 23">
              <a:extLst>
                <a:ext uri="{FF2B5EF4-FFF2-40B4-BE49-F238E27FC236}">
                  <a16:creationId xmlns:a16="http://schemas.microsoft.com/office/drawing/2014/main" id="{C9AFDD1C-F9AE-4720-9E74-A1569AB69780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88" name="Rechthoek 24">
              <a:extLst>
                <a:ext uri="{FF2B5EF4-FFF2-40B4-BE49-F238E27FC236}">
                  <a16:creationId xmlns:a16="http://schemas.microsoft.com/office/drawing/2014/main" id="{7ABBC656-B28C-4130-B400-5607AA4923A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het gewenste aantal rijen en kolommen en klik op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OK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89" name="Groep 25">
              <a:extLst>
                <a:ext uri="{FF2B5EF4-FFF2-40B4-BE49-F238E27FC236}">
                  <a16:creationId xmlns:a16="http://schemas.microsoft.com/office/drawing/2014/main" id="{553EF675-8D57-4CDB-96AE-82482E39D73C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00" name="Rechthoek 38">
                <a:extLst>
                  <a:ext uri="{FF2B5EF4-FFF2-40B4-BE49-F238E27FC236}">
                    <a16:creationId xmlns:a16="http://schemas.microsoft.com/office/drawing/2014/main" id="{2F857859-306A-4329-8E7B-5FBDD9ADE31D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01" name="Rechte verbindingslijn 39">
                <a:extLst>
                  <a:ext uri="{FF2B5EF4-FFF2-40B4-BE49-F238E27FC236}">
                    <a16:creationId xmlns:a16="http://schemas.microsoft.com/office/drawing/2014/main" id="{7DE06FE1-B8EA-41EE-ADC6-40F6101952F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02" name="Gelijkbenige driehoek 40">
                <a:extLst>
                  <a:ext uri="{FF2B5EF4-FFF2-40B4-BE49-F238E27FC236}">
                    <a16:creationId xmlns:a16="http://schemas.microsoft.com/office/drawing/2014/main" id="{7E63E397-3C23-4D4C-AE99-F9FD9BAC558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90" name="Rechte verbindingslijn 26">
              <a:extLst>
                <a:ext uri="{FF2B5EF4-FFF2-40B4-BE49-F238E27FC236}">
                  <a16:creationId xmlns:a16="http://schemas.microsoft.com/office/drawing/2014/main" id="{1375935E-2E70-4D67-92F9-D1CB32E3F7E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91" name="Tabel icoon">
              <a:extLst>
                <a:ext uri="{FF2B5EF4-FFF2-40B4-BE49-F238E27FC236}">
                  <a16:creationId xmlns:a16="http://schemas.microsoft.com/office/drawing/2014/main" id="{F80D05A0-B5F2-45BC-B9FC-0832D5DF8AF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292" name="Rechthoek 28">
                <a:extLst>
                  <a:ext uri="{FF2B5EF4-FFF2-40B4-BE49-F238E27FC236}">
                    <a16:creationId xmlns:a16="http://schemas.microsoft.com/office/drawing/2014/main" id="{70B563BA-0620-491B-B293-056902650706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213" noProof="0"/>
              </a:p>
            </p:txBody>
          </p:sp>
          <p:sp>
            <p:nvSpPr>
              <p:cNvPr id="293" name="Rechthoek 29">
                <a:extLst>
                  <a:ext uri="{FF2B5EF4-FFF2-40B4-BE49-F238E27FC236}">
                    <a16:creationId xmlns:a16="http://schemas.microsoft.com/office/drawing/2014/main" id="{35D5FEF4-598D-4BBF-9B8D-1CA3FB8FFF8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213" noProof="0"/>
              </a:p>
            </p:txBody>
          </p:sp>
          <p:cxnSp>
            <p:nvCxnSpPr>
              <p:cNvPr id="294" name="Rechte verbindingslijn 31">
                <a:extLst>
                  <a:ext uri="{FF2B5EF4-FFF2-40B4-BE49-F238E27FC236}">
                    <a16:creationId xmlns:a16="http://schemas.microsoft.com/office/drawing/2014/main" id="{7BF67D53-15DA-455D-863E-D2527CD34144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5" name="Rechte verbindingslijn 32">
                <a:extLst>
                  <a:ext uri="{FF2B5EF4-FFF2-40B4-BE49-F238E27FC236}">
                    <a16:creationId xmlns:a16="http://schemas.microsoft.com/office/drawing/2014/main" id="{00D1984A-FE07-4608-A2C0-F79191030836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6" name="Rechte verbindingslijn 33">
                <a:extLst>
                  <a:ext uri="{FF2B5EF4-FFF2-40B4-BE49-F238E27FC236}">
                    <a16:creationId xmlns:a16="http://schemas.microsoft.com/office/drawing/2014/main" id="{F80FBDA0-7AC6-415C-96ED-2EA9BDDEA33E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7" name="Rechte verbindingslijn 34">
                <a:extLst>
                  <a:ext uri="{FF2B5EF4-FFF2-40B4-BE49-F238E27FC236}">
                    <a16:creationId xmlns:a16="http://schemas.microsoft.com/office/drawing/2014/main" id="{41F1123B-31D8-4B3F-B094-FC72371A715D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8" name="Rechte verbindingslijn 35">
                <a:extLst>
                  <a:ext uri="{FF2B5EF4-FFF2-40B4-BE49-F238E27FC236}">
                    <a16:creationId xmlns:a16="http://schemas.microsoft.com/office/drawing/2014/main" id="{6A12731C-DD13-4DC0-AC4B-5D001DA969D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99" name="Rechthoek 36">
                <a:extLst>
                  <a:ext uri="{FF2B5EF4-FFF2-40B4-BE49-F238E27FC236}">
                    <a16:creationId xmlns:a16="http://schemas.microsoft.com/office/drawing/2014/main" id="{C065C823-BDF7-4F3A-97CF-917B4D5F0E6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213" noProof="0"/>
              </a:p>
            </p:txBody>
          </p:sp>
        </p:grpSp>
      </p:grpSp>
      <p:sp>
        <p:nvSpPr>
          <p:cNvPr id="131" name="Tijdelijke aanduiding voor tekst 4">
            <a:extLst>
              <a:ext uri="{FF2B5EF4-FFF2-40B4-BE49-F238E27FC236}">
                <a16:creationId xmlns:a16="http://schemas.microsoft.com/office/drawing/2014/main" id="{00E166CD-7E11-4ACD-A2FC-A33D649ED95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42373" y="6476685"/>
            <a:ext cx="18171872" cy="1907433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bullet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bullet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grpSp>
        <p:nvGrpSpPr>
          <p:cNvPr id="132" name="Groep 101">
            <a:extLst>
              <a:ext uri="{FF2B5EF4-FFF2-40B4-BE49-F238E27FC236}">
                <a16:creationId xmlns:a16="http://schemas.microsoft.com/office/drawing/2014/main" id="{567835C9-B128-4388-A905-EC39C38F0441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133" name="Rechthoek 102">
              <a:extLst>
                <a:ext uri="{FF2B5EF4-FFF2-40B4-BE49-F238E27FC236}">
                  <a16:creationId xmlns:a16="http://schemas.microsoft.com/office/drawing/2014/main" id="{A1EC0658-3BB0-4EBF-9091-A1C16CAC101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134" name="Ovaal 103">
              <a:extLst>
                <a:ext uri="{FF2B5EF4-FFF2-40B4-BE49-F238E27FC236}">
                  <a16:creationId xmlns:a16="http://schemas.microsoft.com/office/drawing/2014/main" id="{9BF17C1E-019D-4DD2-9095-5982D00EFB2E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5" name="Rechte verbindingslijn 104">
              <a:extLst>
                <a:ext uri="{FF2B5EF4-FFF2-40B4-BE49-F238E27FC236}">
                  <a16:creationId xmlns:a16="http://schemas.microsoft.com/office/drawing/2014/main" id="{8B774C17-9041-40BA-8A5E-45B2AC79C0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6" name="Groep 105">
              <a:extLst>
                <a:ext uri="{FF2B5EF4-FFF2-40B4-BE49-F238E27FC236}">
                  <a16:creationId xmlns:a16="http://schemas.microsoft.com/office/drawing/2014/main" id="{2413DCA5-AAC1-4C49-AF1A-1BE0D77A5558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61" name="Rechthoek 130">
                <a:extLst>
                  <a:ext uri="{FF2B5EF4-FFF2-40B4-BE49-F238E27FC236}">
                    <a16:creationId xmlns:a16="http://schemas.microsoft.com/office/drawing/2014/main" id="{BBBFDFCF-1B35-4472-8144-07BB29BECE4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162" name="Rechte verbindingslijn 131">
                <a:extLst>
                  <a:ext uri="{FF2B5EF4-FFF2-40B4-BE49-F238E27FC236}">
                    <a16:creationId xmlns:a16="http://schemas.microsoft.com/office/drawing/2014/main" id="{1D6D1223-7E7A-447F-9E2B-CDDC6DF1873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Rechte verbindingslijn 132">
                <a:extLst>
                  <a:ext uri="{FF2B5EF4-FFF2-40B4-BE49-F238E27FC236}">
                    <a16:creationId xmlns:a16="http://schemas.microsoft.com/office/drawing/2014/main" id="{FBEDABC6-8278-4769-B611-FF1331F5011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4" name="Rechthoek 133">
                <a:extLst>
                  <a:ext uri="{FF2B5EF4-FFF2-40B4-BE49-F238E27FC236}">
                    <a16:creationId xmlns:a16="http://schemas.microsoft.com/office/drawing/2014/main" id="{16F083F3-851B-4977-9633-B9F5A6F619CB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65" name="Groep 134">
                <a:extLst>
                  <a:ext uri="{FF2B5EF4-FFF2-40B4-BE49-F238E27FC236}">
                    <a16:creationId xmlns:a16="http://schemas.microsoft.com/office/drawing/2014/main" id="{89C60A64-B359-45DD-9C74-76A52EF0C235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04" name="Groep 175">
                  <a:extLst>
                    <a:ext uri="{FF2B5EF4-FFF2-40B4-BE49-F238E27FC236}">
                      <a16:creationId xmlns:a16="http://schemas.microsoft.com/office/drawing/2014/main" id="{88927F47-5879-43A0-8F81-4DCE1E99E6D8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08" name="Rechte verbindingslijn 179">
                    <a:extLst>
                      <a:ext uri="{FF2B5EF4-FFF2-40B4-BE49-F238E27FC236}">
                        <a16:creationId xmlns:a16="http://schemas.microsoft.com/office/drawing/2014/main" id="{43230C98-0AAF-4558-BFF4-296310BAE8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9" name="Rechte verbindingslijn 180">
                    <a:extLst>
                      <a:ext uri="{FF2B5EF4-FFF2-40B4-BE49-F238E27FC236}">
                        <a16:creationId xmlns:a16="http://schemas.microsoft.com/office/drawing/2014/main" id="{11A08B21-977F-47F9-88E6-D179CA04DCD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0" name="Rechte verbindingslijn 181">
                    <a:extLst>
                      <a:ext uri="{FF2B5EF4-FFF2-40B4-BE49-F238E27FC236}">
                        <a16:creationId xmlns:a16="http://schemas.microsoft.com/office/drawing/2014/main" id="{8AD3D414-8938-49CF-8C4C-0D5EA87C69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1" name="Rechte verbindingslijn 182">
                    <a:extLst>
                      <a:ext uri="{FF2B5EF4-FFF2-40B4-BE49-F238E27FC236}">
                        <a16:creationId xmlns:a16="http://schemas.microsoft.com/office/drawing/2014/main" id="{A4FC1E39-E2CE-4241-AD9D-D78149DD9F1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06" name="Rechte verbindingslijn 183">
                    <a:extLst>
                      <a:ext uri="{FF2B5EF4-FFF2-40B4-BE49-F238E27FC236}">
                        <a16:creationId xmlns:a16="http://schemas.microsoft.com/office/drawing/2014/main" id="{B5ABCD7F-C89B-4AC4-98A1-2A3602A9CE9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5" name="Groep 176">
                  <a:extLst>
                    <a:ext uri="{FF2B5EF4-FFF2-40B4-BE49-F238E27FC236}">
                      <a16:creationId xmlns:a16="http://schemas.microsoft.com/office/drawing/2014/main" id="{8C0CBCED-C746-4BED-BB8C-077E2FB407F8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6" name="Rechthoek 177">
                    <a:extLst>
                      <a:ext uri="{FF2B5EF4-FFF2-40B4-BE49-F238E27FC236}">
                        <a16:creationId xmlns:a16="http://schemas.microsoft.com/office/drawing/2014/main" id="{457E2ECD-5F1C-46E4-8EDC-1950FCEBE6F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7" name="Pijl: punthaak 178">
                    <a:extLst>
                      <a:ext uri="{FF2B5EF4-FFF2-40B4-BE49-F238E27FC236}">
                        <a16:creationId xmlns:a16="http://schemas.microsoft.com/office/drawing/2014/main" id="{14C3D550-F63B-4EFD-9437-DFBEB8D634E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66" name="Groep 135">
                <a:extLst>
                  <a:ext uri="{FF2B5EF4-FFF2-40B4-BE49-F238E27FC236}">
                    <a16:creationId xmlns:a16="http://schemas.microsoft.com/office/drawing/2014/main" id="{2D66C02B-AC8C-4DD9-B0BA-E7415F7FAA0E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95" name="Groep 166">
                  <a:extLst>
                    <a:ext uri="{FF2B5EF4-FFF2-40B4-BE49-F238E27FC236}">
                      <a16:creationId xmlns:a16="http://schemas.microsoft.com/office/drawing/2014/main" id="{63089621-8CD3-4A7E-B49F-3E98199D8233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9" name="Rechte verbindingslijn 170">
                    <a:extLst>
                      <a:ext uri="{FF2B5EF4-FFF2-40B4-BE49-F238E27FC236}">
                        <a16:creationId xmlns:a16="http://schemas.microsoft.com/office/drawing/2014/main" id="{B222357E-96F6-4F02-ACDE-789C4510C0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171">
                    <a:extLst>
                      <a:ext uri="{FF2B5EF4-FFF2-40B4-BE49-F238E27FC236}">
                        <a16:creationId xmlns:a16="http://schemas.microsoft.com/office/drawing/2014/main" id="{3C21D942-0C6D-450B-80E3-0A352500F55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172">
                    <a:extLst>
                      <a:ext uri="{FF2B5EF4-FFF2-40B4-BE49-F238E27FC236}">
                        <a16:creationId xmlns:a16="http://schemas.microsoft.com/office/drawing/2014/main" id="{BE96836E-2C3B-4FDB-AEA0-0D35027CD8C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173">
                    <a:extLst>
                      <a:ext uri="{FF2B5EF4-FFF2-40B4-BE49-F238E27FC236}">
                        <a16:creationId xmlns:a16="http://schemas.microsoft.com/office/drawing/2014/main" id="{AA56C7F1-454C-4A11-AD98-A557E9FE261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174">
                    <a:extLst>
                      <a:ext uri="{FF2B5EF4-FFF2-40B4-BE49-F238E27FC236}">
                        <a16:creationId xmlns:a16="http://schemas.microsoft.com/office/drawing/2014/main" id="{30FAD6E7-EF7B-4889-94B7-22AE7525C15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167">
                  <a:extLst>
                    <a:ext uri="{FF2B5EF4-FFF2-40B4-BE49-F238E27FC236}">
                      <a16:creationId xmlns:a16="http://schemas.microsoft.com/office/drawing/2014/main" id="{EA046BA6-00A4-4295-A460-CCCD1171F13F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168">
                    <a:extLst>
                      <a:ext uri="{FF2B5EF4-FFF2-40B4-BE49-F238E27FC236}">
                        <a16:creationId xmlns:a16="http://schemas.microsoft.com/office/drawing/2014/main" id="{6AD43176-054E-4C6C-9AE0-26004C8E2B31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Pijl: punthaak 169">
                    <a:extLst>
                      <a:ext uri="{FF2B5EF4-FFF2-40B4-BE49-F238E27FC236}">
                        <a16:creationId xmlns:a16="http://schemas.microsoft.com/office/drawing/2014/main" id="{3879E932-3544-4208-A00E-C51AA6F78D4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67" name="Rechte verbindingslijn 136">
                <a:extLst>
                  <a:ext uri="{FF2B5EF4-FFF2-40B4-BE49-F238E27FC236}">
                    <a16:creationId xmlns:a16="http://schemas.microsoft.com/office/drawing/2014/main" id="{35B1AAEB-05FD-4D50-AFC3-5E5954C009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68" name="Rechte verbindingslijn 137">
                <a:extLst>
                  <a:ext uri="{FF2B5EF4-FFF2-40B4-BE49-F238E27FC236}">
                    <a16:creationId xmlns:a16="http://schemas.microsoft.com/office/drawing/2014/main" id="{C4FB6C9C-C5E3-436A-9A8C-09F05847DC5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9" name="Groep 138">
                <a:extLst>
                  <a:ext uri="{FF2B5EF4-FFF2-40B4-BE49-F238E27FC236}">
                    <a16:creationId xmlns:a16="http://schemas.microsoft.com/office/drawing/2014/main" id="{129CEDA6-1545-4C1C-A3E1-F2AF3C3BF9FC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84" name="Rechthoek 155">
                  <a:extLst>
                    <a:ext uri="{FF2B5EF4-FFF2-40B4-BE49-F238E27FC236}">
                      <a16:creationId xmlns:a16="http://schemas.microsoft.com/office/drawing/2014/main" id="{841DC097-5E36-4C64-9283-2BB0777BE43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5" name="Groep 156">
                  <a:extLst>
                    <a:ext uri="{FF2B5EF4-FFF2-40B4-BE49-F238E27FC236}">
                      <a16:creationId xmlns:a16="http://schemas.microsoft.com/office/drawing/2014/main" id="{40AE14A5-58AB-40D8-A8CC-0C5C94E8C6F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86" name="Groep 157">
                    <a:extLst>
                      <a:ext uri="{FF2B5EF4-FFF2-40B4-BE49-F238E27FC236}">
                        <a16:creationId xmlns:a16="http://schemas.microsoft.com/office/drawing/2014/main" id="{B6D9D285-90D2-431F-9E7A-8A701B39441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0" name="Rechte verbindingslijn 161">
                      <a:extLst>
                        <a:ext uri="{FF2B5EF4-FFF2-40B4-BE49-F238E27FC236}">
                          <a16:creationId xmlns:a16="http://schemas.microsoft.com/office/drawing/2014/main" id="{9A870CDF-6C59-4275-9555-7D3347C60AB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1" name="Rechte verbindingslijn 162">
                      <a:extLst>
                        <a:ext uri="{FF2B5EF4-FFF2-40B4-BE49-F238E27FC236}">
                          <a16:creationId xmlns:a16="http://schemas.microsoft.com/office/drawing/2014/main" id="{7E50BD3C-FE61-42F0-9534-A1CDE34341E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2" name="Rechte verbindingslijn 163">
                      <a:extLst>
                        <a:ext uri="{FF2B5EF4-FFF2-40B4-BE49-F238E27FC236}">
                          <a16:creationId xmlns:a16="http://schemas.microsoft.com/office/drawing/2014/main" id="{61385B85-5234-4A41-9923-CABD8165C0B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3" name="Rechte verbindingslijn 164">
                      <a:extLst>
                        <a:ext uri="{FF2B5EF4-FFF2-40B4-BE49-F238E27FC236}">
                          <a16:creationId xmlns:a16="http://schemas.microsoft.com/office/drawing/2014/main" id="{6236E2B2-29F0-4263-81F0-A83E4AADD3D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4" name="Rechte verbindingslijn 165">
                      <a:extLst>
                        <a:ext uri="{FF2B5EF4-FFF2-40B4-BE49-F238E27FC236}">
                          <a16:creationId xmlns:a16="http://schemas.microsoft.com/office/drawing/2014/main" id="{34F45B6F-E663-4C97-800E-860BA67D050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7" name="Groep 158">
                    <a:extLst>
                      <a:ext uri="{FF2B5EF4-FFF2-40B4-BE49-F238E27FC236}">
                        <a16:creationId xmlns:a16="http://schemas.microsoft.com/office/drawing/2014/main" id="{ADC83032-FF34-4D00-86C6-D5F21D296BF4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8" name="Rechthoek 159">
                      <a:extLst>
                        <a:ext uri="{FF2B5EF4-FFF2-40B4-BE49-F238E27FC236}">
                          <a16:creationId xmlns:a16="http://schemas.microsoft.com/office/drawing/2014/main" id="{70902A04-7D59-4C17-98ED-BC310A23E8A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9" name="Pijl: punthaak 160">
                      <a:extLst>
                        <a:ext uri="{FF2B5EF4-FFF2-40B4-BE49-F238E27FC236}">
                          <a16:creationId xmlns:a16="http://schemas.microsoft.com/office/drawing/2014/main" id="{93B4D83B-F085-46CF-973B-2524AD42920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0" name="Groep 139">
                <a:extLst>
                  <a:ext uri="{FF2B5EF4-FFF2-40B4-BE49-F238E27FC236}">
                    <a16:creationId xmlns:a16="http://schemas.microsoft.com/office/drawing/2014/main" id="{37C09F35-B81E-45AB-A0A3-D10C5CB705D3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3" name="Rechthoek 142">
                  <a:extLst>
                    <a:ext uri="{FF2B5EF4-FFF2-40B4-BE49-F238E27FC236}">
                      <a16:creationId xmlns:a16="http://schemas.microsoft.com/office/drawing/2014/main" id="{79A80045-72E1-4D66-85A6-DCE9C4B3641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4" name="Groep 143">
                  <a:extLst>
                    <a:ext uri="{FF2B5EF4-FFF2-40B4-BE49-F238E27FC236}">
                      <a16:creationId xmlns:a16="http://schemas.microsoft.com/office/drawing/2014/main" id="{5DFFF8E4-6A9D-4924-8B4E-A5AAB1937BEC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75" name="Groep 144">
                    <a:extLst>
                      <a:ext uri="{FF2B5EF4-FFF2-40B4-BE49-F238E27FC236}">
                        <a16:creationId xmlns:a16="http://schemas.microsoft.com/office/drawing/2014/main" id="{69D647B7-A8C1-40D3-BF5A-886857789E3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9" name="Rechte verbindingslijn 150">
                      <a:extLst>
                        <a:ext uri="{FF2B5EF4-FFF2-40B4-BE49-F238E27FC236}">
                          <a16:creationId xmlns:a16="http://schemas.microsoft.com/office/drawing/2014/main" id="{D201D167-1A34-4576-9B51-9EF1AA3A4C5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0" name="Rechte verbindingslijn 151">
                      <a:extLst>
                        <a:ext uri="{FF2B5EF4-FFF2-40B4-BE49-F238E27FC236}">
                          <a16:creationId xmlns:a16="http://schemas.microsoft.com/office/drawing/2014/main" id="{3724FC78-B582-43EC-A683-F52EE41CA88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1" name="Rechte verbindingslijn 152">
                      <a:extLst>
                        <a:ext uri="{FF2B5EF4-FFF2-40B4-BE49-F238E27FC236}">
                          <a16:creationId xmlns:a16="http://schemas.microsoft.com/office/drawing/2014/main" id="{DF40A37B-A2E6-4233-A64B-2B159E6E081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153">
                      <a:extLst>
                        <a:ext uri="{FF2B5EF4-FFF2-40B4-BE49-F238E27FC236}">
                          <a16:creationId xmlns:a16="http://schemas.microsoft.com/office/drawing/2014/main" id="{6C86622D-01C6-4049-BD86-69AC95CCC5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154">
                      <a:extLst>
                        <a:ext uri="{FF2B5EF4-FFF2-40B4-BE49-F238E27FC236}">
                          <a16:creationId xmlns:a16="http://schemas.microsoft.com/office/drawing/2014/main" id="{064CF244-2AEB-4EAF-863F-9E538AF59D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6" name="Groep 147">
                    <a:extLst>
                      <a:ext uri="{FF2B5EF4-FFF2-40B4-BE49-F238E27FC236}">
                        <a16:creationId xmlns:a16="http://schemas.microsoft.com/office/drawing/2014/main" id="{27F889A0-DD66-4969-B5F3-49ABF8BA546F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7" name="Rechthoek 148">
                      <a:extLst>
                        <a:ext uri="{FF2B5EF4-FFF2-40B4-BE49-F238E27FC236}">
                          <a16:creationId xmlns:a16="http://schemas.microsoft.com/office/drawing/2014/main" id="{7ECD9D23-35BF-4754-BE5D-20F0F1C7157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78" name="Pijl: punthaak 149">
                      <a:extLst>
                        <a:ext uri="{FF2B5EF4-FFF2-40B4-BE49-F238E27FC236}">
                          <a16:creationId xmlns:a16="http://schemas.microsoft.com/office/drawing/2014/main" id="{0BB7F6B3-64AF-4729-BA23-8F114249C0F2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1" name="Rechthoek 140">
                <a:extLst>
                  <a:ext uri="{FF2B5EF4-FFF2-40B4-BE49-F238E27FC236}">
                    <a16:creationId xmlns:a16="http://schemas.microsoft.com/office/drawing/2014/main" id="{87D45D06-B442-44D0-B66A-F6851F4A04AF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172" name="Rechthoek 141">
                <a:extLst>
                  <a:ext uri="{FF2B5EF4-FFF2-40B4-BE49-F238E27FC236}">
                    <a16:creationId xmlns:a16="http://schemas.microsoft.com/office/drawing/2014/main" id="{02F3FAEE-393B-4E88-91C1-8E64AFE73E01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137" name="Rechte verbindingslijn 106">
              <a:extLst>
                <a:ext uri="{FF2B5EF4-FFF2-40B4-BE49-F238E27FC236}">
                  <a16:creationId xmlns:a16="http://schemas.microsoft.com/office/drawing/2014/main" id="{AFB99157-DA5C-46C3-85E6-82E74922C86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38" name="Rechthoek 107">
              <a:extLst>
                <a:ext uri="{FF2B5EF4-FFF2-40B4-BE49-F238E27FC236}">
                  <a16:creationId xmlns:a16="http://schemas.microsoft.com/office/drawing/2014/main" id="{1EB70A77-4D24-4B1F-A168-9C6633B7B45E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139" name="Ovaal 108">
              <a:extLst>
                <a:ext uri="{FF2B5EF4-FFF2-40B4-BE49-F238E27FC236}">
                  <a16:creationId xmlns:a16="http://schemas.microsoft.com/office/drawing/2014/main" id="{93BDBE71-0899-40AB-9228-23FFBA3F1A3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0" name="Rechthoek 109">
              <a:extLst>
                <a:ext uri="{FF2B5EF4-FFF2-40B4-BE49-F238E27FC236}">
                  <a16:creationId xmlns:a16="http://schemas.microsoft.com/office/drawing/2014/main" id="{C1EC5EDC-3D42-4554-A084-0E0A90DF279B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141" name="Ovaal 110">
              <a:extLst>
                <a:ext uri="{FF2B5EF4-FFF2-40B4-BE49-F238E27FC236}">
                  <a16:creationId xmlns:a16="http://schemas.microsoft.com/office/drawing/2014/main" id="{2CC0A145-60E4-462A-A69C-0C364F924528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2" name="Rechthoek 111">
              <a:extLst>
                <a:ext uri="{FF2B5EF4-FFF2-40B4-BE49-F238E27FC236}">
                  <a16:creationId xmlns:a16="http://schemas.microsoft.com/office/drawing/2014/main" id="{D2CDA024-405E-4DA2-ABD4-ECCE29B0C6D4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43" name="Ovaal 112">
              <a:extLst>
                <a:ext uri="{FF2B5EF4-FFF2-40B4-BE49-F238E27FC236}">
                  <a16:creationId xmlns:a16="http://schemas.microsoft.com/office/drawing/2014/main" id="{2B2E7192-0402-4FCF-AF31-A170B4FF60C8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4" name="Rechthoek 113">
              <a:extLst>
                <a:ext uri="{FF2B5EF4-FFF2-40B4-BE49-F238E27FC236}">
                  <a16:creationId xmlns:a16="http://schemas.microsoft.com/office/drawing/2014/main" id="{73AD1A30-4E0C-427A-991A-1E7E8EBF0CB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145" name="Ovaal 114">
              <a:extLst>
                <a:ext uri="{FF2B5EF4-FFF2-40B4-BE49-F238E27FC236}">
                  <a16:creationId xmlns:a16="http://schemas.microsoft.com/office/drawing/2014/main" id="{D0AB2B93-DF30-4D53-9B11-276748D84CB4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6" name="Rechthoek 115">
              <a:extLst>
                <a:ext uri="{FF2B5EF4-FFF2-40B4-BE49-F238E27FC236}">
                  <a16:creationId xmlns:a16="http://schemas.microsoft.com/office/drawing/2014/main" id="{DCEEC80C-03E8-4ED4-8042-8E160D2DBFA6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147" name="Rechte verbindingslijn 116">
              <a:extLst>
                <a:ext uri="{FF2B5EF4-FFF2-40B4-BE49-F238E27FC236}">
                  <a16:creationId xmlns:a16="http://schemas.microsoft.com/office/drawing/2014/main" id="{CC419C43-526A-4F3A-BC3F-12C32F2C15B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48" name="Meer informatie">
              <a:extLst>
                <a:ext uri="{FF2B5EF4-FFF2-40B4-BE49-F238E27FC236}">
                  <a16:creationId xmlns:a16="http://schemas.microsoft.com/office/drawing/2014/main" id="{8725FBB4-0254-4BC3-9A16-F6F60B765C19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158" name="Freeform 101">
                <a:extLst>
                  <a:ext uri="{FF2B5EF4-FFF2-40B4-BE49-F238E27FC236}">
                    <a16:creationId xmlns:a16="http://schemas.microsoft.com/office/drawing/2014/main" id="{CFBA7BDB-DF1A-4849-A772-762E5DF987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159" name="Rechthoek 128">
                <a:extLst>
                  <a:ext uri="{FF2B5EF4-FFF2-40B4-BE49-F238E27FC236}">
                    <a16:creationId xmlns:a16="http://schemas.microsoft.com/office/drawing/2014/main" id="{3B188684-AC32-4862-A945-C623AB851D52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60" name="Rechte verbindingslijn 129">
                <a:extLst>
                  <a:ext uri="{FF2B5EF4-FFF2-40B4-BE49-F238E27FC236}">
                    <a16:creationId xmlns:a16="http://schemas.microsoft.com/office/drawing/2014/main" id="{5F7DC580-5AEB-4513-B436-052BFA01B91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Rechthoek 118">
              <a:extLst>
                <a:ext uri="{FF2B5EF4-FFF2-40B4-BE49-F238E27FC236}">
                  <a16:creationId xmlns:a16="http://schemas.microsoft.com/office/drawing/2014/main" id="{27C5F8F2-478C-4DA0-BA95-9B1969EA3167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150" name="Ovaal 119">
              <a:extLst>
                <a:ext uri="{FF2B5EF4-FFF2-40B4-BE49-F238E27FC236}">
                  <a16:creationId xmlns:a16="http://schemas.microsoft.com/office/drawing/2014/main" id="{658643E3-49C5-4076-B365-96476588E226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51" name="Rechthoek 120">
              <a:extLst>
                <a:ext uri="{FF2B5EF4-FFF2-40B4-BE49-F238E27FC236}">
                  <a16:creationId xmlns:a16="http://schemas.microsoft.com/office/drawing/2014/main" id="{D0E05C12-73DC-4E9F-8C5B-033E096621A5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52" name="Ovaal 121">
              <a:extLst>
                <a:ext uri="{FF2B5EF4-FFF2-40B4-BE49-F238E27FC236}">
                  <a16:creationId xmlns:a16="http://schemas.microsoft.com/office/drawing/2014/main" id="{81C45B65-BEC7-47D3-877D-B5BE0C066D58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53" name="Rechthoek 122">
              <a:extLst>
                <a:ext uri="{FF2B5EF4-FFF2-40B4-BE49-F238E27FC236}">
                  <a16:creationId xmlns:a16="http://schemas.microsoft.com/office/drawing/2014/main" id="{F3B30888-2411-4496-9C47-716D822BB671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154" name="Ovaal 123">
              <a:extLst>
                <a:ext uri="{FF2B5EF4-FFF2-40B4-BE49-F238E27FC236}">
                  <a16:creationId xmlns:a16="http://schemas.microsoft.com/office/drawing/2014/main" id="{C6FDCC2B-F897-440A-8333-0CE5AD6CD5ED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55" name="Rechthoek 124">
              <a:extLst>
                <a:ext uri="{FF2B5EF4-FFF2-40B4-BE49-F238E27FC236}">
                  <a16:creationId xmlns:a16="http://schemas.microsoft.com/office/drawing/2014/main" id="{05563509-8824-4428-85BB-F0DEE1A81C9A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56" name="Rechthoek 125">
              <a:extLst>
                <a:ext uri="{FF2B5EF4-FFF2-40B4-BE49-F238E27FC236}">
                  <a16:creationId xmlns:a16="http://schemas.microsoft.com/office/drawing/2014/main" id="{3E6957DA-D08C-4A4B-9F06-1D6A08D914AE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157" name="Ovaal 126">
              <a:extLst>
                <a:ext uri="{FF2B5EF4-FFF2-40B4-BE49-F238E27FC236}">
                  <a16:creationId xmlns:a16="http://schemas.microsoft.com/office/drawing/2014/main" id="{5CA2E8CD-A03D-41DF-BCC8-ABB9FFB2E45E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  <p:pic>
        <p:nvPicPr>
          <p:cNvPr id="307" name="Afbeelding 306">
            <a:extLst>
              <a:ext uri="{FF2B5EF4-FFF2-40B4-BE49-F238E27FC236}">
                <a16:creationId xmlns:a16="http://schemas.microsoft.com/office/drawing/2014/main" id="{F7CBAA26-C3F6-4707-A0EF-91BEAF96AB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5401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 10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tabel 8"/>
          <p:cNvSpPr>
            <a:spLocks noGrp="1"/>
          </p:cNvSpPr>
          <p:nvPr>
            <p:ph type="tbl" sz="quarter" idx="15" hasCustomPrompt="1"/>
          </p:nvPr>
        </p:nvSpPr>
        <p:spPr>
          <a:xfrm>
            <a:off x="1731104" y="6504861"/>
            <a:ext cx="39293754" cy="19046172"/>
          </a:xfrm>
          <a:solidFill>
            <a:schemeClr val="bg1">
              <a:lumMod val="95000"/>
            </a:schemeClr>
          </a:solidFill>
        </p:spPr>
        <p:txBody>
          <a:bodyPr tIns="1008000" anchor="ctr">
            <a:normAutofit/>
          </a:bodyPr>
          <a:lstStyle>
            <a:lvl1pPr marL="0" indent="0" algn="ctr"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tabel in te voegen</a:t>
            </a:r>
          </a:p>
        </p:txBody>
      </p:sp>
      <p:sp>
        <p:nvSpPr>
          <p:cNvPr id="31" name="Titel 1">
            <a:extLst>
              <a:ext uri="{FF2B5EF4-FFF2-40B4-BE49-F238E27FC236}">
                <a16:creationId xmlns:a16="http://schemas.microsoft.com/office/drawing/2014/main" id="{BFC323C8-4E0C-4511-852A-2596E66977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8" name="Tijdelijke aanduiding voor tekst 14">
            <a:extLst>
              <a:ext uri="{FF2B5EF4-FFF2-40B4-BE49-F238E27FC236}">
                <a16:creationId xmlns:a16="http://schemas.microsoft.com/office/drawing/2014/main" id="{8DA7C7FA-DB31-4BAA-B073-75C781A5B1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55" name="Tijdelijke aanduiding voor voettekst 4">
            <a:extLst>
              <a:ext uri="{FF2B5EF4-FFF2-40B4-BE49-F238E27FC236}">
                <a16:creationId xmlns:a16="http://schemas.microsoft.com/office/drawing/2014/main" id="{A0E628BA-C2CD-4496-9DDE-D19D860FA9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56" name="Tijdelijke aanduiding voor dianummer 5">
            <a:extLst>
              <a:ext uri="{FF2B5EF4-FFF2-40B4-BE49-F238E27FC236}">
                <a16:creationId xmlns:a16="http://schemas.microsoft.com/office/drawing/2014/main" id="{16FCF319-FDBA-49D0-94CD-E4F09D9A89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7" y="27329718"/>
            <a:ext cx="888118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15" name="Tijdelijke aanduiding voor datum 3">
            <a:extLst>
              <a:ext uri="{FF2B5EF4-FFF2-40B4-BE49-F238E27FC236}">
                <a16:creationId xmlns:a16="http://schemas.microsoft.com/office/drawing/2014/main" id="{9ACCADF5-C9AA-4EE4-AA1D-F3AA86363F4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FEAEE37F-F197-4C21-9E5F-56F480958CE7}" type="datetime1">
              <a:rPr lang="nl-NL" noProof="0" smtClean="0"/>
              <a:t>26-6-2023</a:t>
            </a:fld>
            <a:endParaRPr lang="nl-NL" noProof="0"/>
          </a:p>
        </p:txBody>
      </p:sp>
      <p:grpSp>
        <p:nvGrpSpPr>
          <p:cNvPr id="17" name="Instructie">
            <a:extLst>
              <a:ext uri="{FF2B5EF4-FFF2-40B4-BE49-F238E27FC236}">
                <a16:creationId xmlns:a16="http://schemas.microsoft.com/office/drawing/2014/main" id="{D0346CC6-5714-49A4-B402-7D09C66BA7DC}"/>
              </a:ext>
            </a:extLst>
          </p:cNvPr>
          <p:cNvGrpSpPr/>
          <p:nvPr userDrawn="1"/>
        </p:nvGrpSpPr>
        <p:grpSpPr>
          <a:xfrm>
            <a:off x="43467416" y="0"/>
            <a:ext cx="11167745" cy="15089920"/>
            <a:chOff x="12391601" y="0"/>
            <a:chExt cx="3183678" cy="3418198"/>
          </a:xfrm>
        </p:grpSpPr>
        <p:grpSp>
          <p:nvGrpSpPr>
            <p:cNvPr id="18" name="Meer informatie">
              <a:extLst>
                <a:ext uri="{FF2B5EF4-FFF2-40B4-BE49-F238E27FC236}">
                  <a16:creationId xmlns:a16="http://schemas.microsoft.com/office/drawing/2014/main" id="{A59BD865-259C-4528-9B81-5A4BD0072F22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42" name="Freeform 101">
                <a:extLst>
                  <a:ext uri="{FF2B5EF4-FFF2-40B4-BE49-F238E27FC236}">
                    <a16:creationId xmlns:a16="http://schemas.microsoft.com/office/drawing/2014/main" id="{5D8CEEAB-B360-4AEA-A355-9A60F90296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9762ABFA-1C61-4AB0-A828-E7C6E3F74827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44" name="Rechte verbindingslijn 43">
                <a:extLst>
                  <a:ext uri="{FF2B5EF4-FFF2-40B4-BE49-F238E27FC236}">
                    <a16:creationId xmlns:a16="http://schemas.microsoft.com/office/drawing/2014/main" id="{23FAD46D-568E-49D2-A42C-7494B770004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E040640F-8072-4826-9B23-4EA805C14D62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abel invoegen/veranderen</a:t>
              </a:r>
            </a:p>
          </p:txBody>
        </p:sp>
        <p:sp>
          <p:nvSpPr>
            <p:cNvPr id="20" name="Ovaal 19">
              <a:extLst>
                <a:ext uri="{FF2B5EF4-FFF2-40B4-BE49-F238E27FC236}">
                  <a16:creationId xmlns:a16="http://schemas.microsoft.com/office/drawing/2014/main" id="{61A65DC2-EB15-4A25-8F4B-3D0FCCFF56F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" name="Rechte verbindingslijn 20">
              <a:extLst>
                <a:ext uri="{FF2B5EF4-FFF2-40B4-BE49-F238E27FC236}">
                  <a16:creationId xmlns:a16="http://schemas.microsoft.com/office/drawing/2014/main" id="{C62AE54A-037E-49C1-B6BE-F4CD20DBA8B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2" name="Rechte verbindingslijn 21">
              <a:extLst>
                <a:ext uri="{FF2B5EF4-FFF2-40B4-BE49-F238E27FC236}">
                  <a16:creationId xmlns:a16="http://schemas.microsoft.com/office/drawing/2014/main" id="{280B39BD-F3C4-43B4-9A07-4F651B59484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D2C0F12F-1A93-4418-BA52-07C58BD25ED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tabel d.m.v.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knop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Klik op het pictogram om een nieuwe tabel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4" name="Ovaal 23">
              <a:extLst>
                <a:ext uri="{FF2B5EF4-FFF2-40B4-BE49-F238E27FC236}">
                  <a16:creationId xmlns:a16="http://schemas.microsoft.com/office/drawing/2014/main" id="{5FAB0342-BB5D-4A76-90F3-EAB8DA00321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5" name="Rechthoek 24">
              <a:extLst>
                <a:ext uri="{FF2B5EF4-FFF2-40B4-BE49-F238E27FC236}">
                  <a16:creationId xmlns:a16="http://schemas.microsoft.com/office/drawing/2014/main" id="{2032FDA1-E921-4F09-9866-58C690F9B84F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het gewenste aantal rijen en kolommen en klik op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OK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6" name="Groep 25">
              <a:extLst>
                <a:ext uri="{FF2B5EF4-FFF2-40B4-BE49-F238E27FC236}">
                  <a16:creationId xmlns:a16="http://schemas.microsoft.com/office/drawing/2014/main" id="{053614B9-F09D-4A52-BF22-D148EF9FF325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A629ECB7-22D1-481C-B742-0CB46560111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40" name="Rechte verbindingslijn 39">
                <a:extLst>
                  <a:ext uri="{FF2B5EF4-FFF2-40B4-BE49-F238E27FC236}">
                    <a16:creationId xmlns:a16="http://schemas.microsoft.com/office/drawing/2014/main" id="{F3C55515-F56B-4DC5-8E35-7F18535736B9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1" name="Gelijkbenige driehoek 40">
                <a:extLst>
                  <a:ext uri="{FF2B5EF4-FFF2-40B4-BE49-F238E27FC236}">
                    <a16:creationId xmlns:a16="http://schemas.microsoft.com/office/drawing/2014/main" id="{BDF352CD-1AA1-43E9-9AC9-586BFE30485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7" name="Rechte verbindingslijn 26">
              <a:extLst>
                <a:ext uri="{FF2B5EF4-FFF2-40B4-BE49-F238E27FC236}">
                  <a16:creationId xmlns:a16="http://schemas.microsoft.com/office/drawing/2014/main" id="{8DD3AD9A-78D7-4780-868E-1108CFBD2D8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8" name="Tabel icoon">
              <a:extLst>
                <a:ext uri="{FF2B5EF4-FFF2-40B4-BE49-F238E27FC236}">
                  <a16:creationId xmlns:a16="http://schemas.microsoft.com/office/drawing/2014/main" id="{77722F23-9340-4348-BF03-CCA96C179576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7D54DD3-F79F-47C5-AEAE-C764015A5D9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213" noProof="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A23A456A-C5E3-4D8A-B905-AC67661B538C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213" noProof="0"/>
              </a:p>
            </p:txBody>
          </p:sp>
          <p:cxnSp>
            <p:nvCxnSpPr>
              <p:cNvPr id="32" name="Rechte verbindingslijn 31">
                <a:extLst>
                  <a:ext uri="{FF2B5EF4-FFF2-40B4-BE49-F238E27FC236}">
                    <a16:creationId xmlns:a16="http://schemas.microsoft.com/office/drawing/2014/main" id="{C5839E5F-7E96-417B-8E38-C3EE1FE2ACE3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Rechte verbindingslijn 32">
                <a:extLst>
                  <a:ext uri="{FF2B5EF4-FFF2-40B4-BE49-F238E27FC236}">
                    <a16:creationId xmlns:a16="http://schemas.microsoft.com/office/drawing/2014/main" id="{66AFE308-FDE2-4808-9A4E-A2B97233F5E6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Rechte verbindingslijn 33">
                <a:extLst>
                  <a:ext uri="{FF2B5EF4-FFF2-40B4-BE49-F238E27FC236}">
                    <a16:creationId xmlns:a16="http://schemas.microsoft.com/office/drawing/2014/main" id="{C9884DB6-B915-4200-A819-9B011A3A61C9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Rechte verbindingslijn 34">
                <a:extLst>
                  <a:ext uri="{FF2B5EF4-FFF2-40B4-BE49-F238E27FC236}">
                    <a16:creationId xmlns:a16="http://schemas.microsoft.com/office/drawing/2014/main" id="{FE4535EA-8903-4DFD-BDCE-F4237F1865B7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Rechte verbindingslijn 35">
                <a:extLst>
                  <a:ext uri="{FF2B5EF4-FFF2-40B4-BE49-F238E27FC236}">
                    <a16:creationId xmlns:a16="http://schemas.microsoft.com/office/drawing/2014/main" id="{F1635C72-1564-42E5-ACD8-0A7E4491C70B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CDB83B29-3F8A-475E-BF3D-E21565008D00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213" noProof="0"/>
              </a:p>
            </p:txBody>
          </p:sp>
        </p:grpSp>
      </p:grpSp>
      <p:pic>
        <p:nvPicPr>
          <p:cNvPr id="45" name="Afbeelding 44">
            <a:extLst>
              <a:ext uri="{FF2B5EF4-FFF2-40B4-BE49-F238E27FC236}">
                <a16:creationId xmlns:a16="http://schemas.microsoft.com/office/drawing/2014/main" id="{7F985B6B-526C-49E8-AACA-872BB87435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953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 10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tabel 8"/>
          <p:cNvSpPr>
            <a:spLocks noGrp="1"/>
          </p:cNvSpPr>
          <p:nvPr>
            <p:ph type="tbl" sz="quarter" idx="15" hasCustomPrompt="1"/>
          </p:nvPr>
        </p:nvSpPr>
        <p:spPr>
          <a:xfrm>
            <a:off x="1731110" y="6504861"/>
            <a:ext cx="39293755" cy="19046172"/>
          </a:xfrm>
          <a:solidFill>
            <a:schemeClr val="bg1">
              <a:lumMod val="95000"/>
            </a:schemeClr>
          </a:solidFill>
        </p:spPr>
        <p:txBody>
          <a:bodyPr tIns="1008000" anchor="ctr">
            <a:normAutofit/>
          </a:bodyPr>
          <a:lstStyle>
            <a:lvl1pPr marL="0" indent="0" algn="ctr">
              <a:buNone/>
              <a:defRPr sz="1677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tabel in te voegen</a:t>
            </a:r>
          </a:p>
        </p:txBody>
      </p:sp>
      <p:sp>
        <p:nvSpPr>
          <p:cNvPr id="31" name="Titel 1">
            <a:extLst>
              <a:ext uri="{FF2B5EF4-FFF2-40B4-BE49-F238E27FC236}">
                <a16:creationId xmlns:a16="http://schemas.microsoft.com/office/drawing/2014/main" id="{BFC323C8-4E0C-4511-852A-2596E66977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78" y="1766065"/>
            <a:ext cx="32281087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8" name="Tijdelijke aanduiding voor tekst 14">
            <a:extLst>
              <a:ext uri="{FF2B5EF4-FFF2-40B4-BE49-F238E27FC236}">
                <a16:creationId xmlns:a16="http://schemas.microsoft.com/office/drawing/2014/main" id="{8DA7C7FA-DB31-4BAA-B073-75C781A5B1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78" y="3469430"/>
            <a:ext cx="32281087" cy="1195424"/>
          </a:xfrm>
        </p:spPr>
        <p:txBody>
          <a:bodyPr>
            <a:noAutofit/>
          </a:bodyPr>
          <a:lstStyle>
            <a:lvl1pPr marL="0" indent="0">
              <a:buNone/>
              <a:defRPr sz="2794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55" name="Tijdelijke aanduiding voor voettekst 4">
            <a:extLst>
              <a:ext uri="{FF2B5EF4-FFF2-40B4-BE49-F238E27FC236}">
                <a16:creationId xmlns:a16="http://schemas.microsoft.com/office/drawing/2014/main" id="{A0E628BA-C2CD-4496-9DDE-D19D860FA9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7" y="27345278"/>
            <a:ext cx="18027561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56" name="Tijdelijke aanduiding voor dianummer 5">
            <a:extLst>
              <a:ext uri="{FF2B5EF4-FFF2-40B4-BE49-F238E27FC236}">
                <a16:creationId xmlns:a16="http://schemas.microsoft.com/office/drawing/2014/main" id="{16FCF319-FDBA-49D0-94CD-E4F09D9A89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3" y="27329717"/>
            <a:ext cx="888115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15" name="Tijdelijke aanduiding voor datum 3">
            <a:extLst>
              <a:ext uri="{FF2B5EF4-FFF2-40B4-BE49-F238E27FC236}">
                <a16:creationId xmlns:a16="http://schemas.microsoft.com/office/drawing/2014/main" id="{9ACCADF5-C9AA-4EE4-AA1D-F3AA86363F4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503"/>
            <a:ext cx="9622631" cy="1000848"/>
          </a:xfrm>
        </p:spPr>
        <p:txBody>
          <a:bodyPr/>
          <a:lstStyle/>
          <a:p>
            <a:fld id="{FEAEE37F-F197-4C21-9E5F-56F480958CE7}" type="datetime1">
              <a:rPr lang="nl-NL" noProof="0" smtClean="0"/>
              <a:t>26-6-2023</a:t>
            </a:fld>
            <a:endParaRPr lang="nl-NL" noProof="0"/>
          </a:p>
        </p:txBody>
      </p:sp>
      <p:grpSp>
        <p:nvGrpSpPr>
          <p:cNvPr id="17" name="Instructie">
            <a:extLst>
              <a:ext uri="{FF2B5EF4-FFF2-40B4-BE49-F238E27FC236}">
                <a16:creationId xmlns:a16="http://schemas.microsoft.com/office/drawing/2014/main" id="{D0346CC6-5714-49A4-B402-7D09C66BA7DC}"/>
              </a:ext>
            </a:extLst>
          </p:cNvPr>
          <p:cNvGrpSpPr/>
          <p:nvPr userDrawn="1"/>
        </p:nvGrpSpPr>
        <p:grpSpPr>
          <a:xfrm>
            <a:off x="43467422" y="1"/>
            <a:ext cx="11167745" cy="15089918"/>
            <a:chOff x="12391601" y="0"/>
            <a:chExt cx="3183678" cy="3418198"/>
          </a:xfrm>
        </p:grpSpPr>
        <p:grpSp>
          <p:nvGrpSpPr>
            <p:cNvPr id="18" name="Meer informatie">
              <a:extLst>
                <a:ext uri="{FF2B5EF4-FFF2-40B4-BE49-F238E27FC236}">
                  <a16:creationId xmlns:a16="http://schemas.microsoft.com/office/drawing/2014/main" id="{A59BD865-259C-4528-9B81-5A4BD0072F22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42" name="Freeform 101">
                <a:extLst>
                  <a:ext uri="{FF2B5EF4-FFF2-40B4-BE49-F238E27FC236}">
                    <a16:creationId xmlns:a16="http://schemas.microsoft.com/office/drawing/2014/main" id="{5D8CEEAB-B360-4AEA-A355-9A60F90296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537" noProof="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9762ABFA-1C61-4AB0-A828-E7C6E3F74827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1277217" eaLnBrk="1" fontAlgn="auto" latinLnBrk="0" hangingPunct="1">
                  <a:lnSpc>
                    <a:spcPct val="90000"/>
                  </a:lnSpc>
                  <a:spcBef>
                    <a:spcPts val="839"/>
                  </a:spcBef>
                  <a:spcAft>
                    <a:spcPts val="839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537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537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537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537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1537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44" name="Rechte verbindingslijn 43">
                <a:extLst>
                  <a:ext uri="{FF2B5EF4-FFF2-40B4-BE49-F238E27FC236}">
                    <a16:creationId xmlns:a16="http://schemas.microsoft.com/office/drawing/2014/main" id="{23FAD46D-568E-49D2-A42C-7494B770004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E040640F-8072-4826-9B23-4EA805C14D62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1277217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957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abel invoegen/veranderen</a:t>
              </a:r>
            </a:p>
          </p:txBody>
        </p:sp>
        <p:sp>
          <p:nvSpPr>
            <p:cNvPr id="20" name="Ovaal 19">
              <a:extLst>
                <a:ext uri="{FF2B5EF4-FFF2-40B4-BE49-F238E27FC236}">
                  <a16:creationId xmlns:a16="http://schemas.microsoft.com/office/drawing/2014/main" id="{61A65DC2-EB15-4A25-8F4B-3D0FCCFF56F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" name="Rechte verbindingslijn 20">
              <a:extLst>
                <a:ext uri="{FF2B5EF4-FFF2-40B4-BE49-F238E27FC236}">
                  <a16:creationId xmlns:a16="http://schemas.microsoft.com/office/drawing/2014/main" id="{C62AE54A-037E-49C1-B6BE-F4CD20DBA8B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2" name="Rechte verbindingslijn 21">
              <a:extLst>
                <a:ext uri="{FF2B5EF4-FFF2-40B4-BE49-F238E27FC236}">
                  <a16:creationId xmlns:a16="http://schemas.microsoft.com/office/drawing/2014/main" id="{280B39BD-F3C4-43B4-9A07-4F651B59484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D2C0F12F-1A93-4418-BA52-07C58BD25ED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1277217" eaLnBrk="1" fontAlgn="auto" latinLnBrk="0" hangingPunct="1">
                <a:lnSpc>
                  <a:spcPct val="90000"/>
                </a:lnSpc>
                <a:spcBef>
                  <a:spcPts val="839"/>
                </a:spcBef>
                <a:spcAft>
                  <a:spcPts val="839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tabel d.m.v. de 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knop</a:t>
              </a: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Klik op het pictogram om een nieuwe tabel in te voegen. </a:t>
              </a:r>
              <a:r>
                <a:rPr kumimoji="0" lang="nl-NL" sz="1537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153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4" name="Ovaal 23">
              <a:extLst>
                <a:ext uri="{FF2B5EF4-FFF2-40B4-BE49-F238E27FC236}">
                  <a16:creationId xmlns:a16="http://schemas.microsoft.com/office/drawing/2014/main" id="{5FAB0342-BB5D-4A76-90F3-EAB8DA00321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5" name="Rechthoek 24">
              <a:extLst>
                <a:ext uri="{FF2B5EF4-FFF2-40B4-BE49-F238E27FC236}">
                  <a16:creationId xmlns:a16="http://schemas.microsoft.com/office/drawing/2014/main" id="{2032FDA1-E921-4F09-9866-58C690F9B84F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1277217" eaLnBrk="1" fontAlgn="auto" latinLnBrk="0" hangingPunct="1">
                <a:lnSpc>
                  <a:spcPct val="90000"/>
                </a:lnSpc>
                <a:spcBef>
                  <a:spcPts val="839"/>
                </a:spcBef>
                <a:spcAft>
                  <a:spcPts val="839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het gewenste aantal rijen en kolommen en klik op 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OK´</a:t>
              </a: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537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6" name="Groep 25">
              <a:extLst>
                <a:ext uri="{FF2B5EF4-FFF2-40B4-BE49-F238E27FC236}">
                  <a16:creationId xmlns:a16="http://schemas.microsoft.com/office/drawing/2014/main" id="{053614B9-F09D-4A52-BF22-D148EF9FF325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A629ECB7-22D1-481C-B742-0CB46560111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839"/>
                  </a:spcBef>
                  <a:spcAft>
                    <a:spcPts val="839"/>
                  </a:spcAft>
                </a:pPr>
                <a:r>
                  <a:rPr lang="nl-NL" sz="1117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40" name="Rechte verbindingslijn 39">
                <a:extLst>
                  <a:ext uri="{FF2B5EF4-FFF2-40B4-BE49-F238E27FC236}">
                    <a16:creationId xmlns:a16="http://schemas.microsoft.com/office/drawing/2014/main" id="{F3C55515-F56B-4DC5-8E35-7F18535736B9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1" name="Gelijkbenige driehoek 40">
                <a:extLst>
                  <a:ext uri="{FF2B5EF4-FFF2-40B4-BE49-F238E27FC236}">
                    <a16:creationId xmlns:a16="http://schemas.microsoft.com/office/drawing/2014/main" id="{BDF352CD-1AA1-43E9-9AC9-586BFE30485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398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7" name="Rechte verbindingslijn 26">
              <a:extLst>
                <a:ext uri="{FF2B5EF4-FFF2-40B4-BE49-F238E27FC236}">
                  <a16:creationId xmlns:a16="http://schemas.microsoft.com/office/drawing/2014/main" id="{8DD3AD9A-78D7-4780-868E-1108CFBD2D8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8" name="Tabel icoon">
              <a:extLst>
                <a:ext uri="{FF2B5EF4-FFF2-40B4-BE49-F238E27FC236}">
                  <a16:creationId xmlns:a16="http://schemas.microsoft.com/office/drawing/2014/main" id="{77722F23-9340-4348-BF03-CCA96C179576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7D54DD3-F79F-47C5-AEAE-C764015A5D9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2515" noProof="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A23A456A-C5E3-4D8A-B905-AC67661B538C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2515" noProof="0"/>
              </a:p>
            </p:txBody>
          </p:sp>
          <p:cxnSp>
            <p:nvCxnSpPr>
              <p:cNvPr id="32" name="Rechte verbindingslijn 31">
                <a:extLst>
                  <a:ext uri="{FF2B5EF4-FFF2-40B4-BE49-F238E27FC236}">
                    <a16:creationId xmlns:a16="http://schemas.microsoft.com/office/drawing/2014/main" id="{C5839E5F-7E96-417B-8E38-C3EE1FE2ACE3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Rechte verbindingslijn 32">
                <a:extLst>
                  <a:ext uri="{FF2B5EF4-FFF2-40B4-BE49-F238E27FC236}">
                    <a16:creationId xmlns:a16="http://schemas.microsoft.com/office/drawing/2014/main" id="{66AFE308-FDE2-4808-9A4E-A2B97233F5E6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Rechte verbindingslijn 33">
                <a:extLst>
                  <a:ext uri="{FF2B5EF4-FFF2-40B4-BE49-F238E27FC236}">
                    <a16:creationId xmlns:a16="http://schemas.microsoft.com/office/drawing/2014/main" id="{C9884DB6-B915-4200-A819-9B011A3A61C9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Rechte verbindingslijn 34">
                <a:extLst>
                  <a:ext uri="{FF2B5EF4-FFF2-40B4-BE49-F238E27FC236}">
                    <a16:creationId xmlns:a16="http://schemas.microsoft.com/office/drawing/2014/main" id="{FE4535EA-8903-4DFD-BDCE-F4237F1865B7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Rechte verbindingslijn 35">
                <a:extLst>
                  <a:ext uri="{FF2B5EF4-FFF2-40B4-BE49-F238E27FC236}">
                    <a16:creationId xmlns:a16="http://schemas.microsoft.com/office/drawing/2014/main" id="{F1635C72-1564-42E5-ACD8-0A7E4491C70B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CDB83B29-3F8A-475E-BF3D-E21565008D00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2515" noProof="0"/>
              </a:p>
            </p:txBody>
          </p:sp>
        </p:grpSp>
      </p:grpSp>
      <p:pic>
        <p:nvPicPr>
          <p:cNvPr id="45" name="Afbeelding 44">
            <a:extLst>
              <a:ext uri="{FF2B5EF4-FFF2-40B4-BE49-F238E27FC236}">
                <a16:creationId xmlns:a16="http://schemas.microsoft.com/office/drawing/2014/main" id="{7F985B6B-526C-49E8-AACA-872BB87435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5" y="831727"/>
            <a:ext cx="9249575" cy="4281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8255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id="{C99B9AD0-B92A-4C48-A52A-FAE4B74811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18" name="Tijdelijke aanduiding voor tekst 14">
            <a:extLst>
              <a:ext uri="{FF2B5EF4-FFF2-40B4-BE49-F238E27FC236}">
                <a16:creationId xmlns:a16="http://schemas.microsoft.com/office/drawing/2014/main" id="{3EAC74E4-7359-43B9-BD46-0CBB8C9D38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21" name="Tijdelijke aanduiding voor voettekst 4">
            <a:extLst>
              <a:ext uri="{FF2B5EF4-FFF2-40B4-BE49-F238E27FC236}">
                <a16:creationId xmlns:a16="http://schemas.microsoft.com/office/drawing/2014/main" id="{A5D9591E-4C98-475E-B8D6-C3C11099BF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22" name="Tijdelijke aanduiding voor dianummer 5">
            <a:extLst>
              <a:ext uri="{FF2B5EF4-FFF2-40B4-BE49-F238E27FC236}">
                <a16:creationId xmlns:a16="http://schemas.microsoft.com/office/drawing/2014/main" id="{943A493B-8731-4825-81F9-F1B852A8C7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8" y="27329718"/>
            <a:ext cx="863059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19" name="Tijdelijke aanduiding voor datum 3">
            <a:extLst>
              <a:ext uri="{FF2B5EF4-FFF2-40B4-BE49-F238E27FC236}">
                <a16:creationId xmlns:a16="http://schemas.microsoft.com/office/drawing/2014/main" id="{7AF0D1FE-8D2B-44E6-B3D5-0C8F9474C79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1F9EDFB3-D3AA-4F39-950A-ED89DC69A420}" type="datetime1">
              <a:rPr lang="nl-NL" noProof="0" smtClean="0"/>
              <a:t>26-6-2023</a:t>
            </a:fld>
            <a:endParaRPr lang="nl-NL" noProof="0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3F7DA627-C135-4D0D-8C88-2B07C2C3B7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5663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rnpunten + Tekstvlak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jdelijke aanduiding voor afbeelding 35">
            <a:extLst>
              <a:ext uri="{FF2B5EF4-FFF2-40B4-BE49-F238E27FC236}">
                <a16:creationId xmlns:a16="http://schemas.microsoft.com/office/drawing/2014/main" id="{DDF59742-AC42-4AAA-9941-6163D1AD1558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1742382" y="8813275"/>
            <a:ext cx="12350590" cy="12648664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881" h="2865200">
                <a:moveTo>
                  <a:pt x="1036" y="89"/>
                </a:moveTo>
                <a:lnTo>
                  <a:pt x="3319663" y="6217"/>
                </a:lnTo>
                <a:cubicBezTo>
                  <a:pt x="3430792" y="6217"/>
                  <a:pt x="3520881" y="73784"/>
                  <a:pt x="3520881" y="157131"/>
                </a:cubicBezTo>
                <a:lnTo>
                  <a:pt x="3520881" y="2714286"/>
                </a:lnTo>
                <a:cubicBezTo>
                  <a:pt x="3520881" y="2797633"/>
                  <a:pt x="3430792" y="2865200"/>
                  <a:pt x="3319663" y="2865200"/>
                </a:cubicBezTo>
                <a:lnTo>
                  <a:pt x="201219" y="2865200"/>
                </a:lnTo>
                <a:cubicBezTo>
                  <a:pt x="90089" y="2865200"/>
                  <a:pt x="0" y="2797633"/>
                  <a:pt x="0" y="2714286"/>
                </a:cubicBezTo>
                <a:lnTo>
                  <a:pt x="0" y="157131"/>
                </a:lnTo>
                <a:cubicBezTo>
                  <a:pt x="0" y="73784"/>
                  <a:pt x="211" y="-2975"/>
                  <a:pt x="1036" y="8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188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7" name="Tijdelijke aanduiding voor afbeelding 36">
            <a:extLst>
              <a:ext uri="{FF2B5EF4-FFF2-40B4-BE49-F238E27FC236}">
                <a16:creationId xmlns:a16="http://schemas.microsoft.com/office/drawing/2014/main" id="{74727CE5-EDB8-480E-B745-73C1373713EB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15265721" y="8813275"/>
            <a:ext cx="12350590" cy="12648664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881" h="2865200">
                <a:moveTo>
                  <a:pt x="1036" y="89"/>
                </a:moveTo>
                <a:lnTo>
                  <a:pt x="3319663" y="6217"/>
                </a:lnTo>
                <a:cubicBezTo>
                  <a:pt x="3430792" y="6217"/>
                  <a:pt x="3520881" y="73784"/>
                  <a:pt x="3520881" y="157131"/>
                </a:cubicBezTo>
                <a:lnTo>
                  <a:pt x="3520881" y="2714286"/>
                </a:lnTo>
                <a:cubicBezTo>
                  <a:pt x="3520881" y="2797633"/>
                  <a:pt x="3430792" y="2865200"/>
                  <a:pt x="3319663" y="2865200"/>
                </a:cubicBezTo>
                <a:lnTo>
                  <a:pt x="201219" y="2865200"/>
                </a:lnTo>
                <a:cubicBezTo>
                  <a:pt x="90089" y="2865200"/>
                  <a:pt x="0" y="2797633"/>
                  <a:pt x="0" y="2714286"/>
                </a:cubicBezTo>
                <a:lnTo>
                  <a:pt x="0" y="157131"/>
                </a:lnTo>
                <a:cubicBezTo>
                  <a:pt x="0" y="73784"/>
                  <a:pt x="211" y="-2975"/>
                  <a:pt x="1036" y="8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188000" anchor="ctr">
            <a:noAutofit/>
          </a:bodyPr>
          <a:lstStyle>
            <a:lvl1pPr marL="0" indent="0" algn="ctr">
              <a:buNone/>
              <a:defRPr lang="nl-NL" sz="4209" b="0" i="1" kern="1200" noProof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8" name="Tijdelijke aanduiding voor afbeelding 37">
            <a:extLst>
              <a:ext uri="{FF2B5EF4-FFF2-40B4-BE49-F238E27FC236}">
                <a16:creationId xmlns:a16="http://schemas.microsoft.com/office/drawing/2014/main" id="{B4DAE761-2905-4370-925B-2CBA8CDD4757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28808926" y="8813275"/>
            <a:ext cx="12350590" cy="12648664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881" h="2865200">
                <a:moveTo>
                  <a:pt x="1036" y="89"/>
                </a:moveTo>
                <a:lnTo>
                  <a:pt x="3319663" y="6217"/>
                </a:lnTo>
                <a:cubicBezTo>
                  <a:pt x="3430792" y="6217"/>
                  <a:pt x="3520881" y="73784"/>
                  <a:pt x="3520881" y="157131"/>
                </a:cubicBezTo>
                <a:lnTo>
                  <a:pt x="3520881" y="2714286"/>
                </a:lnTo>
                <a:cubicBezTo>
                  <a:pt x="3520881" y="2797633"/>
                  <a:pt x="3430792" y="2865200"/>
                  <a:pt x="3319663" y="2865200"/>
                </a:cubicBezTo>
                <a:lnTo>
                  <a:pt x="201219" y="2865200"/>
                </a:lnTo>
                <a:cubicBezTo>
                  <a:pt x="90089" y="2865200"/>
                  <a:pt x="0" y="2797633"/>
                  <a:pt x="0" y="2714286"/>
                </a:cubicBezTo>
                <a:lnTo>
                  <a:pt x="0" y="157131"/>
                </a:lnTo>
                <a:cubicBezTo>
                  <a:pt x="0" y="73784"/>
                  <a:pt x="211" y="-2975"/>
                  <a:pt x="1036" y="8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188000" anchor="ctr">
            <a:noAutofit/>
          </a:bodyPr>
          <a:lstStyle>
            <a:lvl1pPr marL="0" indent="0" algn="ctr"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5" name="Tijdelijke aanduiding voor tekst 5">
            <a:extLst>
              <a:ext uri="{FF2B5EF4-FFF2-40B4-BE49-F238E27FC236}">
                <a16:creationId xmlns:a16="http://schemas.microsoft.com/office/drawing/2014/main" id="{7581CA50-F401-4352-B20E-C61DC891A3E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740476" y="22013647"/>
            <a:ext cx="12352499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6" name="Tijdelijke aanduiding voor tekst 5">
            <a:extLst>
              <a:ext uri="{FF2B5EF4-FFF2-40B4-BE49-F238E27FC236}">
                <a16:creationId xmlns:a16="http://schemas.microsoft.com/office/drawing/2014/main" id="{EE7615E9-55F0-4367-ADAF-BF9E9F9AFF0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265724" y="22013647"/>
            <a:ext cx="12352499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32" name="Tijdelijke aanduiding voor tekst 5">
            <a:extLst>
              <a:ext uri="{FF2B5EF4-FFF2-40B4-BE49-F238E27FC236}">
                <a16:creationId xmlns:a16="http://schemas.microsoft.com/office/drawing/2014/main" id="{1F90D83A-4F8A-4644-B6AA-08EAF0B98A5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8807971" y="22013647"/>
            <a:ext cx="12352499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6644E39-2AF2-4EA0-9C3F-28C89D5A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9" y="27329718"/>
            <a:ext cx="758217" cy="101640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55B2A88A-B7BD-41B1-9FCB-9BE633251ACA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7" name="Tijdelijke aanduiding voor tekst 14">
            <a:extLst>
              <a:ext uri="{FF2B5EF4-FFF2-40B4-BE49-F238E27FC236}">
                <a16:creationId xmlns:a16="http://schemas.microsoft.com/office/drawing/2014/main" id="{A6BF4B27-7FC5-4896-80CE-3BA6119B83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sp>
        <p:nvSpPr>
          <p:cNvPr id="33" name="Tijdelijke aanduiding voor voettekst 4">
            <a:extLst>
              <a:ext uri="{FF2B5EF4-FFF2-40B4-BE49-F238E27FC236}">
                <a16:creationId xmlns:a16="http://schemas.microsoft.com/office/drawing/2014/main" id="{3C7CF4CB-CF25-44A3-95AE-206B86BFD6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29" name="Tijdelijke aanduiding voor datum 3">
            <a:extLst>
              <a:ext uri="{FF2B5EF4-FFF2-40B4-BE49-F238E27FC236}">
                <a16:creationId xmlns:a16="http://schemas.microsoft.com/office/drawing/2014/main" id="{53600F14-A3DB-4812-872D-DFA76F4B6A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2937E998-9E7B-429D-9513-ADEE2CA512AF}" type="datetime1">
              <a:rPr lang="nl-NL" noProof="0" smtClean="0"/>
              <a:t>26-6-2023</a:t>
            </a:fld>
            <a:endParaRPr lang="nl-NL" noProof="0"/>
          </a:p>
        </p:txBody>
      </p:sp>
      <p:grpSp>
        <p:nvGrpSpPr>
          <p:cNvPr id="78" name="Groep 77">
            <a:extLst>
              <a:ext uri="{FF2B5EF4-FFF2-40B4-BE49-F238E27FC236}">
                <a16:creationId xmlns:a16="http://schemas.microsoft.com/office/drawing/2014/main" id="{3AE5AB64-8340-4F51-84F1-0689CC1F0040}"/>
              </a:ext>
            </a:extLst>
          </p:cNvPr>
          <p:cNvGrpSpPr/>
          <p:nvPr userDrawn="1"/>
        </p:nvGrpSpPr>
        <p:grpSpPr>
          <a:xfrm>
            <a:off x="43467414" y="0"/>
            <a:ext cx="13065546" cy="24210246"/>
            <a:chOff x="12391601" y="0"/>
            <a:chExt cx="3724699" cy="5484152"/>
          </a:xfrm>
        </p:grpSpPr>
        <p:sp>
          <p:nvSpPr>
            <p:cNvPr id="79" name="Rechthoek 78">
              <a:extLst>
                <a:ext uri="{FF2B5EF4-FFF2-40B4-BE49-F238E27FC236}">
                  <a16:creationId xmlns:a16="http://schemas.microsoft.com/office/drawing/2014/main" id="{1BC70D0B-A563-4378-A4B9-B7CF753887CA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80" name="Ovaal 79">
              <a:extLst>
                <a:ext uri="{FF2B5EF4-FFF2-40B4-BE49-F238E27FC236}">
                  <a16:creationId xmlns:a16="http://schemas.microsoft.com/office/drawing/2014/main" id="{0958AC26-34C7-4462-86FF-D439EBB0CE17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81" name="Rechte verbindingslijn 80">
              <a:extLst>
                <a:ext uri="{FF2B5EF4-FFF2-40B4-BE49-F238E27FC236}">
                  <a16:creationId xmlns:a16="http://schemas.microsoft.com/office/drawing/2014/main" id="{45D58254-B81E-498A-92DE-FFDDBAC5DB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82" name="Rechte verbindingslijn 81">
              <a:extLst>
                <a:ext uri="{FF2B5EF4-FFF2-40B4-BE49-F238E27FC236}">
                  <a16:creationId xmlns:a16="http://schemas.microsoft.com/office/drawing/2014/main" id="{0D0C6154-8A47-49AD-B9B6-522CBE26F3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7A24331A-A18A-419D-81A5-CC97C29414A5}"/>
                </a:ext>
              </a:extLst>
            </p:cNvPr>
            <p:cNvSpPr/>
            <p:nvPr userDrawn="1"/>
          </p:nvSpPr>
          <p:spPr>
            <a:xfrm>
              <a:off x="12757282" y="432552"/>
              <a:ext cx="335901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fbeelding door deze te selecteren en op 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m een nieuwe afbeelding in te voegen.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84" name="Ovaal 83">
              <a:extLst>
                <a:ext uri="{FF2B5EF4-FFF2-40B4-BE49-F238E27FC236}">
                  <a16:creationId xmlns:a16="http://schemas.microsoft.com/office/drawing/2014/main" id="{22A301B4-A678-49DF-929A-7634AAEFD1E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EA1F09D8-BE0E-4518-AA4D-93C0FDC4260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86" name="Groep 85">
              <a:extLst>
                <a:ext uri="{FF2B5EF4-FFF2-40B4-BE49-F238E27FC236}">
                  <a16:creationId xmlns:a16="http://schemas.microsoft.com/office/drawing/2014/main" id="{C194BC71-105E-4A50-8301-3D3053C327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20" name="Rechthoek 119">
                <a:extLst>
                  <a:ext uri="{FF2B5EF4-FFF2-40B4-BE49-F238E27FC236}">
                    <a16:creationId xmlns:a16="http://schemas.microsoft.com/office/drawing/2014/main" id="{AE8CDF89-F2C4-474C-8F4B-171F0D0F9B34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121" name="Rechte verbindingslijn 120">
                <a:extLst>
                  <a:ext uri="{FF2B5EF4-FFF2-40B4-BE49-F238E27FC236}">
                    <a16:creationId xmlns:a16="http://schemas.microsoft.com/office/drawing/2014/main" id="{1A798482-3FD6-4D86-9D97-A5504AF4F83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22" name="Gelijkbenige driehoek 121">
                <a:extLst>
                  <a:ext uri="{FF2B5EF4-FFF2-40B4-BE49-F238E27FC236}">
                    <a16:creationId xmlns:a16="http://schemas.microsoft.com/office/drawing/2014/main" id="{7289D0F7-422E-47C9-A151-6EAB63C96CFE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7" name="Groep 86">
              <a:extLst>
                <a:ext uri="{FF2B5EF4-FFF2-40B4-BE49-F238E27FC236}">
                  <a16:creationId xmlns:a16="http://schemas.microsoft.com/office/drawing/2014/main" id="{2A4AD7B8-237D-47EB-BB83-30279D27A333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63468371-244E-4198-8913-6C89A2EC83C1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Ovaal 114">
                <a:extLst>
                  <a:ext uri="{FF2B5EF4-FFF2-40B4-BE49-F238E27FC236}">
                    <a16:creationId xmlns:a16="http://schemas.microsoft.com/office/drawing/2014/main" id="{171AA342-EE56-4160-89DE-E1E0AB5F2AD6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Vrije vorm: vorm 115">
                <a:extLst>
                  <a:ext uri="{FF2B5EF4-FFF2-40B4-BE49-F238E27FC236}">
                    <a16:creationId xmlns:a16="http://schemas.microsoft.com/office/drawing/2014/main" id="{0121CB61-CFC1-4060-A943-B92A88D5179B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7" name="Rechthoek: afgeronde hoeken 116">
                <a:extLst>
                  <a:ext uri="{FF2B5EF4-FFF2-40B4-BE49-F238E27FC236}">
                    <a16:creationId xmlns:a16="http://schemas.microsoft.com/office/drawing/2014/main" id="{C84CFF36-08DE-429E-9E10-88E55C6F8783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C889250C-8391-4388-9036-A4EE23D6419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9" name="Rechte verbindingslijn 118">
                <a:extLst>
                  <a:ext uri="{FF2B5EF4-FFF2-40B4-BE49-F238E27FC236}">
                    <a16:creationId xmlns:a16="http://schemas.microsoft.com/office/drawing/2014/main" id="{C7AB0633-436E-4EEA-BC5A-472A9EAC0D36}"/>
                  </a:ext>
                </a:extLst>
              </p:cNvPr>
              <p:cNvCxnSpPr>
                <a:cxnSpLocks/>
                <a:stCxn id="11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grpSp>
          <p:nvGrpSpPr>
            <p:cNvPr id="88" name="Groep 87">
              <a:extLst>
                <a:ext uri="{FF2B5EF4-FFF2-40B4-BE49-F238E27FC236}">
                  <a16:creationId xmlns:a16="http://schemas.microsoft.com/office/drawing/2014/main" id="{EB656A73-9A5C-432C-88B5-410EF50B86C6}"/>
                </a:ext>
              </a:extLst>
            </p:cNvPr>
            <p:cNvGrpSpPr/>
            <p:nvPr userDrawn="1"/>
          </p:nvGrpSpPr>
          <p:grpSpPr>
            <a:xfrm>
              <a:off x="12391601" y="2643684"/>
              <a:ext cx="3183678" cy="2840468"/>
              <a:chOff x="12952763" y="4572241"/>
              <a:chExt cx="3183678" cy="2840468"/>
            </a:xfrm>
          </p:grpSpPr>
          <p:grpSp>
            <p:nvGrpSpPr>
              <p:cNvPr id="89" name="Meer informatie">
                <a:extLst>
                  <a:ext uri="{FF2B5EF4-FFF2-40B4-BE49-F238E27FC236}">
                    <a16:creationId xmlns:a16="http://schemas.microsoft.com/office/drawing/2014/main" id="{6334D062-3D0C-405C-8DA1-89A6823B91EF}"/>
                  </a:ext>
                </a:extLst>
              </p:cNvPr>
              <p:cNvGrpSpPr/>
              <p:nvPr userDrawn="1"/>
            </p:nvGrpSpPr>
            <p:grpSpPr>
              <a:xfrm>
                <a:off x="12957926" y="6629436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1" name="Freeform 101">
                  <a:extLst>
                    <a:ext uri="{FF2B5EF4-FFF2-40B4-BE49-F238E27FC236}">
                      <a16:creationId xmlns:a16="http://schemas.microsoft.com/office/drawing/2014/main" id="{D145E3BC-AEA9-4943-BF41-CCFB4546C70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3859" noProof="0"/>
                </a:p>
              </p:txBody>
            </p:sp>
            <p:sp>
              <p:nvSpPr>
                <p:cNvPr id="112" name="Rechthoek 111">
                  <a:extLst>
                    <a:ext uri="{FF2B5EF4-FFF2-40B4-BE49-F238E27FC236}">
                      <a16:creationId xmlns:a16="http://schemas.microsoft.com/office/drawing/2014/main" id="{C4D0A52E-EB9F-4438-9FCE-8450817B688C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3207489" eaLnBrk="1" fontAlgn="auto" latinLnBrk="0" hangingPunct="1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Meer weten?</a:t>
                  </a:r>
                  <a:b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a naar dia </a:t>
                  </a:r>
                  <a:r>
                    <a:rPr kumimoji="0" lang="nl-NL" sz="3859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´Instructie dia: YouTube links´</a:t>
                  </a: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deze in de diavoorstelling en klik op de gewenste video link.</a:t>
                  </a:r>
                </a:p>
              </p:txBody>
            </p:sp>
            <p:cxnSp>
              <p:nvCxnSpPr>
                <p:cNvPr id="113" name="Rechte verbindingslijn 112">
                  <a:extLst>
                    <a:ext uri="{FF2B5EF4-FFF2-40B4-BE49-F238E27FC236}">
                      <a16:creationId xmlns:a16="http://schemas.microsoft.com/office/drawing/2014/main" id="{28D376CA-5A05-46BD-88F7-81710C38A042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90" name="Rechte verbindingslijn 89">
                <a:extLst>
                  <a:ext uri="{FF2B5EF4-FFF2-40B4-BE49-F238E27FC236}">
                    <a16:creationId xmlns:a16="http://schemas.microsoft.com/office/drawing/2014/main" id="{B5F786BA-3814-4BEF-842E-600E777CC4A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958423" y="651155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91" name="Ovaal 90">
                <a:extLst>
                  <a:ext uri="{FF2B5EF4-FFF2-40B4-BE49-F238E27FC236}">
                    <a16:creationId xmlns:a16="http://schemas.microsoft.com/office/drawing/2014/main" id="{3C3B8FF6-D8CC-493B-9336-25A7E33D170C}"/>
                  </a:ext>
                </a:extLst>
              </p:cNvPr>
              <p:cNvSpPr/>
              <p:nvPr userDrawn="1"/>
            </p:nvSpPr>
            <p:spPr>
              <a:xfrm>
                <a:off x="12952763" y="4690403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320748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92" name="Rechthoek 91">
                <a:extLst>
                  <a:ext uri="{FF2B5EF4-FFF2-40B4-BE49-F238E27FC236}">
                    <a16:creationId xmlns:a16="http://schemas.microsoft.com/office/drawing/2014/main" id="{02EE6908-553D-437B-BF2C-05319F42C140}"/>
                  </a:ext>
                </a:extLst>
              </p:cNvPr>
              <p:cNvSpPr/>
              <p:nvPr userDrawn="1"/>
            </p:nvSpPr>
            <p:spPr>
              <a:xfrm>
                <a:off x="13318445" y="4756466"/>
                <a:ext cx="2817996" cy="887319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Om de afbeelding te schalen of bij te snijden, ga naar de tab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Hulpmiddelen voor afbeeldingen - Opmaak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 en klik op de knop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Bijsnijden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Schaal met de bolletjes de afbeelding en met de hoekjes het afbeeldingskader.</a:t>
                </a:r>
                <a:endPara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93" name="Rechte verbindingslijn 92">
                <a:extLst>
                  <a:ext uri="{FF2B5EF4-FFF2-40B4-BE49-F238E27FC236}">
                    <a16:creationId xmlns:a16="http://schemas.microsoft.com/office/drawing/2014/main" id="{02010F72-E415-4D25-A743-0DEDB755951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958423" y="457224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94" name="Groep 93">
                <a:extLst>
                  <a:ext uri="{FF2B5EF4-FFF2-40B4-BE49-F238E27FC236}">
                    <a16:creationId xmlns:a16="http://schemas.microsoft.com/office/drawing/2014/main" id="{742C7EAD-2D08-47C9-90B2-7FE4C9534365}"/>
                  </a:ext>
                </a:extLst>
              </p:cNvPr>
              <p:cNvGrpSpPr/>
              <p:nvPr userDrawn="1"/>
            </p:nvGrpSpPr>
            <p:grpSpPr>
              <a:xfrm>
                <a:off x="13257676" y="5773610"/>
                <a:ext cx="514284" cy="612917"/>
                <a:chOff x="12682980" y="3403271"/>
                <a:chExt cx="622284" cy="741637"/>
              </a:xfrm>
            </p:grpSpPr>
            <p:grpSp>
              <p:nvGrpSpPr>
                <p:cNvPr id="95" name="Groep 94">
                  <a:extLst>
                    <a:ext uri="{FF2B5EF4-FFF2-40B4-BE49-F238E27FC236}">
                      <a16:creationId xmlns:a16="http://schemas.microsoft.com/office/drawing/2014/main" id="{F52F60B4-8728-40ED-8825-D955BB64F42B}"/>
                    </a:ext>
                  </a:extLst>
                </p:cNvPr>
                <p:cNvGrpSpPr/>
                <p:nvPr userDrawn="1"/>
              </p:nvGrpSpPr>
              <p:grpSpPr>
                <a:xfrm>
                  <a:off x="12771568" y="3403271"/>
                  <a:ext cx="467138" cy="448459"/>
                  <a:chOff x="12782195" y="3403271"/>
                  <a:chExt cx="467138" cy="448459"/>
                </a:xfrm>
              </p:grpSpPr>
              <p:grpSp>
                <p:nvGrpSpPr>
                  <p:cNvPr id="98" name="Groep 97">
                    <a:extLst>
                      <a:ext uri="{FF2B5EF4-FFF2-40B4-BE49-F238E27FC236}">
                        <a16:creationId xmlns:a16="http://schemas.microsoft.com/office/drawing/2014/main" id="{6E6FC6F2-5E18-40DE-B47C-9288761F78A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2782195" y="3403271"/>
                    <a:ext cx="412967" cy="393910"/>
                    <a:chOff x="13554906" y="3320143"/>
                    <a:chExt cx="443906" cy="423422"/>
                  </a:xfrm>
                </p:grpSpPr>
                <p:grpSp>
                  <p:nvGrpSpPr>
                    <p:cNvPr id="105" name="Groep 104">
                      <a:extLst>
                        <a:ext uri="{FF2B5EF4-FFF2-40B4-BE49-F238E27FC236}">
                          <a16:creationId xmlns:a16="http://schemas.microsoft.com/office/drawing/2014/main" id="{B06B6FA3-B875-403E-A3F7-007FB0F146AB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3554906" y="3320143"/>
                      <a:ext cx="443906" cy="423422"/>
                      <a:chOff x="12909684" y="1276177"/>
                      <a:chExt cx="443906" cy="423422"/>
                    </a:xfrm>
                  </p:grpSpPr>
                  <p:sp>
                    <p:nvSpPr>
                      <p:cNvPr id="108" name="Rechthoek 107">
                        <a:extLst>
                          <a:ext uri="{FF2B5EF4-FFF2-40B4-BE49-F238E27FC236}">
                            <a16:creationId xmlns:a16="http://schemas.microsoft.com/office/drawing/2014/main" id="{D0141A93-DD57-4B76-AEF3-78D99093E503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2918700" y="1285299"/>
                        <a:ext cx="434890" cy="414300"/>
                      </a:xfrm>
                      <a:prstGeom prst="rect">
                        <a:avLst/>
                      </a:prstGeom>
                      <a:noFill/>
                      <a:ln w="12700">
                        <a:solidFill>
                          <a:srgbClr val="818181"/>
                        </a:solidFill>
                        <a:prstDash val="dash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2105"/>
                          </a:spcBef>
                          <a:spcAft>
                            <a:spcPts val="2105"/>
                          </a:spcAft>
                        </a:pPr>
                        <a:endParaRPr lang="nl-NL" sz="2806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109" name="Rechthoek 108">
                        <a:extLst>
                          <a:ext uri="{FF2B5EF4-FFF2-40B4-BE49-F238E27FC236}">
                            <a16:creationId xmlns:a16="http://schemas.microsoft.com/office/drawing/2014/main" id="{B53A8AB6-0744-47A7-A8D0-782789A41C7A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2909684" y="1276177"/>
                        <a:ext cx="261629" cy="257808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12700">
                        <a:solidFill>
                          <a:srgbClr val="81818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2105"/>
                          </a:spcBef>
                          <a:spcAft>
                            <a:spcPts val="2105"/>
                          </a:spcAft>
                        </a:pPr>
                        <a:endParaRPr lang="nl-NL" sz="2806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110" name="Ovaal 109">
                        <a:extLst>
                          <a:ext uri="{FF2B5EF4-FFF2-40B4-BE49-F238E27FC236}">
                            <a16:creationId xmlns:a16="http://schemas.microsoft.com/office/drawing/2014/main" id="{75E96358-D170-4997-A079-D02F36BBE562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3069071" y="1308734"/>
                        <a:ext cx="72187" cy="72188"/>
                      </a:xfrm>
                      <a:prstGeom prst="ellipse">
                        <a:avLst/>
                      </a:prstGeom>
                      <a:solidFill>
                        <a:srgbClr val="ECC679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="horz" wrap="square" lIns="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l"/>
                        <a:endParaRPr lang="nl-NL" sz="3509" b="1" noProof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  <p:pic>
                  <p:nvPicPr>
                    <p:cNvPr id="106" name="Afbeelding 105">
                      <a:extLst>
                        <a:ext uri="{FF2B5EF4-FFF2-40B4-BE49-F238E27FC236}">
                          <a16:creationId xmlns:a16="http://schemas.microsoft.com/office/drawing/2014/main" id="{10893C65-CF40-4A9F-92D7-F850D3363D3D}"/>
                        </a:ext>
                      </a:extLst>
                    </p:cNvPr>
                    <p:cNvPicPr>
                      <a:picLocks noChangeAspect="1"/>
                    </p:cNvPicPr>
                    <p:nvPr userDrawn="1"/>
                  </p:nvPicPr>
                  <p:blipFill>
                    <a:blip r:embed="rId2" cstate="screen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3567296" y="3424991"/>
                      <a:ext cx="173367" cy="14022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07" name="Afbeelding 106">
                      <a:extLst>
                        <a:ext uri="{FF2B5EF4-FFF2-40B4-BE49-F238E27FC236}">
                          <a16:creationId xmlns:a16="http://schemas.microsoft.com/office/drawing/2014/main" id="{BCEC5AAD-CE99-4211-9E3E-B7307F594531}"/>
                        </a:ext>
                      </a:extLst>
                    </p:cNvPr>
                    <p:cNvPicPr>
                      <a:picLocks noChangeAspect="1"/>
                    </p:cNvPicPr>
                    <p:nvPr userDrawn="1"/>
                  </p:nvPicPr>
                  <p:blipFill>
                    <a:blip r:embed="rId4" cstate="screen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5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flipH="1">
                      <a:off x="13635598" y="3454393"/>
                      <a:ext cx="173366" cy="111424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99" name="Groep 98">
                    <a:extLst>
                      <a:ext uri="{FF2B5EF4-FFF2-40B4-BE49-F238E27FC236}">
                        <a16:creationId xmlns:a16="http://schemas.microsoft.com/office/drawing/2014/main" id="{9092CF40-E1D8-4C21-A620-52B3E96A965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103513" y="3705278"/>
                    <a:ext cx="145820" cy="146452"/>
                    <a:chOff x="13096169" y="3602288"/>
                    <a:chExt cx="145820" cy="146452"/>
                  </a:xfrm>
                </p:grpSpPr>
                <p:sp>
                  <p:nvSpPr>
                    <p:cNvPr id="103" name="Rechthoek 102">
                      <a:extLst>
                        <a:ext uri="{FF2B5EF4-FFF2-40B4-BE49-F238E27FC236}">
                          <a16:creationId xmlns:a16="http://schemas.microsoft.com/office/drawing/2014/main" id="{87414375-65B8-488E-B7DE-ACB31CA1D1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96169" y="360228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4" name="Rechthoek 103">
                      <a:extLst>
                        <a:ext uri="{FF2B5EF4-FFF2-40B4-BE49-F238E27FC236}">
                          <a16:creationId xmlns:a16="http://schemas.microsoft.com/office/drawing/2014/main" id="{0C94A221-1B33-4598-A023-0B71A6776FC2}"/>
                        </a:ext>
                      </a:extLst>
                    </p:cNvPr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grpSp>
                <p:nvGrpSpPr>
                  <p:cNvPr id="100" name="Groep 99">
                    <a:extLst>
                      <a:ext uri="{FF2B5EF4-FFF2-40B4-BE49-F238E27FC236}">
                        <a16:creationId xmlns:a16="http://schemas.microsoft.com/office/drawing/2014/main" id="{DA9FC4DB-2135-4E21-8294-2BF93B03380C}"/>
                      </a:ext>
                    </a:extLst>
                  </p:cNvPr>
                  <p:cNvGrpSpPr/>
                  <p:nvPr userDrawn="1"/>
                </p:nvGrpSpPr>
                <p:grpSpPr>
                  <a:xfrm rot="10800000">
                    <a:off x="13061402" y="3665668"/>
                    <a:ext cx="145820" cy="146461"/>
                    <a:chOff x="13096169" y="3602248"/>
                    <a:chExt cx="145820" cy="146461"/>
                  </a:xfrm>
                </p:grpSpPr>
                <p:sp>
                  <p:nvSpPr>
                    <p:cNvPr id="101" name="Rechthoek 100">
                      <a:extLst>
                        <a:ext uri="{FF2B5EF4-FFF2-40B4-BE49-F238E27FC236}">
                          <a16:creationId xmlns:a16="http://schemas.microsoft.com/office/drawing/2014/main" id="{D2DAE12E-DD7F-4E8A-8A3A-0B75855949B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96169" y="360224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2" name="Rechthoek 101">
                      <a:extLst>
                        <a:ext uri="{FF2B5EF4-FFF2-40B4-BE49-F238E27FC236}">
                          <a16:creationId xmlns:a16="http://schemas.microsoft.com/office/drawing/2014/main" id="{9621E962-F807-49DB-817C-42F252BEDB79}"/>
                        </a:ext>
                      </a:extLst>
                    </p:cNvPr>
                    <p:cNvSpPr/>
                    <p:nvPr userDrawn="1"/>
                  </p:nvSpPr>
                  <p:spPr>
                    <a:xfrm rot="5400000">
                      <a:off x="13037453" y="3661605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  <p:sp>
              <p:nvSpPr>
                <p:cNvPr id="96" name="Rechthoek 95">
                  <a:extLst>
                    <a:ext uri="{FF2B5EF4-FFF2-40B4-BE49-F238E27FC236}">
                      <a16:creationId xmlns:a16="http://schemas.microsoft.com/office/drawing/2014/main" id="{BD59B386-A0F4-4C1C-9F26-C793A166017C}"/>
                    </a:ext>
                  </a:extLst>
                </p:cNvPr>
                <p:cNvSpPr/>
                <p:nvPr userDrawn="1"/>
              </p:nvSpPr>
              <p:spPr>
                <a:xfrm>
                  <a:off x="12682980" y="3889920"/>
                  <a:ext cx="622284" cy="16117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r>
                    <a:rPr lang="nl-NL" sz="3158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Bijsnijden</a:t>
                  </a:r>
                </a:p>
              </p:txBody>
            </p:sp>
            <p:sp>
              <p:nvSpPr>
                <p:cNvPr id="97" name="Gelijkbenige driehoek 96">
                  <a:extLst>
                    <a:ext uri="{FF2B5EF4-FFF2-40B4-BE49-F238E27FC236}">
                      <a16:creationId xmlns:a16="http://schemas.microsoft.com/office/drawing/2014/main" id="{B61165A8-DBBE-4C5F-A61A-6C05B1E6E1CD}"/>
                    </a:ext>
                  </a:extLst>
                </p:cNvPr>
                <p:cNvSpPr/>
                <p:nvPr userDrawn="1"/>
              </p:nvSpPr>
              <p:spPr>
                <a:xfrm rot="10800000">
                  <a:off x="12950688" y="4093761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136" name="Instructie">
            <a:extLst>
              <a:ext uri="{FF2B5EF4-FFF2-40B4-BE49-F238E27FC236}">
                <a16:creationId xmlns:a16="http://schemas.microsoft.com/office/drawing/2014/main" id="{AE23586F-EDF8-4041-A121-12EE4F3091A7}"/>
              </a:ext>
            </a:extLst>
          </p:cNvPr>
          <p:cNvGrpSpPr/>
          <p:nvPr userDrawn="1"/>
        </p:nvGrpSpPr>
        <p:grpSpPr>
          <a:xfrm>
            <a:off x="-11761540" y="0"/>
            <a:ext cx="11164508" cy="11743958"/>
            <a:chOff x="-3426088" y="4512342"/>
            <a:chExt cx="3182755" cy="2660264"/>
          </a:xfrm>
        </p:grpSpPr>
        <p:sp>
          <p:nvSpPr>
            <p:cNvPr id="137" name="Rechthoek 127">
              <a:extLst>
                <a:ext uri="{FF2B5EF4-FFF2-40B4-BE49-F238E27FC236}">
                  <a16:creationId xmlns:a16="http://schemas.microsoft.com/office/drawing/2014/main" id="{86334EF9-7762-4B48-A926-74C6227815F9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138" name="Rechte verbindingslijn 128">
              <a:extLst>
                <a:ext uri="{FF2B5EF4-FFF2-40B4-BE49-F238E27FC236}">
                  <a16:creationId xmlns:a16="http://schemas.microsoft.com/office/drawing/2014/main" id="{9D646A08-9F80-4BF1-AAC1-7B7C40C1367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39" name="Rechthoek 130">
              <a:extLst>
                <a:ext uri="{FF2B5EF4-FFF2-40B4-BE49-F238E27FC236}">
                  <a16:creationId xmlns:a16="http://schemas.microsoft.com/office/drawing/2014/main" id="{6622125B-9088-4607-ABB0-3AB956BFF3CD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140" name="Rechthoek 133">
              <a:extLst>
                <a:ext uri="{FF2B5EF4-FFF2-40B4-BE49-F238E27FC236}">
                  <a16:creationId xmlns:a16="http://schemas.microsoft.com/office/drawing/2014/main" id="{2BFF82BB-BED7-4DA1-9510-01EA78FE2670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41" name="Rechthoek 136">
              <a:extLst>
                <a:ext uri="{FF2B5EF4-FFF2-40B4-BE49-F238E27FC236}">
                  <a16:creationId xmlns:a16="http://schemas.microsoft.com/office/drawing/2014/main" id="{34C11746-ACE8-498B-84EA-EC6FB41DDBAC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42" name="Rechthoek 139">
              <a:extLst>
                <a:ext uri="{FF2B5EF4-FFF2-40B4-BE49-F238E27FC236}">
                  <a16:creationId xmlns:a16="http://schemas.microsoft.com/office/drawing/2014/main" id="{5F442C93-DF19-4578-AB31-347B80C7DDC3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143" name="Rechte verbindingslijn 140">
              <a:extLst>
                <a:ext uri="{FF2B5EF4-FFF2-40B4-BE49-F238E27FC236}">
                  <a16:creationId xmlns:a16="http://schemas.microsoft.com/office/drawing/2014/main" id="{786C2F4B-C7F5-49D5-A362-CFD43945E9D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67" name="Afbeelding 66">
            <a:extLst>
              <a:ext uri="{FF2B5EF4-FFF2-40B4-BE49-F238E27FC236}">
                <a16:creationId xmlns:a16="http://schemas.microsoft.com/office/drawing/2014/main" id="{ABF56545-77FC-49FE-B0DB-389C796A74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6540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rnpunten + Tekstvlakke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jdelijke aanduiding voor afbeelding 35">
            <a:extLst>
              <a:ext uri="{FF2B5EF4-FFF2-40B4-BE49-F238E27FC236}">
                <a16:creationId xmlns:a16="http://schemas.microsoft.com/office/drawing/2014/main" id="{DDF59742-AC42-4AAA-9941-6163D1AD1558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1742385" y="10288803"/>
            <a:ext cx="8792735" cy="9004942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881" h="2865200">
                <a:moveTo>
                  <a:pt x="1036" y="89"/>
                </a:moveTo>
                <a:lnTo>
                  <a:pt x="3319663" y="6217"/>
                </a:lnTo>
                <a:cubicBezTo>
                  <a:pt x="3430792" y="6217"/>
                  <a:pt x="3520881" y="73784"/>
                  <a:pt x="3520881" y="157131"/>
                </a:cubicBezTo>
                <a:lnTo>
                  <a:pt x="3520881" y="2714286"/>
                </a:lnTo>
                <a:cubicBezTo>
                  <a:pt x="3520881" y="2797633"/>
                  <a:pt x="3430792" y="2865200"/>
                  <a:pt x="3319663" y="2865200"/>
                </a:cubicBezTo>
                <a:lnTo>
                  <a:pt x="201219" y="2865200"/>
                </a:lnTo>
                <a:cubicBezTo>
                  <a:pt x="90089" y="2865200"/>
                  <a:pt x="0" y="2797633"/>
                  <a:pt x="0" y="2714286"/>
                </a:cubicBezTo>
                <a:lnTo>
                  <a:pt x="0" y="157131"/>
                </a:lnTo>
                <a:cubicBezTo>
                  <a:pt x="0" y="73784"/>
                  <a:pt x="211" y="-2975"/>
                  <a:pt x="1036" y="8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188000" anchor="ctr">
            <a:noAutofit/>
          </a:bodyPr>
          <a:lstStyle>
            <a:lvl1pPr marL="0" indent="0" algn="ctr"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7" name="Tijdelijke aanduiding voor afbeelding 36">
            <a:extLst>
              <a:ext uri="{FF2B5EF4-FFF2-40B4-BE49-F238E27FC236}">
                <a16:creationId xmlns:a16="http://schemas.microsoft.com/office/drawing/2014/main" id="{74727CE5-EDB8-480E-B745-73C1373713EB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11892101" y="10288803"/>
            <a:ext cx="8792735" cy="9004942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881" h="2865200">
                <a:moveTo>
                  <a:pt x="1036" y="89"/>
                </a:moveTo>
                <a:lnTo>
                  <a:pt x="3319663" y="6217"/>
                </a:lnTo>
                <a:cubicBezTo>
                  <a:pt x="3430792" y="6217"/>
                  <a:pt x="3520881" y="73784"/>
                  <a:pt x="3520881" y="157131"/>
                </a:cubicBezTo>
                <a:lnTo>
                  <a:pt x="3520881" y="2714286"/>
                </a:lnTo>
                <a:cubicBezTo>
                  <a:pt x="3520881" y="2797633"/>
                  <a:pt x="3430792" y="2865200"/>
                  <a:pt x="3319663" y="2865200"/>
                </a:cubicBezTo>
                <a:lnTo>
                  <a:pt x="201219" y="2865200"/>
                </a:lnTo>
                <a:cubicBezTo>
                  <a:pt x="90089" y="2865200"/>
                  <a:pt x="0" y="2797633"/>
                  <a:pt x="0" y="2714286"/>
                </a:cubicBezTo>
                <a:lnTo>
                  <a:pt x="0" y="157131"/>
                </a:lnTo>
                <a:cubicBezTo>
                  <a:pt x="0" y="73784"/>
                  <a:pt x="211" y="-2975"/>
                  <a:pt x="1036" y="8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188000" anchor="ctr">
            <a:noAutofit/>
          </a:bodyPr>
          <a:lstStyle>
            <a:lvl1pPr marL="0" indent="0" algn="ctr"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8" name="Tijdelijke aanduiding voor afbeelding 37">
            <a:extLst>
              <a:ext uri="{FF2B5EF4-FFF2-40B4-BE49-F238E27FC236}">
                <a16:creationId xmlns:a16="http://schemas.microsoft.com/office/drawing/2014/main" id="{B4DAE761-2905-4370-925B-2CBA8CDD4757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22041817" y="10288803"/>
            <a:ext cx="8792735" cy="9004942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881" h="2865200">
                <a:moveTo>
                  <a:pt x="1036" y="89"/>
                </a:moveTo>
                <a:lnTo>
                  <a:pt x="3319663" y="6217"/>
                </a:lnTo>
                <a:cubicBezTo>
                  <a:pt x="3430792" y="6217"/>
                  <a:pt x="3520881" y="73784"/>
                  <a:pt x="3520881" y="157131"/>
                </a:cubicBezTo>
                <a:lnTo>
                  <a:pt x="3520881" y="2714286"/>
                </a:lnTo>
                <a:cubicBezTo>
                  <a:pt x="3520881" y="2797633"/>
                  <a:pt x="3430792" y="2865200"/>
                  <a:pt x="3319663" y="2865200"/>
                </a:cubicBezTo>
                <a:lnTo>
                  <a:pt x="201219" y="2865200"/>
                </a:lnTo>
                <a:cubicBezTo>
                  <a:pt x="90089" y="2865200"/>
                  <a:pt x="0" y="2797633"/>
                  <a:pt x="0" y="2714286"/>
                </a:cubicBezTo>
                <a:lnTo>
                  <a:pt x="0" y="157131"/>
                </a:lnTo>
                <a:cubicBezTo>
                  <a:pt x="0" y="73784"/>
                  <a:pt x="211" y="-2975"/>
                  <a:pt x="1036" y="8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188000" anchor="ctr">
            <a:noAutofit/>
          </a:bodyPr>
          <a:lstStyle>
            <a:lvl1pPr marL="0" indent="0" algn="ctr"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5" name="Tijdelijke aanduiding voor tekst 5">
            <a:extLst>
              <a:ext uri="{FF2B5EF4-FFF2-40B4-BE49-F238E27FC236}">
                <a16:creationId xmlns:a16="http://schemas.microsoft.com/office/drawing/2014/main" id="{7581CA50-F401-4352-B20E-C61DC891A3E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740479" y="19884610"/>
            <a:ext cx="8792735" cy="1515884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6" name="Tijdelijke aanduiding voor tekst 5">
            <a:extLst>
              <a:ext uri="{FF2B5EF4-FFF2-40B4-BE49-F238E27FC236}">
                <a16:creationId xmlns:a16="http://schemas.microsoft.com/office/drawing/2014/main" id="{EE7615E9-55F0-4367-ADAF-BF9E9F9AFF0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1892101" y="19884610"/>
            <a:ext cx="8792735" cy="1515884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32" name="Tijdelijke aanduiding voor tekst 5">
            <a:extLst>
              <a:ext uri="{FF2B5EF4-FFF2-40B4-BE49-F238E27FC236}">
                <a16:creationId xmlns:a16="http://schemas.microsoft.com/office/drawing/2014/main" id="{1F90D83A-4F8A-4644-B6AA-08EAF0B98A5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2041817" y="19884610"/>
            <a:ext cx="8792735" cy="1515884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grpSp>
        <p:nvGrpSpPr>
          <p:cNvPr id="19" name="GRID" hidden="1"/>
          <p:cNvGrpSpPr/>
          <p:nvPr userDrawn="1"/>
        </p:nvGrpSpPr>
        <p:grpSpPr>
          <a:xfrm>
            <a:off x="5" y="0"/>
            <a:ext cx="42767261" cy="30275213"/>
            <a:chOff x="0" y="0"/>
            <a:chExt cx="12192003" cy="6858000"/>
          </a:xfrm>
        </p:grpSpPr>
        <p:sp>
          <p:nvSpPr>
            <p:cNvPr id="20" name="Rechthoek 19"/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1" name="Rechthoek 20"/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2" name="Rechthoek 21"/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4" name="Rechthoek 23"/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8" name="Rechthoek 27">
              <a:extLst>
                <a:ext uri="{FF2B5EF4-FFF2-40B4-BE49-F238E27FC236}">
                  <a16:creationId xmlns:a16="http://schemas.microsoft.com/office/drawing/2014/main" id="{6BC69531-4B5F-447E-B7A9-2951B17E6FC2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6644E39-2AF2-4EA0-9C3F-28C89D5A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8"/>
            <a:ext cx="707315" cy="101640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7" name="Tijdelijke aanduiding voor tekst 14">
            <a:extLst>
              <a:ext uri="{FF2B5EF4-FFF2-40B4-BE49-F238E27FC236}">
                <a16:creationId xmlns:a16="http://schemas.microsoft.com/office/drawing/2014/main" id="{A6BF4B27-7FC5-4896-80CE-3BA6119B83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sp>
        <p:nvSpPr>
          <p:cNvPr id="33" name="Tijdelijke aanduiding voor voettekst 4">
            <a:extLst>
              <a:ext uri="{FF2B5EF4-FFF2-40B4-BE49-F238E27FC236}">
                <a16:creationId xmlns:a16="http://schemas.microsoft.com/office/drawing/2014/main" id="{3C7CF4CB-CF25-44A3-95AE-206B86BFD6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endParaRPr lang="nl-NL" noProof="0"/>
          </a:p>
        </p:txBody>
      </p:sp>
      <p:sp>
        <p:nvSpPr>
          <p:cNvPr id="29" name="Tijdelijke aanduiding voor datum 3">
            <a:extLst>
              <a:ext uri="{FF2B5EF4-FFF2-40B4-BE49-F238E27FC236}">
                <a16:creationId xmlns:a16="http://schemas.microsoft.com/office/drawing/2014/main" id="{53600F14-A3DB-4812-872D-DFA76F4B6A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endParaRPr lang="nl-NL" noProof="0"/>
          </a:p>
        </p:txBody>
      </p:sp>
      <p:sp>
        <p:nvSpPr>
          <p:cNvPr id="155" name="Tijdelijke aanduiding voor afbeelding 37">
            <a:extLst>
              <a:ext uri="{FF2B5EF4-FFF2-40B4-BE49-F238E27FC236}">
                <a16:creationId xmlns:a16="http://schemas.microsoft.com/office/drawing/2014/main" id="{4B086C57-3BEE-4549-87B3-7562F8DF0AE6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2191528" y="10288803"/>
            <a:ext cx="8792735" cy="9004942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881" h="2865200">
                <a:moveTo>
                  <a:pt x="1036" y="89"/>
                </a:moveTo>
                <a:lnTo>
                  <a:pt x="3319663" y="6217"/>
                </a:lnTo>
                <a:cubicBezTo>
                  <a:pt x="3430792" y="6217"/>
                  <a:pt x="3520881" y="73784"/>
                  <a:pt x="3520881" y="157131"/>
                </a:cubicBezTo>
                <a:lnTo>
                  <a:pt x="3520881" y="2714286"/>
                </a:lnTo>
                <a:cubicBezTo>
                  <a:pt x="3520881" y="2797633"/>
                  <a:pt x="3430792" y="2865200"/>
                  <a:pt x="3319663" y="2865200"/>
                </a:cubicBezTo>
                <a:lnTo>
                  <a:pt x="201219" y="2865200"/>
                </a:lnTo>
                <a:cubicBezTo>
                  <a:pt x="90089" y="2865200"/>
                  <a:pt x="0" y="2797633"/>
                  <a:pt x="0" y="2714286"/>
                </a:cubicBezTo>
                <a:lnTo>
                  <a:pt x="0" y="157131"/>
                </a:lnTo>
                <a:cubicBezTo>
                  <a:pt x="0" y="73784"/>
                  <a:pt x="211" y="-2975"/>
                  <a:pt x="1036" y="8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188000" anchor="ctr">
            <a:noAutofit/>
          </a:bodyPr>
          <a:lstStyle>
            <a:lvl1pPr marL="0" indent="0" algn="ctr"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156" name="Tijdelijke aanduiding voor tekst 5">
            <a:extLst>
              <a:ext uri="{FF2B5EF4-FFF2-40B4-BE49-F238E27FC236}">
                <a16:creationId xmlns:a16="http://schemas.microsoft.com/office/drawing/2014/main" id="{9E15389D-5806-474F-9FEF-A9CFC8A7F10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191528" y="19884610"/>
            <a:ext cx="8792735" cy="1515884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grpSp>
        <p:nvGrpSpPr>
          <p:cNvPr id="23" name="Groep 77">
            <a:extLst>
              <a:ext uri="{FF2B5EF4-FFF2-40B4-BE49-F238E27FC236}">
                <a16:creationId xmlns:a16="http://schemas.microsoft.com/office/drawing/2014/main" id="{0468A530-E655-4CD0-9279-D73BD9964B56}"/>
              </a:ext>
            </a:extLst>
          </p:cNvPr>
          <p:cNvGrpSpPr/>
          <p:nvPr userDrawn="1"/>
        </p:nvGrpSpPr>
        <p:grpSpPr>
          <a:xfrm>
            <a:off x="43467414" y="0"/>
            <a:ext cx="13065546" cy="24210246"/>
            <a:chOff x="12391601" y="0"/>
            <a:chExt cx="3724699" cy="5484152"/>
          </a:xfrm>
        </p:grpSpPr>
        <p:sp>
          <p:nvSpPr>
            <p:cNvPr id="30" name="Rechthoek 78">
              <a:extLst>
                <a:ext uri="{FF2B5EF4-FFF2-40B4-BE49-F238E27FC236}">
                  <a16:creationId xmlns:a16="http://schemas.microsoft.com/office/drawing/2014/main" id="{CB2EF92C-47CE-4B1C-8716-E252AD601198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34" name="Ovaal 79">
              <a:extLst>
                <a:ext uri="{FF2B5EF4-FFF2-40B4-BE49-F238E27FC236}">
                  <a16:creationId xmlns:a16="http://schemas.microsoft.com/office/drawing/2014/main" id="{E64DCE4A-B2F3-40EF-B3AB-99C66418E59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" name="Rechte verbindingslijn 80">
              <a:extLst>
                <a:ext uri="{FF2B5EF4-FFF2-40B4-BE49-F238E27FC236}">
                  <a16:creationId xmlns:a16="http://schemas.microsoft.com/office/drawing/2014/main" id="{6E501F87-2B4D-4305-865A-BAEE2B2BAB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9" name="Rechte verbindingslijn 81">
              <a:extLst>
                <a:ext uri="{FF2B5EF4-FFF2-40B4-BE49-F238E27FC236}">
                  <a16:creationId xmlns:a16="http://schemas.microsoft.com/office/drawing/2014/main" id="{308FF073-FC3F-4D40-869F-C44E3F53890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0" name="Rechthoek 82">
              <a:extLst>
                <a:ext uri="{FF2B5EF4-FFF2-40B4-BE49-F238E27FC236}">
                  <a16:creationId xmlns:a16="http://schemas.microsoft.com/office/drawing/2014/main" id="{4FFC976C-D85D-41A4-975F-E5F2F9BA884F}"/>
                </a:ext>
              </a:extLst>
            </p:cNvPr>
            <p:cNvSpPr/>
            <p:nvPr userDrawn="1"/>
          </p:nvSpPr>
          <p:spPr>
            <a:xfrm>
              <a:off x="12757282" y="432552"/>
              <a:ext cx="335901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fbeelding door deze te selecteren en op 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m een nieuwe afbeelding in te voegen.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1" name="Ovaal 83">
              <a:extLst>
                <a:ext uri="{FF2B5EF4-FFF2-40B4-BE49-F238E27FC236}">
                  <a16:creationId xmlns:a16="http://schemas.microsoft.com/office/drawing/2014/main" id="{42F6A2B0-90FC-43BB-80EE-D59BC5BAA399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2" name="Rechthoek 84">
              <a:extLst>
                <a:ext uri="{FF2B5EF4-FFF2-40B4-BE49-F238E27FC236}">
                  <a16:creationId xmlns:a16="http://schemas.microsoft.com/office/drawing/2014/main" id="{10F8F89D-8788-4126-9EC5-D945BA72531D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3" name="Groep 85">
              <a:extLst>
                <a:ext uri="{FF2B5EF4-FFF2-40B4-BE49-F238E27FC236}">
                  <a16:creationId xmlns:a16="http://schemas.microsoft.com/office/drawing/2014/main" id="{0E013ED8-1A62-4B6A-85D8-E398F2415EB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77" name="Rechthoek 119">
                <a:extLst>
                  <a:ext uri="{FF2B5EF4-FFF2-40B4-BE49-F238E27FC236}">
                    <a16:creationId xmlns:a16="http://schemas.microsoft.com/office/drawing/2014/main" id="{CAD6791F-9DDA-4A28-A37B-25816D2C7BED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78" name="Rechte verbindingslijn 120">
                <a:extLst>
                  <a:ext uri="{FF2B5EF4-FFF2-40B4-BE49-F238E27FC236}">
                    <a16:creationId xmlns:a16="http://schemas.microsoft.com/office/drawing/2014/main" id="{0F2EFEF9-689C-4E65-A9BD-A96F73B337A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79" name="Gelijkbenige driehoek 121">
                <a:extLst>
                  <a:ext uri="{FF2B5EF4-FFF2-40B4-BE49-F238E27FC236}">
                    <a16:creationId xmlns:a16="http://schemas.microsoft.com/office/drawing/2014/main" id="{C81F16C2-653E-4114-839A-E93F04F37D87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44" name="Groep 86">
              <a:extLst>
                <a:ext uri="{FF2B5EF4-FFF2-40B4-BE49-F238E27FC236}">
                  <a16:creationId xmlns:a16="http://schemas.microsoft.com/office/drawing/2014/main" id="{3BB5EC83-5AF4-488B-9938-16CD2B13A485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71" name="Rechthoek 113">
                <a:extLst>
                  <a:ext uri="{FF2B5EF4-FFF2-40B4-BE49-F238E27FC236}">
                    <a16:creationId xmlns:a16="http://schemas.microsoft.com/office/drawing/2014/main" id="{D984611D-AD7C-4050-A672-CD77B8231E14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2" name="Ovaal 114">
                <a:extLst>
                  <a:ext uri="{FF2B5EF4-FFF2-40B4-BE49-F238E27FC236}">
                    <a16:creationId xmlns:a16="http://schemas.microsoft.com/office/drawing/2014/main" id="{2DDD42D3-22F4-4D2B-9167-681EFE0988C4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73" name="Vrije vorm: vorm 115">
                <a:extLst>
                  <a:ext uri="{FF2B5EF4-FFF2-40B4-BE49-F238E27FC236}">
                    <a16:creationId xmlns:a16="http://schemas.microsoft.com/office/drawing/2014/main" id="{2633247A-517D-4A61-932D-CE21137DE44D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74" name="Rechthoek: afgeronde hoeken 116">
                <a:extLst>
                  <a:ext uri="{FF2B5EF4-FFF2-40B4-BE49-F238E27FC236}">
                    <a16:creationId xmlns:a16="http://schemas.microsoft.com/office/drawing/2014/main" id="{934318F6-11A4-4025-AF46-7F2420FA5ED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75" name="Rechte verbindingslijn 117">
                <a:extLst>
                  <a:ext uri="{FF2B5EF4-FFF2-40B4-BE49-F238E27FC236}">
                    <a16:creationId xmlns:a16="http://schemas.microsoft.com/office/drawing/2014/main" id="{959C2DA5-732B-46CF-B312-9907EECEBAC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6" name="Rechte verbindingslijn 118">
                <a:extLst>
                  <a:ext uri="{FF2B5EF4-FFF2-40B4-BE49-F238E27FC236}">
                    <a16:creationId xmlns:a16="http://schemas.microsoft.com/office/drawing/2014/main" id="{7204575F-60DD-419C-AD09-C21157F2811E}"/>
                  </a:ext>
                </a:extLst>
              </p:cNvPr>
              <p:cNvCxnSpPr>
                <a:cxnSpLocks/>
                <a:stCxn id="7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grpSp>
          <p:nvGrpSpPr>
            <p:cNvPr id="45" name="Groep 87">
              <a:extLst>
                <a:ext uri="{FF2B5EF4-FFF2-40B4-BE49-F238E27FC236}">
                  <a16:creationId xmlns:a16="http://schemas.microsoft.com/office/drawing/2014/main" id="{1BDCDCA0-C8B6-423A-B6A4-BE5D008A88C1}"/>
                </a:ext>
              </a:extLst>
            </p:cNvPr>
            <p:cNvGrpSpPr/>
            <p:nvPr userDrawn="1"/>
          </p:nvGrpSpPr>
          <p:grpSpPr>
            <a:xfrm>
              <a:off x="12391601" y="2643684"/>
              <a:ext cx="3183678" cy="2840468"/>
              <a:chOff x="12952763" y="4572241"/>
              <a:chExt cx="3183678" cy="2840468"/>
            </a:xfrm>
          </p:grpSpPr>
          <p:grpSp>
            <p:nvGrpSpPr>
              <p:cNvPr id="46" name="Meer informatie">
                <a:extLst>
                  <a:ext uri="{FF2B5EF4-FFF2-40B4-BE49-F238E27FC236}">
                    <a16:creationId xmlns:a16="http://schemas.microsoft.com/office/drawing/2014/main" id="{EE8D9D7A-12CE-442A-9A5E-9A169076FB52}"/>
                  </a:ext>
                </a:extLst>
              </p:cNvPr>
              <p:cNvGrpSpPr/>
              <p:nvPr userDrawn="1"/>
            </p:nvGrpSpPr>
            <p:grpSpPr>
              <a:xfrm>
                <a:off x="12957926" y="6629436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68" name="Freeform 101">
                  <a:extLst>
                    <a:ext uri="{FF2B5EF4-FFF2-40B4-BE49-F238E27FC236}">
                      <a16:creationId xmlns:a16="http://schemas.microsoft.com/office/drawing/2014/main" id="{885E1488-C4C2-463A-94CE-D3F2769291D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3859" noProof="0"/>
                </a:p>
              </p:txBody>
            </p:sp>
            <p:sp>
              <p:nvSpPr>
                <p:cNvPr id="69" name="Rechthoek 111">
                  <a:extLst>
                    <a:ext uri="{FF2B5EF4-FFF2-40B4-BE49-F238E27FC236}">
                      <a16:creationId xmlns:a16="http://schemas.microsoft.com/office/drawing/2014/main" id="{75557234-A71B-4F6B-A9BB-B9E9BD1AE4A3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3207489" eaLnBrk="1" fontAlgn="auto" latinLnBrk="0" hangingPunct="1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Meer weten?</a:t>
                  </a:r>
                  <a:b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a naar dia </a:t>
                  </a:r>
                  <a:r>
                    <a:rPr kumimoji="0" lang="nl-NL" sz="3859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´Instructie dia: YouTube links´</a:t>
                  </a: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deze in de diavoorstelling en klik op de gewenste video link.</a:t>
                  </a:r>
                </a:p>
              </p:txBody>
            </p:sp>
            <p:cxnSp>
              <p:nvCxnSpPr>
                <p:cNvPr id="70" name="Rechte verbindingslijn 112">
                  <a:extLst>
                    <a:ext uri="{FF2B5EF4-FFF2-40B4-BE49-F238E27FC236}">
                      <a16:creationId xmlns:a16="http://schemas.microsoft.com/office/drawing/2014/main" id="{6F1932C4-9D71-457B-A6BA-9892F3F77D89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47" name="Rechte verbindingslijn 89">
                <a:extLst>
                  <a:ext uri="{FF2B5EF4-FFF2-40B4-BE49-F238E27FC236}">
                    <a16:creationId xmlns:a16="http://schemas.microsoft.com/office/drawing/2014/main" id="{EB176900-69AB-41B9-9BEE-925B239EAE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958423" y="651155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48" name="Ovaal 90">
                <a:extLst>
                  <a:ext uri="{FF2B5EF4-FFF2-40B4-BE49-F238E27FC236}">
                    <a16:creationId xmlns:a16="http://schemas.microsoft.com/office/drawing/2014/main" id="{F0924036-1C20-476C-86C4-DF0762F0BB53}"/>
                  </a:ext>
                </a:extLst>
              </p:cNvPr>
              <p:cNvSpPr/>
              <p:nvPr userDrawn="1"/>
            </p:nvSpPr>
            <p:spPr>
              <a:xfrm>
                <a:off x="12952763" y="4690403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320748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49" name="Rechthoek 91">
                <a:extLst>
                  <a:ext uri="{FF2B5EF4-FFF2-40B4-BE49-F238E27FC236}">
                    <a16:creationId xmlns:a16="http://schemas.microsoft.com/office/drawing/2014/main" id="{B23EBAB0-5449-4C3F-B731-7C013E219477}"/>
                  </a:ext>
                </a:extLst>
              </p:cNvPr>
              <p:cNvSpPr/>
              <p:nvPr userDrawn="1"/>
            </p:nvSpPr>
            <p:spPr>
              <a:xfrm>
                <a:off x="13318445" y="4756466"/>
                <a:ext cx="2817996" cy="887319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Om de afbeelding te schalen of bij te snijden, ga naar de tab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Hulpmiddelen voor afbeeldingen - Opmaak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 en klik op de knop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Bijsnijden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Schaal met de bolletjes de afbeelding en met de hoekjes het afbeeldingskader.</a:t>
                </a:r>
                <a:endPara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50" name="Rechte verbindingslijn 92">
                <a:extLst>
                  <a:ext uri="{FF2B5EF4-FFF2-40B4-BE49-F238E27FC236}">
                    <a16:creationId xmlns:a16="http://schemas.microsoft.com/office/drawing/2014/main" id="{EB445B59-B91B-4EB4-B4CF-9DC1A7F9602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958423" y="457224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51" name="Groep 93">
                <a:extLst>
                  <a:ext uri="{FF2B5EF4-FFF2-40B4-BE49-F238E27FC236}">
                    <a16:creationId xmlns:a16="http://schemas.microsoft.com/office/drawing/2014/main" id="{081846A5-6996-44AF-A2FD-5F3614EB4ACD}"/>
                  </a:ext>
                </a:extLst>
              </p:cNvPr>
              <p:cNvGrpSpPr/>
              <p:nvPr userDrawn="1"/>
            </p:nvGrpSpPr>
            <p:grpSpPr>
              <a:xfrm>
                <a:off x="13257676" y="5773610"/>
                <a:ext cx="514284" cy="612917"/>
                <a:chOff x="12682980" y="3403271"/>
                <a:chExt cx="622284" cy="741637"/>
              </a:xfrm>
            </p:grpSpPr>
            <p:grpSp>
              <p:nvGrpSpPr>
                <p:cNvPr id="52" name="Groep 94">
                  <a:extLst>
                    <a:ext uri="{FF2B5EF4-FFF2-40B4-BE49-F238E27FC236}">
                      <a16:creationId xmlns:a16="http://schemas.microsoft.com/office/drawing/2014/main" id="{1BBE9C95-950A-4E45-82E0-6271D0B4E37A}"/>
                    </a:ext>
                  </a:extLst>
                </p:cNvPr>
                <p:cNvGrpSpPr/>
                <p:nvPr userDrawn="1"/>
              </p:nvGrpSpPr>
              <p:grpSpPr>
                <a:xfrm>
                  <a:off x="12771568" y="3403271"/>
                  <a:ext cx="467138" cy="448459"/>
                  <a:chOff x="12782195" y="3403271"/>
                  <a:chExt cx="467138" cy="448459"/>
                </a:xfrm>
              </p:grpSpPr>
              <p:grpSp>
                <p:nvGrpSpPr>
                  <p:cNvPr id="55" name="Groep 97">
                    <a:extLst>
                      <a:ext uri="{FF2B5EF4-FFF2-40B4-BE49-F238E27FC236}">
                        <a16:creationId xmlns:a16="http://schemas.microsoft.com/office/drawing/2014/main" id="{7AEA0B09-140B-468B-AC61-07FD9B39ECB0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2782195" y="3403271"/>
                    <a:ext cx="412967" cy="393910"/>
                    <a:chOff x="13554906" y="3320143"/>
                    <a:chExt cx="443906" cy="423422"/>
                  </a:xfrm>
                </p:grpSpPr>
                <p:grpSp>
                  <p:nvGrpSpPr>
                    <p:cNvPr id="62" name="Groep 104">
                      <a:extLst>
                        <a:ext uri="{FF2B5EF4-FFF2-40B4-BE49-F238E27FC236}">
                          <a16:creationId xmlns:a16="http://schemas.microsoft.com/office/drawing/2014/main" id="{0354EF40-8196-4104-8A51-CD98155CBEB7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3554906" y="3320143"/>
                      <a:ext cx="443906" cy="423422"/>
                      <a:chOff x="12909684" y="1276177"/>
                      <a:chExt cx="443906" cy="423422"/>
                    </a:xfrm>
                  </p:grpSpPr>
                  <p:sp>
                    <p:nvSpPr>
                      <p:cNvPr id="65" name="Rechthoek 107">
                        <a:extLst>
                          <a:ext uri="{FF2B5EF4-FFF2-40B4-BE49-F238E27FC236}">
                            <a16:creationId xmlns:a16="http://schemas.microsoft.com/office/drawing/2014/main" id="{7621A7A9-FE6A-4BBD-A712-55AE46B42A60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2918700" y="1285299"/>
                        <a:ext cx="434890" cy="414300"/>
                      </a:xfrm>
                      <a:prstGeom prst="rect">
                        <a:avLst/>
                      </a:prstGeom>
                      <a:noFill/>
                      <a:ln w="12700">
                        <a:solidFill>
                          <a:srgbClr val="818181"/>
                        </a:solidFill>
                        <a:prstDash val="dash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2105"/>
                          </a:spcBef>
                          <a:spcAft>
                            <a:spcPts val="2105"/>
                          </a:spcAft>
                        </a:pPr>
                        <a:endParaRPr lang="nl-NL" sz="2806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66" name="Rechthoek 108">
                        <a:extLst>
                          <a:ext uri="{FF2B5EF4-FFF2-40B4-BE49-F238E27FC236}">
                            <a16:creationId xmlns:a16="http://schemas.microsoft.com/office/drawing/2014/main" id="{E9BF3FB5-9508-4AC7-8D70-ACB9EEC81C68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2909684" y="1276177"/>
                        <a:ext cx="261629" cy="257808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12700">
                        <a:solidFill>
                          <a:srgbClr val="81818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2105"/>
                          </a:spcBef>
                          <a:spcAft>
                            <a:spcPts val="2105"/>
                          </a:spcAft>
                        </a:pPr>
                        <a:endParaRPr lang="nl-NL" sz="2806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67" name="Ovaal 109">
                        <a:extLst>
                          <a:ext uri="{FF2B5EF4-FFF2-40B4-BE49-F238E27FC236}">
                            <a16:creationId xmlns:a16="http://schemas.microsoft.com/office/drawing/2014/main" id="{1EDE13F5-A9A3-4675-ACC3-8DBE694D83EF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3069071" y="1308734"/>
                        <a:ext cx="72187" cy="72188"/>
                      </a:xfrm>
                      <a:prstGeom prst="ellipse">
                        <a:avLst/>
                      </a:prstGeom>
                      <a:solidFill>
                        <a:srgbClr val="ECC679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="horz" wrap="square" lIns="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l"/>
                        <a:endParaRPr lang="nl-NL" sz="3509" b="1" noProof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  <p:pic>
                  <p:nvPicPr>
                    <p:cNvPr id="63" name="Afbeelding 105">
                      <a:extLst>
                        <a:ext uri="{FF2B5EF4-FFF2-40B4-BE49-F238E27FC236}">
                          <a16:creationId xmlns:a16="http://schemas.microsoft.com/office/drawing/2014/main" id="{2BB2B0A0-26FD-4422-922E-8256BCEB8A09}"/>
                        </a:ext>
                      </a:extLst>
                    </p:cNvPr>
                    <p:cNvPicPr>
                      <a:picLocks noChangeAspect="1"/>
                    </p:cNvPicPr>
                    <p:nvPr userDrawn="1"/>
                  </p:nvPicPr>
                  <p:blipFill>
                    <a:blip r:embed="rId2" cstate="screen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3567296" y="3424991"/>
                      <a:ext cx="173367" cy="14022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64" name="Afbeelding 106">
                      <a:extLst>
                        <a:ext uri="{FF2B5EF4-FFF2-40B4-BE49-F238E27FC236}">
                          <a16:creationId xmlns:a16="http://schemas.microsoft.com/office/drawing/2014/main" id="{5EA5B6DA-D17B-4A6F-9695-3F6C3FCFAA06}"/>
                        </a:ext>
                      </a:extLst>
                    </p:cNvPr>
                    <p:cNvPicPr>
                      <a:picLocks noChangeAspect="1"/>
                    </p:cNvPicPr>
                    <p:nvPr userDrawn="1"/>
                  </p:nvPicPr>
                  <p:blipFill>
                    <a:blip r:embed="rId4" cstate="screen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5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flipH="1">
                      <a:off x="13635598" y="3454393"/>
                      <a:ext cx="173366" cy="111424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56" name="Groep 98">
                    <a:extLst>
                      <a:ext uri="{FF2B5EF4-FFF2-40B4-BE49-F238E27FC236}">
                        <a16:creationId xmlns:a16="http://schemas.microsoft.com/office/drawing/2014/main" id="{C2700FA0-3DC9-4FB9-86A5-B6413274FA7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103513" y="3705278"/>
                    <a:ext cx="145820" cy="146452"/>
                    <a:chOff x="13096169" y="3602288"/>
                    <a:chExt cx="145820" cy="146452"/>
                  </a:xfrm>
                </p:grpSpPr>
                <p:sp>
                  <p:nvSpPr>
                    <p:cNvPr id="60" name="Rechthoek 102">
                      <a:extLst>
                        <a:ext uri="{FF2B5EF4-FFF2-40B4-BE49-F238E27FC236}">
                          <a16:creationId xmlns:a16="http://schemas.microsoft.com/office/drawing/2014/main" id="{02395FD7-CC1B-402E-BA31-B0749AC11A0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96169" y="360228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1" name="Rechthoek 103">
                      <a:extLst>
                        <a:ext uri="{FF2B5EF4-FFF2-40B4-BE49-F238E27FC236}">
                          <a16:creationId xmlns:a16="http://schemas.microsoft.com/office/drawing/2014/main" id="{D8D86DCD-B10A-4C36-8EEF-39A8008D6B25}"/>
                        </a:ext>
                      </a:extLst>
                    </p:cNvPr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grpSp>
                <p:nvGrpSpPr>
                  <p:cNvPr id="57" name="Groep 99">
                    <a:extLst>
                      <a:ext uri="{FF2B5EF4-FFF2-40B4-BE49-F238E27FC236}">
                        <a16:creationId xmlns:a16="http://schemas.microsoft.com/office/drawing/2014/main" id="{C82629AB-1182-4B1C-B862-48B42F920438}"/>
                      </a:ext>
                    </a:extLst>
                  </p:cNvPr>
                  <p:cNvGrpSpPr/>
                  <p:nvPr userDrawn="1"/>
                </p:nvGrpSpPr>
                <p:grpSpPr>
                  <a:xfrm rot="10800000">
                    <a:off x="13061402" y="3665668"/>
                    <a:ext cx="145820" cy="146461"/>
                    <a:chOff x="13096169" y="3602248"/>
                    <a:chExt cx="145820" cy="146461"/>
                  </a:xfrm>
                </p:grpSpPr>
                <p:sp>
                  <p:nvSpPr>
                    <p:cNvPr id="58" name="Rechthoek 100">
                      <a:extLst>
                        <a:ext uri="{FF2B5EF4-FFF2-40B4-BE49-F238E27FC236}">
                          <a16:creationId xmlns:a16="http://schemas.microsoft.com/office/drawing/2014/main" id="{4C042A34-DC50-40B0-99DE-8A5A1B4920F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96169" y="360224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59" name="Rechthoek 101">
                      <a:extLst>
                        <a:ext uri="{FF2B5EF4-FFF2-40B4-BE49-F238E27FC236}">
                          <a16:creationId xmlns:a16="http://schemas.microsoft.com/office/drawing/2014/main" id="{1DDE9F82-2C0C-4C21-9D1A-913D0051DF45}"/>
                        </a:ext>
                      </a:extLst>
                    </p:cNvPr>
                    <p:cNvSpPr/>
                    <p:nvPr userDrawn="1"/>
                  </p:nvSpPr>
                  <p:spPr>
                    <a:xfrm rot="5400000">
                      <a:off x="13037453" y="3661605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  <p:sp>
              <p:nvSpPr>
                <p:cNvPr id="53" name="Rechthoek 95">
                  <a:extLst>
                    <a:ext uri="{FF2B5EF4-FFF2-40B4-BE49-F238E27FC236}">
                      <a16:creationId xmlns:a16="http://schemas.microsoft.com/office/drawing/2014/main" id="{E6E57F44-B0A2-4528-B0C9-2F6A8F6F7A4D}"/>
                    </a:ext>
                  </a:extLst>
                </p:cNvPr>
                <p:cNvSpPr/>
                <p:nvPr userDrawn="1"/>
              </p:nvSpPr>
              <p:spPr>
                <a:xfrm>
                  <a:off x="12682980" y="3889920"/>
                  <a:ext cx="622284" cy="16117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r>
                    <a:rPr lang="nl-NL" sz="3158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Bijsnijden</a:t>
                  </a:r>
                </a:p>
              </p:txBody>
            </p:sp>
            <p:sp>
              <p:nvSpPr>
                <p:cNvPr id="54" name="Gelijkbenige driehoek 96">
                  <a:extLst>
                    <a:ext uri="{FF2B5EF4-FFF2-40B4-BE49-F238E27FC236}">
                      <a16:creationId xmlns:a16="http://schemas.microsoft.com/office/drawing/2014/main" id="{11B8AC6F-F74A-4A1E-B322-2B5623763CF7}"/>
                    </a:ext>
                  </a:extLst>
                </p:cNvPr>
                <p:cNvSpPr/>
                <p:nvPr userDrawn="1"/>
              </p:nvSpPr>
              <p:spPr>
                <a:xfrm rot="10800000">
                  <a:off x="12950688" y="4093761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pic>
        <p:nvPicPr>
          <p:cNvPr id="80" name="Afbeelding 79">
            <a:extLst>
              <a:ext uri="{FF2B5EF4-FFF2-40B4-BE49-F238E27FC236}">
                <a16:creationId xmlns:a16="http://schemas.microsoft.com/office/drawing/2014/main" id="{6639F2A8-E8F6-4DE3-9FA2-A221B750E3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  <p:grpSp>
        <p:nvGrpSpPr>
          <p:cNvPr id="81" name="Instructie">
            <a:extLst>
              <a:ext uri="{FF2B5EF4-FFF2-40B4-BE49-F238E27FC236}">
                <a16:creationId xmlns:a16="http://schemas.microsoft.com/office/drawing/2014/main" id="{7D0604FF-8B88-4A6C-AE3D-EF159F49580B}"/>
              </a:ext>
            </a:extLst>
          </p:cNvPr>
          <p:cNvGrpSpPr/>
          <p:nvPr userDrawn="1"/>
        </p:nvGrpSpPr>
        <p:grpSpPr>
          <a:xfrm>
            <a:off x="-11761540" y="0"/>
            <a:ext cx="11164508" cy="11743958"/>
            <a:chOff x="-3426088" y="4512342"/>
            <a:chExt cx="3182755" cy="2660264"/>
          </a:xfrm>
        </p:grpSpPr>
        <p:sp>
          <p:nvSpPr>
            <p:cNvPr id="82" name="Rechthoek 127">
              <a:extLst>
                <a:ext uri="{FF2B5EF4-FFF2-40B4-BE49-F238E27FC236}">
                  <a16:creationId xmlns:a16="http://schemas.microsoft.com/office/drawing/2014/main" id="{BF5AAC15-CCCB-403E-A283-66CEE40F0C07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83" name="Rechte verbindingslijn 128">
              <a:extLst>
                <a:ext uri="{FF2B5EF4-FFF2-40B4-BE49-F238E27FC236}">
                  <a16:creationId xmlns:a16="http://schemas.microsoft.com/office/drawing/2014/main" id="{8667BB0D-DE62-447D-9BE0-395814812DD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84" name="Rechthoek 130">
              <a:extLst>
                <a:ext uri="{FF2B5EF4-FFF2-40B4-BE49-F238E27FC236}">
                  <a16:creationId xmlns:a16="http://schemas.microsoft.com/office/drawing/2014/main" id="{00D4CEB4-F52F-4829-AF7E-DE2DF96A2706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85" name="Rechthoek 133">
              <a:extLst>
                <a:ext uri="{FF2B5EF4-FFF2-40B4-BE49-F238E27FC236}">
                  <a16:creationId xmlns:a16="http://schemas.microsoft.com/office/drawing/2014/main" id="{5A1D17C0-9BAE-421A-BF68-3DC91B34E90E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6" name="Rechthoek 136">
              <a:extLst>
                <a:ext uri="{FF2B5EF4-FFF2-40B4-BE49-F238E27FC236}">
                  <a16:creationId xmlns:a16="http://schemas.microsoft.com/office/drawing/2014/main" id="{6B51F6D5-BBA0-4366-B67D-88CCA73266C6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7" name="Rechthoek 139">
              <a:extLst>
                <a:ext uri="{FF2B5EF4-FFF2-40B4-BE49-F238E27FC236}">
                  <a16:creationId xmlns:a16="http://schemas.microsoft.com/office/drawing/2014/main" id="{8B49CDC0-8B02-4340-BC83-610569B95BE3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88" name="Rechte verbindingslijn 140">
              <a:extLst>
                <a:ext uri="{FF2B5EF4-FFF2-40B4-BE49-F238E27FC236}">
                  <a16:creationId xmlns:a16="http://schemas.microsoft.com/office/drawing/2014/main" id="{CF4C8A17-FDC3-46DA-8F4A-21774820140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95485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100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10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10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7" grpId="0" animBg="1"/>
      <p:bldP spid="38" grpId="0" animBg="1"/>
      <p:bldP spid="25" grpId="0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2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2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" grpId="0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2" grpId="0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3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3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5" grpId="0" animBg="1"/>
      <p:bldP spid="156" grpId="0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5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5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rnpunten + Tekstvlakke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jdelijke aanduiding voor afbeelding 35">
            <a:extLst>
              <a:ext uri="{FF2B5EF4-FFF2-40B4-BE49-F238E27FC236}">
                <a16:creationId xmlns:a16="http://schemas.microsoft.com/office/drawing/2014/main" id="{DDF59742-AC42-4AAA-9941-6163D1AD1558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1742383" y="5815907"/>
            <a:ext cx="12350720" cy="6929700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958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82707"/>
              <a:gd name="connsiteX1" fmla="*/ 3386338 w 3520881"/>
              <a:gd name="connsiteY1" fmla="*/ 6216 h 2882707"/>
              <a:gd name="connsiteX2" fmla="*/ 3520881 w 3520881"/>
              <a:gd name="connsiteY2" fmla="*/ 157131 h 2882707"/>
              <a:gd name="connsiteX3" fmla="*/ 3520881 w 3520881"/>
              <a:gd name="connsiteY3" fmla="*/ 2714286 h 2882707"/>
              <a:gd name="connsiteX4" fmla="*/ 3395863 w 3520881"/>
              <a:gd name="connsiteY4" fmla="*/ 2865200 h 2882707"/>
              <a:gd name="connsiteX5" fmla="*/ 125019 w 3520881"/>
              <a:gd name="connsiteY5" fmla="*/ 2882707 h 2882707"/>
              <a:gd name="connsiteX6" fmla="*/ 0 w 3520881"/>
              <a:gd name="connsiteY6" fmla="*/ 2714286 h 2882707"/>
              <a:gd name="connsiteX7" fmla="*/ 0 w 3520881"/>
              <a:gd name="connsiteY7" fmla="*/ 157131 h 2882707"/>
              <a:gd name="connsiteX8" fmla="*/ 1036 w 3520881"/>
              <a:gd name="connsiteY8" fmla="*/ 89 h 2882707"/>
              <a:gd name="connsiteX0" fmla="*/ 1036 w 3522188"/>
              <a:gd name="connsiteY0" fmla="*/ 2627 h 2885245"/>
              <a:gd name="connsiteX1" fmla="*/ 3429201 w 3522188"/>
              <a:gd name="connsiteY1" fmla="*/ 0 h 2885245"/>
              <a:gd name="connsiteX2" fmla="*/ 3520881 w 3522188"/>
              <a:gd name="connsiteY2" fmla="*/ 159669 h 2885245"/>
              <a:gd name="connsiteX3" fmla="*/ 3520881 w 3522188"/>
              <a:gd name="connsiteY3" fmla="*/ 2716824 h 2885245"/>
              <a:gd name="connsiteX4" fmla="*/ 3395863 w 3522188"/>
              <a:gd name="connsiteY4" fmla="*/ 2867738 h 2885245"/>
              <a:gd name="connsiteX5" fmla="*/ 125019 w 3522188"/>
              <a:gd name="connsiteY5" fmla="*/ 2885245 h 2885245"/>
              <a:gd name="connsiteX6" fmla="*/ 0 w 3522188"/>
              <a:gd name="connsiteY6" fmla="*/ 2716824 h 2885245"/>
              <a:gd name="connsiteX7" fmla="*/ 0 w 3522188"/>
              <a:gd name="connsiteY7" fmla="*/ 159669 h 2885245"/>
              <a:gd name="connsiteX8" fmla="*/ 1036 w 3522188"/>
              <a:gd name="connsiteY8" fmla="*/ 2627 h 2885245"/>
              <a:gd name="connsiteX0" fmla="*/ 1036 w 3520918"/>
              <a:gd name="connsiteY0" fmla="*/ 2627 h 2885245"/>
              <a:gd name="connsiteX1" fmla="*/ 3414913 w 3520918"/>
              <a:gd name="connsiteY1" fmla="*/ 0 h 2885245"/>
              <a:gd name="connsiteX2" fmla="*/ 3520881 w 3520918"/>
              <a:gd name="connsiteY2" fmla="*/ 159669 h 2885245"/>
              <a:gd name="connsiteX3" fmla="*/ 3520881 w 3520918"/>
              <a:gd name="connsiteY3" fmla="*/ 2716824 h 2885245"/>
              <a:gd name="connsiteX4" fmla="*/ 3395863 w 3520918"/>
              <a:gd name="connsiteY4" fmla="*/ 2867738 h 2885245"/>
              <a:gd name="connsiteX5" fmla="*/ 125019 w 3520918"/>
              <a:gd name="connsiteY5" fmla="*/ 2885245 h 2885245"/>
              <a:gd name="connsiteX6" fmla="*/ 0 w 3520918"/>
              <a:gd name="connsiteY6" fmla="*/ 2716824 h 2885245"/>
              <a:gd name="connsiteX7" fmla="*/ 0 w 3520918"/>
              <a:gd name="connsiteY7" fmla="*/ 159669 h 2885245"/>
              <a:gd name="connsiteX8" fmla="*/ 1036 w 3520918"/>
              <a:gd name="connsiteY8" fmla="*/ 2627 h 2885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918" h="2885245">
                <a:moveTo>
                  <a:pt x="1036" y="2627"/>
                </a:moveTo>
                <a:lnTo>
                  <a:pt x="3414913" y="0"/>
                </a:lnTo>
                <a:cubicBezTo>
                  <a:pt x="3526042" y="0"/>
                  <a:pt x="3520881" y="76322"/>
                  <a:pt x="3520881" y="159669"/>
                </a:cubicBezTo>
                <a:lnTo>
                  <a:pt x="3520881" y="2716824"/>
                </a:lnTo>
                <a:cubicBezTo>
                  <a:pt x="3520881" y="2800171"/>
                  <a:pt x="3506992" y="2867738"/>
                  <a:pt x="3395863" y="2867738"/>
                </a:cubicBezTo>
                <a:lnTo>
                  <a:pt x="125019" y="2885245"/>
                </a:lnTo>
                <a:cubicBezTo>
                  <a:pt x="13889" y="2885245"/>
                  <a:pt x="0" y="2800171"/>
                  <a:pt x="0" y="2716824"/>
                </a:cubicBezTo>
                <a:lnTo>
                  <a:pt x="0" y="159669"/>
                </a:lnTo>
                <a:cubicBezTo>
                  <a:pt x="0" y="76322"/>
                  <a:pt x="211" y="-437"/>
                  <a:pt x="1036" y="262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972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5" name="Tijdelijke aanduiding voor tekst 5">
            <a:extLst>
              <a:ext uri="{FF2B5EF4-FFF2-40B4-BE49-F238E27FC236}">
                <a16:creationId xmlns:a16="http://schemas.microsoft.com/office/drawing/2014/main" id="{7581CA50-F401-4352-B20E-C61DC891A3E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740476" y="13257591"/>
            <a:ext cx="12352499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6" name="Tijdelijke aanduiding voor tekst 5">
            <a:extLst>
              <a:ext uri="{FF2B5EF4-FFF2-40B4-BE49-F238E27FC236}">
                <a16:creationId xmlns:a16="http://schemas.microsoft.com/office/drawing/2014/main" id="{EE7615E9-55F0-4367-ADAF-BF9E9F9AFF0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265724" y="13257591"/>
            <a:ext cx="12352499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32" name="Tijdelijke aanduiding voor tekst 5">
            <a:extLst>
              <a:ext uri="{FF2B5EF4-FFF2-40B4-BE49-F238E27FC236}">
                <a16:creationId xmlns:a16="http://schemas.microsoft.com/office/drawing/2014/main" id="{1F90D83A-4F8A-4644-B6AA-08EAF0B98A5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8807971" y="13257591"/>
            <a:ext cx="12352499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grpSp>
        <p:nvGrpSpPr>
          <p:cNvPr id="19" name="GRID" hidden="1"/>
          <p:cNvGrpSpPr/>
          <p:nvPr userDrawn="1"/>
        </p:nvGrpSpPr>
        <p:grpSpPr>
          <a:xfrm>
            <a:off x="5" y="0"/>
            <a:ext cx="42767261" cy="30275213"/>
            <a:chOff x="0" y="0"/>
            <a:chExt cx="12192003" cy="6858000"/>
          </a:xfrm>
        </p:grpSpPr>
        <p:sp>
          <p:nvSpPr>
            <p:cNvPr id="20" name="Rechthoek 19"/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1" name="Rechthoek 20"/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2" name="Rechthoek 21"/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4" name="Rechthoek 23"/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8" name="Rechthoek 27">
              <a:extLst>
                <a:ext uri="{FF2B5EF4-FFF2-40B4-BE49-F238E27FC236}">
                  <a16:creationId xmlns:a16="http://schemas.microsoft.com/office/drawing/2014/main" id="{6BC69531-4B5F-447E-B7A9-2951B17E6FC2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6644E39-2AF2-4EA0-9C3F-28C89D5A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8"/>
            <a:ext cx="707315" cy="101640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7" name="Tijdelijke aanduiding voor tekst 14">
            <a:extLst>
              <a:ext uri="{FF2B5EF4-FFF2-40B4-BE49-F238E27FC236}">
                <a16:creationId xmlns:a16="http://schemas.microsoft.com/office/drawing/2014/main" id="{A6BF4B27-7FC5-4896-80CE-3BA6119B83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sp>
        <p:nvSpPr>
          <p:cNvPr id="33" name="Tijdelijke aanduiding voor voettekst 4">
            <a:extLst>
              <a:ext uri="{FF2B5EF4-FFF2-40B4-BE49-F238E27FC236}">
                <a16:creationId xmlns:a16="http://schemas.microsoft.com/office/drawing/2014/main" id="{3C7CF4CB-CF25-44A3-95AE-206B86BFD6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endParaRPr lang="nl-NL" noProof="0"/>
          </a:p>
        </p:txBody>
      </p:sp>
      <p:sp>
        <p:nvSpPr>
          <p:cNvPr id="29" name="Tijdelijke aanduiding voor datum 3">
            <a:extLst>
              <a:ext uri="{FF2B5EF4-FFF2-40B4-BE49-F238E27FC236}">
                <a16:creationId xmlns:a16="http://schemas.microsoft.com/office/drawing/2014/main" id="{53600F14-A3DB-4812-872D-DFA76F4B6A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endParaRPr lang="nl-NL" noProof="0"/>
          </a:p>
        </p:txBody>
      </p:sp>
      <p:sp>
        <p:nvSpPr>
          <p:cNvPr id="170" name="Tijdelijke aanduiding voor tekst 5">
            <a:extLst>
              <a:ext uri="{FF2B5EF4-FFF2-40B4-BE49-F238E27FC236}">
                <a16:creationId xmlns:a16="http://schemas.microsoft.com/office/drawing/2014/main" id="{3F0188AC-8892-4C7B-8E2B-B715F4DDB33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740476" y="24130217"/>
            <a:ext cx="12352499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71" name="Tijdelijke aanduiding voor tekst 5">
            <a:extLst>
              <a:ext uri="{FF2B5EF4-FFF2-40B4-BE49-F238E27FC236}">
                <a16:creationId xmlns:a16="http://schemas.microsoft.com/office/drawing/2014/main" id="{BCD28633-05C1-4036-ACD0-8B909BE0A8A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5265724" y="24130217"/>
            <a:ext cx="12352499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72" name="Tijdelijke aanduiding voor tekst 5">
            <a:extLst>
              <a:ext uri="{FF2B5EF4-FFF2-40B4-BE49-F238E27FC236}">
                <a16:creationId xmlns:a16="http://schemas.microsoft.com/office/drawing/2014/main" id="{FFCDB378-C3AB-408C-9AD4-E299B638AF03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8807971" y="24130217"/>
            <a:ext cx="12352499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73" name="Tijdelijke aanduiding voor afbeelding 35">
            <a:extLst>
              <a:ext uri="{FF2B5EF4-FFF2-40B4-BE49-F238E27FC236}">
                <a16:creationId xmlns:a16="http://schemas.microsoft.com/office/drawing/2014/main" id="{CEF46CD6-D59A-4DA6-83B8-A8A76F0275F7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5267499" y="5815907"/>
            <a:ext cx="12350720" cy="6929700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958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82707"/>
              <a:gd name="connsiteX1" fmla="*/ 3386338 w 3520881"/>
              <a:gd name="connsiteY1" fmla="*/ 6216 h 2882707"/>
              <a:gd name="connsiteX2" fmla="*/ 3520881 w 3520881"/>
              <a:gd name="connsiteY2" fmla="*/ 157131 h 2882707"/>
              <a:gd name="connsiteX3" fmla="*/ 3520881 w 3520881"/>
              <a:gd name="connsiteY3" fmla="*/ 2714286 h 2882707"/>
              <a:gd name="connsiteX4" fmla="*/ 3395863 w 3520881"/>
              <a:gd name="connsiteY4" fmla="*/ 2865200 h 2882707"/>
              <a:gd name="connsiteX5" fmla="*/ 125019 w 3520881"/>
              <a:gd name="connsiteY5" fmla="*/ 2882707 h 2882707"/>
              <a:gd name="connsiteX6" fmla="*/ 0 w 3520881"/>
              <a:gd name="connsiteY6" fmla="*/ 2714286 h 2882707"/>
              <a:gd name="connsiteX7" fmla="*/ 0 w 3520881"/>
              <a:gd name="connsiteY7" fmla="*/ 157131 h 2882707"/>
              <a:gd name="connsiteX8" fmla="*/ 1036 w 3520881"/>
              <a:gd name="connsiteY8" fmla="*/ 89 h 2882707"/>
              <a:gd name="connsiteX0" fmla="*/ 1036 w 3522188"/>
              <a:gd name="connsiteY0" fmla="*/ 2627 h 2885245"/>
              <a:gd name="connsiteX1" fmla="*/ 3429201 w 3522188"/>
              <a:gd name="connsiteY1" fmla="*/ 0 h 2885245"/>
              <a:gd name="connsiteX2" fmla="*/ 3520881 w 3522188"/>
              <a:gd name="connsiteY2" fmla="*/ 159669 h 2885245"/>
              <a:gd name="connsiteX3" fmla="*/ 3520881 w 3522188"/>
              <a:gd name="connsiteY3" fmla="*/ 2716824 h 2885245"/>
              <a:gd name="connsiteX4" fmla="*/ 3395863 w 3522188"/>
              <a:gd name="connsiteY4" fmla="*/ 2867738 h 2885245"/>
              <a:gd name="connsiteX5" fmla="*/ 125019 w 3522188"/>
              <a:gd name="connsiteY5" fmla="*/ 2885245 h 2885245"/>
              <a:gd name="connsiteX6" fmla="*/ 0 w 3522188"/>
              <a:gd name="connsiteY6" fmla="*/ 2716824 h 2885245"/>
              <a:gd name="connsiteX7" fmla="*/ 0 w 3522188"/>
              <a:gd name="connsiteY7" fmla="*/ 159669 h 2885245"/>
              <a:gd name="connsiteX8" fmla="*/ 1036 w 3522188"/>
              <a:gd name="connsiteY8" fmla="*/ 2627 h 2885245"/>
              <a:gd name="connsiteX0" fmla="*/ 1036 w 3520918"/>
              <a:gd name="connsiteY0" fmla="*/ 2627 h 2885245"/>
              <a:gd name="connsiteX1" fmla="*/ 3414913 w 3520918"/>
              <a:gd name="connsiteY1" fmla="*/ 0 h 2885245"/>
              <a:gd name="connsiteX2" fmla="*/ 3520881 w 3520918"/>
              <a:gd name="connsiteY2" fmla="*/ 159669 h 2885245"/>
              <a:gd name="connsiteX3" fmla="*/ 3520881 w 3520918"/>
              <a:gd name="connsiteY3" fmla="*/ 2716824 h 2885245"/>
              <a:gd name="connsiteX4" fmla="*/ 3395863 w 3520918"/>
              <a:gd name="connsiteY4" fmla="*/ 2867738 h 2885245"/>
              <a:gd name="connsiteX5" fmla="*/ 125019 w 3520918"/>
              <a:gd name="connsiteY5" fmla="*/ 2885245 h 2885245"/>
              <a:gd name="connsiteX6" fmla="*/ 0 w 3520918"/>
              <a:gd name="connsiteY6" fmla="*/ 2716824 h 2885245"/>
              <a:gd name="connsiteX7" fmla="*/ 0 w 3520918"/>
              <a:gd name="connsiteY7" fmla="*/ 159669 h 2885245"/>
              <a:gd name="connsiteX8" fmla="*/ 1036 w 3520918"/>
              <a:gd name="connsiteY8" fmla="*/ 2627 h 2885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918" h="2885245">
                <a:moveTo>
                  <a:pt x="1036" y="2627"/>
                </a:moveTo>
                <a:lnTo>
                  <a:pt x="3414913" y="0"/>
                </a:lnTo>
                <a:cubicBezTo>
                  <a:pt x="3526042" y="0"/>
                  <a:pt x="3520881" y="76322"/>
                  <a:pt x="3520881" y="159669"/>
                </a:cubicBezTo>
                <a:lnTo>
                  <a:pt x="3520881" y="2716824"/>
                </a:lnTo>
                <a:cubicBezTo>
                  <a:pt x="3520881" y="2800171"/>
                  <a:pt x="3506992" y="2867738"/>
                  <a:pt x="3395863" y="2867738"/>
                </a:cubicBezTo>
                <a:lnTo>
                  <a:pt x="125019" y="2885245"/>
                </a:lnTo>
                <a:cubicBezTo>
                  <a:pt x="13889" y="2885245"/>
                  <a:pt x="0" y="2800171"/>
                  <a:pt x="0" y="2716824"/>
                </a:cubicBezTo>
                <a:lnTo>
                  <a:pt x="0" y="159669"/>
                </a:lnTo>
                <a:cubicBezTo>
                  <a:pt x="0" y="76322"/>
                  <a:pt x="211" y="-437"/>
                  <a:pt x="1036" y="262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972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174" name="Tijdelijke aanduiding voor afbeelding 35">
            <a:extLst>
              <a:ext uri="{FF2B5EF4-FFF2-40B4-BE49-F238E27FC236}">
                <a16:creationId xmlns:a16="http://schemas.microsoft.com/office/drawing/2014/main" id="{F620ACD4-13AF-4B66-AAF5-56B1F26AF5D4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28809745" y="5815907"/>
            <a:ext cx="12350720" cy="6929700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958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82707"/>
              <a:gd name="connsiteX1" fmla="*/ 3386338 w 3520881"/>
              <a:gd name="connsiteY1" fmla="*/ 6216 h 2882707"/>
              <a:gd name="connsiteX2" fmla="*/ 3520881 w 3520881"/>
              <a:gd name="connsiteY2" fmla="*/ 157131 h 2882707"/>
              <a:gd name="connsiteX3" fmla="*/ 3520881 w 3520881"/>
              <a:gd name="connsiteY3" fmla="*/ 2714286 h 2882707"/>
              <a:gd name="connsiteX4" fmla="*/ 3395863 w 3520881"/>
              <a:gd name="connsiteY4" fmla="*/ 2865200 h 2882707"/>
              <a:gd name="connsiteX5" fmla="*/ 125019 w 3520881"/>
              <a:gd name="connsiteY5" fmla="*/ 2882707 h 2882707"/>
              <a:gd name="connsiteX6" fmla="*/ 0 w 3520881"/>
              <a:gd name="connsiteY6" fmla="*/ 2714286 h 2882707"/>
              <a:gd name="connsiteX7" fmla="*/ 0 w 3520881"/>
              <a:gd name="connsiteY7" fmla="*/ 157131 h 2882707"/>
              <a:gd name="connsiteX8" fmla="*/ 1036 w 3520881"/>
              <a:gd name="connsiteY8" fmla="*/ 89 h 2882707"/>
              <a:gd name="connsiteX0" fmla="*/ 1036 w 3522188"/>
              <a:gd name="connsiteY0" fmla="*/ 2627 h 2885245"/>
              <a:gd name="connsiteX1" fmla="*/ 3429201 w 3522188"/>
              <a:gd name="connsiteY1" fmla="*/ 0 h 2885245"/>
              <a:gd name="connsiteX2" fmla="*/ 3520881 w 3522188"/>
              <a:gd name="connsiteY2" fmla="*/ 159669 h 2885245"/>
              <a:gd name="connsiteX3" fmla="*/ 3520881 w 3522188"/>
              <a:gd name="connsiteY3" fmla="*/ 2716824 h 2885245"/>
              <a:gd name="connsiteX4" fmla="*/ 3395863 w 3522188"/>
              <a:gd name="connsiteY4" fmla="*/ 2867738 h 2885245"/>
              <a:gd name="connsiteX5" fmla="*/ 125019 w 3522188"/>
              <a:gd name="connsiteY5" fmla="*/ 2885245 h 2885245"/>
              <a:gd name="connsiteX6" fmla="*/ 0 w 3522188"/>
              <a:gd name="connsiteY6" fmla="*/ 2716824 h 2885245"/>
              <a:gd name="connsiteX7" fmla="*/ 0 w 3522188"/>
              <a:gd name="connsiteY7" fmla="*/ 159669 h 2885245"/>
              <a:gd name="connsiteX8" fmla="*/ 1036 w 3522188"/>
              <a:gd name="connsiteY8" fmla="*/ 2627 h 2885245"/>
              <a:gd name="connsiteX0" fmla="*/ 1036 w 3520918"/>
              <a:gd name="connsiteY0" fmla="*/ 2627 h 2885245"/>
              <a:gd name="connsiteX1" fmla="*/ 3414913 w 3520918"/>
              <a:gd name="connsiteY1" fmla="*/ 0 h 2885245"/>
              <a:gd name="connsiteX2" fmla="*/ 3520881 w 3520918"/>
              <a:gd name="connsiteY2" fmla="*/ 159669 h 2885245"/>
              <a:gd name="connsiteX3" fmla="*/ 3520881 w 3520918"/>
              <a:gd name="connsiteY3" fmla="*/ 2716824 h 2885245"/>
              <a:gd name="connsiteX4" fmla="*/ 3395863 w 3520918"/>
              <a:gd name="connsiteY4" fmla="*/ 2867738 h 2885245"/>
              <a:gd name="connsiteX5" fmla="*/ 125019 w 3520918"/>
              <a:gd name="connsiteY5" fmla="*/ 2885245 h 2885245"/>
              <a:gd name="connsiteX6" fmla="*/ 0 w 3520918"/>
              <a:gd name="connsiteY6" fmla="*/ 2716824 h 2885245"/>
              <a:gd name="connsiteX7" fmla="*/ 0 w 3520918"/>
              <a:gd name="connsiteY7" fmla="*/ 159669 h 2885245"/>
              <a:gd name="connsiteX8" fmla="*/ 1036 w 3520918"/>
              <a:gd name="connsiteY8" fmla="*/ 2627 h 2885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918" h="2885245">
                <a:moveTo>
                  <a:pt x="1036" y="2627"/>
                </a:moveTo>
                <a:lnTo>
                  <a:pt x="3414913" y="0"/>
                </a:lnTo>
                <a:cubicBezTo>
                  <a:pt x="3526042" y="0"/>
                  <a:pt x="3520881" y="76322"/>
                  <a:pt x="3520881" y="159669"/>
                </a:cubicBezTo>
                <a:lnTo>
                  <a:pt x="3520881" y="2716824"/>
                </a:lnTo>
                <a:cubicBezTo>
                  <a:pt x="3520881" y="2800171"/>
                  <a:pt x="3506992" y="2867738"/>
                  <a:pt x="3395863" y="2867738"/>
                </a:cubicBezTo>
                <a:lnTo>
                  <a:pt x="125019" y="2885245"/>
                </a:lnTo>
                <a:cubicBezTo>
                  <a:pt x="13889" y="2885245"/>
                  <a:pt x="0" y="2800171"/>
                  <a:pt x="0" y="2716824"/>
                </a:cubicBezTo>
                <a:lnTo>
                  <a:pt x="0" y="159669"/>
                </a:lnTo>
                <a:cubicBezTo>
                  <a:pt x="0" y="76322"/>
                  <a:pt x="211" y="-437"/>
                  <a:pt x="1036" y="262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972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175" name="Tijdelijke aanduiding voor afbeelding 35">
            <a:extLst>
              <a:ext uri="{FF2B5EF4-FFF2-40B4-BE49-F238E27FC236}">
                <a16:creationId xmlns:a16="http://schemas.microsoft.com/office/drawing/2014/main" id="{D24E1274-C596-458A-AA45-713DA34AEAEF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1742383" y="16696707"/>
            <a:ext cx="12350720" cy="6929700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958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82707"/>
              <a:gd name="connsiteX1" fmla="*/ 3386338 w 3520881"/>
              <a:gd name="connsiteY1" fmla="*/ 6216 h 2882707"/>
              <a:gd name="connsiteX2" fmla="*/ 3520881 w 3520881"/>
              <a:gd name="connsiteY2" fmla="*/ 157131 h 2882707"/>
              <a:gd name="connsiteX3" fmla="*/ 3520881 w 3520881"/>
              <a:gd name="connsiteY3" fmla="*/ 2714286 h 2882707"/>
              <a:gd name="connsiteX4" fmla="*/ 3395863 w 3520881"/>
              <a:gd name="connsiteY4" fmla="*/ 2865200 h 2882707"/>
              <a:gd name="connsiteX5" fmla="*/ 125019 w 3520881"/>
              <a:gd name="connsiteY5" fmla="*/ 2882707 h 2882707"/>
              <a:gd name="connsiteX6" fmla="*/ 0 w 3520881"/>
              <a:gd name="connsiteY6" fmla="*/ 2714286 h 2882707"/>
              <a:gd name="connsiteX7" fmla="*/ 0 w 3520881"/>
              <a:gd name="connsiteY7" fmla="*/ 157131 h 2882707"/>
              <a:gd name="connsiteX8" fmla="*/ 1036 w 3520881"/>
              <a:gd name="connsiteY8" fmla="*/ 89 h 2882707"/>
              <a:gd name="connsiteX0" fmla="*/ 1036 w 3522188"/>
              <a:gd name="connsiteY0" fmla="*/ 2627 h 2885245"/>
              <a:gd name="connsiteX1" fmla="*/ 3429201 w 3522188"/>
              <a:gd name="connsiteY1" fmla="*/ 0 h 2885245"/>
              <a:gd name="connsiteX2" fmla="*/ 3520881 w 3522188"/>
              <a:gd name="connsiteY2" fmla="*/ 159669 h 2885245"/>
              <a:gd name="connsiteX3" fmla="*/ 3520881 w 3522188"/>
              <a:gd name="connsiteY3" fmla="*/ 2716824 h 2885245"/>
              <a:gd name="connsiteX4" fmla="*/ 3395863 w 3522188"/>
              <a:gd name="connsiteY4" fmla="*/ 2867738 h 2885245"/>
              <a:gd name="connsiteX5" fmla="*/ 125019 w 3522188"/>
              <a:gd name="connsiteY5" fmla="*/ 2885245 h 2885245"/>
              <a:gd name="connsiteX6" fmla="*/ 0 w 3522188"/>
              <a:gd name="connsiteY6" fmla="*/ 2716824 h 2885245"/>
              <a:gd name="connsiteX7" fmla="*/ 0 w 3522188"/>
              <a:gd name="connsiteY7" fmla="*/ 159669 h 2885245"/>
              <a:gd name="connsiteX8" fmla="*/ 1036 w 3522188"/>
              <a:gd name="connsiteY8" fmla="*/ 2627 h 2885245"/>
              <a:gd name="connsiteX0" fmla="*/ 1036 w 3520918"/>
              <a:gd name="connsiteY0" fmla="*/ 2627 h 2885245"/>
              <a:gd name="connsiteX1" fmla="*/ 3414913 w 3520918"/>
              <a:gd name="connsiteY1" fmla="*/ 0 h 2885245"/>
              <a:gd name="connsiteX2" fmla="*/ 3520881 w 3520918"/>
              <a:gd name="connsiteY2" fmla="*/ 159669 h 2885245"/>
              <a:gd name="connsiteX3" fmla="*/ 3520881 w 3520918"/>
              <a:gd name="connsiteY3" fmla="*/ 2716824 h 2885245"/>
              <a:gd name="connsiteX4" fmla="*/ 3395863 w 3520918"/>
              <a:gd name="connsiteY4" fmla="*/ 2867738 h 2885245"/>
              <a:gd name="connsiteX5" fmla="*/ 125019 w 3520918"/>
              <a:gd name="connsiteY5" fmla="*/ 2885245 h 2885245"/>
              <a:gd name="connsiteX6" fmla="*/ 0 w 3520918"/>
              <a:gd name="connsiteY6" fmla="*/ 2716824 h 2885245"/>
              <a:gd name="connsiteX7" fmla="*/ 0 w 3520918"/>
              <a:gd name="connsiteY7" fmla="*/ 159669 h 2885245"/>
              <a:gd name="connsiteX8" fmla="*/ 1036 w 3520918"/>
              <a:gd name="connsiteY8" fmla="*/ 2627 h 2885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918" h="2885245">
                <a:moveTo>
                  <a:pt x="1036" y="2627"/>
                </a:moveTo>
                <a:lnTo>
                  <a:pt x="3414913" y="0"/>
                </a:lnTo>
                <a:cubicBezTo>
                  <a:pt x="3526042" y="0"/>
                  <a:pt x="3520881" y="76322"/>
                  <a:pt x="3520881" y="159669"/>
                </a:cubicBezTo>
                <a:lnTo>
                  <a:pt x="3520881" y="2716824"/>
                </a:lnTo>
                <a:cubicBezTo>
                  <a:pt x="3520881" y="2800171"/>
                  <a:pt x="3506992" y="2867738"/>
                  <a:pt x="3395863" y="2867738"/>
                </a:cubicBezTo>
                <a:lnTo>
                  <a:pt x="125019" y="2885245"/>
                </a:lnTo>
                <a:cubicBezTo>
                  <a:pt x="13889" y="2885245"/>
                  <a:pt x="0" y="2800171"/>
                  <a:pt x="0" y="2716824"/>
                </a:cubicBezTo>
                <a:lnTo>
                  <a:pt x="0" y="159669"/>
                </a:lnTo>
                <a:cubicBezTo>
                  <a:pt x="0" y="76322"/>
                  <a:pt x="211" y="-437"/>
                  <a:pt x="1036" y="262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972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176" name="Tijdelijke aanduiding voor afbeelding 35">
            <a:extLst>
              <a:ext uri="{FF2B5EF4-FFF2-40B4-BE49-F238E27FC236}">
                <a16:creationId xmlns:a16="http://schemas.microsoft.com/office/drawing/2014/main" id="{936A94BE-D794-43E5-987F-0D0A37508FAA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15267499" y="16696707"/>
            <a:ext cx="12350720" cy="6929700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958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82707"/>
              <a:gd name="connsiteX1" fmla="*/ 3386338 w 3520881"/>
              <a:gd name="connsiteY1" fmla="*/ 6216 h 2882707"/>
              <a:gd name="connsiteX2" fmla="*/ 3520881 w 3520881"/>
              <a:gd name="connsiteY2" fmla="*/ 157131 h 2882707"/>
              <a:gd name="connsiteX3" fmla="*/ 3520881 w 3520881"/>
              <a:gd name="connsiteY3" fmla="*/ 2714286 h 2882707"/>
              <a:gd name="connsiteX4" fmla="*/ 3395863 w 3520881"/>
              <a:gd name="connsiteY4" fmla="*/ 2865200 h 2882707"/>
              <a:gd name="connsiteX5" fmla="*/ 125019 w 3520881"/>
              <a:gd name="connsiteY5" fmla="*/ 2882707 h 2882707"/>
              <a:gd name="connsiteX6" fmla="*/ 0 w 3520881"/>
              <a:gd name="connsiteY6" fmla="*/ 2714286 h 2882707"/>
              <a:gd name="connsiteX7" fmla="*/ 0 w 3520881"/>
              <a:gd name="connsiteY7" fmla="*/ 157131 h 2882707"/>
              <a:gd name="connsiteX8" fmla="*/ 1036 w 3520881"/>
              <a:gd name="connsiteY8" fmla="*/ 89 h 2882707"/>
              <a:gd name="connsiteX0" fmla="*/ 1036 w 3522188"/>
              <a:gd name="connsiteY0" fmla="*/ 2627 h 2885245"/>
              <a:gd name="connsiteX1" fmla="*/ 3429201 w 3522188"/>
              <a:gd name="connsiteY1" fmla="*/ 0 h 2885245"/>
              <a:gd name="connsiteX2" fmla="*/ 3520881 w 3522188"/>
              <a:gd name="connsiteY2" fmla="*/ 159669 h 2885245"/>
              <a:gd name="connsiteX3" fmla="*/ 3520881 w 3522188"/>
              <a:gd name="connsiteY3" fmla="*/ 2716824 h 2885245"/>
              <a:gd name="connsiteX4" fmla="*/ 3395863 w 3522188"/>
              <a:gd name="connsiteY4" fmla="*/ 2867738 h 2885245"/>
              <a:gd name="connsiteX5" fmla="*/ 125019 w 3522188"/>
              <a:gd name="connsiteY5" fmla="*/ 2885245 h 2885245"/>
              <a:gd name="connsiteX6" fmla="*/ 0 w 3522188"/>
              <a:gd name="connsiteY6" fmla="*/ 2716824 h 2885245"/>
              <a:gd name="connsiteX7" fmla="*/ 0 w 3522188"/>
              <a:gd name="connsiteY7" fmla="*/ 159669 h 2885245"/>
              <a:gd name="connsiteX8" fmla="*/ 1036 w 3522188"/>
              <a:gd name="connsiteY8" fmla="*/ 2627 h 2885245"/>
              <a:gd name="connsiteX0" fmla="*/ 1036 w 3520918"/>
              <a:gd name="connsiteY0" fmla="*/ 2627 h 2885245"/>
              <a:gd name="connsiteX1" fmla="*/ 3414913 w 3520918"/>
              <a:gd name="connsiteY1" fmla="*/ 0 h 2885245"/>
              <a:gd name="connsiteX2" fmla="*/ 3520881 w 3520918"/>
              <a:gd name="connsiteY2" fmla="*/ 159669 h 2885245"/>
              <a:gd name="connsiteX3" fmla="*/ 3520881 w 3520918"/>
              <a:gd name="connsiteY3" fmla="*/ 2716824 h 2885245"/>
              <a:gd name="connsiteX4" fmla="*/ 3395863 w 3520918"/>
              <a:gd name="connsiteY4" fmla="*/ 2867738 h 2885245"/>
              <a:gd name="connsiteX5" fmla="*/ 125019 w 3520918"/>
              <a:gd name="connsiteY5" fmla="*/ 2885245 h 2885245"/>
              <a:gd name="connsiteX6" fmla="*/ 0 w 3520918"/>
              <a:gd name="connsiteY6" fmla="*/ 2716824 h 2885245"/>
              <a:gd name="connsiteX7" fmla="*/ 0 w 3520918"/>
              <a:gd name="connsiteY7" fmla="*/ 159669 h 2885245"/>
              <a:gd name="connsiteX8" fmla="*/ 1036 w 3520918"/>
              <a:gd name="connsiteY8" fmla="*/ 2627 h 2885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918" h="2885245">
                <a:moveTo>
                  <a:pt x="1036" y="2627"/>
                </a:moveTo>
                <a:lnTo>
                  <a:pt x="3414913" y="0"/>
                </a:lnTo>
                <a:cubicBezTo>
                  <a:pt x="3526042" y="0"/>
                  <a:pt x="3520881" y="76322"/>
                  <a:pt x="3520881" y="159669"/>
                </a:cubicBezTo>
                <a:lnTo>
                  <a:pt x="3520881" y="2716824"/>
                </a:lnTo>
                <a:cubicBezTo>
                  <a:pt x="3520881" y="2800171"/>
                  <a:pt x="3506992" y="2867738"/>
                  <a:pt x="3395863" y="2867738"/>
                </a:cubicBezTo>
                <a:lnTo>
                  <a:pt x="125019" y="2885245"/>
                </a:lnTo>
                <a:cubicBezTo>
                  <a:pt x="13889" y="2885245"/>
                  <a:pt x="0" y="2800171"/>
                  <a:pt x="0" y="2716824"/>
                </a:cubicBezTo>
                <a:lnTo>
                  <a:pt x="0" y="159669"/>
                </a:lnTo>
                <a:cubicBezTo>
                  <a:pt x="0" y="76322"/>
                  <a:pt x="211" y="-437"/>
                  <a:pt x="1036" y="262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972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177" name="Tijdelijke aanduiding voor afbeelding 35">
            <a:extLst>
              <a:ext uri="{FF2B5EF4-FFF2-40B4-BE49-F238E27FC236}">
                <a16:creationId xmlns:a16="http://schemas.microsoft.com/office/drawing/2014/main" id="{E5BA7F73-6327-420C-A063-660A2696DB9E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28809745" y="16696707"/>
            <a:ext cx="12350720" cy="6929700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958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82707"/>
              <a:gd name="connsiteX1" fmla="*/ 3386338 w 3520881"/>
              <a:gd name="connsiteY1" fmla="*/ 6216 h 2882707"/>
              <a:gd name="connsiteX2" fmla="*/ 3520881 w 3520881"/>
              <a:gd name="connsiteY2" fmla="*/ 157131 h 2882707"/>
              <a:gd name="connsiteX3" fmla="*/ 3520881 w 3520881"/>
              <a:gd name="connsiteY3" fmla="*/ 2714286 h 2882707"/>
              <a:gd name="connsiteX4" fmla="*/ 3395863 w 3520881"/>
              <a:gd name="connsiteY4" fmla="*/ 2865200 h 2882707"/>
              <a:gd name="connsiteX5" fmla="*/ 125019 w 3520881"/>
              <a:gd name="connsiteY5" fmla="*/ 2882707 h 2882707"/>
              <a:gd name="connsiteX6" fmla="*/ 0 w 3520881"/>
              <a:gd name="connsiteY6" fmla="*/ 2714286 h 2882707"/>
              <a:gd name="connsiteX7" fmla="*/ 0 w 3520881"/>
              <a:gd name="connsiteY7" fmla="*/ 157131 h 2882707"/>
              <a:gd name="connsiteX8" fmla="*/ 1036 w 3520881"/>
              <a:gd name="connsiteY8" fmla="*/ 89 h 2882707"/>
              <a:gd name="connsiteX0" fmla="*/ 1036 w 3522188"/>
              <a:gd name="connsiteY0" fmla="*/ 2627 h 2885245"/>
              <a:gd name="connsiteX1" fmla="*/ 3429201 w 3522188"/>
              <a:gd name="connsiteY1" fmla="*/ 0 h 2885245"/>
              <a:gd name="connsiteX2" fmla="*/ 3520881 w 3522188"/>
              <a:gd name="connsiteY2" fmla="*/ 159669 h 2885245"/>
              <a:gd name="connsiteX3" fmla="*/ 3520881 w 3522188"/>
              <a:gd name="connsiteY3" fmla="*/ 2716824 h 2885245"/>
              <a:gd name="connsiteX4" fmla="*/ 3395863 w 3522188"/>
              <a:gd name="connsiteY4" fmla="*/ 2867738 h 2885245"/>
              <a:gd name="connsiteX5" fmla="*/ 125019 w 3522188"/>
              <a:gd name="connsiteY5" fmla="*/ 2885245 h 2885245"/>
              <a:gd name="connsiteX6" fmla="*/ 0 w 3522188"/>
              <a:gd name="connsiteY6" fmla="*/ 2716824 h 2885245"/>
              <a:gd name="connsiteX7" fmla="*/ 0 w 3522188"/>
              <a:gd name="connsiteY7" fmla="*/ 159669 h 2885245"/>
              <a:gd name="connsiteX8" fmla="*/ 1036 w 3522188"/>
              <a:gd name="connsiteY8" fmla="*/ 2627 h 2885245"/>
              <a:gd name="connsiteX0" fmla="*/ 1036 w 3520918"/>
              <a:gd name="connsiteY0" fmla="*/ 2627 h 2885245"/>
              <a:gd name="connsiteX1" fmla="*/ 3414913 w 3520918"/>
              <a:gd name="connsiteY1" fmla="*/ 0 h 2885245"/>
              <a:gd name="connsiteX2" fmla="*/ 3520881 w 3520918"/>
              <a:gd name="connsiteY2" fmla="*/ 159669 h 2885245"/>
              <a:gd name="connsiteX3" fmla="*/ 3520881 w 3520918"/>
              <a:gd name="connsiteY3" fmla="*/ 2716824 h 2885245"/>
              <a:gd name="connsiteX4" fmla="*/ 3395863 w 3520918"/>
              <a:gd name="connsiteY4" fmla="*/ 2867738 h 2885245"/>
              <a:gd name="connsiteX5" fmla="*/ 125019 w 3520918"/>
              <a:gd name="connsiteY5" fmla="*/ 2885245 h 2885245"/>
              <a:gd name="connsiteX6" fmla="*/ 0 w 3520918"/>
              <a:gd name="connsiteY6" fmla="*/ 2716824 h 2885245"/>
              <a:gd name="connsiteX7" fmla="*/ 0 w 3520918"/>
              <a:gd name="connsiteY7" fmla="*/ 159669 h 2885245"/>
              <a:gd name="connsiteX8" fmla="*/ 1036 w 3520918"/>
              <a:gd name="connsiteY8" fmla="*/ 2627 h 2885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918" h="2885245">
                <a:moveTo>
                  <a:pt x="1036" y="2627"/>
                </a:moveTo>
                <a:lnTo>
                  <a:pt x="3414913" y="0"/>
                </a:lnTo>
                <a:cubicBezTo>
                  <a:pt x="3526042" y="0"/>
                  <a:pt x="3520881" y="76322"/>
                  <a:pt x="3520881" y="159669"/>
                </a:cubicBezTo>
                <a:lnTo>
                  <a:pt x="3520881" y="2716824"/>
                </a:lnTo>
                <a:cubicBezTo>
                  <a:pt x="3520881" y="2800171"/>
                  <a:pt x="3506992" y="2867738"/>
                  <a:pt x="3395863" y="2867738"/>
                </a:cubicBezTo>
                <a:lnTo>
                  <a:pt x="125019" y="2885245"/>
                </a:lnTo>
                <a:cubicBezTo>
                  <a:pt x="13889" y="2885245"/>
                  <a:pt x="0" y="2800171"/>
                  <a:pt x="0" y="2716824"/>
                </a:cubicBezTo>
                <a:lnTo>
                  <a:pt x="0" y="159669"/>
                </a:lnTo>
                <a:cubicBezTo>
                  <a:pt x="0" y="76322"/>
                  <a:pt x="211" y="-437"/>
                  <a:pt x="1036" y="262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972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grpSp>
        <p:nvGrpSpPr>
          <p:cNvPr id="30" name="Groep 77">
            <a:extLst>
              <a:ext uri="{FF2B5EF4-FFF2-40B4-BE49-F238E27FC236}">
                <a16:creationId xmlns:a16="http://schemas.microsoft.com/office/drawing/2014/main" id="{7FB7A082-7B56-4D47-8A59-636070D8C349}"/>
              </a:ext>
            </a:extLst>
          </p:cNvPr>
          <p:cNvGrpSpPr/>
          <p:nvPr userDrawn="1"/>
        </p:nvGrpSpPr>
        <p:grpSpPr>
          <a:xfrm>
            <a:off x="43467414" y="0"/>
            <a:ext cx="13065546" cy="24210246"/>
            <a:chOff x="12391601" y="0"/>
            <a:chExt cx="3724699" cy="5484152"/>
          </a:xfrm>
        </p:grpSpPr>
        <p:sp>
          <p:nvSpPr>
            <p:cNvPr id="34" name="Rechthoek 78">
              <a:extLst>
                <a:ext uri="{FF2B5EF4-FFF2-40B4-BE49-F238E27FC236}">
                  <a16:creationId xmlns:a16="http://schemas.microsoft.com/office/drawing/2014/main" id="{A3C6F6A9-8543-4A32-BC78-6E24E5375DCF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35" name="Ovaal 79">
              <a:extLst>
                <a:ext uri="{FF2B5EF4-FFF2-40B4-BE49-F238E27FC236}">
                  <a16:creationId xmlns:a16="http://schemas.microsoft.com/office/drawing/2014/main" id="{5507D03B-F415-4C78-9C38-FC872CF2BDE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" name="Rechte verbindingslijn 80">
              <a:extLst>
                <a:ext uri="{FF2B5EF4-FFF2-40B4-BE49-F238E27FC236}">
                  <a16:creationId xmlns:a16="http://schemas.microsoft.com/office/drawing/2014/main" id="{52FCC001-8172-4459-84D1-B8191107E7D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8" name="Rechte verbindingslijn 81">
              <a:extLst>
                <a:ext uri="{FF2B5EF4-FFF2-40B4-BE49-F238E27FC236}">
                  <a16:creationId xmlns:a16="http://schemas.microsoft.com/office/drawing/2014/main" id="{026E533A-E5BA-4AED-A381-EE7BD56FE5E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9" name="Rechthoek 82">
              <a:extLst>
                <a:ext uri="{FF2B5EF4-FFF2-40B4-BE49-F238E27FC236}">
                  <a16:creationId xmlns:a16="http://schemas.microsoft.com/office/drawing/2014/main" id="{ADA5BF47-17CA-4065-888D-2F787A8089B5}"/>
                </a:ext>
              </a:extLst>
            </p:cNvPr>
            <p:cNvSpPr/>
            <p:nvPr userDrawn="1"/>
          </p:nvSpPr>
          <p:spPr>
            <a:xfrm>
              <a:off x="12757282" y="432552"/>
              <a:ext cx="335901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fbeelding door deze te selecteren en op 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m een nieuwe afbeelding in te voegen.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0" name="Ovaal 83">
              <a:extLst>
                <a:ext uri="{FF2B5EF4-FFF2-40B4-BE49-F238E27FC236}">
                  <a16:creationId xmlns:a16="http://schemas.microsoft.com/office/drawing/2014/main" id="{C43D33E2-DCBF-4B77-95D4-5CFF220A200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1" name="Rechthoek 84">
              <a:extLst>
                <a:ext uri="{FF2B5EF4-FFF2-40B4-BE49-F238E27FC236}">
                  <a16:creationId xmlns:a16="http://schemas.microsoft.com/office/drawing/2014/main" id="{D0A224A0-DE92-4EC3-9892-7883B699A55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2" name="Groep 85">
              <a:extLst>
                <a:ext uri="{FF2B5EF4-FFF2-40B4-BE49-F238E27FC236}">
                  <a16:creationId xmlns:a16="http://schemas.microsoft.com/office/drawing/2014/main" id="{8818E2C1-2871-4A78-875B-1999AA852CEE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76" name="Rechthoek 119">
                <a:extLst>
                  <a:ext uri="{FF2B5EF4-FFF2-40B4-BE49-F238E27FC236}">
                    <a16:creationId xmlns:a16="http://schemas.microsoft.com/office/drawing/2014/main" id="{20E1018B-3072-4865-9261-9D30EA2E972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77" name="Rechte verbindingslijn 120">
                <a:extLst>
                  <a:ext uri="{FF2B5EF4-FFF2-40B4-BE49-F238E27FC236}">
                    <a16:creationId xmlns:a16="http://schemas.microsoft.com/office/drawing/2014/main" id="{0F90AF25-53A8-4E4C-9525-FDCB981D1F1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78" name="Gelijkbenige driehoek 121">
                <a:extLst>
                  <a:ext uri="{FF2B5EF4-FFF2-40B4-BE49-F238E27FC236}">
                    <a16:creationId xmlns:a16="http://schemas.microsoft.com/office/drawing/2014/main" id="{C97633D9-9A61-4B6F-B9C9-1A80D892538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43" name="Groep 86">
              <a:extLst>
                <a:ext uri="{FF2B5EF4-FFF2-40B4-BE49-F238E27FC236}">
                  <a16:creationId xmlns:a16="http://schemas.microsoft.com/office/drawing/2014/main" id="{71DAE5EE-3170-4B58-B062-69C84764C8F5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70" name="Rechthoek 113">
                <a:extLst>
                  <a:ext uri="{FF2B5EF4-FFF2-40B4-BE49-F238E27FC236}">
                    <a16:creationId xmlns:a16="http://schemas.microsoft.com/office/drawing/2014/main" id="{48659AA0-F397-4A27-8EFB-273794EA337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1" name="Ovaal 114">
                <a:extLst>
                  <a:ext uri="{FF2B5EF4-FFF2-40B4-BE49-F238E27FC236}">
                    <a16:creationId xmlns:a16="http://schemas.microsoft.com/office/drawing/2014/main" id="{42760525-FA29-424D-B56A-D41EBB5EDD93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72" name="Vrije vorm: vorm 115">
                <a:extLst>
                  <a:ext uri="{FF2B5EF4-FFF2-40B4-BE49-F238E27FC236}">
                    <a16:creationId xmlns:a16="http://schemas.microsoft.com/office/drawing/2014/main" id="{97A96654-BC05-4498-936A-B700F911B79A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73" name="Rechthoek: afgeronde hoeken 116">
                <a:extLst>
                  <a:ext uri="{FF2B5EF4-FFF2-40B4-BE49-F238E27FC236}">
                    <a16:creationId xmlns:a16="http://schemas.microsoft.com/office/drawing/2014/main" id="{23435A2C-E1C0-413D-9896-476F9970744D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74" name="Rechte verbindingslijn 117">
                <a:extLst>
                  <a:ext uri="{FF2B5EF4-FFF2-40B4-BE49-F238E27FC236}">
                    <a16:creationId xmlns:a16="http://schemas.microsoft.com/office/drawing/2014/main" id="{1FB12761-E5F7-4E84-BCA3-DBB8EAE4246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5" name="Rechte verbindingslijn 118">
                <a:extLst>
                  <a:ext uri="{FF2B5EF4-FFF2-40B4-BE49-F238E27FC236}">
                    <a16:creationId xmlns:a16="http://schemas.microsoft.com/office/drawing/2014/main" id="{4A397193-DCC7-4B0C-8D3C-96E5CD50F370}"/>
                  </a:ext>
                </a:extLst>
              </p:cNvPr>
              <p:cNvCxnSpPr>
                <a:cxnSpLocks/>
                <a:stCxn id="73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grpSp>
          <p:nvGrpSpPr>
            <p:cNvPr id="44" name="Groep 87">
              <a:extLst>
                <a:ext uri="{FF2B5EF4-FFF2-40B4-BE49-F238E27FC236}">
                  <a16:creationId xmlns:a16="http://schemas.microsoft.com/office/drawing/2014/main" id="{3D1C8F19-F1A0-4D7D-979C-AAA8D94EB9AE}"/>
                </a:ext>
              </a:extLst>
            </p:cNvPr>
            <p:cNvGrpSpPr/>
            <p:nvPr userDrawn="1"/>
          </p:nvGrpSpPr>
          <p:grpSpPr>
            <a:xfrm>
              <a:off x="12391601" y="2643684"/>
              <a:ext cx="3183678" cy="2840468"/>
              <a:chOff x="12952763" y="4572241"/>
              <a:chExt cx="3183678" cy="2840468"/>
            </a:xfrm>
          </p:grpSpPr>
          <p:grpSp>
            <p:nvGrpSpPr>
              <p:cNvPr id="45" name="Meer informatie">
                <a:extLst>
                  <a:ext uri="{FF2B5EF4-FFF2-40B4-BE49-F238E27FC236}">
                    <a16:creationId xmlns:a16="http://schemas.microsoft.com/office/drawing/2014/main" id="{C2049CED-EBBF-4C2D-80B8-559C2A7A5721}"/>
                  </a:ext>
                </a:extLst>
              </p:cNvPr>
              <p:cNvGrpSpPr/>
              <p:nvPr userDrawn="1"/>
            </p:nvGrpSpPr>
            <p:grpSpPr>
              <a:xfrm>
                <a:off x="12957926" y="6629436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67" name="Freeform 101">
                  <a:extLst>
                    <a:ext uri="{FF2B5EF4-FFF2-40B4-BE49-F238E27FC236}">
                      <a16:creationId xmlns:a16="http://schemas.microsoft.com/office/drawing/2014/main" id="{671C6C67-1839-45FF-A02D-BFEC7E4151A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3859" noProof="0"/>
                </a:p>
              </p:txBody>
            </p:sp>
            <p:sp>
              <p:nvSpPr>
                <p:cNvPr id="68" name="Rechthoek 111">
                  <a:extLst>
                    <a:ext uri="{FF2B5EF4-FFF2-40B4-BE49-F238E27FC236}">
                      <a16:creationId xmlns:a16="http://schemas.microsoft.com/office/drawing/2014/main" id="{747274C4-B69D-4818-855A-1CFE00B7783F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3207489" eaLnBrk="1" fontAlgn="auto" latinLnBrk="0" hangingPunct="1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Meer weten?</a:t>
                  </a:r>
                  <a:b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a naar dia </a:t>
                  </a:r>
                  <a:r>
                    <a:rPr kumimoji="0" lang="nl-NL" sz="3859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´Instructie dia: YouTube links´</a:t>
                  </a: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deze in de diavoorstelling en klik op de gewenste video link.</a:t>
                  </a:r>
                </a:p>
              </p:txBody>
            </p:sp>
            <p:cxnSp>
              <p:nvCxnSpPr>
                <p:cNvPr id="69" name="Rechte verbindingslijn 112">
                  <a:extLst>
                    <a:ext uri="{FF2B5EF4-FFF2-40B4-BE49-F238E27FC236}">
                      <a16:creationId xmlns:a16="http://schemas.microsoft.com/office/drawing/2014/main" id="{0984CF39-D099-4E5C-B7A9-4FBCD08FD26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46" name="Rechte verbindingslijn 89">
                <a:extLst>
                  <a:ext uri="{FF2B5EF4-FFF2-40B4-BE49-F238E27FC236}">
                    <a16:creationId xmlns:a16="http://schemas.microsoft.com/office/drawing/2014/main" id="{9553DC39-109E-4225-A711-5B670DC1492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958423" y="651155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47" name="Ovaal 90">
                <a:extLst>
                  <a:ext uri="{FF2B5EF4-FFF2-40B4-BE49-F238E27FC236}">
                    <a16:creationId xmlns:a16="http://schemas.microsoft.com/office/drawing/2014/main" id="{3DBA209E-0536-492B-986F-3A861EA6327E}"/>
                  </a:ext>
                </a:extLst>
              </p:cNvPr>
              <p:cNvSpPr/>
              <p:nvPr userDrawn="1"/>
            </p:nvSpPr>
            <p:spPr>
              <a:xfrm>
                <a:off x="12952763" y="4690403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320748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48" name="Rechthoek 91">
                <a:extLst>
                  <a:ext uri="{FF2B5EF4-FFF2-40B4-BE49-F238E27FC236}">
                    <a16:creationId xmlns:a16="http://schemas.microsoft.com/office/drawing/2014/main" id="{3D1B9EDB-BD7D-42E6-B49D-764578988CC5}"/>
                  </a:ext>
                </a:extLst>
              </p:cNvPr>
              <p:cNvSpPr/>
              <p:nvPr userDrawn="1"/>
            </p:nvSpPr>
            <p:spPr>
              <a:xfrm>
                <a:off x="13318445" y="4756466"/>
                <a:ext cx="2817996" cy="887319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Om de afbeelding te schalen of bij te snijden, ga naar de tab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Hulpmiddelen voor afbeeldingen - Opmaak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 en klik op de knop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Bijsnijden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Schaal met de bolletjes de afbeelding en met de hoekjes het afbeeldingskader.</a:t>
                </a:r>
                <a:endPara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49" name="Rechte verbindingslijn 92">
                <a:extLst>
                  <a:ext uri="{FF2B5EF4-FFF2-40B4-BE49-F238E27FC236}">
                    <a16:creationId xmlns:a16="http://schemas.microsoft.com/office/drawing/2014/main" id="{6DF15216-1283-441F-AF58-77D24140812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958423" y="457224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50" name="Groep 93">
                <a:extLst>
                  <a:ext uri="{FF2B5EF4-FFF2-40B4-BE49-F238E27FC236}">
                    <a16:creationId xmlns:a16="http://schemas.microsoft.com/office/drawing/2014/main" id="{D02A907B-7086-4178-8951-0E3990A332D5}"/>
                  </a:ext>
                </a:extLst>
              </p:cNvPr>
              <p:cNvGrpSpPr/>
              <p:nvPr userDrawn="1"/>
            </p:nvGrpSpPr>
            <p:grpSpPr>
              <a:xfrm>
                <a:off x="13257676" y="5773610"/>
                <a:ext cx="514284" cy="612917"/>
                <a:chOff x="12682980" y="3403271"/>
                <a:chExt cx="622284" cy="741637"/>
              </a:xfrm>
            </p:grpSpPr>
            <p:grpSp>
              <p:nvGrpSpPr>
                <p:cNvPr id="51" name="Groep 94">
                  <a:extLst>
                    <a:ext uri="{FF2B5EF4-FFF2-40B4-BE49-F238E27FC236}">
                      <a16:creationId xmlns:a16="http://schemas.microsoft.com/office/drawing/2014/main" id="{C7AB5EB0-8275-48C2-AD2B-43047AD2C3CB}"/>
                    </a:ext>
                  </a:extLst>
                </p:cNvPr>
                <p:cNvGrpSpPr/>
                <p:nvPr userDrawn="1"/>
              </p:nvGrpSpPr>
              <p:grpSpPr>
                <a:xfrm>
                  <a:off x="12771568" y="3403271"/>
                  <a:ext cx="467138" cy="448459"/>
                  <a:chOff x="12782195" y="3403271"/>
                  <a:chExt cx="467138" cy="448459"/>
                </a:xfrm>
              </p:grpSpPr>
              <p:grpSp>
                <p:nvGrpSpPr>
                  <p:cNvPr id="54" name="Groep 97">
                    <a:extLst>
                      <a:ext uri="{FF2B5EF4-FFF2-40B4-BE49-F238E27FC236}">
                        <a16:creationId xmlns:a16="http://schemas.microsoft.com/office/drawing/2014/main" id="{BC65DB95-F806-4DC5-B0C9-90A42812E12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2782195" y="3403271"/>
                    <a:ext cx="412967" cy="393910"/>
                    <a:chOff x="13554906" y="3320143"/>
                    <a:chExt cx="443906" cy="423422"/>
                  </a:xfrm>
                </p:grpSpPr>
                <p:grpSp>
                  <p:nvGrpSpPr>
                    <p:cNvPr id="61" name="Groep 104">
                      <a:extLst>
                        <a:ext uri="{FF2B5EF4-FFF2-40B4-BE49-F238E27FC236}">
                          <a16:creationId xmlns:a16="http://schemas.microsoft.com/office/drawing/2014/main" id="{5C7A9F0D-81CE-4704-B89E-DCEE3416F49E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3554906" y="3320143"/>
                      <a:ext cx="443906" cy="423422"/>
                      <a:chOff x="12909684" y="1276177"/>
                      <a:chExt cx="443906" cy="423422"/>
                    </a:xfrm>
                  </p:grpSpPr>
                  <p:sp>
                    <p:nvSpPr>
                      <p:cNvPr id="64" name="Rechthoek 107">
                        <a:extLst>
                          <a:ext uri="{FF2B5EF4-FFF2-40B4-BE49-F238E27FC236}">
                            <a16:creationId xmlns:a16="http://schemas.microsoft.com/office/drawing/2014/main" id="{531E2706-17D6-4BB9-95D3-0FB1DF3813E4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2918700" y="1285299"/>
                        <a:ext cx="434890" cy="414300"/>
                      </a:xfrm>
                      <a:prstGeom prst="rect">
                        <a:avLst/>
                      </a:prstGeom>
                      <a:noFill/>
                      <a:ln w="12700">
                        <a:solidFill>
                          <a:srgbClr val="818181"/>
                        </a:solidFill>
                        <a:prstDash val="dash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2105"/>
                          </a:spcBef>
                          <a:spcAft>
                            <a:spcPts val="2105"/>
                          </a:spcAft>
                        </a:pPr>
                        <a:endParaRPr lang="nl-NL" sz="2806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65" name="Rechthoek 108">
                        <a:extLst>
                          <a:ext uri="{FF2B5EF4-FFF2-40B4-BE49-F238E27FC236}">
                            <a16:creationId xmlns:a16="http://schemas.microsoft.com/office/drawing/2014/main" id="{AFFD0FF9-3BF3-4525-9791-DE4663486D65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2909684" y="1276177"/>
                        <a:ext cx="261629" cy="257808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12700">
                        <a:solidFill>
                          <a:srgbClr val="81818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2105"/>
                          </a:spcBef>
                          <a:spcAft>
                            <a:spcPts val="2105"/>
                          </a:spcAft>
                        </a:pPr>
                        <a:endParaRPr lang="nl-NL" sz="2806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66" name="Ovaal 109">
                        <a:extLst>
                          <a:ext uri="{FF2B5EF4-FFF2-40B4-BE49-F238E27FC236}">
                            <a16:creationId xmlns:a16="http://schemas.microsoft.com/office/drawing/2014/main" id="{3989BB42-E495-4291-9515-167435A610A7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3069071" y="1308734"/>
                        <a:ext cx="72187" cy="72188"/>
                      </a:xfrm>
                      <a:prstGeom prst="ellipse">
                        <a:avLst/>
                      </a:prstGeom>
                      <a:solidFill>
                        <a:srgbClr val="ECC679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="horz" wrap="square" lIns="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l"/>
                        <a:endParaRPr lang="nl-NL" sz="3509" b="1" noProof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  <p:pic>
                  <p:nvPicPr>
                    <p:cNvPr id="62" name="Afbeelding 105">
                      <a:extLst>
                        <a:ext uri="{FF2B5EF4-FFF2-40B4-BE49-F238E27FC236}">
                          <a16:creationId xmlns:a16="http://schemas.microsoft.com/office/drawing/2014/main" id="{8933B5C9-7442-4E09-A33D-EFBFF871A8B1}"/>
                        </a:ext>
                      </a:extLst>
                    </p:cNvPr>
                    <p:cNvPicPr>
                      <a:picLocks noChangeAspect="1"/>
                    </p:cNvPicPr>
                    <p:nvPr userDrawn="1"/>
                  </p:nvPicPr>
                  <p:blipFill>
                    <a:blip r:embed="rId2" cstate="screen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3567296" y="3424991"/>
                      <a:ext cx="173367" cy="14022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63" name="Afbeelding 106">
                      <a:extLst>
                        <a:ext uri="{FF2B5EF4-FFF2-40B4-BE49-F238E27FC236}">
                          <a16:creationId xmlns:a16="http://schemas.microsoft.com/office/drawing/2014/main" id="{0081EB06-F1B0-4455-AA9B-4A693599FBCB}"/>
                        </a:ext>
                      </a:extLst>
                    </p:cNvPr>
                    <p:cNvPicPr>
                      <a:picLocks noChangeAspect="1"/>
                    </p:cNvPicPr>
                    <p:nvPr userDrawn="1"/>
                  </p:nvPicPr>
                  <p:blipFill>
                    <a:blip r:embed="rId4" cstate="screen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5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flipH="1">
                      <a:off x="13635598" y="3454393"/>
                      <a:ext cx="173366" cy="111424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55" name="Groep 98">
                    <a:extLst>
                      <a:ext uri="{FF2B5EF4-FFF2-40B4-BE49-F238E27FC236}">
                        <a16:creationId xmlns:a16="http://schemas.microsoft.com/office/drawing/2014/main" id="{A55642DD-6F47-4176-B9AF-7FB23EBB392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103513" y="3705278"/>
                    <a:ext cx="145820" cy="146452"/>
                    <a:chOff x="13096169" y="3602288"/>
                    <a:chExt cx="145820" cy="146452"/>
                  </a:xfrm>
                </p:grpSpPr>
                <p:sp>
                  <p:nvSpPr>
                    <p:cNvPr id="59" name="Rechthoek 102">
                      <a:extLst>
                        <a:ext uri="{FF2B5EF4-FFF2-40B4-BE49-F238E27FC236}">
                          <a16:creationId xmlns:a16="http://schemas.microsoft.com/office/drawing/2014/main" id="{8D454A61-AD7E-452F-BFCE-1AB74E96D20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96169" y="360228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0" name="Rechthoek 103">
                      <a:extLst>
                        <a:ext uri="{FF2B5EF4-FFF2-40B4-BE49-F238E27FC236}">
                          <a16:creationId xmlns:a16="http://schemas.microsoft.com/office/drawing/2014/main" id="{E436B1EC-4B74-4D84-A20E-1C690F824932}"/>
                        </a:ext>
                      </a:extLst>
                    </p:cNvPr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grpSp>
                <p:nvGrpSpPr>
                  <p:cNvPr id="56" name="Groep 99">
                    <a:extLst>
                      <a:ext uri="{FF2B5EF4-FFF2-40B4-BE49-F238E27FC236}">
                        <a16:creationId xmlns:a16="http://schemas.microsoft.com/office/drawing/2014/main" id="{BD74EB39-5FA1-4374-A24F-AECE8A2FF61C}"/>
                      </a:ext>
                    </a:extLst>
                  </p:cNvPr>
                  <p:cNvGrpSpPr/>
                  <p:nvPr userDrawn="1"/>
                </p:nvGrpSpPr>
                <p:grpSpPr>
                  <a:xfrm rot="10800000">
                    <a:off x="13061402" y="3665668"/>
                    <a:ext cx="145820" cy="146461"/>
                    <a:chOff x="13096169" y="3602248"/>
                    <a:chExt cx="145820" cy="146461"/>
                  </a:xfrm>
                </p:grpSpPr>
                <p:sp>
                  <p:nvSpPr>
                    <p:cNvPr id="57" name="Rechthoek 100">
                      <a:extLst>
                        <a:ext uri="{FF2B5EF4-FFF2-40B4-BE49-F238E27FC236}">
                          <a16:creationId xmlns:a16="http://schemas.microsoft.com/office/drawing/2014/main" id="{810562A6-8E67-483D-A859-5A001C48B76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96169" y="360224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58" name="Rechthoek 101">
                      <a:extLst>
                        <a:ext uri="{FF2B5EF4-FFF2-40B4-BE49-F238E27FC236}">
                          <a16:creationId xmlns:a16="http://schemas.microsoft.com/office/drawing/2014/main" id="{7BAAA463-B34B-4C1B-90D7-4C7606F42C15}"/>
                        </a:ext>
                      </a:extLst>
                    </p:cNvPr>
                    <p:cNvSpPr/>
                    <p:nvPr userDrawn="1"/>
                  </p:nvSpPr>
                  <p:spPr>
                    <a:xfrm rot="5400000">
                      <a:off x="13037453" y="3661605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  <p:sp>
              <p:nvSpPr>
                <p:cNvPr id="52" name="Rechthoek 95">
                  <a:extLst>
                    <a:ext uri="{FF2B5EF4-FFF2-40B4-BE49-F238E27FC236}">
                      <a16:creationId xmlns:a16="http://schemas.microsoft.com/office/drawing/2014/main" id="{C20629BC-E436-45EC-8C8C-F0B0CDC0C933}"/>
                    </a:ext>
                  </a:extLst>
                </p:cNvPr>
                <p:cNvSpPr/>
                <p:nvPr userDrawn="1"/>
              </p:nvSpPr>
              <p:spPr>
                <a:xfrm>
                  <a:off x="12682980" y="3889920"/>
                  <a:ext cx="622284" cy="16117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r>
                    <a:rPr lang="nl-NL" sz="3158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Bijsnijden</a:t>
                  </a:r>
                </a:p>
              </p:txBody>
            </p:sp>
            <p:sp>
              <p:nvSpPr>
                <p:cNvPr id="53" name="Gelijkbenige driehoek 96">
                  <a:extLst>
                    <a:ext uri="{FF2B5EF4-FFF2-40B4-BE49-F238E27FC236}">
                      <a16:creationId xmlns:a16="http://schemas.microsoft.com/office/drawing/2014/main" id="{2392616C-C884-469B-9BDD-930D09DE92BA}"/>
                    </a:ext>
                  </a:extLst>
                </p:cNvPr>
                <p:cNvSpPr/>
                <p:nvPr userDrawn="1"/>
              </p:nvSpPr>
              <p:spPr>
                <a:xfrm rot="10800000">
                  <a:off x="12950688" y="4093761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pic>
        <p:nvPicPr>
          <p:cNvPr id="79" name="Afbeelding 78">
            <a:extLst>
              <a:ext uri="{FF2B5EF4-FFF2-40B4-BE49-F238E27FC236}">
                <a16:creationId xmlns:a16="http://schemas.microsoft.com/office/drawing/2014/main" id="{FFEF7835-07BB-4DA8-AB27-DB859E6A8D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  <p:grpSp>
        <p:nvGrpSpPr>
          <p:cNvPr id="80" name="Instructie">
            <a:extLst>
              <a:ext uri="{FF2B5EF4-FFF2-40B4-BE49-F238E27FC236}">
                <a16:creationId xmlns:a16="http://schemas.microsoft.com/office/drawing/2014/main" id="{770C3081-02B2-4EA5-B67E-7C9629472DC2}"/>
              </a:ext>
            </a:extLst>
          </p:cNvPr>
          <p:cNvGrpSpPr/>
          <p:nvPr userDrawn="1"/>
        </p:nvGrpSpPr>
        <p:grpSpPr>
          <a:xfrm>
            <a:off x="-11761540" y="0"/>
            <a:ext cx="11164508" cy="11743958"/>
            <a:chOff x="-3426088" y="4512342"/>
            <a:chExt cx="3182755" cy="2660264"/>
          </a:xfrm>
        </p:grpSpPr>
        <p:sp>
          <p:nvSpPr>
            <p:cNvPr id="81" name="Rechthoek 127">
              <a:extLst>
                <a:ext uri="{FF2B5EF4-FFF2-40B4-BE49-F238E27FC236}">
                  <a16:creationId xmlns:a16="http://schemas.microsoft.com/office/drawing/2014/main" id="{EB5E83EA-A25A-49D3-B271-48BFD8BD7063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82" name="Rechte verbindingslijn 128">
              <a:extLst>
                <a:ext uri="{FF2B5EF4-FFF2-40B4-BE49-F238E27FC236}">
                  <a16:creationId xmlns:a16="http://schemas.microsoft.com/office/drawing/2014/main" id="{3E5F842F-7DCD-432E-ABDF-93B5971CA5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83" name="Rechthoek 130">
              <a:extLst>
                <a:ext uri="{FF2B5EF4-FFF2-40B4-BE49-F238E27FC236}">
                  <a16:creationId xmlns:a16="http://schemas.microsoft.com/office/drawing/2014/main" id="{C8F58CF4-9698-4C7C-8A5C-B043340A293D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84" name="Rechthoek 133">
              <a:extLst>
                <a:ext uri="{FF2B5EF4-FFF2-40B4-BE49-F238E27FC236}">
                  <a16:creationId xmlns:a16="http://schemas.microsoft.com/office/drawing/2014/main" id="{C62687C3-1FCB-48A1-B3EE-DA002621F05B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5" name="Rechthoek 136">
              <a:extLst>
                <a:ext uri="{FF2B5EF4-FFF2-40B4-BE49-F238E27FC236}">
                  <a16:creationId xmlns:a16="http://schemas.microsoft.com/office/drawing/2014/main" id="{E4EFD6C9-34C8-4845-A321-7F3FFC9619F9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6" name="Rechthoek 139">
              <a:extLst>
                <a:ext uri="{FF2B5EF4-FFF2-40B4-BE49-F238E27FC236}">
                  <a16:creationId xmlns:a16="http://schemas.microsoft.com/office/drawing/2014/main" id="{83AD7091-D037-45FA-BE47-881DB08D6ED1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87" name="Rechte verbindingslijn 140">
              <a:extLst>
                <a:ext uri="{FF2B5EF4-FFF2-40B4-BE49-F238E27FC236}">
                  <a16:creationId xmlns:a16="http://schemas.microsoft.com/office/drawing/2014/main" id="{AD87EEF8-DF38-4DCF-8FBD-1D9DA299A57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551854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25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2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0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1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2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3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3" grpId="0" animBg="1"/>
      <p:bldP spid="174" grpId="0" animBg="1"/>
      <p:bldP spid="175" grpId="0" animBg="1"/>
      <p:bldP spid="176" grpId="0" animBg="1"/>
      <p:bldP spid="177" grpId="0" animBg="1"/>
    </p:bld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rnpunten + Ico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5B16B44F-53F8-4476-BF86-4B2D1AD65ECB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9" y="27329718"/>
            <a:ext cx="834509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9B18BDE9-18FD-4C97-9F64-E73C2C770EF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57139" y="10897677"/>
            <a:ext cx="11802765" cy="13168314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087536" y="0"/>
                </a:lnTo>
                <a:cubicBezTo>
                  <a:pt x="32406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240614" y="2982912"/>
                  <a:pt x="3087536" y="2982912"/>
                </a:cubicBezTo>
                <a:lnTo>
                  <a:pt x="281143" y="2982912"/>
                </a:lnTo>
                <a:cubicBezTo>
                  <a:pt x="12806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>
              <a:defRPr sz="4911">
                <a:solidFill>
                  <a:schemeClr val="bg1"/>
                </a:solidFill>
              </a:defRPr>
            </a:lvl1pPr>
            <a:lvl2pPr>
              <a:defRPr sz="4911">
                <a:solidFill>
                  <a:schemeClr val="bg1"/>
                </a:solidFill>
              </a:defRPr>
            </a:lvl2pPr>
            <a:lvl3pPr>
              <a:defRPr sz="4911">
                <a:solidFill>
                  <a:schemeClr val="bg1"/>
                </a:solidFill>
              </a:defRPr>
            </a:lvl3pPr>
            <a:lvl4pPr>
              <a:defRPr sz="4911">
                <a:solidFill>
                  <a:schemeClr val="bg1"/>
                </a:solidFill>
              </a:defRPr>
            </a:lvl4pPr>
            <a:lvl5pPr>
              <a:defRPr sz="5612"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21" name="Tijdelijke aanduiding voor tekst 3">
            <a:extLst>
              <a:ext uri="{FF2B5EF4-FFF2-40B4-BE49-F238E27FC236}">
                <a16:creationId xmlns:a16="http://schemas.microsoft.com/office/drawing/2014/main" id="{548B21C5-7247-47FE-96DC-CDF5B1CD27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482243" y="10897677"/>
            <a:ext cx="11802765" cy="13168314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087536" y="0"/>
                </a:lnTo>
                <a:cubicBezTo>
                  <a:pt x="32406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240614" y="2982912"/>
                  <a:pt x="3087536" y="2982912"/>
                </a:cubicBezTo>
                <a:lnTo>
                  <a:pt x="281143" y="2982912"/>
                </a:lnTo>
                <a:cubicBezTo>
                  <a:pt x="12806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>
              <a:defRPr sz="4911">
                <a:solidFill>
                  <a:schemeClr val="bg1"/>
                </a:solidFill>
              </a:defRPr>
            </a:lvl1pPr>
            <a:lvl2pPr>
              <a:defRPr sz="4911">
                <a:solidFill>
                  <a:schemeClr val="bg1"/>
                </a:solidFill>
              </a:defRPr>
            </a:lvl2pPr>
            <a:lvl3pPr>
              <a:defRPr sz="4911">
                <a:solidFill>
                  <a:schemeClr val="bg1"/>
                </a:solidFill>
              </a:defRPr>
            </a:lvl3pPr>
            <a:lvl4pPr>
              <a:defRPr sz="4911">
                <a:solidFill>
                  <a:schemeClr val="bg1"/>
                </a:solidFill>
              </a:defRPr>
            </a:lvl4pPr>
            <a:lvl5pPr>
              <a:defRPr sz="5612"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24" name="Tijdelijke aanduiding voor tekst 3">
            <a:extLst>
              <a:ext uri="{FF2B5EF4-FFF2-40B4-BE49-F238E27FC236}">
                <a16:creationId xmlns:a16="http://schemas.microsoft.com/office/drawing/2014/main" id="{DDC7D301-B09D-45A2-84F5-FAC25F143C2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207348" y="10897677"/>
            <a:ext cx="11802765" cy="13168314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087536" y="0"/>
                </a:lnTo>
                <a:cubicBezTo>
                  <a:pt x="32406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240614" y="2982912"/>
                  <a:pt x="3087536" y="2982912"/>
                </a:cubicBezTo>
                <a:lnTo>
                  <a:pt x="281143" y="2982912"/>
                </a:lnTo>
                <a:cubicBezTo>
                  <a:pt x="12806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>
              <a:defRPr sz="4911">
                <a:solidFill>
                  <a:schemeClr val="bg1"/>
                </a:solidFill>
              </a:defRPr>
            </a:lvl1pPr>
            <a:lvl2pPr>
              <a:defRPr sz="4911">
                <a:solidFill>
                  <a:schemeClr val="bg1"/>
                </a:solidFill>
              </a:defRPr>
            </a:lvl2pPr>
            <a:lvl3pPr>
              <a:defRPr sz="4911">
                <a:solidFill>
                  <a:schemeClr val="bg1"/>
                </a:solidFill>
              </a:defRPr>
            </a:lvl3pPr>
            <a:lvl4pPr>
              <a:defRPr sz="4911">
                <a:solidFill>
                  <a:schemeClr val="bg1"/>
                </a:solidFill>
              </a:defRPr>
            </a:lvl4pPr>
            <a:lvl5pPr>
              <a:defRPr sz="5612"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id="{3B2874ED-CC7F-4F0C-BB1D-75A9CC43DC3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9699110" y="8777721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 sz="351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nl-NL" noProof="0"/>
          </a:p>
        </p:txBody>
      </p:sp>
      <p:sp>
        <p:nvSpPr>
          <p:cNvPr id="48" name="Tijdelijke aanduiding voor tekst 14">
            <a:extLst>
              <a:ext uri="{FF2B5EF4-FFF2-40B4-BE49-F238E27FC236}">
                <a16:creationId xmlns:a16="http://schemas.microsoft.com/office/drawing/2014/main" id="{F1653C5F-83B0-4357-9779-FCA8C005D7E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974001" y="8777721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 sz="351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nl-NL" noProof="0"/>
          </a:p>
        </p:txBody>
      </p:sp>
      <p:sp>
        <p:nvSpPr>
          <p:cNvPr id="50" name="Tijdelijke aanduiding voor tekst 14">
            <a:extLst>
              <a:ext uri="{FF2B5EF4-FFF2-40B4-BE49-F238E27FC236}">
                <a16:creationId xmlns:a16="http://schemas.microsoft.com/office/drawing/2014/main" id="{3AA2D7D9-83DC-4599-894C-1EA7D9983FA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424213" y="8777721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 sz="351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nl-NL" noProof="0"/>
          </a:p>
        </p:txBody>
      </p:sp>
      <p:pic>
        <p:nvPicPr>
          <p:cNvPr id="285" name="Afbeelding 284">
            <a:extLst>
              <a:ext uri="{FF2B5EF4-FFF2-40B4-BE49-F238E27FC236}">
                <a16:creationId xmlns:a16="http://schemas.microsoft.com/office/drawing/2014/main" id="{3BD56D34-C124-47A1-AAB3-51268E6794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  <p:grpSp>
        <p:nvGrpSpPr>
          <p:cNvPr id="297" name="Meer informatie">
            <a:extLst>
              <a:ext uri="{FF2B5EF4-FFF2-40B4-BE49-F238E27FC236}">
                <a16:creationId xmlns:a16="http://schemas.microsoft.com/office/drawing/2014/main" id="{69FCEAEE-2275-42B9-AB43-7996341B291E}"/>
              </a:ext>
            </a:extLst>
          </p:cNvPr>
          <p:cNvGrpSpPr/>
          <p:nvPr userDrawn="1"/>
        </p:nvGrpSpPr>
        <p:grpSpPr>
          <a:xfrm>
            <a:off x="43487270" y="1774577"/>
            <a:ext cx="11147891" cy="3644433"/>
            <a:chOff x="-3740989" y="3458473"/>
            <a:chExt cx="3178018" cy="825544"/>
          </a:xfrm>
        </p:grpSpPr>
        <p:sp>
          <p:nvSpPr>
            <p:cNvPr id="298" name="Rechthoek 297">
              <a:extLst>
                <a:ext uri="{FF2B5EF4-FFF2-40B4-BE49-F238E27FC236}">
                  <a16:creationId xmlns:a16="http://schemas.microsoft.com/office/drawing/2014/main" id="{B25CB412-679D-4563-95CD-4519C627EF32}"/>
                </a:ext>
              </a:extLst>
            </p:cNvPr>
            <p:cNvSpPr/>
            <p:nvPr userDrawn="1"/>
          </p:nvSpPr>
          <p:spPr>
            <a:xfrm>
              <a:off x="-3740989" y="3458473"/>
              <a:ext cx="2863716" cy="5921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conen vind je in de slide bibliotheek.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opieer (Ctrl-c) de icoon uit de bibliotheek en plak (Ctrl-v) deze op de gewenste plek. Iconen zijn aanpasbaar qua kleur en formaat.</a:t>
              </a:r>
            </a:p>
          </p:txBody>
        </p:sp>
        <p:cxnSp>
          <p:nvCxnSpPr>
            <p:cNvPr id="299" name="Rechte verbindingslijn 298">
              <a:extLst>
                <a:ext uri="{FF2B5EF4-FFF2-40B4-BE49-F238E27FC236}">
                  <a16:creationId xmlns:a16="http://schemas.microsoft.com/office/drawing/2014/main" id="{3C6B4A04-D8DF-4CA5-AC7B-2CDF9800DE4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740987" y="4284017"/>
              <a:ext cx="3178016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300" name="Rechthoek 299">
            <a:extLst>
              <a:ext uri="{FF2B5EF4-FFF2-40B4-BE49-F238E27FC236}">
                <a16:creationId xmlns:a16="http://schemas.microsoft.com/office/drawing/2014/main" id="{F89205DE-C3DD-4906-977D-F5869FC3C688}"/>
              </a:ext>
            </a:extLst>
          </p:cNvPr>
          <p:cNvSpPr/>
          <p:nvPr userDrawn="1"/>
        </p:nvSpPr>
        <p:spPr>
          <a:xfrm>
            <a:off x="43487272" y="5"/>
            <a:ext cx="11147884" cy="84588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defTabSz="3207489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rPr>
              <a:t>ICOON invoegen / veranderen</a:t>
            </a:r>
          </a:p>
        </p:txBody>
      </p:sp>
      <p:cxnSp>
        <p:nvCxnSpPr>
          <p:cNvPr id="301" name="Rechte verbindingslijn 300">
            <a:extLst>
              <a:ext uri="{FF2B5EF4-FFF2-40B4-BE49-F238E27FC236}">
                <a16:creationId xmlns:a16="http://schemas.microsoft.com/office/drawing/2014/main" id="{CF5A1158-976E-4157-B03D-2FF7CBCE5D0D}"/>
              </a:ext>
            </a:extLst>
          </p:cNvPr>
          <p:cNvCxnSpPr>
            <a:cxnSpLocks/>
          </p:cNvCxnSpPr>
          <p:nvPr userDrawn="1"/>
        </p:nvCxnSpPr>
        <p:spPr>
          <a:xfrm>
            <a:off x="43487269" y="1066718"/>
            <a:ext cx="11147888" cy="0"/>
          </a:xfrm>
          <a:prstGeom prst="line">
            <a:avLst/>
          </a:prstGeom>
          <a:noFill/>
          <a:ln w="3175" cap="flat" cmpd="sng" algn="ctr">
            <a:solidFill>
              <a:schemeClr val="accent1"/>
            </a:solidFill>
            <a:prstDash val="solid"/>
          </a:ln>
          <a:effectLst/>
        </p:spPr>
      </p:cxnSp>
      <p:grpSp>
        <p:nvGrpSpPr>
          <p:cNvPr id="302" name="Instructie">
            <a:extLst>
              <a:ext uri="{FF2B5EF4-FFF2-40B4-BE49-F238E27FC236}">
                <a16:creationId xmlns:a16="http://schemas.microsoft.com/office/drawing/2014/main" id="{152CEB51-48C8-4B7C-B7C9-39A86C65F4D2}"/>
              </a:ext>
            </a:extLst>
          </p:cNvPr>
          <p:cNvGrpSpPr/>
          <p:nvPr userDrawn="1"/>
        </p:nvGrpSpPr>
        <p:grpSpPr>
          <a:xfrm>
            <a:off x="43506534" y="6474547"/>
            <a:ext cx="11164508" cy="11743958"/>
            <a:chOff x="-3426088" y="4512342"/>
            <a:chExt cx="3182755" cy="2660264"/>
          </a:xfrm>
        </p:grpSpPr>
        <p:sp>
          <p:nvSpPr>
            <p:cNvPr id="303" name="Rechthoek 127">
              <a:extLst>
                <a:ext uri="{FF2B5EF4-FFF2-40B4-BE49-F238E27FC236}">
                  <a16:creationId xmlns:a16="http://schemas.microsoft.com/office/drawing/2014/main" id="{76F2455F-F82D-4E88-8010-21D7723C32A2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304" name="Rechte verbindingslijn 128">
              <a:extLst>
                <a:ext uri="{FF2B5EF4-FFF2-40B4-BE49-F238E27FC236}">
                  <a16:creationId xmlns:a16="http://schemas.microsoft.com/office/drawing/2014/main" id="{0B3E4862-C4AA-407C-966A-E8EBDE30B35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05" name="Rechthoek 130">
              <a:extLst>
                <a:ext uri="{FF2B5EF4-FFF2-40B4-BE49-F238E27FC236}">
                  <a16:creationId xmlns:a16="http://schemas.microsoft.com/office/drawing/2014/main" id="{591A4179-76F7-41B9-9617-1E08CC4C4B60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306" name="Rechthoek 133">
              <a:extLst>
                <a:ext uri="{FF2B5EF4-FFF2-40B4-BE49-F238E27FC236}">
                  <a16:creationId xmlns:a16="http://schemas.microsoft.com/office/drawing/2014/main" id="{1A70AE91-902A-4C2E-B515-48E694909317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307" name="Rechthoek 136">
              <a:extLst>
                <a:ext uri="{FF2B5EF4-FFF2-40B4-BE49-F238E27FC236}">
                  <a16:creationId xmlns:a16="http://schemas.microsoft.com/office/drawing/2014/main" id="{5925F747-3FA0-47E9-93E3-A81C74A4898E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308" name="Rechthoek 139">
              <a:extLst>
                <a:ext uri="{FF2B5EF4-FFF2-40B4-BE49-F238E27FC236}">
                  <a16:creationId xmlns:a16="http://schemas.microsoft.com/office/drawing/2014/main" id="{97BA09BA-A822-4E82-9039-7A968C36BB47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309" name="Rechte verbindingslijn 140">
              <a:extLst>
                <a:ext uri="{FF2B5EF4-FFF2-40B4-BE49-F238E27FC236}">
                  <a16:creationId xmlns:a16="http://schemas.microsoft.com/office/drawing/2014/main" id="{0DA6D147-A7F8-4D34-8B2A-2524551C85E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310" name="Groep 101">
            <a:extLst>
              <a:ext uri="{FF2B5EF4-FFF2-40B4-BE49-F238E27FC236}">
                <a16:creationId xmlns:a16="http://schemas.microsoft.com/office/drawing/2014/main" id="{82885683-4B8E-4B6E-8614-5197C14275A8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311" name="Rechthoek 102">
              <a:extLst>
                <a:ext uri="{FF2B5EF4-FFF2-40B4-BE49-F238E27FC236}">
                  <a16:creationId xmlns:a16="http://schemas.microsoft.com/office/drawing/2014/main" id="{13495BBB-F6EA-4A12-B089-66752A7E72AC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312" name="Ovaal 103">
              <a:extLst>
                <a:ext uri="{FF2B5EF4-FFF2-40B4-BE49-F238E27FC236}">
                  <a16:creationId xmlns:a16="http://schemas.microsoft.com/office/drawing/2014/main" id="{DF8731A8-AC67-456D-BB6D-C9FE5C2A4B5C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13" name="Rechte verbindingslijn 104">
              <a:extLst>
                <a:ext uri="{FF2B5EF4-FFF2-40B4-BE49-F238E27FC236}">
                  <a16:creationId xmlns:a16="http://schemas.microsoft.com/office/drawing/2014/main" id="{E9A5108C-BE33-4E02-BC2E-A2F400E2CCD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14" name="Groep 105">
              <a:extLst>
                <a:ext uri="{FF2B5EF4-FFF2-40B4-BE49-F238E27FC236}">
                  <a16:creationId xmlns:a16="http://schemas.microsoft.com/office/drawing/2014/main" id="{83496DC3-8D19-4D2D-BC64-CD3AFF0DC24B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339" name="Rechthoek 130">
                <a:extLst>
                  <a:ext uri="{FF2B5EF4-FFF2-40B4-BE49-F238E27FC236}">
                    <a16:creationId xmlns:a16="http://schemas.microsoft.com/office/drawing/2014/main" id="{9B5B1577-32F2-415E-A250-E59240C4B612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40" name="Rechte verbindingslijn 131">
                <a:extLst>
                  <a:ext uri="{FF2B5EF4-FFF2-40B4-BE49-F238E27FC236}">
                    <a16:creationId xmlns:a16="http://schemas.microsoft.com/office/drawing/2014/main" id="{5FC98B63-D584-44C1-B07C-B7875B3BB8F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1" name="Rechte verbindingslijn 132">
                <a:extLst>
                  <a:ext uri="{FF2B5EF4-FFF2-40B4-BE49-F238E27FC236}">
                    <a16:creationId xmlns:a16="http://schemas.microsoft.com/office/drawing/2014/main" id="{D7C39E6E-E41B-4B78-AEA4-AD388ABFDE6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42" name="Rechthoek 133">
                <a:extLst>
                  <a:ext uri="{FF2B5EF4-FFF2-40B4-BE49-F238E27FC236}">
                    <a16:creationId xmlns:a16="http://schemas.microsoft.com/office/drawing/2014/main" id="{C3B8BE2A-65A8-41EB-B679-E21300F57730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43" name="Groep 134">
                <a:extLst>
                  <a:ext uri="{FF2B5EF4-FFF2-40B4-BE49-F238E27FC236}">
                    <a16:creationId xmlns:a16="http://schemas.microsoft.com/office/drawing/2014/main" id="{7467A5F6-1915-4F14-9025-28B4BD8C052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87" name="Groep 175">
                  <a:extLst>
                    <a:ext uri="{FF2B5EF4-FFF2-40B4-BE49-F238E27FC236}">
                      <a16:creationId xmlns:a16="http://schemas.microsoft.com/office/drawing/2014/main" id="{20AE23E3-37FE-48F2-A6FE-39DFEBFAF80F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91" name="Rechte verbindingslijn 179">
                    <a:extLst>
                      <a:ext uri="{FF2B5EF4-FFF2-40B4-BE49-F238E27FC236}">
                        <a16:creationId xmlns:a16="http://schemas.microsoft.com/office/drawing/2014/main" id="{7FD0C23E-7659-46A0-B1C8-31A7BA78D82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92" name="Rechte verbindingslijn 180">
                    <a:extLst>
                      <a:ext uri="{FF2B5EF4-FFF2-40B4-BE49-F238E27FC236}">
                        <a16:creationId xmlns:a16="http://schemas.microsoft.com/office/drawing/2014/main" id="{2D599BE0-9EDE-4963-943E-12D2D456607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93" name="Rechte verbindingslijn 181">
                    <a:extLst>
                      <a:ext uri="{FF2B5EF4-FFF2-40B4-BE49-F238E27FC236}">
                        <a16:creationId xmlns:a16="http://schemas.microsoft.com/office/drawing/2014/main" id="{86228B0B-E5C7-4418-AD1D-A4011339B3A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94" name="Rechte verbindingslijn 182">
                    <a:extLst>
                      <a:ext uri="{FF2B5EF4-FFF2-40B4-BE49-F238E27FC236}">
                        <a16:creationId xmlns:a16="http://schemas.microsoft.com/office/drawing/2014/main" id="{14180E14-59B9-42D9-B950-6ECD4B0AB2B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95" name="Rechte verbindingslijn 183">
                    <a:extLst>
                      <a:ext uri="{FF2B5EF4-FFF2-40B4-BE49-F238E27FC236}">
                        <a16:creationId xmlns:a16="http://schemas.microsoft.com/office/drawing/2014/main" id="{448D9DB9-BF2F-4212-B26A-E2C6220445F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88" name="Groep 176">
                  <a:extLst>
                    <a:ext uri="{FF2B5EF4-FFF2-40B4-BE49-F238E27FC236}">
                      <a16:creationId xmlns:a16="http://schemas.microsoft.com/office/drawing/2014/main" id="{DDE9B3B2-5058-41A6-830F-1EF9EF7A4DB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89" name="Rechthoek 177">
                    <a:extLst>
                      <a:ext uri="{FF2B5EF4-FFF2-40B4-BE49-F238E27FC236}">
                        <a16:creationId xmlns:a16="http://schemas.microsoft.com/office/drawing/2014/main" id="{01F2A6EC-B4FE-4CEE-840D-A89666751A0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90" name="Pijl: punthaak 178">
                    <a:extLst>
                      <a:ext uri="{FF2B5EF4-FFF2-40B4-BE49-F238E27FC236}">
                        <a16:creationId xmlns:a16="http://schemas.microsoft.com/office/drawing/2014/main" id="{0336D1B9-6624-4126-8B63-022272C3102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344" name="Groep 135">
                <a:extLst>
                  <a:ext uri="{FF2B5EF4-FFF2-40B4-BE49-F238E27FC236}">
                    <a16:creationId xmlns:a16="http://schemas.microsoft.com/office/drawing/2014/main" id="{0579ABEE-C712-44AA-93AA-A3A9DEC4EAF5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373" name="Groep 166">
                  <a:extLst>
                    <a:ext uri="{FF2B5EF4-FFF2-40B4-BE49-F238E27FC236}">
                      <a16:creationId xmlns:a16="http://schemas.microsoft.com/office/drawing/2014/main" id="{392C42FB-0217-4AF3-A038-DAEE71F9EDBF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382" name="Rechte verbindingslijn 170">
                    <a:extLst>
                      <a:ext uri="{FF2B5EF4-FFF2-40B4-BE49-F238E27FC236}">
                        <a16:creationId xmlns:a16="http://schemas.microsoft.com/office/drawing/2014/main" id="{9A82879A-93C2-4D1F-A4B5-6215FE77103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83" name="Rechte verbindingslijn 171">
                    <a:extLst>
                      <a:ext uri="{FF2B5EF4-FFF2-40B4-BE49-F238E27FC236}">
                        <a16:creationId xmlns:a16="http://schemas.microsoft.com/office/drawing/2014/main" id="{3B6A35FD-E776-444C-A7DE-7E47D9AC1AF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84" name="Rechte verbindingslijn 172">
                    <a:extLst>
                      <a:ext uri="{FF2B5EF4-FFF2-40B4-BE49-F238E27FC236}">
                        <a16:creationId xmlns:a16="http://schemas.microsoft.com/office/drawing/2014/main" id="{6711B7D0-526D-4A88-8315-698DA291D98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85" name="Rechte verbindingslijn 173">
                    <a:extLst>
                      <a:ext uri="{FF2B5EF4-FFF2-40B4-BE49-F238E27FC236}">
                        <a16:creationId xmlns:a16="http://schemas.microsoft.com/office/drawing/2014/main" id="{D153E1BC-F0D9-4763-8D1A-7F8F1665FA5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86" name="Rechte verbindingslijn 174">
                    <a:extLst>
                      <a:ext uri="{FF2B5EF4-FFF2-40B4-BE49-F238E27FC236}">
                        <a16:creationId xmlns:a16="http://schemas.microsoft.com/office/drawing/2014/main" id="{CED8E919-6FC7-4417-A11C-703F5702F25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74" name="Groep 167">
                  <a:extLst>
                    <a:ext uri="{FF2B5EF4-FFF2-40B4-BE49-F238E27FC236}">
                      <a16:creationId xmlns:a16="http://schemas.microsoft.com/office/drawing/2014/main" id="{CC39733F-2CE8-406C-8375-67A606BEA4B3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75" name="Rechthoek 168">
                    <a:extLst>
                      <a:ext uri="{FF2B5EF4-FFF2-40B4-BE49-F238E27FC236}">
                        <a16:creationId xmlns:a16="http://schemas.microsoft.com/office/drawing/2014/main" id="{135F9509-2EEE-4D69-936B-E319B13157D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81" name="Pijl: punthaak 169">
                    <a:extLst>
                      <a:ext uri="{FF2B5EF4-FFF2-40B4-BE49-F238E27FC236}">
                        <a16:creationId xmlns:a16="http://schemas.microsoft.com/office/drawing/2014/main" id="{F6E38C57-07CC-449D-A8A7-110544A16D39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345" name="Rechte verbindingslijn 136">
                <a:extLst>
                  <a:ext uri="{FF2B5EF4-FFF2-40B4-BE49-F238E27FC236}">
                    <a16:creationId xmlns:a16="http://schemas.microsoft.com/office/drawing/2014/main" id="{F5B3EBAF-2C40-4835-9329-88153F4F6F7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346" name="Rechte verbindingslijn 137">
                <a:extLst>
                  <a:ext uri="{FF2B5EF4-FFF2-40B4-BE49-F238E27FC236}">
                    <a16:creationId xmlns:a16="http://schemas.microsoft.com/office/drawing/2014/main" id="{5C2E5B54-BE5C-4A72-9503-6EAFC4536A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347" name="Groep 138">
                <a:extLst>
                  <a:ext uri="{FF2B5EF4-FFF2-40B4-BE49-F238E27FC236}">
                    <a16:creationId xmlns:a16="http://schemas.microsoft.com/office/drawing/2014/main" id="{EFA61254-F7CC-4512-89AD-6CBC10CB6E2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362" name="Rechthoek 155">
                  <a:extLst>
                    <a:ext uri="{FF2B5EF4-FFF2-40B4-BE49-F238E27FC236}">
                      <a16:creationId xmlns:a16="http://schemas.microsoft.com/office/drawing/2014/main" id="{E34292FF-3A72-4B91-AC6A-5C3B9BE7228D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63" name="Groep 156">
                  <a:extLst>
                    <a:ext uri="{FF2B5EF4-FFF2-40B4-BE49-F238E27FC236}">
                      <a16:creationId xmlns:a16="http://schemas.microsoft.com/office/drawing/2014/main" id="{F137E10A-FCBB-42BB-9713-B6AF60D49E8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364" name="Groep 157">
                    <a:extLst>
                      <a:ext uri="{FF2B5EF4-FFF2-40B4-BE49-F238E27FC236}">
                        <a16:creationId xmlns:a16="http://schemas.microsoft.com/office/drawing/2014/main" id="{F2231DD6-4081-4C4D-9F2E-2AB9F33213C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368" name="Rechte verbindingslijn 161">
                      <a:extLst>
                        <a:ext uri="{FF2B5EF4-FFF2-40B4-BE49-F238E27FC236}">
                          <a16:creationId xmlns:a16="http://schemas.microsoft.com/office/drawing/2014/main" id="{AA35EB10-5C19-457E-937F-3C3141D9B73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69" name="Rechte verbindingslijn 162">
                      <a:extLst>
                        <a:ext uri="{FF2B5EF4-FFF2-40B4-BE49-F238E27FC236}">
                          <a16:creationId xmlns:a16="http://schemas.microsoft.com/office/drawing/2014/main" id="{6E0FDC50-140D-4A0C-B7DC-372A0038B59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70" name="Rechte verbindingslijn 163">
                      <a:extLst>
                        <a:ext uri="{FF2B5EF4-FFF2-40B4-BE49-F238E27FC236}">
                          <a16:creationId xmlns:a16="http://schemas.microsoft.com/office/drawing/2014/main" id="{62CB0A80-717C-4653-BFAF-4E27C3A833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71" name="Rechte verbindingslijn 164">
                      <a:extLst>
                        <a:ext uri="{FF2B5EF4-FFF2-40B4-BE49-F238E27FC236}">
                          <a16:creationId xmlns:a16="http://schemas.microsoft.com/office/drawing/2014/main" id="{704F4B05-02BC-4170-9482-760B768CF3A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72" name="Rechte verbindingslijn 165">
                      <a:extLst>
                        <a:ext uri="{FF2B5EF4-FFF2-40B4-BE49-F238E27FC236}">
                          <a16:creationId xmlns:a16="http://schemas.microsoft.com/office/drawing/2014/main" id="{80747397-F595-462C-AEE3-0CB2A846827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65" name="Groep 158">
                    <a:extLst>
                      <a:ext uri="{FF2B5EF4-FFF2-40B4-BE49-F238E27FC236}">
                        <a16:creationId xmlns:a16="http://schemas.microsoft.com/office/drawing/2014/main" id="{15DA2067-931A-4FDE-803B-F8B11ED97E4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66" name="Rechthoek 159">
                      <a:extLst>
                        <a:ext uri="{FF2B5EF4-FFF2-40B4-BE49-F238E27FC236}">
                          <a16:creationId xmlns:a16="http://schemas.microsoft.com/office/drawing/2014/main" id="{A73FBEFB-AE93-4F05-A734-05EE56DA761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67" name="Pijl: punthaak 160">
                      <a:extLst>
                        <a:ext uri="{FF2B5EF4-FFF2-40B4-BE49-F238E27FC236}">
                          <a16:creationId xmlns:a16="http://schemas.microsoft.com/office/drawing/2014/main" id="{C704214C-F2EB-4B40-B7C3-C51CAB485871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348" name="Groep 139">
                <a:extLst>
                  <a:ext uri="{FF2B5EF4-FFF2-40B4-BE49-F238E27FC236}">
                    <a16:creationId xmlns:a16="http://schemas.microsoft.com/office/drawing/2014/main" id="{94FF3B3A-06AF-4AA3-888E-F302476FDB93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351" name="Rechthoek 142">
                  <a:extLst>
                    <a:ext uri="{FF2B5EF4-FFF2-40B4-BE49-F238E27FC236}">
                      <a16:creationId xmlns:a16="http://schemas.microsoft.com/office/drawing/2014/main" id="{EB8A0F31-DD84-49C4-9939-6C11D18CEDF7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52" name="Groep 143">
                  <a:extLst>
                    <a:ext uri="{FF2B5EF4-FFF2-40B4-BE49-F238E27FC236}">
                      <a16:creationId xmlns:a16="http://schemas.microsoft.com/office/drawing/2014/main" id="{5FD3D869-DEB8-447D-816C-4CB16C887356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353" name="Groep 144">
                    <a:extLst>
                      <a:ext uri="{FF2B5EF4-FFF2-40B4-BE49-F238E27FC236}">
                        <a16:creationId xmlns:a16="http://schemas.microsoft.com/office/drawing/2014/main" id="{4F263D9E-1DBA-41BA-B7DD-30DC8435AA8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357" name="Rechte verbindingslijn 150">
                      <a:extLst>
                        <a:ext uri="{FF2B5EF4-FFF2-40B4-BE49-F238E27FC236}">
                          <a16:creationId xmlns:a16="http://schemas.microsoft.com/office/drawing/2014/main" id="{ED657FC2-B3A0-42C6-A3AD-C53E5E50C67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58" name="Rechte verbindingslijn 151">
                      <a:extLst>
                        <a:ext uri="{FF2B5EF4-FFF2-40B4-BE49-F238E27FC236}">
                          <a16:creationId xmlns:a16="http://schemas.microsoft.com/office/drawing/2014/main" id="{68CCE9A7-EA2A-4FC5-9D9B-71D1AD4CF1F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59" name="Rechte verbindingslijn 152">
                      <a:extLst>
                        <a:ext uri="{FF2B5EF4-FFF2-40B4-BE49-F238E27FC236}">
                          <a16:creationId xmlns:a16="http://schemas.microsoft.com/office/drawing/2014/main" id="{ABFB228D-07ED-4CAB-9276-8F4F754E65A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60" name="Rechte verbindingslijn 153">
                      <a:extLst>
                        <a:ext uri="{FF2B5EF4-FFF2-40B4-BE49-F238E27FC236}">
                          <a16:creationId xmlns:a16="http://schemas.microsoft.com/office/drawing/2014/main" id="{F2D4D4C7-97A0-4CCF-8287-93BA6175539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61" name="Rechte verbindingslijn 154">
                      <a:extLst>
                        <a:ext uri="{FF2B5EF4-FFF2-40B4-BE49-F238E27FC236}">
                          <a16:creationId xmlns:a16="http://schemas.microsoft.com/office/drawing/2014/main" id="{5DB8E6E3-7B06-49F9-80F1-BFFF487E72E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54" name="Groep 147">
                    <a:extLst>
                      <a:ext uri="{FF2B5EF4-FFF2-40B4-BE49-F238E27FC236}">
                        <a16:creationId xmlns:a16="http://schemas.microsoft.com/office/drawing/2014/main" id="{FC9F8231-7E98-465E-A499-071987F35586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55" name="Rechthoek 148">
                      <a:extLst>
                        <a:ext uri="{FF2B5EF4-FFF2-40B4-BE49-F238E27FC236}">
                          <a16:creationId xmlns:a16="http://schemas.microsoft.com/office/drawing/2014/main" id="{F9D9A11E-87B6-434C-BF89-4A7B9700FA7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56" name="Pijl: punthaak 149">
                      <a:extLst>
                        <a:ext uri="{FF2B5EF4-FFF2-40B4-BE49-F238E27FC236}">
                          <a16:creationId xmlns:a16="http://schemas.microsoft.com/office/drawing/2014/main" id="{2B1449D1-322F-4006-A49A-ADA3CF359FC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349" name="Rechthoek 140">
                <a:extLst>
                  <a:ext uri="{FF2B5EF4-FFF2-40B4-BE49-F238E27FC236}">
                    <a16:creationId xmlns:a16="http://schemas.microsoft.com/office/drawing/2014/main" id="{C9A42063-5C60-49C1-AFFA-621DC38E572C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350" name="Rechthoek 141">
                <a:extLst>
                  <a:ext uri="{FF2B5EF4-FFF2-40B4-BE49-F238E27FC236}">
                    <a16:creationId xmlns:a16="http://schemas.microsoft.com/office/drawing/2014/main" id="{DAF1A558-D03B-44EC-A586-2E02800A5DE1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315" name="Rechte verbindingslijn 106">
              <a:extLst>
                <a:ext uri="{FF2B5EF4-FFF2-40B4-BE49-F238E27FC236}">
                  <a16:creationId xmlns:a16="http://schemas.microsoft.com/office/drawing/2014/main" id="{B0D03FFD-EC8E-42D1-95DD-67F6C8E23B4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16" name="Rechthoek 107">
              <a:extLst>
                <a:ext uri="{FF2B5EF4-FFF2-40B4-BE49-F238E27FC236}">
                  <a16:creationId xmlns:a16="http://schemas.microsoft.com/office/drawing/2014/main" id="{52B2A17A-BCB9-4E4B-A6EC-A716B4BB55C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317" name="Ovaal 108">
              <a:extLst>
                <a:ext uri="{FF2B5EF4-FFF2-40B4-BE49-F238E27FC236}">
                  <a16:creationId xmlns:a16="http://schemas.microsoft.com/office/drawing/2014/main" id="{4F6CA278-408C-42D6-A391-AE3CA9CA5FAF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18" name="Rechthoek 109">
              <a:extLst>
                <a:ext uri="{FF2B5EF4-FFF2-40B4-BE49-F238E27FC236}">
                  <a16:creationId xmlns:a16="http://schemas.microsoft.com/office/drawing/2014/main" id="{919C7443-9933-4217-8F5F-C2C7F94B6E96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319" name="Ovaal 110">
              <a:extLst>
                <a:ext uri="{FF2B5EF4-FFF2-40B4-BE49-F238E27FC236}">
                  <a16:creationId xmlns:a16="http://schemas.microsoft.com/office/drawing/2014/main" id="{0DCA9EF9-2EA7-4367-BB9E-A06D615AFAF0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20" name="Rechthoek 111">
              <a:extLst>
                <a:ext uri="{FF2B5EF4-FFF2-40B4-BE49-F238E27FC236}">
                  <a16:creationId xmlns:a16="http://schemas.microsoft.com/office/drawing/2014/main" id="{5543933C-DE48-4B34-9A15-A18E4CB6B3C5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21" name="Ovaal 112">
              <a:extLst>
                <a:ext uri="{FF2B5EF4-FFF2-40B4-BE49-F238E27FC236}">
                  <a16:creationId xmlns:a16="http://schemas.microsoft.com/office/drawing/2014/main" id="{47A3080B-B3A1-4747-BB7D-67B62ACAB0A4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322" name="Rechthoek 113">
              <a:extLst>
                <a:ext uri="{FF2B5EF4-FFF2-40B4-BE49-F238E27FC236}">
                  <a16:creationId xmlns:a16="http://schemas.microsoft.com/office/drawing/2014/main" id="{98CFCBEE-F625-4557-BB5D-D0B725392755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323" name="Ovaal 114">
              <a:extLst>
                <a:ext uri="{FF2B5EF4-FFF2-40B4-BE49-F238E27FC236}">
                  <a16:creationId xmlns:a16="http://schemas.microsoft.com/office/drawing/2014/main" id="{A4972FA8-4EB2-42AC-A32C-6FA0479B9F57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324" name="Rechthoek 115">
              <a:extLst>
                <a:ext uri="{FF2B5EF4-FFF2-40B4-BE49-F238E27FC236}">
                  <a16:creationId xmlns:a16="http://schemas.microsoft.com/office/drawing/2014/main" id="{E405107A-B042-4158-9E71-197A3D586166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325" name="Rechte verbindingslijn 116">
              <a:extLst>
                <a:ext uri="{FF2B5EF4-FFF2-40B4-BE49-F238E27FC236}">
                  <a16:creationId xmlns:a16="http://schemas.microsoft.com/office/drawing/2014/main" id="{C5FEBCCD-36F1-44C7-8F49-4C3F22F95DD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26" name="Meer informatie">
              <a:extLst>
                <a:ext uri="{FF2B5EF4-FFF2-40B4-BE49-F238E27FC236}">
                  <a16:creationId xmlns:a16="http://schemas.microsoft.com/office/drawing/2014/main" id="{F1B2E75A-50A7-41BE-B464-0BC56D3A8C0B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336" name="Freeform 101">
                <a:extLst>
                  <a:ext uri="{FF2B5EF4-FFF2-40B4-BE49-F238E27FC236}">
                    <a16:creationId xmlns:a16="http://schemas.microsoft.com/office/drawing/2014/main" id="{563307BD-E073-4F2C-A48B-8F6364F765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337" name="Rechthoek 128">
                <a:extLst>
                  <a:ext uri="{FF2B5EF4-FFF2-40B4-BE49-F238E27FC236}">
                    <a16:creationId xmlns:a16="http://schemas.microsoft.com/office/drawing/2014/main" id="{2CD41DAC-BD0A-41BB-89AC-112D7951CA55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38" name="Rechte verbindingslijn 129">
                <a:extLst>
                  <a:ext uri="{FF2B5EF4-FFF2-40B4-BE49-F238E27FC236}">
                    <a16:creationId xmlns:a16="http://schemas.microsoft.com/office/drawing/2014/main" id="{586B4E8A-76DA-4300-87F7-C26443339D4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27" name="Rechthoek 118">
              <a:extLst>
                <a:ext uri="{FF2B5EF4-FFF2-40B4-BE49-F238E27FC236}">
                  <a16:creationId xmlns:a16="http://schemas.microsoft.com/office/drawing/2014/main" id="{71A0633D-A3B1-4F12-B39D-FCBDCF33B6EC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328" name="Ovaal 119">
              <a:extLst>
                <a:ext uri="{FF2B5EF4-FFF2-40B4-BE49-F238E27FC236}">
                  <a16:creationId xmlns:a16="http://schemas.microsoft.com/office/drawing/2014/main" id="{FC368FAE-A5A9-4EFC-80D9-619EA4BA7432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329" name="Rechthoek 120">
              <a:extLst>
                <a:ext uri="{FF2B5EF4-FFF2-40B4-BE49-F238E27FC236}">
                  <a16:creationId xmlns:a16="http://schemas.microsoft.com/office/drawing/2014/main" id="{84410A19-B9B6-4BBF-9B8B-6DF659F1AE29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330" name="Ovaal 121">
              <a:extLst>
                <a:ext uri="{FF2B5EF4-FFF2-40B4-BE49-F238E27FC236}">
                  <a16:creationId xmlns:a16="http://schemas.microsoft.com/office/drawing/2014/main" id="{8F7B5A33-26BC-436A-8A53-D1D272A6DE29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331" name="Rechthoek 122">
              <a:extLst>
                <a:ext uri="{FF2B5EF4-FFF2-40B4-BE49-F238E27FC236}">
                  <a16:creationId xmlns:a16="http://schemas.microsoft.com/office/drawing/2014/main" id="{6CDF8D89-AA1A-4F80-A5E0-A4C8492DC6A4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332" name="Ovaal 123">
              <a:extLst>
                <a:ext uri="{FF2B5EF4-FFF2-40B4-BE49-F238E27FC236}">
                  <a16:creationId xmlns:a16="http://schemas.microsoft.com/office/drawing/2014/main" id="{775AA4EE-9A81-4146-92AC-7A705BAA7813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333" name="Rechthoek 124">
              <a:extLst>
                <a:ext uri="{FF2B5EF4-FFF2-40B4-BE49-F238E27FC236}">
                  <a16:creationId xmlns:a16="http://schemas.microsoft.com/office/drawing/2014/main" id="{E6474284-C655-44E5-A56B-45B27193E44C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334" name="Rechthoek 125">
              <a:extLst>
                <a:ext uri="{FF2B5EF4-FFF2-40B4-BE49-F238E27FC236}">
                  <a16:creationId xmlns:a16="http://schemas.microsoft.com/office/drawing/2014/main" id="{0B41130A-DA03-4915-8C3C-DB2912DEAB5C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335" name="Ovaal 126">
              <a:extLst>
                <a:ext uri="{FF2B5EF4-FFF2-40B4-BE49-F238E27FC236}">
                  <a16:creationId xmlns:a16="http://schemas.microsoft.com/office/drawing/2014/main" id="{D5373442-6EF1-4D97-9202-485DB24F9960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62306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rnpunten + Iconen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err="1"/>
              <a:t>Koptitel</a:t>
            </a:r>
            <a:endParaRPr lang="en-US" noProof="0"/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err="1"/>
              <a:t>Ondertitel</a:t>
            </a:r>
            <a:endParaRPr lang="en-US"/>
          </a:p>
        </p:txBody>
      </p:sp>
      <p:grpSp>
        <p:nvGrpSpPr>
          <p:cNvPr id="38" name="GRID" hidden="1">
            <a:extLst>
              <a:ext uri="{FF2B5EF4-FFF2-40B4-BE49-F238E27FC236}">
                <a16:creationId xmlns:a16="http://schemas.microsoft.com/office/drawing/2014/main" id="{51D5F7E8-69F8-47AD-81F5-1645C97607C1}"/>
              </a:ext>
            </a:extLst>
          </p:cNvPr>
          <p:cNvGrpSpPr/>
          <p:nvPr userDrawn="1"/>
        </p:nvGrpSpPr>
        <p:grpSpPr>
          <a:xfrm>
            <a:off x="5" y="0"/>
            <a:ext cx="42767261" cy="30275213"/>
            <a:chOff x="0" y="0"/>
            <a:chExt cx="12192003" cy="6858000"/>
          </a:xfrm>
        </p:grpSpPr>
        <p:sp>
          <p:nvSpPr>
            <p:cNvPr id="39" name="Rechthoek 38">
              <a:extLst>
                <a:ext uri="{FF2B5EF4-FFF2-40B4-BE49-F238E27FC236}">
                  <a16:creationId xmlns:a16="http://schemas.microsoft.com/office/drawing/2014/main" id="{71DB2C92-E6A8-4532-98F6-C917E7F5CD17}"/>
                </a:ext>
              </a:extLst>
            </p:cNvPr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0" name="Rechthoek 39">
              <a:extLst>
                <a:ext uri="{FF2B5EF4-FFF2-40B4-BE49-F238E27FC236}">
                  <a16:creationId xmlns:a16="http://schemas.microsoft.com/office/drawing/2014/main" id="{1283F161-5F8A-45E1-A9F2-F823FC1CB0A5}"/>
                </a:ext>
              </a:extLst>
            </p:cNvPr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1" name="Rechthoek 40">
              <a:extLst>
                <a:ext uri="{FF2B5EF4-FFF2-40B4-BE49-F238E27FC236}">
                  <a16:creationId xmlns:a16="http://schemas.microsoft.com/office/drawing/2014/main" id="{E25AE021-76F4-4113-9019-FB3CB3351AD2}"/>
                </a:ext>
              </a:extLst>
            </p:cNvPr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2" name="Rechthoek 41">
              <a:extLst>
                <a:ext uri="{FF2B5EF4-FFF2-40B4-BE49-F238E27FC236}">
                  <a16:creationId xmlns:a16="http://schemas.microsoft.com/office/drawing/2014/main" id="{4F56F574-960D-4395-B98C-5F49ED9EF418}"/>
                </a:ext>
              </a:extLst>
            </p:cNvPr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34E307D0-CCA0-4BDF-BC5F-E19838E9F7DA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4" name="Rechthoek 43">
              <a:extLst>
                <a:ext uri="{FF2B5EF4-FFF2-40B4-BE49-F238E27FC236}">
                  <a16:creationId xmlns:a16="http://schemas.microsoft.com/office/drawing/2014/main" id="{2AEE0B25-FBCC-4048-A2C0-6D97C3E7FEB7}"/>
                </a:ext>
              </a:extLst>
            </p:cNvPr>
            <p:cNvSpPr/>
            <p:nvPr userDrawn="1"/>
          </p:nvSpPr>
          <p:spPr>
            <a:xfrm rot="5400000">
              <a:off x="5895976" y="-108104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8"/>
            <a:ext cx="707315" cy="1016405"/>
          </a:xfrm>
        </p:spPr>
        <p:txBody>
          <a:bodyPr/>
          <a:lstStyle/>
          <a:p>
            <a:fld id="{55B2A88A-B7BD-41B1-9FCB-9BE633251ACA}" type="slidenum">
              <a:rPr lang="en-US" noProof="0" smtClean="0"/>
              <a:t>‹nr.›</a:t>
            </a:fld>
            <a:endParaRPr lang="en-US" noProof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9B18BDE9-18FD-4C97-9F64-E73C2C770EF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57138" y="10288803"/>
            <a:ext cx="8777982" cy="9793572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087536" y="0"/>
                </a:lnTo>
                <a:cubicBezTo>
                  <a:pt x="32406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240614" y="2982912"/>
                  <a:pt x="3087536" y="2982912"/>
                </a:cubicBezTo>
                <a:lnTo>
                  <a:pt x="281143" y="2982912"/>
                </a:lnTo>
                <a:cubicBezTo>
                  <a:pt x="12806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4209">
                <a:solidFill>
                  <a:schemeClr val="bg1"/>
                </a:solidFill>
              </a:defRPr>
            </a:lvl2pPr>
            <a:lvl3pPr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48" name="Tijdelijke aanduiding voor tekst 14">
            <a:extLst>
              <a:ext uri="{FF2B5EF4-FFF2-40B4-BE49-F238E27FC236}">
                <a16:creationId xmlns:a16="http://schemas.microsoft.com/office/drawing/2014/main" id="{F1653C5F-83B0-4357-9779-FCA8C005D7E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61610" y="8083434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0" name="Tijdelijke aanduiding voor tekst 3">
            <a:extLst>
              <a:ext uri="{FF2B5EF4-FFF2-40B4-BE49-F238E27FC236}">
                <a16:creationId xmlns:a16="http://schemas.microsoft.com/office/drawing/2014/main" id="{2CDDE61D-7900-4D30-8C50-19D730DC4B3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176292" y="10288803"/>
            <a:ext cx="8777982" cy="9793572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087536" y="0"/>
                </a:lnTo>
                <a:cubicBezTo>
                  <a:pt x="32406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240614" y="2982912"/>
                  <a:pt x="3087536" y="2982912"/>
                </a:cubicBezTo>
                <a:lnTo>
                  <a:pt x="281143" y="2982912"/>
                </a:lnTo>
                <a:cubicBezTo>
                  <a:pt x="12806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defRPr sz="4209">
                <a:solidFill>
                  <a:schemeClr val="bg1"/>
                </a:solidFill>
              </a:defRPr>
            </a:lvl2pPr>
            <a:lvl3pPr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31" name="Tijdelijke aanduiding voor tekst 14">
            <a:extLst>
              <a:ext uri="{FF2B5EF4-FFF2-40B4-BE49-F238E27FC236}">
                <a16:creationId xmlns:a16="http://schemas.microsoft.com/office/drawing/2014/main" id="{7BCA5047-285E-4616-AF7C-30C41FBE50D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4880762" y="8083434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3" name="Tijdelijke aanduiding voor tekst 3">
            <a:extLst>
              <a:ext uri="{FF2B5EF4-FFF2-40B4-BE49-F238E27FC236}">
                <a16:creationId xmlns:a16="http://schemas.microsoft.com/office/drawing/2014/main" id="{33196E6E-959A-406E-A275-32D18E41825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896856" y="10288803"/>
            <a:ext cx="8777982" cy="9793572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087536" y="0"/>
                </a:lnTo>
                <a:cubicBezTo>
                  <a:pt x="32406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240614" y="2982912"/>
                  <a:pt x="3087536" y="2982912"/>
                </a:cubicBezTo>
                <a:lnTo>
                  <a:pt x="281143" y="2982912"/>
                </a:lnTo>
                <a:cubicBezTo>
                  <a:pt x="12806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4209">
                <a:solidFill>
                  <a:schemeClr val="bg1"/>
                </a:solidFill>
              </a:defRPr>
            </a:lvl2pPr>
            <a:lvl3pPr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34" name="Tijdelijke aanduiding voor tekst 14">
            <a:extLst>
              <a:ext uri="{FF2B5EF4-FFF2-40B4-BE49-F238E27FC236}">
                <a16:creationId xmlns:a16="http://schemas.microsoft.com/office/drawing/2014/main" id="{2BC9E580-784A-425F-A45F-E9BAE702C3A4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4601328" y="8083434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7" name="Tijdelijke aanduiding voor tekst 3">
            <a:extLst>
              <a:ext uri="{FF2B5EF4-FFF2-40B4-BE49-F238E27FC236}">
                <a16:creationId xmlns:a16="http://schemas.microsoft.com/office/drawing/2014/main" id="{20A32965-12AC-4768-9A3A-36933D48FA46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2036574" y="10288803"/>
            <a:ext cx="8777982" cy="9793572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087536" y="0"/>
                </a:lnTo>
                <a:cubicBezTo>
                  <a:pt x="32406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240614" y="2982912"/>
                  <a:pt x="3087536" y="2982912"/>
                </a:cubicBezTo>
                <a:lnTo>
                  <a:pt x="281143" y="2982912"/>
                </a:lnTo>
                <a:cubicBezTo>
                  <a:pt x="12806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4209">
                <a:solidFill>
                  <a:schemeClr val="bg1"/>
                </a:solidFill>
              </a:defRPr>
            </a:lvl2pPr>
            <a:lvl3pPr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52" name="Tijdelijke aanduiding voor tekst 14">
            <a:extLst>
              <a:ext uri="{FF2B5EF4-FFF2-40B4-BE49-F238E27FC236}">
                <a16:creationId xmlns:a16="http://schemas.microsoft.com/office/drawing/2014/main" id="{64B43F51-91B8-44C7-88A8-99F45ADD7CB4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24741045" y="8083434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pic>
        <p:nvPicPr>
          <p:cNvPr id="24" name="Afbeelding 23">
            <a:extLst>
              <a:ext uri="{FF2B5EF4-FFF2-40B4-BE49-F238E27FC236}">
                <a16:creationId xmlns:a16="http://schemas.microsoft.com/office/drawing/2014/main" id="{9808A347-7021-4A95-A1A8-D23F88DBAE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  <p:grpSp>
        <p:nvGrpSpPr>
          <p:cNvPr id="25" name="Meer informatie">
            <a:extLst>
              <a:ext uri="{FF2B5EF4-FFF2-40B4-BE49-F238E27FC236}">
                <a16:creationId xmlns:a16="http://schemas.microsoft.com/office/drawing/2014/main" id="{690213C6-0742-45BA-8B4E-4C0A92C3C5FD}"/>
              </a:ext>
            </a:extLst>
          </p:cNvPr>
          <p:cNvGrpSpPr/>
          <p:nvPr userDrawn="1"/>
        </p:nvGrpSpPr>
        <p:grpSpPr>
          <a:xfrm>
            <a:off x="43487270" y="1774577"/>
            <a:ext cx="11147891" cy="3644433"/>
            <a:chOff x="-3740989" y="3458473"/>
            <a:chExt cx="3178018" cy="825544"/>
          </a:xfrm>
        </p:grpSpPr>
        <p:sp>
          <p:nvSpPr>
            <p:cNvPr id="26" name="Rechthoek 25">
              <a:extLst>
                <a:ext uri="{FF2B5EF4-FFF2-40B4-BE49-F238E27FC236}">
                  <a16:creationId xmlns:a16="http://schemas.microsoft.com/office/drawing/2014/main" id="{3BE197EF-126A-4B46-9B26-8400360B7CBF}"/>
                </a:ext>
              </a:extLst>
            </p:cNvPr>
            <p:cNvSpPr/>
            <p:nvPr userDrawn="1"/>
          </p:nvSpPr>
          <p:spPr>
            <a:xfrm>
              <a:off x="-3740989" y="3458473"/>
              <a:ext cx="2863716" cy="5921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conen vind je in de slide bibliotheek.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opieer (Ctrl-c) de icoon uit de bibliotheek en plak (Ctrl-v) deze op de gewenste plek. Iconen zijn aanpasbaar qua kleur en formaat.</a:t>
              </a:r>
            </a:p>
          </p:txBody>
        </p:sp>
        <p:cxnSp>
          <p:nvCxnSpPr>
            <p:cNvPr id="27" name="Rechte verbindingslijn 26">
              <a:extLst>
                <a:ext uri="{FF2B5EF4-FFF2-40B4-BE49-F238E27FC236}">
                  <a16:creationId xmlns:a16="http://schemas.microsoft.com/office/drawing/2014/main" id="{33F136FD-3FEC-49F3-8795-9972066703F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740987" y="4284017"/>
              <a:ext cx="3178016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8" name="Rechthoek 27">
            <a:extLst>
              <a:ext uri="{FF2B5EF4-FFF2-40B4-BE49-F238E27FC236}">
                <a16:creationId xmlns:a16="http://schemas.microsoft.com/office/drawing/2014/main" id="{8F8FF5C8-DEE6-4FE5-99DF-FA8EA5753A2D}"/>
              </a:ext>
            </a:extLst>
          </p:cNvPr>
          <p:cNvSpPr/>
          <p:nvPr userDrawn="1"/>
        </p:nvSpPr>
        <p:spPr>
          <a:xfrm>
            <a:off x="43487272" y="5"/>
            <a:ext cx="11147884" cy="84588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defTabSz="3207489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rPr>
              <a:t>ICOON invoegen / veranderen</a:t>
            </a:r>
          </a:p>
        </p:txBody>
      </p:sp>
      <p:cxnSp>
        <p:nvCxnSpPr>
          <p:cNvPr id="32" name="Rechte verbindingslijn 31">
            <a:extLst>
              <a:ext uri="{FF2B5EF4-FFF2-40B4-BE49-F238E27FC236}">
                <a16:creationId xmlns:a16="http://schemas.microsoft.com/office/drawing/2014/main" id="{3860E628-0CFC-43D4-998E-60ECE6AFFA74}"/>
              </a:ext>
            </a:extLst>
          </p:cNvPr>
          <p:cNvCxnSpPr>
            <a:cxnSpLocks/>
          </p:cNvCxnSpPr>
          <p:nvPr userDrawn="1"/>
        </p:nvCxnSpPr>
        <p:spPr>
          <a:xfrm>
            <a:off x="43487269" y="1066718"/>
            <a:ext cx="11147888" cy="0"/>
          </a:xfrm>
          <a:prstGeom prst="line">
            <a:avLst/>
          </a:prstGeom>
          <a:noFill/>
          <a:ln w="3175" cap="flat" cmpd="sng" algn="ctr">
            <a:solidFill>
              <a:schemeClr val="accent1"/>
            </a:solidFill>
            <a:prstDash val="solid"/>
          </a:ln>
          <a:effectLst/>
        </p:spPr>
      </p:cxnSp>
      <p:grpSp>
        <p:nvGrpSpPr>
          <p:cNvPr id="35" name="Instructie">
            <a:extLst>
              <a:ext uri="{FF2B5EF4-FFF2-40B4-BE49-F238E27FC236}">
                <a16:creationId xmlns:a16="http://schemas.microsoft.com/office/drawing/2014/main" id="{FADC590A-80D0-4F8E-AB42-3D1236AFE0BF}"/>
              </a:ext>
            </a:extLst>
          </p:cNvPr>
          <p:cNvGrpSpPr/>
          <p:nvPr userDrawn="1"/>
        </p:nvGrpSpPr>
        <p:grpSpPr>
          <a:xfrm>
            <a:off x="43506534" y="6474547"/>
            <a:ext cx="11164508" cy="11743958"/>
            <a:chOff x="-3426088" y="4512342"/>
            <a:chExt cx="3182755" cy="2660264"/>
          </a:xfrm>
        </p:grpSpPr>
        <p:sp>
          <p:nvSpPr>
            <p:cNvPr id="36" name="Rechthoek 127">
              <a:extLst>
                <a:ext uri="{FF2B5EF4-FFF2-40B4-BE49-F238E27FC236}">
                  <a16:creationId xmlns:a16="http://schemas.microsoft.com/office/drawing/2014/main" id="{45F1DBA5-C73D-47EC-ADFF-A0F5C04EEAD4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49" name="Rechte verbindingslijn 128">
              <a:extLst>
                <a:ext uri="{FF2B5EF4-FFF2-40B4-BE49-F238E27FC236}">
                  <a16:creationId xmlns:a16="http://schemas.microsoft.com/office/drawing/2014/main" id="{77783C23-AFCD-49BD-A92D-5F7D4448FD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50" name="Rechthoek 130">
              <a:extLst>
                <a:ext uri="{FF2B5EF4-FFF2-40B4-BE49-F238E27FC236}">
                  <a16:creationId xmlns:a16="http://schemas.microsoft.com/office/drawing/2014/main" id="{42C611A4-79B2-4229-8F2A-1E8AC3A31A20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51" name="Rechthoek 133">
              <a:extLst>
                <a:ext uri="{FF2B5EF4-FFF2-40B4-BE49-F238E27FC236}">
                  <a16:creationId xmlns:a16="http://schemas.microsoft.com/office/drawing/2014/main" id="{6440ACFB-64B8-408A-B4F1-1B6AD802422F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53" name="Rechthoek 136">
              <a:extLst>
                <a:ext uri="{FF2B5EF4-FFF2-40B4-BE49-F238E27FC236}">
                  <a16:creationId xmlns:a16="http://schemas.microsoft.com/office/drawing/2014/main" id="{EF5C14F0-DB8F-444D-9146-49F9485E0E0D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54" name="Rechthoek 139">
              <a:extLst>
                <a:ext uri="{FF2B5EF4-FFF2-40B4-BE49-F238E27FC236}">
                  <a16:creationId xmlns:a16="http://schemas.microsoft.com/office/drawing/2014/main" id="{AEB7FAB6-F4A9-4846-B64C-DD3D29A78C76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55" name="Rechte verbindingslijn 140">
              <a:extLst>
                <a:ext uri="{FF2B5EF4-FFF2-40B4-BE49-F238E27FC236}">
                  <a16:creationId xmlns:a16="http://schemas.microsoft.com/office/drawing/2014/main" id="{A372F14B-991C-4BFB-9008-D41A0C5D7D6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56" name="Groep 101">
            <a:extLst>
              <a:ext uri="{FF2B5EF4-FFF2-40B4-BE49-F238E27FC236}">
                <a16:creationId xmlns:a16="http://schemas.microsoft.com/office/drawing/2014/main" id="{F32B50C5-F5DF-40DC-9D58-EECC0E8BAB16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57" name="Rechthoek 102">
              <a:extLst>
                <a:ext uri="{FF2B5EF4-FFF2-40B4-BE49-F238E27FC236}">
                  <a16:creationId xmlns:a16="http://schemas.microsoft.com/office/drawing/2014/main" id="{CBDF2DBA-2D25-4165-91FC-6142F217B2B3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58" name="Ovaal 103">
              <a:extLst>
                <a:ext uri="{FF2B5EF4-FFF2-40B4-BE49-F238E27FC236}">
                  <a16:creationId xmlns:a16="http://schemas.microsoft.com/office/drawing/2014/main" id="{D29A10E2-9C95-40AE-89E2-B52D5740CB0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59" name="Rechte verbindingslijn 104">
              <a:extLst>
                <a:ext uri="{FF2B5EF4-FFF2-40B4-BE49-F238E27FC236}">
                  <a16:creationId xmlns:a16="http://schemas.microsoft.com/office/drawing/2014/main" id="{97E88656-A2DF-433D-9E92-D5FFBDBC3B1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60" name="Groep 105">
              <a:extLst>
                <a:ext uri="{FF2B5EF4-FFF2-40B4-BE49-F238E27FC236}">
                  <a16:creationId xmlns:a16="http://schemas.microsoft.com/office/drawing/2014/main" id="{EB18F6F1-E75A-4350-BBCE-10C44D6D53B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85" name="Rechthoek 130">
                <a:extLst>
                  <a:ext uri="{FF2B5EF4-FFF2-40B4-BE49-F238E27FC236}">
                    <a16:creationId xmlns:a16="http://schemas.microsoft.com/office/drawing/2014/main" id="{DE9CD6B4-5F8A-48A0-AB14-32D4B8055E08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86" name="Rechte verbindingslijn 131">
                <a:extLst>
                  <a:ext uri="{FF2B5EF4-FFF2-40B4-BE49-F238E27FC236}">
                    <a16:creationId xmlns:a16="http://schemas.microsoft.com/office/drawing/2014/main" id="{E0EEF84F-9952-4683-9FE0-946C1D2FF74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Rechte verbindingslijn 132">
                <a:extLst>
                  <a:ext uri="{FF2B5EF4-FFF2-40B4-BE49-F238E27FC236}">
                    <a16:creationId xmlns:a16="http://schemas.microsoft.com/office/drawing/2014/main" id="{5D75A59A-D3EA-43ED-BB28-A0DCF4FFC69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8" name="Rechthoek 133">
                <a:extLst>
                  <a:ext uri="{FF2B5EF4-FFF2-40B4-BE49-F238E27FC236}">
                    <a16:creationId xmlns:a16="http://schemas.microsoft.com/office/drawing/2014/main" id="{5C18C196-60F5-408F-B1D7-0FE87AF2C820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89" name="Groep 134">
                <a:extLst>
                  <a:ext uri="{FF2B5EF4-FFF2-40B4-BE49-F238E27FC236}">
                    <a16:creationId xmlns:a16="http://schemas.microsoft.com/office/drawing/2014/main" id="{19940C93-7077-4061-997B-B9764262BFC3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28" name="Groep 175">
                  <a:extLst>
                    <a:ext uri="{FF2B5EF4-FFF2-40B4-BE49-F238E27FC236}">
                      <a16:creationId xmlns:a16="http://schemas.microsoft.com/office/drawing/2014/main" id="{6F673296-7E0C-45FA-8B6C-5AD450A6B2F6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32" name="Rechte verbindingslijn 179">
                    <a:extLst>
                      <a:ext uri="{FF2B5EF4-FFF2-40B4-BE49-F238E27FC236}">
                        <a16:creationId xmlns:a16="http://schemas.microsoft.com/office/drawing/2014/main" id="{BD7C17A5-AF6B-4DA9-817C-CA9F0CC4DA3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33" name="Rechte verbindingslijn 180">
                    <a:extLst>
                      <a:ext uri="{FF2B5EF4-FFF2-40B4-BE49-F238E27FC236}">
                        <a16:creationId xmlns:a16="http://schemas.microsoft.com/office/drawing/2014/main" id="{19BC700F-4443-4FF9-A02F-0B5AF41D159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34" name="Rechte verbindingslijn 181">
                    <a:extLst>
                      <a:ext uri="{FF2B5EF4-FFF2-40B4-BE49-F238E27FC236}">
                        <a16:creationId xmlns:a16="http://schemas.microsoft.com/office/drawing/2014/main" id="{DBEE842F-D90D-492F-BAFD-C74D0E885AC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35" name="Rechte verbindingslijn 182">
                    <a:extLst>
                      <a:ext uri="{FF2B5EF4-FFF2-40B4-BE49-F238E27FC236}">
                        <a16:creationId xmlns:a16="http://schemas.microsoft.com/office/drawing/2014/main" id="{EBCB2C7B-9D3E-4486-92F4-FF162407DF6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36" name="Rechte verbindingslijn 183">
                    <a:extLst>
                      <a:ext uri="{FF2B5EF4-FFF2-40B4-BE49-F238E27FC236}">
                        <a16:creationId xmlns:a16="http://schemas.microsoft.com/office/drawing/2014/main" id="{A114EA34-F6AA-4148-AEC2-89F096140E9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29" name="Groep 176">
                  <a:extLst>
                    <a:ext uri="{FF2B5EF4-FFF2-40B4-BE49-F238E27FC236}">
                      <a16:creationId xmlns:a16="http://schemas.microsoft.com/office/drawing/2014/main" id="{092CE0FA-4384-4F8C-AAC6-ACA9FDCD7CBA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30" name="Rechthoek 177">
                    <a:extLst>
                      <a:ext uri="{FF2B5EF4-FFF2-40B4-BE49-F238E27FC236}">
                        <a16:creationId xmlns:a16="http://schemas.microsoft.com/office/drawing/2014/main" id="{6FD58914-CDDA-4DD2-8396-637426CA28F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1" name="Pijl: punthaak 178">
                    <a:extLst>
                      <a:ext uri="{FF2B5EF4-FFF2-40B4-BE49-F238E27FC236}">
                        <a16:creationId xmlns:a16="http://schemas.microsoft.com/office/drawing/2014/main" id="{957093B8-0EEC-4A99-814E-A4CB94DD16F0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90" name="Groep 135">
                <a:extLst>
                  <a:ext uri="{FF2B5EF4-FFF2-40B4-BE49-F238E27FC236}">
                    <a16:creationId xmlns:a16="http://schemas.microsoft.com/office/drawing/2014/main" id="{CD1001C2-E5EE-420E-8536-85CD39EA1C77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19" name="Groep 166">
                  <a:extLst>
                    <a:ext uri="{FF2B5EF4-FFF2-40B4-BE49-F238E27FC236}">
                      <a16:creationId xmlns:a16="http://schemas.microsoft.com/office/drawing/2014/main" id="{DE132F0C-0A9F-4EC9-891C-E9F9B68D8E1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23" name="Rechte verbindingslijn 170">
                    <a:extLst>
                      <a:ext uri="{FF2B5EF4-FFF2-40B4-BE49-F238E27FC236}">
                        <a16:creationId xmlns:a16="http://schemas.microsoft.com/office/drawing/2014/main" id="{55DCCA61-D15C-4390-8DFC-78785E15B69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24" name="Rechte verbindingslijn 171">
                    <a:extLst>
                      <a:ext uri="{FF2B5EF4-FFF2-40B4-BE49-F238E27FC236}">
                        <a16:creationId xmlns:a16="http://schemas.microsoft.com/office/drawing/2014/main" id="{87498E5D-7C35-4D4D-B5C5-774175558A5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25" name="Rechte verbindingslijn 172">
                    <a:extLst>
                      <a:ext uri="{FF2B5EF4-FFF2-40B4-BE49-F238E27FC236}">
                        <a16:creationId xmlns:a16="http://schemas.microsoft.com/office/drawing/2014/main" id="{A528AA5A-9228-4951-A983-E27FB75A76D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26" name="Rechte verbindingslijn 173">
                    <a:extLst>
                      <a:ext uri="{FF2B5EF4-FFF2-40B4-BE49-F238E27FC236}">
                        <a16:creationId xmlns:a16="http://schemas.microsoft.com/office/drawing/2014/main" id="{A5307FF5-A085-439D-BF7E-6AFA877379B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27" name="Rechte verbindingslijn 174">
                    <a:extLst>
                      <a:ext uri="{FF2B5EF4-FFF2-40B4-BE49-F238E27FC236}">
                        <a16:creationId xmlns:a16="http://schemas.microsoft.com/office/drawing/2014/main" id="{C2B4688C-BDE5-42D1-8B89-4A2301AC8CB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20" name="Groep 167">
                  <a:extLst>
                    <a:ext uri="{FF2B5EF4-FFF2-40B4-BE49-F238E27FC236}">
                      <a16:creationId xmlns:a16="http://schemas.microsoft.com/office/drawing/2014/main" id="{D52C410B-8B34-4FA6-BF77-63EB359B0C38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21" name="Rechthoek 168">
                    <a:extLst>
                      <a:ext uri="{FF2B5EF4-FFF2-40B4-BE49-F238E27FC236}">
                        <a16:creationId xmlns:a16="http://schemas.microsoft.com/office/drawing/2014/main" id="{D36549A7-0C35-4226-A84B-01396765238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22" name="Pijl: punthaak 169">
                    <a:extLst>
                      <a:ext uri="{FF2B5EF4-FFF2-40B4-BE49-F238E27FC236}">
                        <a16:creationId xmlns:a16="http://schemas.microsoft.com/office/drawing/2014/main" id="{A14BBA7E-5CFD-4DF3-BF01-3E874BB67F9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91" name="Rechte verbindingslijn 136">
                <a:extLst>
                  <a:ext uri="{FF2B5EF4-FFF2-40B4-BE49-F238E27FC236}">
                    <a16:creationId xmlns:a16="http://schemas.microsoft.com/office/drawing/2014/main" id="{4B1B2E33-BF7F-4EEC-B96B-0E17879752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92" name="Rechte verbindingslijn 137">
                <a:extLst>
                  <a:ext uri="{FF2B5EF4-FFF2-40B4-BE49-F238E27FC236}">
                    <a16:creationId xmlns:a16="http://schemas.microsoft.com/office/drawing/2014/main" id="{0D92B8CF-B343-45CD-89D3-5D51D0F2446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93" name="Groep 138">
                <a:extLst>
                  <a:ext uri="{FF2B5EF4-FFF2-40B4-BE49-F238E27FC236}">
                    <a16:creationId xmlns:a16="http://schemas.microsoft.com/office/drawing/2014/main" id="{74D5AAE5-B6F5-4376-A410-133105F88F82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08" name="Rechthoek 155">
                  <a:extLst>
                    <a:ext uri="{FF2B5EF4-FFF2-40B4-BE49-F238E27FC236}">
                      <a16:creationId xmlns:a16="http://schemas.microsoft.com/office/drawing/2014/main" id="{2D36C82B-4D15-41ED-BBC2-2A6364E2A10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09" name="Groep 156">
                  <a:extLst>
                    <a:ext uri="{FF2B5EF4-FFF2-40B4-BE49-F238E27FC236}">
                      <a16:creationId xmlns:a16="http://schemas.microsoft.com/office/drawing/2014/main" id="{3D1C3FFD-BFEF-4D75-A980-D84DCF889C0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10" name="Groep 157">
                    <a:extLst>
                      <a:ext uri="{FF2B5EF4-FFF2-40B4-BE49-F238E27FC236}">
                        <a16:creationId xmlns:a16="http://schemas.microsoft.com/office/drawing/2014/main" id="{7DCA84F5-3106-409F-903D-F0A920BB85C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14" name="Rechte verbindingslijn 161">
                      <a:extLst>
                        <a:ext uri="{FF2B5EF4-FFF2-40B4-BE49-F238E27FC236}">
                          <a16:creationId xmlns:a16="http://schemas.microsoft.com/office/drawing/2014/main" id="{504B250A-971C-4E4D-8870-73794C3093F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15" name="Rechte verbindingslijn 162">
                      <a:extLst>
                        <a:ext uri="{FF2B5EF4-FFF2-40B4-BE49-F238E27FC236}">
                          <a16:creationId xmlns:a16="http://schemas.microsoft.com/office/drawing/2014/main" id="{D81D121E-61BB-43EF-8463-86E1B47ED6E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16" name="Rechte verbindingslijn 163">
                      <a:extLst>
                        <a:ext uri="{FF2B5EF4-FFF2-40B4-BE49-F238E27FC236}">
                          <a16:creationId xmlns:a16="http://schemas.microsoft.com/office/drawing/2014/main" id="{D570ABC2-7B44-45A9-97DD-BA0996A9EAB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17" name="Rechte verbindingslijn 164">
                      <a:extLst>
                        <a:ext uri="{FF2B5EF4-FFF2-40B4-BE49-F238E27FC236}">
                          <a16:creationId xmlns:a16="http://schemas.microsoft.com/office/drawing/2014/main" id="{F34E07C9-EA9F-4D6A-9E85-7AA72F6ED4F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18" name="Rechte verbindingslijn 165">
                      <a:extLst>
                        <a:ext uri="{FF2B5EF4-FFF2-40B4-BE49-F238E27FC236}">
                          <a16:creationId xmlns:a16="http://schemas.microsoft.com/office/drawing/2014/main" id="{D273A663-9681-4A43-90E1-73BBE6FCC34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11" name="Groep 158">
                    <a:extLst>
                      <a:ext uri="{FF2B5EF4-FFF2-40B4-BE49-F238E27FC236}">
                        <a16:creationId xmlns:a16="http://schemas.microsoft.com/office/drawing/2014/main" id="{7EE673A5-2FC3-4498-9B5B-4CE47F62CA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12" name="Rechthoek 159">
                      <a:extLst>
                        <a:ext uri="{FF2B5EF4-FFF2-40B4-BE49-F238E27FC236}">
                          <a16:creationId xmlns:a16="http://schemas.microsoft.com/office/drawing/2014/main" id="{6E328675-3F18-45C1-ACEB-51CB6C5583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13" name="Pijl: punthaak 160">
                      <a:extLst>
                        <a:ext uri="{FF2B5EF4-FFF2-40B4-BE49-F238E27FC236}">
                          <a16:creationId xmlns:a16="http://schemas.microsoft.com/office/drawing/2014/main" id="{39C8C05C-D314-4B55-B63B-73FEA3BA398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94" name="Groep 139">
                <a:extLst>
                  <a:ext uri="{FF2B5EF4-FFF2-40B4-BE49-F238E27FC236}">
                    <a16:creationId xmlns:a16="http://schemas.microsoft.com/office/drawing/2014/main" id="{ACE6E3A3-7D2D-40D7-82A9-A99F5F52FD61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97" name="Rechthoek 142">
                  <a:extLst>
                    <a:ext uri="{FF2B5EF4-FFF2-40B4-BE49-F238E27FC236}">
                      <a16:creationId xmlns:a16="http://schemas.microsoft.com/office/drawing/2014/main" id="{6865F25F-7BC9-49F3-A5BF-19EEAF178EE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98" name="Groep 143">
                  <a:extLst>
                    <a:ext uri="{FF2B5EF4-FFF2-40B4-BE49-F238E27FC236}">
                      <a16:creationId xmlns:a16="http://schemas.microsoft.com/office/drawing/2014/main" id="{B03AEB2F-8C18-4473-A080-67CF8665523B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99" name="Groep 144">
                    <a:extLst>
                      <a:ext uri="{FF2B5EF4-FFF2-40B4-BE49-F238E27FC236}">
                        <a16:creationId xmlns:a16="http://schemas.microsoft.com/office/drawing/2014/main" id="{800277B1-44E7-44AA-B7A5-1E56A45968B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03" name="Rechte verbindingslijn 150">
                      <a:extLst>
                        <a:ext uri="{FF2B5EF4-FFF2-40B4-BE49-F238E27FC236}">
                          <a16:creationId xmlns:a16="http://schemas.microsoft.com/office/drawing/2014/main" id="{23496289-7EAF-413D-89FC-B83F32DAB1E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4" name="Rechte verbindingslijn 151">
                      <a:extLst>
                        <a:ext uri="{FF2B5EF4-FFF2-40B4-BE49-F238E27FC236}">
                          <a16:creationId xmlns:a16="http://schemas.microsoft.com/office/drawing/2014/main" id="{1389E0CD-2D67-4F2F-B340-3E596BCF048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5" name="Rechte verbindingslijn 152">
                      <a:extLst>
                        <a:ext uri="{FF2B5EF4-FFF2-40B4-BE49-F238E27FC236}">
                          <a16:creationId xmlns:a16="http://schemas.microsoft.com/office/drawing/2014/main" id="{CD7D94CC-9D52-40FB-B902-642E41391D2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6" name="Rechte verbindingslijn 153">
                      <a:extLst>
                        <a:ext uri="{FF2B5EF4-FFF2-40B4-BE49-F238E27FC236}">
                          <a16:creationId xmlns:a16="http://schemas.microsoft.com/office/drawing/2014/main" id="{2C919970-1422-40B1-B7EC-0761913B368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7" name="Rechte verbindingslijn 154">
                      <a:extLst>
                        <a:ext uri="{FF2B5EF4-FFF2-40B4-BE49-F238E27FC236}">
                          <a16:creationId xmlns:a16="http://schemas.microsoft.com/office/drawing/2014/main" id="{A297A80B-847C-4411-AF8B-D8CB7AB1C80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00" name="Groep 147">
                    <a:extLst>
                      <a:ext uri="{FF2B5EF4-FFF2-40B4-BE49-F238E27FC236}">
                        <a16:creationId xmlns:a16="http://schemas.microsoft.com/office/drawing/2014/main" id="{0534B01F-59A0-4609-BE61-E17E7F6B01A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01" name="Rechthoek 148">
                      <a:extLst>
                        <a:ext uri="{FF2B5EF4-FFF2-40B4-BE49-F238E27FC236}">
                          <a16:creationId xmlns:a16="http://schemas.microsoft.com/office/drawing/2014/main" id="{8A826474-1F20-453B-ACCF-31C11B7DFAA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2" name="Pijl: punthaak 149">
                      <a:extLst>
                        <a:ext uri="{FF2B5EF4-FFF2-40B4-BE49-F238E27FC236}">
                          <a16:creationId xmlns:a16="http://schemas.microsoft.com/office/drawing/2014/main" id="{B6F09AC9-9599-4102-9C26-104E31B18398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95" name="Rechthoek 140">
                <a:extLst>
                  <a:ext uri="{FF2B5EF4-FFF2-40B4-BE49-F238E27FC236}">
                    <a16:creationId xmlns:a16="http://schemas.microsoft.com/office/drawing/2014/main" id="{4471D6F0-E944-4471-9D6B-287F00F1422A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96" name="Rechthoek 141">
                <a:extLst>
                  <a:ext uri="{FF2B5EF4-FFF2-40B4-BE49-F238E27FC236}">
                    <a16:creationId xmlns:a16="http://schemas.microsoft.com/office/drawing/2014/main" id="{DE151E76-5636-4227-8FA2-A1A570A6E735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61" name="Rechte verbindingslijn 106">
              <a:extLst>
                <a:ext uri="{FF2B5EF4-FFF2-40B4-BE49-F238E27FC236}">
                  <a16:creationId xmlns:a16="http://schemas.microsoft.com/office/drawing/2014/main" id="{508F624B-421E-4D3D-9896-1F9D83DBC91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62" name="Rechthoek 107">
              <a:extLst>
                <a:ext uri="{FF2B5EF4-FFF2-40B4-BE49-F238E27FC236}">
                  <a16:creationId xmlns:a16="http://schemas.microsoft.com/office/drawing/2014/main" id="{BC36AB0E-7EE0-4671-A263-301FC979D0EC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63" name="Ovaal 108">
              <a:extLst>
                <a:ext uri="{FF2B5EF4-FFF2-40B4-BE49-F238E27FC236}">
                  <a16:creationId xmlns:a16="http://schemas.microsoft.com/office/drawing/2014/main" id="{5B98D948-9ABC-4964-81CA-9A17AA10B300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64" name="Rechthoek 109">
              <a:extLst>
                <a:ext uri="{FF2B5EF4-FFF2-40B4-BE49-F238E27FC236}">
                  <a16:creationId xmlns:a16="http://schemas.microsoft.com/office/drawing/2014/main" id="{577D5868-7C9B-4E25-B1D7-EA6FEF97EBE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65" name="Ovaal 110">
              <a:extLst>
                <a:ext uri="{FF2B5EF4-FFF2-40B4-BE49-F238E27FC236}">
                  <a16:creationId xmlns:a16="http://schemas.microsoft.com/office/drawing/2014/main" id="{CD9CFDF3-365E-44E2-BE31-A4460983B826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66" name="Rechthoek 111">
              <a:extLst>
                <a:ext uri="{FF2B5EF4-FFF2-40B4-BE49-F238E27FC236}">
                  <a16:creationId xmlns:a16="http://schemas.microsoft.com/office/drawing/2014/main" id="{0ED96630-D614-4315-ADE6-74ACF1BC149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67" name="Ovaal 112">
              <a:extLst>
                <a:ext uri="{FF2B5EF4-FFF2-40B4-BE49-F238E27FC236}">
                  <a16:creationId xmlns:a16="http://schemas.microsoft.com/office/drawing/2014/main" id="{AEBEFB1B-DBFD-4B2F-9F55-60ABEBACF993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68" name="Rechthoek 113">
              <a:extLst>
                <a:ext uri="{FF2B5EF4-FFF2-40B4-BE49-F238E27FC236}">
                  <a16:creationId xmlns:a16="http://schemas.microsoft.com/office/drawing/2014/main" id="{B1756332-2CB5-4FEB-B69E-ED3F3B748909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69" name="Ovaal 114">
              <a:extLst>
                <a:ext uri="{FF2B5EF4-FFF2-40B4-BE49-F238E27FC236}">
                  <a16:creationId xmlns:a16="http://schemas.microsoft.com/office/drawing/2014/main" id="{682E0D15-6D5E-42B9-BDAE-C1FA036D02D0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70" name="Rechthoek 115">
              <a:extLst>
                <a:ext uri="{FF2B5EF4-FFF2-40B4-BE49-F238E27FC236}">
                  <a16:creationId xmlns:a16="http://schemas.microsoft.com/office/drawing/2014/main" id="{E6702AD8-7BA1-4B14-91A3-A6097EC40CC3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71" name="Rechte verbindingslijn 116">
              <a:extLst>
                <a:ext uri="{FF2B5EF4-FFF2-40B4-BE49-F238E27FC236}">
                  <a16:creationId xmlns:a16="http://schemas.microsoft.com/office/drawing/2014/main" id="{8F2B8678-6E3C-4988-B2F0-3F9A81ED0B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72" name="Meer informatie">
              <a:extLst>
                <a:ext uri="{FF2B5EF4-FFF2-40B4-BE49-F238E27FC236}">
                  <a16:creationId xmlns:a16="http://schemas.microsoft.com/office/drawing/2014/main" id="{22415663-4564-4CAA-9C80-25A86A0FA9F6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82" name="Freeform 101">
                <a:extLst>
                  <a:ext uri="{FF2B5EF4-FFF2-40B4-BE49-F238E27FC236}">
                    <a16:creationId xmlns:a16="http://schemas.microsoft.com/office/drawing/2014/main" id="{86CBE978-7A27-4139-927B-2196A01054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83" name="Rechthoek 128">
                <a:extLst>
                  <a:ext uri="{FF2B5EF4-FFF2-40B4-BE49-F238E27FC236}">
                    <a16:creationId xmlns:a16="http://schemas.microsoft.com/office/drawing/2014/main" id="{00D54B3E-70D6-4045-9366-81395E5FC684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84" name="Rechte verbindingslijn 129">
                <a:extLst>
                  <a:ext uri="{FF2B5EF4-FFF2-40B4-BE49-F238E27FC236}">
                    <a16:creationId xmlns:a16="http://schemas.microsoft.com/office/drawing/2014/main" id="{67E8CD67-AFDA-4DE3-91A6-686326BB4AD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73" name="Rechthoek 118">
              <a:extLst>
                <a:ext uri="{FF2B5EF4-FFF2-40B4-BE49-F238E27FC236}">
                  <a16:creationId xmlns:a16="http://schemas.microsoft.com/office/drawing/2014/main" id="{B24C4619-CB64-40EC-AB2A-9286FAE49061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74" name="Ovaal 119">
              <a:extLst>
                <a:ext uri="{FF2B5EF4-FFF2-40B4-BE49-F238E27FC236}">
                  <a16:creationId xmlns:a16="http://schemas.microsoft.com/office/drawing/2014/main" id="{529B5E54-B1C8-40AA-8F75-8BE43203321B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75" name="Rechthoek 120">
              <a:extLst>
                <a:ext uri="{FF2B5EF4-FFF2-40B4-BE49-F238E27FC236}">
                  <a16:creationId xmlns:a16="http://schemas.microsoft.com/office/drawing/2014/main" id="{F1A27840-C9C1-46EC-A99D-D2655C5E5074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76" name="Ovaal 121">
              <a:extLst>
                <a:ext uri="{FF2B5EF4-FFF2-40B4-BE49-F238E27FC236}">
                  <a16:creationId xmlns:a16="http://schemas.microsoft.com/office/drawing/2014/main" id="{7CF30C22-57E4-40FA-B7E9-35CE66C5CC7E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77" name="Rechthoek 122">
              <a:extLst>
                <a:ext uri="{FF2B5EF4-FFF2-40B4-BE49-F238E27FC236}">
                  <a16:creationId xmlns:a16="http://schemas.microsoft.com/office/drawing/2014/main" id="{76BBA366-5089-4662-94BD-6333C8A43CB9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78" name="Ovaal 123">
              <a:extLst>
                <a:ext uri="{FF2B5EF4-FFF2-40B4-BE49-F238E27FC236}">
                  <a16:creationId xmlns:a16="http://schemas.microsoft.com/office/drawing/2014/main" id="{7209C35B-1477-433B-8787-AC8C65833602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79" name="Rechthoek 124">
              <a:extLst>
                <a:ext uri="{FF2B5EF4-FFF2-40B4-BE49-F238E27FC236}">
                  <a16:creationId xmlns:a16="http://schemas.microsoft.com/office/drawing/2014/main" id="{7E11705F-BE32-40EE-807B-EE55642F1BED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0" name="Rechthoek 125">
              <a:extLst>
                <a:ext uri="{FF2B5EF4-FFF2-40B4-BE49-F238E27FC236}">
                  <a16:creationId xmlns:a16="http://schemas.microsoft.com/office/drawing/2014/main" id="{43C05CBA-CAC3-4EF0-97AA-DDE2A2C06CB1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81" name="Ovaal 126">
              <a:extLst>
                <a:ext uri="{FF2B5EF4-FFF2-40B4-BE49-F238E27FC236}">
                  <a16:creationId xmlns:a16="http://schemas.microsoft.com/office/drawing/2014/main" id="{72AB5AB0-4EB7-4D44-8A18-BB13EE6E97B7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8694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rnpunten + Iconen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Tijdelijke aanduiding voor tekst 3">
            <a:extLst>
              <a:ext uri="{FF2B5EF4-FFF2-40B4-BE49-F238E27FC236}">
                <a16:creationId xmlns:a16="http://schemas.microsoft.com/office/drawing/2014/main" id="{60C96555-1A50-4EF0-87CB-9ACB58C9E0F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9207348" y="18619120"/>
            <a:ext cx="11802765" cy="7631866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18278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17319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176436" y="0"/>
                </a:lnTo>
                <a:cubicBezTo>
                  <a:pt x="33295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354914" y="2982912"/>
                  <a:pt x="3201836" y="2982912"/>
                </a:cubicBezTo>
                <a:lnTo>
                  <a:pt x="173193" y="2982912"/>
                </a:lnTo>
                <a:cubicBezTo>
                  <a:pt x="2011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>
              <a:spcAft>
                <a:spcPts val="0"/>
              </a:spcAft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defRPr sz="4209">
                <a:solidFill>
                  <a:schemeClr val="bg1"/>
                </a:solidFill>
              </a:defRPr>
            </a:lvl2pPr>
            <a:lvl3pPr marL="0" indent="0"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54" name="Tijdelijke aanduiding voor tekst 3">
            <a:extLst>
              <a:ext uri="{FF2B5EF4-FFF2-40B4-BE49-F238E27FC236}">
                <a16:creationId xmlns:a16="http://schemas.microsoft.com/office/drawing/2014/main" id="{B8B199D0-5FCA-4521-BEA6-F6144A03151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5482243" y="18619120"/>
            <a:ext cx="11802765" cy="7631866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18278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17319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176436" y="0"/>
                </a:lnTo>
                <a:cubicBezTo>
                  <a:pt x="33295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354914" y="2982912"/>
                  <a:pt x="3201836" y="2982912"/>
                </a:cubicBezTo>
                <a:lnTo>
                  <a:pt x="173193" y="2982912"/>
                </a:lnTo>
                <a:cubicBezTo>
                  <a:pt x="2011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defRPr sz="4209">
                <a:solidFill>
                  <a:schemeClr val="bg1"/>
                </a:solidFill>
              </a:defRPr>
            </a:lvl2pPr>
            <a:lvl3pPr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53" name="Tijdelijke aanduiding voor tekst 3">
            <a:extLst>
              <a:ext uri="{FF2B5EF4-FFF2-40B4-BE49-F238E27FC236}">
                <a16:creationId xmlns:a16="http://schemas.microsoft.com/office/drawing/2014/main" id="{BC18145F-6353-4193-8C5D-F21499B241C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757139" y="18619120"/>
            <a:ext cx="11802765" cy="7631866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18278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17319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176436" y="0"/>
                </a:lnTo>
                <a:cubicBezTo>
                  <a:pt x="33295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354914" y="2982912"/>
                  <a:pt x="3201836" y="2982912"/>
                </a:cubicBezTo>
                <a:lnTo>
                  <a:pt x="173193" y="2982912"/>
                </a:lnTo>
                <a:cubicBezTo>
                  <a:pt x="2011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defRPr sz="4209">
                <a:solidFill>
                  <a:schemeClr val="bg1"/>
                </a:solidFill>
              </a:defRPr>
            </a:lvl2pPr>
            <a:lvl3pPr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52" name="Tijdelijke aanduiding voor tekst 3">
            <a:extLst>
              <a:ext uri="{FF2B5EF4-FFF2-40B4-BE49-F238E27FC236}">
                <a16:creationId xmlns:a16="http://schemas.microsoft.com/office/drawing/2014/main" id="{74701542-138A-4340-8C2F-BB14933495A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9207348" y="7970563"/>
            <a:ext cx="11802765" cy="7631866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18278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17319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176436" y="0"/>
                </a:lnTo>
                <a:cubicBezTo>
                  <a:pt x="33295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354914" y="2982912"/>
                  <a:pt x="3201836" y="2982912"/>
                </a:cubicBezTo>
                <a:lnTo>
                  <a:pt x="173193" y="2982912"/>
                </a:lnTo>
                <a:cubicBezTo>
                  <a:pt x="2011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defRPr sz="4209">
                <a:solidFill>
                  <a:schemeClr val="bg1"/>
                </a:solidFill>
              </a:defRPr>
            </a:lvl2pPr>
            <a:lvl3pPr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37" name="Tijdelijke aanduiding voor tekst 3">
            <a:extLst>
              <a:ext uri="{FF2B5EF4-FFF2-40B4-BE49-F238E27FC236}">
                <a16:creationId xmlns:a16="http://schemas.microsoft.com/office/drawing/2014/main" id="{392E85A5-D697-48B7-A85B-E3E96885C72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5482243" y="7970563"/>
            <a:ext cx="11802765" cy="7631866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18278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17319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176436" y="0"/>
                </a:lnTo>
                <a:cubicBezTo>
                  <a:pt x="33295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354914" y="2982912"/>
                  <a:pt x="3201836" y="2982912"/>
                </a:cubicBezTo>
                <a:lnTo>
                  <a:pt x="173193" y="2982912"/>
                </a:lnTo>
                <a:cubicBezTo>
                  <a:pt x="2011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defRPr sz="4209">
                <a:solidFill>
                  <a:schemeClr val="bg1"/>
                </a:solidFill>
              </a:defRPr>
            </a:lvl2pPr>
            <a:lvl3pPr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err="1"/>
              <a:t>Koptitel</a:t>
            </a:r>
            <a:endParaRPr lang="en-US" noProof="0"/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err="1"/>
              <a:t>Ondertitel</a:t>
            </a:r>
            <a:endParaRPr lang="en-US"/>
          </a:p>
        </p:txBody>
      </p:sp>
      <p:grpSp>
        <p:nvGrpSpPr>
          <p:cNvPr id="38" name="GRID" hidden="1">
            <a:extLst>
              <a:ext uri="{FF2B5EF4-FFF2-40B4-BE49-F238E27FC236}">
                <a16:creationId xmlns:a16="http://schemas.microsoft.com/office/drawing/2014/main" id="{51D5F7E8-69F8-47AD-81F5-1645C97607C1}"/>
              </a:ext>
            </a:extLst>
          </p:cNvPr>
          <p:cNvGrpSpPr/>
          <p:nvPr userDrawn="1"/>
        </p:nvGrpSpPr>
        <p:grpSpPr>
          <a:xfrm>
            <a:off x="5" y="0"/>
            <a:ext cx="42767261" cy="30275213"/>
            <a:chOff x="0" y="0"/>
            <a:chExt cx="12192003" cy="6858000"/>
          </a:xfrm>
        </p:grpSpPr>
        <p:sp>
          <p:nvSpPr>
            <p:cNvPr id="39" name="Rechthoek 38">
              <a:extLst>
                <a:ext uri="{FF2B5EF4-FFF2-40B4-BE49-F238E27FC236}">
                  <a16:creationId xmlns:a16="http://schemas.microsoft.com/office/drawing/2014/main" id="{71DB2C92-E6A8-4532-98F6-C917E7F5CD17}"/>
                </a:ext>
              </a:extLst>
            </p:cNvPr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0" name="Rechthoek 39">
              <a:extLst>
                <a:ext uri="{FF2B5EF4-FFF2-40B4-BE49-F238E27FC236}">
                  <a16:creationId xmlns:a16="http://schemas.microsoft.com/office/drawing/2014/main" id="{1283F161-5F8A-45E1-A9F2-F823FC1CB0A5}"/>
                </a:ext>
              </a:extLst>
            </p:cNvPr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1" name="Rechthoek 40">
              <a:extLst>
                <a:ext uri="{FF2B5EF4-FFF2-40B4-BE49-F238E27FC236}">
                  <a16:creationId xmlns:a16="http://schemas.microsoft.com/office/drawing/2014/main" id="{E25AE021-76F4-4113-9019-FB3CB3351AD2}"/>
                </a:ext>
              </a:extLst>
            </p:cNvPr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2" name="Rechthoek 41">
              <a:extLst>
                <a:ext uri="{FF2B5EF4-FFF2-40B4-BE49-F238E27FC236}">
                  <a16:creationId xmlns:a16="http://schemas.microsoft.com/office/drawing/2014/main" id="{4F56F574-960D-4395-B98C-5F49ED9EF418}"/>
                </a:ext>
              </a:extLst>
            </p:cNvPr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34E307D0-CCA0-4BDF-BC5F-E19838E9F7DA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4" name="Rechthoek 43">
              <a:extLst>
                <a:ext uri="{FF2B5EF4-FFF2-40B4-BE49-F238E27FC236}">
                  <a16:creationId xmlns:a16="http://schemas.microsoft.com/office/drawing/2014/main" id="{2AEE0B25-FBCC-4048-A2C0-6D97C3E7FEB7}"/>
                </a:ext>
              </a:extLst>
            </p:cNvPr>
            <p:cNvSpPr/>
            <p:nvPr userDrawn="1"/>
          </p:nvSpPr>
          <p:spPr>
            <a:xfrm rot="5400000">
              <a:off x="5895976" y="-108104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8"/>
            <a:ext cx="707315" cy="1016405"/>
          </a:xfrm>
        </p:spPr>
        <p:txBody>
          <a:bodyPr/>
          <a:lstStyle/>
          <a:p>
            <a:fld id="{55B2A88A-B7BD-41B1-9FCB-9BE633251ACA}" type="slidenum">
              <a:rPr lang="en-US" noProof="0" smtClean="0"/>
              <a:t>‹nr.›</a:t>
            </a:fld>
            <a:endParaRPr lang="en-US" noProof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9B18BDE9-18FD-4C97-9F64-E73C2C770EF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57139" y="7970563"/>
            <a:ext cx="11802765" cy="7631866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18278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17319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176436" y="0"/>
                </a:lnTo>
                <a:cubicBezTo>
                  <a:pt x="33295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354914" y="2982912"/>
                  <a:pt x="3201836" y="2982912"/>
                </a:cubicBezTo>
                <a:lnTo>
                  <a:pt x="173193" y="2982912"/>
                </a:lnTo>
                <a:cubicBezTo>
                  <a:pt x="2011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defRPr sz="4209" b="0">
                <a:solidFill>
                  <a:schemeClr val="bg1"/>
                </a:solidFill>
              </a:defRPr>
            </a:lvl2pPr>
            <a:lvl3pPr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id="{3B2874ED-CC7F-4F0C-BB1D-75A9CC43DC3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9699110" y="5850604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48" name="Tijdelijke aanduiding voor tekst 14">
            <a:extLst>
              <a:ext uri="{FF2B5EF4-FFF2-40B4-BE49-F238E27FC236}">
                <a16:creationId xmlns:a16="http://schemas.microsoft.com/office/drawing/2014/main" id="{F1653C5F-83B0-4357-9779-FCA8C005D7E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974001" y="5850604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50" name="Tijdelijke aanduiding voor tekst 14">
            <a:extLst>
              <a:ext uri="{FF2B5EF4-FFF2-40B4-BE49-F238E27FC236}">
                <a16:creationId xmlns:a16="http://schemas.microsoft.com/office/drawing/2014/main" id="{3AA2D7D9-83DC-4599-894C-1EA7D9983FA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424213" y="5850604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0" name="Tijdelijke aanduiding voor tekst 14">
            <a:extLst>
              <a:ext uri="{FF2B5EF4-FFF2-40B4-BE49-F238E27FC236}">
                <a16:creationId xmlns:a16="http://schemas.microsoft.com/office/drawing/2014/main" id="{5F6EF29C-6547-44C1-BD48-1D3581117F6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9699110" y="16499158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2" name="Tijdelijke aanduiding voor tekst 14">
            <a:extLst>
              <a:ext uri="{FF2B5EF4-FFF2-40B4-BE49-F238E27FC236}">
                <a16:creationId xmlns:a16="http://schemas.microsoft.com/office/drawing/2014/main" id="{1A143C27-038F-4761-B827-CC3711286E6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974001" y="16499158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4" name="Tijdelijke aanduiding voor tekst 14">
            <a:extLst>
              <a:ext uri="{FF2B5EF4-FFF2-40B4-BE49-F238E27FC236}">
                <a16:creationId xmlns:a16="http://schemas.microsoft.com/office/drawing/2014/main" id="{0069A324-1E9A-44F6-A036-D73045802C0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424213" y="16499158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pic>
        <p:nvPicPr>
          <p:cNvPr id="27" name="Afbeelding 26">
            <a:extLst>
              <a:ext uri="{FF2B5EF4-FFF2-40B4-BE49-F238E27FC236}">
                <a16:creationId xmlns:a16="http://schemas.microsoft.com/office/drawing/2014/main" id="{25B00D5A-DF64-4D2B-976E-01DD75975A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  <p:grpSp>
        <p:nvGrpSpPr>
          <p:cNvPr id="28" name="Meer informatie">
            <a:extLst>
              <a:ext uri="{FF2B5EF4-FFF2-40B4-BE49-F238E27FC236}">
                <a16:creationId xmlns:a16="http://schemas.microsoft.com/office/drawing/2014/main" id="{B211D095-6E04-4B6C-8256-FAB55971D7FF}"/>
              </a:ext>
            </a:extLst>
          </p:cNvPr>
          <p:cNvGrpSpPr/>
          <p:nvPr userDrawn="1"/>
        </p:nvGrpSpPr>
        <p:grpSpPr>
          <a:xfrm>
            <a:off x="43487270" y="1774577"/>
            <a:ext cx="11147891" cy="3644433"/>
            <a:chOff x="-3740989" y="3458473"/>
            <a:chExt cx="3178018" cy="825544"/>
          </a:xfrm>
        </p:grpSpPr>
        <p:sp>
          <p:nvSpPr>
            <p:cNvPr id="31" name="Rechthoek 30">
              <a:extLst>
                <a:ext uri="{FF2B5EF4-FFF2-40B4-BE49-F238E27FC236}">
                  <a16:creationId xmlns:a16="http://schemas.microsoft.com/office/drawing/2014/main" id="{60072D39-BEE6-4966-87E8-9075C139E9A2}"/>
                </a:ext>
              </a:extLst>
            </p:cNvPr>
            <p:cNvSpPr/>
            <p:nvPr userDrawn="1"/>
          </p:nvSpPr>
          <p:spPr>
            <a:xfrm>
              <a:off x="-3740989" y="3458473"/>
              <a:ext cx="2863716" cy="5921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conen vind je in de slide bibliotheek.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opieer (Ctrl-c) de icoon uit de bibliotheek en plak (Ctrl-v) deze op de gewenste plek. Iconen zijn aanpasbaar qua kleur en formaat.</a:t>
              </a:r>
            </a:p>
          </p:txBody>
        </p:sp>
        <p:cxnSp>
          <p:nvCxnSpPr>
            <p:cNvPr id="33" name="Rechte verbindingslijn 32">
              <a:extLst>
                <a:ext uri="{FF2B5EF4-FFF2-40B4-BE49-F238E27FC236}">
                  <a16:creationId xmlns:a16="http://schemas.microsoft.com/office/drawing/2014/main" id="{98F35C15-FA78-4FD2-BE90-5C642C2EC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740987" y="4284017"/>
              <a:ext cx="3178016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35" name="Rechthoek 34">
            <a:extLst>
              <a:ext uri="{FF2B5EF4-FFF2-40B4-BE49-F238E27FC236}">
                <a16:creationId xmlns:a16="http://schemas.microsoft.com/office/drawing/2014/main" id="{080C5F42-8A3D-43B3-9E23-117B0328BB36}"/>
              </a:ext>
            </a:extLst>
          </p:cNvPr>
          <p:cNvSpPr/>
          <p:nvPr userDrawn="1"/>
        </p:nvSpPr>
        <p:spPr>
          <a:xfrm>
            <a:off x="43487272" y="5"/>
            <a:ext cx="11147884" cy="84588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defTabSz="3207489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rPr>
              <a:t>ICOON invoegen / veranderen</a:t>
            </a:r>
          </a:p>
        </p:txBody>
      </p:sp>
      <p:cxnSp>
        <p:nvCxnSpPr>
          <p:cNvPr id="36" name="Rechte verbindingslijn 35">
            <a:extLst>
              <a:ext uri="{FF2B5EF4-FFF2-40B4-BE49-F238E27FC236}">
                <a16:creationId xmlns:a16="http://schemas.microsoft.com/office/drawing/2014/main" id="{7C23CC42-5404-4D76-B4D6-55351E684119}"/>
              </a:ext>
            </a:extLst>
          </p:cNvPr>
          <p:cNvCxnSpPr>
            <a:cxnSpLocks/>
          </p:cNvCxnSpPr>
          <p:nvPr userDrawn="1"/>
        </p:nvCxnSpPr>
        <p:spPr>
          <a:xfrm>
            <a:off x="43487269" y="1066718"/>
            <a:ext cx="11147888" cy="0"/>
          </a:xfrm>
          <a:prstGeom prst="line">
            <a:avLst/>
          </a:prstGeom>
          <a:noFill/>
          <a:ln w="3175" cap="flat" cmpd="sng" algn="ctr">
            <a:solidFill>
              <a:schemeClr val="accent1"/>
            </a:solidFill>
            <a:prstDash val="solid"/>
          </a:ln>
          <a:effectLst/>
        </p:spPr>
      </p:cxnSp>
      <p:grpSp>
        <p:nvGrpSpPr>
          <p:cNvPr id="49" name="Instructie">
            <a:extLst>
              <a:ext uri="{FF2B5EF4-FFF2-40B4-BE49-F238E27FC236}">
                <a16:creationId xmlns:a16="http://schemas.microsoft.com/office/drawing/2014/main" id="{84C45357-DFCF-4F76-BC41-34F926A3A9A7}"/>
              </a:ext>
            </a:extLst>
          </p:cNvPr>
          <p:cNvGrpSpPr/>
          <p:nvPr userDrawn="1"/>
        </p:nvGrpSpPr>
        <p:grpSpPr>
          <a:xfrm>
            <a:off x="43506534" y="6474547"/>
            <a:ext cx="11164508" cy="11743958"/>
            <a:chOff x="-3426088" y="4512342"/>
            <a:chExt cx="3182755" cy="2660264"/>
          </a:xfrm>
        </p:grpSpPr>
        <p:sp>
          <p:nvSpPr>
            <p:cNvPr id="51" name="Rechthoek 127">
              <a:extLst>
                <a:ext uri="{FF2B5EF4-FFF2-40B4-BE49-F238E27FC236}">
                  <a16:creationId xmlns:a16="http://schemas.microsoft.com/office/drawing/2014/main" id="{D2E6B0D1-F979-42BF-BC6B-61CB1231C0BB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56" name="Rechte verbindingslijn 128">
              <a:extLst>
                <a:ext uri="{FF2B5EF4-FFF2-40B4-BE49-F238E27FC236}">
                  <a16:creationId xmlns:a16="http://schemas.microsoft.com/office/drawing/2014/main" id="{BAF7CF6F-CE8F-40FE-9458-7A849629B6B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57" name="Rechthoek 130">
              <a:extLst>
                <a:ext uri="{FF2B5EF4-FFF2-40B4-BE49-F238E27FC236}">
                  <a16:creationId xmlns:a16="http://schemas.microsoft.com/office/drawing/2014/main" id="{06FD592A-2FF6-46E0-942B-4D5C5D18D17B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58" name="Rechthoek 133">
              <a:extLst>
                <a:ext uri="{FF2B5EF4-FFF2-40B4-BE49-F238E27FC236}">
                  <a16:creationId xmlns:a16="http://schemas.microsoft.com/office/drawing/2014/main" id="{2511FE0C-7A37-475E-B962-4A6E8F0FFAF3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59" name="Rechthoek 136">
              <a:extLst>
                <a:ext uri="{FF2B5EF4-FFF2-40B4-BE49-F238E27FC236}">
                  <a16:creationId xmlns:a16="http://schemas.microsoft.com/office/drawing/2014/main" id="{47FFBC3C-B880-4FF4-97EB-3A1E9C5B6563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60" name="Rechthoek 139">
              <a:extLst>
                <a:ext uri="{FF2B5EF4-FFF2-40B4-BE49-F238E27FC236}">
                  <a16:creationId xmlns:a16="http://schemas.microsoft.com/office/drawing/2014/main" id="{50B90ADC-79FE-46AE-9866-25A58D743D68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61" name="Rechte verbindingslijn 140">
              <a:extLst>
                <a:ext uri="{FF2B5EF4-FFF2-40B4-BE49-F238E27FC236}">
                  <a16:creationId xmlns:a16="http://schemas.microsoft.com/office/drawing/2014/main" id="{9D160473-0A2C-48FE-B32A-923B4897C68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62" name="Groep 101">
            <a:extLst>
              <a:ext uri="{FF2B5EF4-FFF2-40B4-BE49-F238E27FC236}">
                <a16:creationId xmlns:a16="http://schemas.microsoft.com/office/drawing/2014/main" id="{B1F7A270-671C-4267-BBDA-0035FFBCA6AC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63" name="Rechthoek 102">
              <a:extLst>
                <a:ext uri="{FF2B5EF4-FFF2-40B4-BE49-F238E27FC236}">
                  <a16:creationId xmlns:a16="http://schemas.microsoft.com/office/drawing/2014/main" id="{D9180A54-5B43-490E-A53A-653C88885B2B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64" name="Ovaal 103">
              <a:extLst>
                <a:ext uri="{FF2B5EF4-FFF2-40B4-BE49-F238E27FC236}">
                  <a16:creationId xmlns:a16="http://schemas.microsoft.com/office/drawing/2014/main" id="{996DE116-E9C4-4404-B963-906BF309C28A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65" name="Rechte verbindingslijn 104">
              <a:extLst>
                <a:ext uri="{FF2B5EF4-FFF2-40B4-BE49-F238E27FC236}">
                  <a16:creationId xmlns:a16="http://schemas.microsoft.com/office/drawing/2014/main" id="{4903706A-252E-4D8B-9568-4A2FAA703A8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66" name="Groep 105">
              <a:extLst>
                <a:ext uri="{FF2B5EF4-FFF2-40B4-BE49-F238E27FC236}">
                  <a16:creationId xmlns:a16="http://schemas.microsoft.com/office/drawing/2014/main" id="{35C796B2-FF99-4DAE-BA18-C0082B6F453F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91" name="Rechthoek 130">
                <a:extLst>
                  <a:ext uri="{FF2B5EF4-FFF2-40B4-BE49-F238E27FC236}">
                    <a16:creationId xmlns:a16="http://schemas.microsoft.com/office/drawing/2014/main" id="{E1C77F3A-7187-4291-809D-7DA097DC42A8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92" name="Rechte verbindingslijn 131">
                <a:extLst>
                  <a:ext uri="{FF2B5EF4-FFF2-40B4-BE49-F238E27FC236}">
                    <a16:creationId xmlns:a16="http://schemas.microsoft.com/office/drawing/2014/main" id="{D0B95EA4-D908-430B-B7E1-4E0E5963BFB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Rechte verbindingslijn 132">
                <a:extLst>
                  <a:ext uri="{FF2B5EF4-FFF2-40B4-BE49-F238E27FC236}">
                    <a16:creationId xmlns:a16="http://schemas.microsoft.com/office/drawing/2014/main" id="{757CCB11-4D5E-41DD-AA87-AA628B64CFE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4" name="Rechthoek 133">
                <a:extLst>
                  <a:ext uri="{FF2B5EF4-FFF2-40B4-BE49-F238E27FC236}">
                    <a16:creationId xmlns:a16="http://schemas.microsoft.com/office/drawing/2014/main" id="{DF9DB130-3285-4F68-A573-3AFEDB708E0A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95" name="Groep 134">
                <a:extLst>
                  <a:ext uri="{FF2B5EF4-FFF2-40B4-BE49-F238E27FC236}">
                    <a16:creationId xmlns:a16="http://schemas.microsoft.com/office/drawing/2014/main" id="{CCE4BC02-DCE2-41D7-81FF-9C63014D89B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34" name="Groep 175">
                  <a:extLst>
                    <a:ext uri="{FF2B5EF4-FFF2-40B4-BE49-F238E27FC236}">
                      <a16:creationId xmlns:a16="http://schemas.microsoft.com/office/drawing/2014/main" id="{3DEB43C1-EE4B-4FE2-8EAB-85DBC10AB6AF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38" name="Rechte verbindingslijn 179">
                    <a:extLst>
                      <a:ext uri="{FF2B5EF4-FFF2-40B4-BE49-F238E27FC236}">
                        <a16:creationId xmlns:a16="http://schemas.microsoft.com/office/drawing/2014/main" id="{5B859433-CB36-45B6-9AA6-CA3923B1838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39" name="Rechte verbindingslijn 180">
                    <a:extLst>
                      <a:ext uri="{FF2B5EF4-FFF2-40B4-BE49-F238E27FC236}">
                        <a16:creationId xmlns:a16="http://schemas.microsoft.com/office/drawing/2014/main" id="{C5C9F23F-FBC3-4A08-93CB-C2DE0AE1E96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40" name="Rechte verbindingslijn 181">
                    <a:extLst>
                      <a:ext uri="{FF2B5EF4-FFF2-40B4-BE49-F238E27FC236}">
                        <a16:creationId xmlns:a16="http://schemas.microsoft.com/office/drawing/2014/main" id="{46393340-2F27-43C8-8C71-58478D6277B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41" name="Rechte verbindingslijn 182">
                    <a:extLst>
                      <a:ext uri="{FF2B5EF4-FFF2-40B4-BE49-F238E27FC236}">
                        <a16:creationId xmlns:a16="http://schemas.microsoft.com/office/drawing/2014/main" id="{922840FB-823D-428B-8FB4-22C980D555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42" name="Rechte verbindingslijn 183">
                    <a:extLst>
                      <a:ext uri="{FF2B5EF4-FFF2-40B4-BE49-F238E27FC236}">
                        <a16:creationId xmlns:a16="http://schemas.microsoft.com/office/drawing/2014/main" id="{534C9287-6A81-477F-BFB7-44B914D012B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35" name="Groep 176">
                  <a:extLst>
                    <a:ext uri="{FF2B5EF4-FFF2-40B4-BE49-F238E27FC236}">
                      <a16:creationId xmlns:a16="http://schemas.microsoft.com/office/drawing/2014/main" id="{6B9A8CB6-A532-43EC-B4F6-4F6BA72D4D7A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36" name="Rechthoek 177">
                    <a:extLst>
                      <a:ext uri="{FF2B5EF4-FFF2-40B4-BE49-F238E27FC236}">
                        <a16:creationId xmlns:a16="http://schemas.microsoft.com/office/drawing/2014/main" id="{FC67B8D5-72EF-4F49-978F-84478A0AB0E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7" name="Pijl: punthaak 178">
                    <a:extLst>
                      <a:ext uri="{FF2B5EF4-FFF2-40B4-BE49-F238E27FC236}">
                        <a16:creationId xmlns:a16="http://schemas.microsoft.com/office/drawing/2014/main" id="{2944A143-0FC8-4FAA-885E-3BC67042ECA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96" name="Groep 135">
                <a:extLst>
                  <a:ext uri="{FF2B5EF4-FFF2-40B4-BE49-F238E27FC236}">
                    <a16:creationId xmlns:a16="http://schemas.microsoft.com/office/drawing/2014/main" id="{7C01E7F2-7723-4236-8FAF-10018B34049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25" name="Groep 166">
                  <a:extLst>
                    <a:ext uri="{FF2B5EF4-FFF2-40B4-BE49-F238E27FC236}">
                      <a16:creationId xmlns:a16="http://schemas.microsoft.com/office/drawing/2014/main" id="{7C355541-9AB8-4A38-B5B4-A863BAB71FC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29" name="Rechte verbindingslijn 170">
                    <a:extLst>
                      <a:ext uri="{FF2B5EF4-FFF2-40B4-BE49-F238E27FC236}">
                        <a16:creationId xmlns:a16="http://schemas.microsoft.com/office/drawing/2014/main" id="{0C7B1BE3-B446-4866-8BC5-75FEF4B415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30" name="Rechte verbindingslijn 171">
                    <a:extLst>
                      <a:ext uri="{FF2B5EF4-FFF2-40B4-BE49-F238E27FC236}">
                        <a16:creationId xmlns:a16="http://schemas.microsoft.com/office/drawing/2014/main" id="{65F5DBED-5D29-4DA8-A5FE-9BB3648B02A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31" name="Rechte verbindingslijn 172">
                    <a:extLst>
                      <a:ext uri="{FF2B5EF4-FFF2-40B4-BE49-F238E27FC236}">
                        <a16:creationId xmlns:a16="http://schemas.microsoft.com/office/drawing/2014/main" id="{8CD5840A-4D92-4551-BFF3-7ABEBD473FA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32" name="Rechte verbindingslijn 173">
                    <a:extLst>
                      <a:ext uri="{FF2B5EF4-FFF2-40B4-BE49-F238E27FC236}">
                        <a16:creationId xmlns:a16="http://schemas.microsoft.com/office/drawing/2014/main" id="{32B12BA8-973D-4396-853F-25D1CFD9091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33" name="Rechte verbindingslijn 174">
                    <a:extLst>
                      <a:ext uri="{FF2B5EF4-FFF2-40B4-BE49-F238E27FC236}">
                        <a16:creationId xmlns:a16="http://schemas.microsoft.com/office/drawing/2014/main" id="{3E0635CB-B06B-4FFC-8EBE-F97AF5F9E44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26" name="Groep 167">
                  <a:extLst>
                    <a:ext uri="{FF2B5EF4-FFF2-40B4-BE49-F238E27FC236}">
                      <a16:creationId xmlns:a16="http://schemas.microsoft.com/office/drawing/2014/main" id="{86BC2F15-6B53-4276-8112-49005BFBE176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27" name="Rechthoek 168">
                    <a:extLst>
                      <a:ext uri="{FF2B5EF4-FFF2-40B4-BE49-F238E27FC236}">
                        <a16:creationId xmlns:a16="http://schemas.microsoft.com/office/drawing/2014/main" id="{8882A2EB-8BF7-453C-A553-33A113F153D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28" name="Pijl: punthaak 169">
                    <a:extLst>
                      <a:ext uri="{FF2B5EF4-FFF2-40B4-BE49-F238E27FC236}">
                        <a16:creationId xmlns:a16="http://schemas.microsoft.com/office/drawing/2014/main" id="{30942C0B-8409-477B-A2D7-E9B50D96439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97" name="Rechte verbindingslijn 136">
                <a:extLst>
                  <a:ext uri="{FF2B5EF4-FFF2-40B4-BE49-F238E27FC236}">
                    <a16:creationId xmlns:a16="http://schemas.microsoft.com/office/drawing/2014/main" id="{F3CEAC1C-B495-4DC3-9915-3BD63B71DF4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98" name="Rechte verbindingslijn 137">
                <a:extLst>
                  <a:ext uri="{FF2B5EF4-FFF2-40B4-BE49-F238E27FC236}">
                    <a16:creationId xmlns:a16="http://schemas.microsoft.com/office/drawing/2014/main" id="{0BE711FA-B4EE-4A63-99BD-4D945C6AFAC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99" name="Groep 138">
                <a:extLst>
                  <a:ext uri="{FF2B5EF4-FFF2-40B4-BE49-F238E27FC236}">
                    <a16:creationId xmlns:a16="http://schemas.microsoft.com/office/drawing/2014/main" id="{A529A53A-5AE1-452F-BF03-561B5448F93D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14" name="Rechthoek 155">
                  <a:extLst>
                    <a:ext uri="{FF2B5EF4-FFF2-40B4-BE49-F238E27FC236}">
                      <a16:creationId xmlns:a16="http://schemas.microsoft.com/office/drawing/2014/main" id="{A1FE5C75-52AB-4C2E-818A-A663492DBD28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15" name="Groep 156">
                  <a:extLst>
                    <a:ext uri="{FF2B5EF4-FFF2-40B4-BE49-F238E27FC236}">
                      <a16:creationId xmlns:a16="http://schemas.microsoft.com/office/drawing/2014/main" id="{B53C4B73-119F-45DA-9253-5F3D0E4C1E97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16" name="Groep 157">
                    <a:extLst>
                      <a:ext uri="{FF2B5EF4-FFF2-40B4-BE49-F238E27FC236}">
                        <a16:creationId xmlns:a16="http://schemas.microsoft.com/office/drawing/2014/main" id="{1E243FBA-E698-4B70-A74B-9D9AF05C415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20" name="Rechte verbindingslijn 161">
                      <a:extLst>
                        <a:ext uri="{FF2B5EF4-FFF2-40B4-BE49-F238E27FC236}">
                          <a16:creationId xmlns:a16="http://schemas.microsoft.com/office/drawing/2014/main" id="{FCDD65F6-4686-42A6-94C4-B808A5A5AB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21" name="Rechte verbindingslijn 162">
                      <a:extLst>
                        <a:ext uri="{FF2B5EF4-FFF2-40B4-BE49-F238E27FC236}">
                          <a16:creationId xmlns:a16="http://schemas.microsoft.com/office/drawing/2014/main" id="{7663C596-279A-4139-86FD-DD13027EA4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22" name="Rechte verbindingslijn 163">
                      <a:extLst>
                        <a:ext uri="{FF2B5EF4-FFF2-40B4-BE49-F238E27FC236}">
                          <a16:creationId xmlns:a16="http://schemas.microsoft.com/office/drawing/2014/main" id="{B8E03594-A6D4-4D77-9F8F-D4BF9ED1596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23" name="Rechte verbindingslijn 164">
                      <a:extLst>
                        <a:ext uri="{FF2B5EF4-FFF2-40B4-BE49-F238E27FC236}">
                          <a16:creationId xmlns:a16="http://schemas.microsoft.com/office/drawing/2014/main" id="{10290EA1-5471-4579-9BB5-000E69A0D27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24" name="Rechte verbindingslijn 165">
                      <a:extLst>
                        <a:ext uri="{FF2B5EF4-FFF2-40B4-BE49-F238E27FC236}">
                          <a16:creationId xmlns:a16="http://schemas.microsoft.com/office/drawing/2014/main" id="{474814A8-B6FA-4BAA-8C05-04420C8735A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17" name="Groep 158">
                    <a:extLst>
                      <a:ext uri="{FF2B5EF4-FFF2-40B4-BE49-F238E27FC236}">
                        <a16:creationId xmlns:a16="http://schemas.microsoft.com/office/drawing/2014/main" id="{BFA7D0FB-BD64-45E6-BDBD-127F4E48720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18" name="Rechthoek 159">
                      <a:extLst>
                        <a:ext uri="{FF2B5EF4-FFF2-40B4-BE49-F238E27FC236}">
                          <a16:creationId xmlns:a16="http://schemas.microsoft.com/office/drawing/2014/main" id="{56611162-5336-484A-AF94-3C75704062E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19" name="Pijl: punthaak 160">
                      <a:extLst>
                        <a:ext uri="{FF2B5EF4-FFF2-40B4-BE49-F238E27FC236}">
                          <a16:creationId xmlns:a16="http://schemas.microsoft.com/office/drawing/2014/main" id="{B4157AE8-3542-4949-8D48-20D7261AC23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00" name="Groep 139">
                <a:extLst>
                  <a:ext uri="{FF2B5EF4-FFF2-40B4-BE49-F238E27FC236}">
                    <a16:creationId xmlns:a16="http://schemas.microsoft.com/office/drawing/2014/main" id="{78D254F3-BAC7-4C79-8701-744566242F4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03" name="Rechthoek 142">
                  <a:extLst>
                    <a:ext uri="{FF2B5EF4-FFF2-40B4-BE49-F238E27FC236}">
                      <a16:creationId xmlns:a16="http://schemas.microsoft.com/office/drawing/2014/main" id="{9BCC1D21-36C9-4F0D-818F-8D0FDCA59D06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04" name="Groep 143">
                  <a:extLst>
                    <a:ext uri="{FF2B5EF4-FFF2-40B4-BE49-F238E27FC236}">
                      <a16:creationId xmlns:a16="http://schemas.microsoft.com/office/drawing/2014/main" id="{17803CF1-43CF-42CC-BBCC-280BEBF4B306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05" name="Groep 144">
                    <a:extLst>
                      <a:ext uri="{FF2B5EF4-FFF2-40B4-BE49-F238E27FC236}">
                        <a16:creationId xmlns:a16="http://schemas.microsoft.com/office/drawing/2014/main" id="{72A26BDF-A9A8-4AC5-BBA5-01A4BF7AF52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09" name="Rechte verbindingslijn 150">
                      <a:extLst>
                        <a:ext uri="{FF2B5EF4-FFF2-40B4-BE49-F238E27FC236}">
                          <a16:creationId xmlns:a16="http://schemas.microsoft.com/office/drawing/2014/main" id="{D6487E92-BDD5-4B32-B766-66DE1CD2A27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10" name="Rechte verbindingslijn 151">
                      <a:extLst>
                        <a:ext uri="{FF2B5EF4-FFF2-40B4-BE49-F238E27FC236}">
                          <a16:creationId xmlns:a16="http://schemas.microsoft.com/office/drawing/2014/main" id="{21C6834E-B46E-42FE-99B0-37C6B62CA4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11" name="Rechte verbindingslijn 152">
                      <a:extLst>
                        <a:ext uri="{FF2B5EF4-FFF2-40B4-BE49-F238E27FC236}">
                          <a16:creationId xmlns:a16="http://schemas.microsoft.com/office/drawing/2014/main" id="{81E69DF8-8971-40FB-94F4-019A72680E4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12" name="Rechte verbindingslijn 153">
                      <a:extLst>
                        <a:ext uri="{FF2B5EF4-FFF2-40B4-BE49-F238E27FC236}">
                          <a16:creationId xmlns:a16="http://schemas.microsoft.com/office/drawing/2014/main" id="{7D5677A4-6CD9-407A-B890-AF7C464768A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13" name="Rechte verbindingslijn 154">
                      <a:extLst>
                        <a:ext uri="{FF2B5EF4-FFF2-40B4-BE49-F238E27FC236}">
                          <a16:creationId xmlns:a16="http://schemas.microsoft.com/office/drawing/2014/main" id="{2419D456-8B72-48E4-BA64-C525022CB92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06" name="Groep 147">
                    <a:extLst>
                      <a:ext uri="{FF2B5EF4-FFF2-40B4-BE49-F238E27FC236}">
                        <a16:creationId xmlns:a16="http://schemas.microsoft.com/office/drawing/2014/main" id="{A16B9D23-C565-4012-9866-765010E7FF36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07" name="Rechthoek 148">
                      <a:extLst>
                        <a:ext uri="{FF2B5EF4-FFF2-40B4-BE49-F238E27FC236}">
                          <a16:creationId xmlns:a16="http://schemas.microsoft.com/office/drawing/2014/main" id="{512EC848-259E-432E-AEC3-7C7F8DAE08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8" name="Pijl: punthaak 149">
                      <a:extLst>
                        <a:ext uri="{FF2B5EF4-FFF2-40B4-BE49-F238E27FC236}">
                          <a16:creationId xmlns:a16="http://schemas.microsoft.com/office/drawing/2014/main" id="{78FB5E6E-E4AC-443D-BA8B-7EE108EDBC2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01" name="Rechthoek 140">
                <a:extLst>
                  <a:ext uri="{FF2B5EF4-FFF2-40B4-BE49-F238E27FC236}">
                    <a16:creationId xmlns:a16="http://schemas.microsoft.com/office/drawing/2014/main" id="{1E8D725B-1F5C-4FAC-B91D-E8B14A8C9B05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102" name="Rechthoek 141">
                <a:extLst>
                  <a:ext uri="{FF2B5EF4-FFF2-40B4-BE49-F238E27FC236}">
                    <a16:creationId xmlns:a16="http://schemas.microsoft.com/office/drawing/2014/main" id="{F76808FA-F419-4AD2-BCF1-EE67337B8A96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67" name="Rechte verbindingslijn 106">
              <a:extLst>
                <a:ext uri="{FF2B5EF4-FFF2-40B4-BE49-F238E27FC236}">
                  <a16:creationId xmlns:a16="http://schemas.microsoft.com/office/drawing/2014/main" id="{6E448821-8776-473C-B784-40DBCCB172C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68" name="Rechthoek 107">
              <a:extLst>
                <a:ext uri="{FF2B5EF4-FFF2-40B4-BE49-F238E27FC236}">
                  <a16:creationId xmlns:a16="http://schemas.microsoft.com/office/drawing/2014/main" id="{E548EE63-F8F7-4E1A-A0B2-F37F12F8175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69" name="Ovaal 108">
              <a:extLst>
                <a:ext uri="{FF2B5EF4-FFF2-40B4-BE49-F238E27FC236}">
                  <a16:creationId xmlns:a16="http://schemas.microsoft.com/office/drawing/2014/main" id="{E60FA7F1-5B5F-4AF5-BE27-2A5C184C3105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70" name="Rechthoek 109">
              <a:extLst>
                <a:ext uri="{FF2B5EF4-FFF2-40B4-BE49-F238E27FC236}">
                  <a16:creationId xmlns:a16="http://schemas.microsoft.com/office/drawing/2014/main" id="{04E28943-68C6-471F-9583-950F5B8C7D0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71" name="Ovaal 110">
              <a:extLst>
                <a:ext uri="{FF2B5EF4-FFF2-40B4-BE49-F238E27FC236}">
                  <a16:creationId xmlns:a16="http://schemas.microsoft.com/office/drawing/2014/main" id="{9CB1A87A-1C59-4795-BCBB-45CBFCCD6536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72" name="Rechthoek 111">
              <a:extLst>
                <a:ext uri="{FF2B5EF4-FFF2-40B4-BE49-F238E27FC236}">
                  <a16:creationId xmlns:a16="http://schemas.microsoft.com/office/drawing/2014/main" id="{A2E4D557-0D13-4A75-A8D5-CAB14ED38053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73" name="Ovaal 112">
              <a:extLst>
                <a:ext uri="{FF2B5EF4-FFF2-40B4-BE49-F238E27FC236}">
                  <a16:creationId xmlns:a16="http://schemas.microsoft.com/office/drawing/2014/main" id="{47E0E0FC-FA8E-443E-BC07-8ED6F0641D36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74" name="Rechthoek 113">
              <a:extLst>
                <a:ext uri="{FF2B5EF4-FFF2-40B4-BE49-F238E27FC236}">
                  <a16:creationId xmlns:a16="http://schemas.microsoft.com/office/drawing/2014/main" id="{7664C5CD-C658-446B-910F-F3A1E2BDA7F5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75" name="Ovaal 114">
              <a:extLst>
                <a:ext uri="{FF2B5EF4-FFF2-40B4-BE49-F238E27FC236}">
                  <a16:creationId xmlns:a16="http://schemas.microsoft.com/office/drawing/2014/main" id="{A726B91C-933E-4287-9C06-8F842872C82E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76" name="Rechthoek 115">
              <a:extLst>
                <a:ext uri="{FF2B5EF4-FFF2-40B4-BE49-F238E27FC236}">
                  <a16:creationId xmlns:a16="http://schemas.microsoft.com/office/drawing/2014/main" id="{F19BA1D4-5360-4E5D-8BA7-DCB270E9C2CD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77" name="Rechte verbindingslijn 116">
              <a:extLst>
                <a:ext uri="{FF2B5EF4-FFF2-40B4-BE49-F238E27FC236}">
                  <a16:creationId xmlns:a16="http://schemas.microsoft.com/office/drawing/2014/main" id="{A53103BC-831E-4FD4-880F-4EF5B4F48DB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78" name="Meer informatie">
              <a:extLst>
                <a:ext uri="{FF2B5EF4-FFF2-40B4-BE49-F238E27FC236}">
                  <a16:creationId xmlns:a16="http://schemas.microsoft.com/office/drawing/2014/main" id="{C5505D44-F076-4C35-91C2-321564EBA043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88" name="Freeform 101">
                <a:extLst>
                  <a:ext uri="{FF2B5EF4-FFF2-40B4-BE49-F238E27FC236}">
                    <a16:creationId xmlns:a16="http://schemas.microsoft.com/office/drawing/2014/main" id="{4E903E40-675E-4F9D-ABB6-715A6FF455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89" name="Rechthoek 128">
                <a:extLst>
                  <a:ext uri="{FF2B5EF4-FFF2-40B4-BE49-F238E27FC236}">
                    <a16:creationId xmlns:a16="http://schemas.microsoft.com/office/drawing/2014/main" id="{4BD03939-6BA1-4CFB-A6EC-B872929174D9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90" name="Rechte verbindingslijn 129">
                <a:extLst>
                  <a:ext uri="{FF2B5EF4-FFF2-40B4-BE49-F238E27FC236}">
                    <a16:creationId xmlns:a16="http://schemas.microsoft.com/office/drawing/2014/main" id="{0D0C5345-52E2-4E26-B090-E7194BED5D3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79" name="Rechthoek 118">
              <a:extLst>
                <a:ext uri="{FF2B5EF4-FFF2-40B4-BE49-F238E27FC236}">
                  <a16:creationId xmlns:a16="http://schemas.microsoft.com/office/drawing/2014/main" id="{A5FBB76B-617E-4D3A-B69D-5441B1134AE6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80" name="Ovaal 119">
              <a:extLst>
                <a:ext uri="{FF2B5EF4-FFF2-40B4-BE49-F238E27FC236}">
                  <a16:creationId xmlns:a16="http://schemas.microsoft.com/office/drawing/2014/main" id="{6ADEC0F5-9D22-4F14-93DC-42DF1E9E4364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81" name="Rechthoek 120">
              <a:extLst>
                <a:ext uri="{FF2B5EF4-FFF2-40B4-BE49-F238E27FC236}">
                  <a16:creationId xmlns:a16="http://schemas.microsoft.com/office/drawing/2014/main" id="{C668D701-BE8B-4D56-AD79-BAA165406F95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2" name="Ovaal 121">
              <a:extLst>
                <a:ext uri="{FF2B5EF4-FFF2-40B4-BE49-F238E27FC236}">
                  <a16:creationId xmlns:a16="http://schemas.microsoft.com/office/drawing/2014/main" id="{C68D0364-BA2C-40E8-974B-1626C7992103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83" name="Rechthoek 122">
              <a:extLst>
                <a:ext uri="{FF2B5EF4-FFF2-40B4-BE49-F238E27FC236}">
                  <a16:creationId xmlns:a16="http://schemas.microsoft.com/office/drawing/2014/main" id="{5A0781F7-177E-4959-B0BC-5F64CD098837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84" name="Ovaal 123">
              <a:extLst>
                <a:ext uri="{FF2B5EF4-FFF2-40B4-BE49-F238E27FC236}">
                  <a16:creationId xmlns:a16="http://schemas.microsoft.com/office/drawing/2014/main" id="{F392F83F-F78D-4921-93A1-22545A285E2D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85" name="Rechthoek 124">
              <a:extLst>
                <a:ext uri="{FF2B5EF4-FFF2-40B4-BE49-F238E27FC236}">
                  <a16:creationId xmlns:a16="http://schemas.microsoft.com/office/drawing/2014/main" id="{56151DAF-F0EA-427A-A749-F6CE092BB98B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6" name="Rechthoek 125">
              <a:extLst>
                <a:ext uri="{FF2B5EF4-FFF2-40B4-BE49-F238E27FC236}">
                  <a16:creationId xmlns:a16="http://schemas.microsoft.com/office/drawing/2014/main" id="{04F862D1-33F7-4D3B-B638-70020878F0FC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87" name="Ovaal 126">
              <a:extLst>
                <a:ext uri="{FF2B5EF4-FFF2-40B4-BE49-F238E27FC236}">
                  <a16:creationId xmlns:a16="http://schemas.microsoft.com/office/drawing/2014/main" id="{77C613CF-21BA-413A-B914-EB4F245DABD8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47072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kaders + Uitleg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grpSp>
        <p:nvGrpSpPr>
          <p:cNvPr id="38" name="GRID" hidden="1">
            <a:extLst>
              <a:ext uri="{FF2B5EF4-FFF2-40B4-BE49-F238E27FC236}">
                <a16:creationId xmlns:a16="http://schemas.microsoft.com/office/drawing/2014/main" id="{51D5F7E8-69F8-47AD-81F5-1645C97607C1}"/>
              </a:ext>
            </a:extLst>
          </p:cNvPr>
          <p:cNvGrpSpPr/>
          <p:nvPr userDrawn="1"/>
        </p:nvGrpSpPr>
        <p:grpSpPr>
          <a:xfrm>
            <a:off x="5" y="0"/>
            <a:ext cx="42767261" cy="30275213"/>
            <a:chOff x="0" y="0"/>
            <a:chExt cx="12192003" cy="6858000"/>
          </a:xfrm>
        </p:grpSpPr>
        <p:sp>
          <p:nvSpPr>
            <p:cNvPr id="39" name="Rechthoek 38">
              <a:extLst>
                <a:ext uri="{FF2B5EF4-FFF2-40B4-BE49-F238E27FC236}">
                  <a16:creationId xmlns:a16="http://schemas.microsoft.com/office/drawing/2014/main" id="{71DB2C92-E6A8-4532-98F6-C917E7F5CD17}"/>
                </a:ext>
              </a:extLst>
            </p:cNvPr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0" name="Rechthoek 39">
              <a:extLst>
                <a:ext uri="{FF2B5EF4-FFF2-40B4-BE49-F238E27FC236}">
                  <a16:creationId xmlns:a16="http://schemas.microsoft.com/office/drawing/2014/main" id="{1283F161-5F8A-45E1-A9F2-F823FC1CB0A5}"/>
                </a:ext>
              </a:extLst>
            </p:cNvPr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1" name="Rechthoek 40">
              <a:extLst>
                <a:ext uri="{FF2B5EF4-FFF2-40B4-BE49-F238E27FC236}">
                  <a16:creationId xmlns:a16="http://schemas.microsoft.com/office/drawing/2014/main" id="{E25AE021-76F4-4113-9019-FB3CB3351AD2}"/>
                </a:ext>
              </a:extLst>
            </p:cNvPr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2" name="Rechthoek 41">
              <a:extLst>
                <a:ext uri="{FF2B5EF4-FFF2-40B4-BE49-F238E27FC236}">
                  <a16:creationId xmlns:a16="http://schemas.microsoft.com/office/drawing/2014/main" id="{4F56F574-960D-4395-B98C-5F49ED9EF418}"/>
                </a:ext>
              </a:extLst>
            </p:cNvPr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34E307D0-CCA0-4BDF-BC5F-E19838E9F7DA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4" name="Rechthoek 43">
              <a:extLst>
                <a:ext uri="{FF2B5EF4-FFF2-40B4-BE49-F238E27FC236}">
                  <a16:creationId xmlns:a16="http://schemas.microsoft.com/office/drawing/2014/main" id="{2AEE0B25-FBCC-4048-A2C0-6D97C3E7FEB7}"/>
                </a:ext>
              </a:extLst>
            </p:cNvPr>
            <p:cNvSpPr/>
            <p:nvPr userDrawn="1"/>
          </p:nvSpPr>
          <p:spPr>
            <a:xfrm rot="5400000">
              <a:off x="5895976" y="-108104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FF4C18EE-AB1E-4734-B490-93DC11E51DED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Voettekst</a:t>
            </a:r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9" y="27329718"/>
            <a:ext cx="834509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0D7B9878-B8FD-4C53-84A0-30824F06295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33803" y="6316510"/>
            <a:ext cx="25627524" cy="5476873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089185" y="2382"/>
                </a:lnTo>
                <a:cubicBezTo>
                  <a:pt x="7208841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08841" y="1240632"/>
                  <a:pt x="7089185" y="1240632"/>
                </a:cubicBezTo>
                <a:lnTo>
                  <a:pt x="216824" y="1240632"/>
                </a:lnTo>
                <a:cubicBezTo>
                  <a:pt x="9716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>
              <a:spcAft>
                <a:spcPts val="0"/>
              </a:spcAft>
              <a:defRPr sz="4209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7F82B2D1-AD00-49E7-AE45-05F1D50B110A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696814" y="6310557"/>
            <a:ext cx="5345254" cy="5474264"/>
          </a:xfrm>
          <a:custGeom>
            <a:avLst/>
            <a:gdLst>
              <a:gd name="connsiteX0" fmla="*/ 0 w 1525587"/>
              <a:gd name="connsiteY0" fmla="*/ 161658 h 1241425"/>
              <a:gd name="connsiteX1" fmla="*/ 161658 w 1525587"/>
              <a:gd name="connsiteY1" fmla="*/ 0 h 1241425"/>
              <a:gd name="connsiteX2" fmla="*/ 1363929 w 1525587"/>
              <a:gd name="connsiteY2" fmla="*/ 0 h 1241425"/>
              <a:gd name="connsiteX3" fmla="*/ 1525587 w 1525587"/>
              <a:gd name="connsiteY3" fmla="*/ 161658 h 1241425"/>
              <a:gd name="connsiteX4" fmla="*/ 1525587 w 1525587"/>
              <a:gd name="connsiteY4" fmla="*/ 1079767 h 1241425"/>
              <a:gd name="connsiteX5" fmla="*/ 1363929 w 1525587"/>
              <a:gd name="connsiteY5" fmla="*/ 1241425 h 1241425"/>
              <a:gd name="connsiteX6" fmla="*/ 161658 w 1525587"/>
              <a:gd name="connsiteY6" fmla="*/ 1241425 h 1241425"/>
              <a:gd name="connsiteX7" fmla="*/ 0 w 1525587"/>
              <a:gd name="connsiteY7" fmla="*/ 1079767 h 1241425"/>
              <a:gd name="connsiteX8" fmla="*/ 0 w 1525587"/>
              <a:gd name="connsiteY8" fmla="*/ 161658 h 1241425"/>
              <a:gd name="connsiteX0" fmla="*/ 0 w 1525587"/>
              <a:gd name="connsiteY0" fmla="*/ 161658 h 1241425"/>
              <a:gd name="connsiteX1" fmla="*/ 42862 w 1525587"/>
              <a:gd name="connsiteY1" fmla="*/ 48418 h 1241425"/>
              <a:gd name="connsiteX2" fmla="*/ 161658 w 1525587"/>
              <a:gd name="connsiteY2" fmla="*/ 0 h 1241425"/>
              <a:gd name="connsiteX3" fmla="*/ 1363929 w 1525587"/>
              <a:gd name="connsiteY3" fmla="*/ 0 h 1241425"/>
              <a:gd name="connsiteX4" fmla="*/ 1525587 w 1525587"/>
              <a:gd name="connsiteY4" fmla="*/ 161658 h 1241425"/>
              <a:gd name="connsiteX5" fmla="*/ 1525587 w 1525587"/>
              <a:gd name="connsiteY5" fmla="*/ 1079767 h 1241425"/>
              <a:gd name="connsiteX6" fmla="*/ 1363929 w 1525587"/>
              <a:gd name="connsiteY6" fmla="*/ 1241425 h 1241425"/>
              <a:gd name="connsiteX7" fmla="*/ 161658 w 1525587"/>
              <a:gd name="connsiteY7" fmla="*/ 1241425 h 1241425"/>
              <a:gd name="connsiteX8" fmla="*/ 0 w 1525587"/>
              <a:gd name="connsiteY8" fmla="*/ 1079767 h 1241425"/>
              <a:gd name="connsiteX9" fmla="*/ 0 w 1525587"/>
              <a:gd name="connsiteY9" fmla="*/ 161658 h 1241425"/>
              <a:gd name="connsiteX0" fmla="*/ 8672 w 1534259"/>
              <a:gd name="connsiteY0" fmla="*/ 165982 h 1245749"/>
              <a:gd name="connsiteX1" fmla="*/ 11053 w 1534259"/>
              <a:gd name="connsiteY1" fmla="*/ 12261 h 1245749"/>
              <a:gd name="connsiteX2" fmla="*/ 170330 w 1534259"/>
              <a:gd name="connsiteY2" fmla="*/ 4324 h 1245749"/>
              <a:gd name="connsiteX3" fmla="*/ 1372601 w 1534259"/>
              <a:gd name="connsiteY3" fmla="*/ 4324 h 1245749"/>
              <a:gd name="connsiteX4" fmla="*/ 1534259 w 1534259"/>
              <a:gd name="connsiteY4" fmla="*/ 165982 h 1245749"/>
              <a:gd name="connsiteX5" fmla="*/ 1534259 w 1534259"/>
              <a:gd name="connsiteY5" fmla="*/ 1084091 h 1245749"/>
              <a:gd name="connsiteX6" fmla="*/ 1372601 w 1534259"/>
              <a:gd name="connsiteY6" fmla="*/ 1245749 h 1245749"/>
              <a:gd name="connsiteX7" fmla="*/ 170330 w 1534259"/>
              <a:gd name="connsiteY7" fmla="*/ 1245749 h 1245749"/>
              <a:gd name="connsiteX8" fmla="*/ 8672 w 1534259"/>
              <a:gd name="connsiteY8" fmla="*/ 1084091 h 1245749"/>
              <a:gd name="connsiteX9" fmla="*/ 8672 w 1534259"/>
              <a:gd name="connsiteY9" fmla="*/ 165982 h 1245749"/>
              <a:gd name="connsiteX0" fmla="*/ 8672 w 1534259"/>
              <a:gd name="connsiteY0" fmla="*/ 167890 h 1247657"/>
              <a:gd name="connsiteX1" fmla="*/ 11053 w 1534259"/>
              <a:gd name="connsiteY1" fmla="*/ 14169 h 1247657"/>
              <a:gd name="connsiteX2" fmla="*/ 170330 w 1534259"/>
              <a:gd name="connsiteY2" fmla="*/ 6232 h 1247657"/>
              <a:gd name="connsiteX3" fmla="*/ 1372601 w 1534259"/>
              <a:gd name="connsiteY3" fmla="*/ 6232 h 1247657"/>
              <a:gd name="connsiteX4" fmla="*/ 1534259 w 1534259"/>
              <a:gd name="connsiteY4" fmla="*/ 167890 h 1247657"/>
              <a:gd name="connsiteX5" fmla="*/ 1534259 w 1534259"/>
              <a:gd name="connsiteY5" fmla="*/ 1085999 h 1247657"/>
              <a:gd name="connsiteX6" fmla="*/ 1372601 w 1534259"/>
              <a:gd name="connsiteY6" fmla="*/ 1247657 h 1247657"/>
              <a:gd name="connsiteX7" fmla="*/ 170330 w 1534259"/>
              <a:gd name="connsiteY7" fmla="*/ 1247657 h 1247657"/>
              <a:gd name="connsiteX8" fmla="*/ 8672 w 1534259"/>
              <a:gd name="connsiteY8" fmla="*/ 1085999 h 1247657"/>
              <a:gd name="connsiteX9" fmla="*/ 8672 w 1534259"/>
              <a:gd name="connsiteY9" fmla="*/ 167890 h 1247657"/>
              <a:gd name="connsiteX0" fmla="*/ 8672 w 1534259"/>
              <a:gd name="connsiteY0" fmla="*/ 161658 h 1241425"/>
              <a:gd name="connsiteX1" fmla="*/ 11053 w 1534259"/>
              <a:gd name="connsiteY1" fmla="*/ 7937 h 1241425"/>
              <a:gd name="connsiteX2" fmla="*/ 170330 w 1534259"/>
              <a:gd name="connsiteY2" fmla="*/ 0 h 1241425"/>
              <a:gd name="connsiteX3" fmla="*/ 1372601 w 1534259"/>
              <a:gd name="connsiteY3" fmla="*/ 0 h 1241425"/>
              <a:gd name="connsiteX4" fmla="*/ 1534259 w 1534259"/>
              <a:gd name="connsiteY4" fmla="*/ 161658 h 1241425"/>
              <a:gd name="connsiteX5" fmla="*/ 1534259 w 1534259"/>
              <a:gd name="connsiteY5" fmla="*/ 1079767 h 1241425"/>
              <a:gd name="connsiteX6" fmla="*/ 1372601 w 1534259"/>
              <a:gd name="connsiteY6" fmla="*/ 1241425 h 1241425"/>
              <a:gd name="connsiteX7" fmla="*/ 170330 w 1534259"/>
              <a:gd name="connsiteY7" fmla="*/ 1241425 h 1241425"/>
              <a:gd name="connsiteX8" fmla="*/ 8672 w 1534259"/>
              <a:gd name="connsiteY8" fmla="*/ 1079767 h 1241425"/>
              <a:gd name="connsiteX9" fmla="*/ 8672 w 1534259"/>
              <a:gd name="connsiteY9" fmla="*/ 161658 h 124142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3668 h 1243435"/>
              <a:gd name="connsiteX1" fmla="*/ 10644 w 1535715"/>
              <a:gd name="connsiteY1" fmla="*/ 0 h 1243435"/>
              <a:gd name="connsiteX2" fmla="*/ 171786 w 1535715"/>
              <a:gd name="connsiteY2" fmla="*/ 2010 h 1243435"/>
              <a:gd name="connsiteX3" fmla="*/ 1374057 w 1535715"/>
              <a:gd name="connsiteY3" fmla="*/ 2010 h 1243435"/>
              <a:gd name="connsiteX4" fmla="*/ 1535715 w 1535715"/>
              <a:gd name="connsiteY4" fmla="*/ 163668 h 1243435"/>
              <a:gd name="connsiteX5" fmla="*/ 1535715 w 1535715"/>
              <a:gd name="connsiteY5" fmla="*/ 1081777 h 1243435"/>
              <a:gd name="connsiteX6" fmla="*/ 1374057 w 1535715"/>
              <a:gd name="connsiteY6" fmla="*/ 1243435 h 1243435"/>
              <a:gd name="connsiteX7" fmla="*/ 171786 w 1535715"/>
              <a:gd name="connsiteY7" fmla="*/ 1243435 h 1243435"/>
              <a:gd name="connsiteX8" fmla="*/ 10128 w 1535715"/>
              <a:gd name="connsiteY8" fmla="*/ 1081777 h 1243435"/>
              <a:gd name="connsiteX9" fmla="*/ 10128 w 1535715"/>
              <a:gd name="connsiteY9" fmla="*/ 163668 h 124343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1808 w 1537395"/>
              <a:gd name="connsiteY0" fmla="*/ 161803 h 1241570"/>
              <a:gd name="connsiteX1" fmla="*/ 12324 w 1537395"/>
              <a:gd name="connsiteY1" fmla="*/ 0 h 1241570"/>
              <a:gd name="connsiteX2" fmla="*/ 173466 w 1537395"/>
              <a:gd name="connsiteY2" fmla="*/ 145 h 1241570"/>
              <a:gd name="connsiteX3" fmla="*/ 1375737 w 1537395"/>
              <a:gd name="connsiteY3" fmla="*/ 145 h 1241570"/>
              <a:gd name="connsiteX4" fmla="*/ 1537395 w 1537395"/>
              <a:gd name="connsiteY4" fmla="*/ 161803 h 1241570"/>
              <a:gd name="connsiteX5" fmla="*/ 1537395 w 1537395"/>
              <a:gd name="connsiteY5" fmla="*/ 1079912 h 1241570"/>
              <a:gd name="connsiteX6" fmla="*/ 1375737 w 1537395"/>
              <a:gd name="connsiteY6" fmla="*/ 1241570 h 1241570"/>
              <a:gd name="connsiteX7" fmla="*/ 173466 w 1537395"/>
              <a:gd name="connsiteY7" fmla="*/ 1241570 h 1241570"/>
              <a:gd name="connsiteX8" fmla="*/ 11808 w 1537395"/>
              <a:gd name="connsiteY8" fmla="*/ 1079912 h 1241570"/>
              <a:gd name="connsiteX9" fmla="*/ 11808 w 1537395"/>
              <a:gd name="connsiteY9" fmla="*/ 161803 h 1241570"/>
              <a:gd name="connsiteX0" fmla="*/ 346 w 1525933"/>
              <a:gd name="connsiteY0" fmla="*/ 161803 h 1241570"/>
              <a:gd name="connsiteX1" fmla="*/ 862 w 1525933"/>
              <a:gd name="connsiteY1" fmla="*/ 0 h 1241570"/>
              <a:gd name="connsiteX2" fmla="*/ 162004 w 1525933"/>
              <a:gd name="connsiteY2" fmla="*/ 145 h 1241570"/>
              <a:gd name="connsiteX3" fmla="*/ 1364275 w 1525933"/>
              <a:gd name="connsiteY3" fmla="*/ 145 h 1241570"/>
              <a:gd name="connsiteX4" fmla="*/ 1525933 w 1525933"/>
              <a:gd name="connsiteY4" fmla="*/ 161803 h 1241570"/>
              <a:gd name="connsiteX5" fmla="*/ 1525933 w 1525933"/>
              <a:gd name="connsiteY5" fmla="*/ 1079912 h 1241570"/>
              <a:gd name="connsiteX6" fmla="*/ 1364275 w 1525933"/>
              <a:gd name="connsiteY6" fmla="*/ 1241570 h 1241570"/>
              <a:gd name="connsiteX7" fmla="*/ 162004 w 1525933"/>
              <a:gd name="connsiteY7" fmla="*/ 1241570 h 1241570"/>
              <a:gd name="connsiteX8" fmla="*/ 346 w 1525933"/>
              <a:gd name="connsiteY8" fmla="*/ 1079912 h 1241570"/>
              <a:gd name="connsiteX9" fmla="*/ 346 w 1525933"/>
              <a:gd name="connsiteY9" fmla="*/ 161803 h 1241570"/>
              <a:gd name="connsiteX0" fmla="*/ 872 w 1526459"/>
              <a:gd name="connsiteY0" fmla="*/ 161803 h 1241570"/>
              <a:gd name="connsiteX1" fmla="*/ 1388 w 1526459"/>
              <a:gd name="connsiteY1" fmla="*/ 0 h 1241570"/>
              <a:gd name="connsiteX2" fmla="*/ 162530 w 1526459"/>
              <a:gd name="connsiteY2" fmla="*/ 145 h 1241570"/>
              <a:gd name="connsiteX3" fmla="*/ 1364801 w 1526459"/>
              <a:gd name="connsiteY3" fmla="*/ 145 h 1241570"/>
              <a:gd name="connsiteX4" fmla="*/ 1526459 w 1526459"/>
              <a:gd name="connsiteY4" fmla="*/ 161803 h 1241570"/>
              <a:gd name="connsiteX5" fmla="*/ 1526459 w 1526459"/>
              <a:gd name="connsiteY5" fmla="*/ 1079912 h 1241570"/>
              <a:gd name="connsiteX6" fmla="*/ 1364801 w 1526459"/>
              <a:gd name="connsiteY6" fmla="*/ 1241570 h 1241570"/>
              <a:gd name="connsiteX7" fmla="*/ 162530 w 1526459"/>
              <a:gd name="connsiteY7" fmla="*/ 1241570 h 1241570"/>
              <a:gd name="connsiteX8" fmla="*/ 872 w 1526459"/>
              <a:gd name="connsiteY8" fmla="*/ 1079912 h 1241570"/>
              <a:gd name="connsiteX9" fmla="*/ 872 w 1526459"/>
              <a:gd name="connsiteY9" fmla="*/ 161803 h 1241570"/>
              <a:gd name="connsiteX0" fmla="*/ 470 w 1526057"/>
              <a:gd name="connsiteY0" fmla="*/ 161803 h 1241570"/>
              <a:gd name="connsiteX1" fmla="*/ 986 w 1526057"/>
              <a:gd name="connsiteY1" fmla="*/ 0 h 1241570"/>
              <a:gd name="connsiteX2" fmla="*/ 162128 w 1526057"/>
              <a:gd name="connsiteY2" fmla="*/ 145 h 1241570"/>
              <a:gd name="connsiteX3" fmla="*/ 1364399 w 1526057"/>
              <a:gd name="connsiteY3" fmla="*/ 145 h 1241570"/>
              <a:gd name="connsiteX4" fmla="*/ 1526057 w 1526057"/>
              <a:gd name="connsiteY4" fmla="*/ 161803 h 1241570"/>
              <a:gd name="connsiteX5" fmla="*/ 1526057 w 1526057"/>
              <a:gd name="connsiteY5" fmla="*/ 1079912 h 1241570"/>
              <a:gd name="connsiteX6" fmla="*/ 1364399 w 1526057"/>
              <a:gd name="connsiteY6" fmla="*/ 1241570 h 1241570"/>
              <a:gd name="connsiteX7" fmla="*/ 162128 w 1526057"/>
              <a:gd name="connsiteY7" fmla="*/ 1241570 h 1241570"/>
              <a:gd name="connsiteX8" fmla="*/ 470 w 1526057"/>
              <a:gd name="connsiteY8" fmla="*/ 1079912 h 1241570"/>
              <a:gd name="connsiteX9" fmla="*/ 470 w 1526057"/>
              <a:gd name="connsiteY9" fmla="*/ 161803 h 1241570"/>
              <a:gd name="connsiteX0" fmla="*/ 649 w 1526236"/>
              <a:gd name="connsiteY0" fmla="*/ 161803 h 1241570"/>
              <a:gd name="connsiteX1" fmla="*/ 1165 w 1526236"/>
              <a:gd name="connsiteY1" fmla="*/ 0 h 1241570"/>
              <a:gd name="connsiteX2" fmla="*/ 162307 w 1526236"/>
              <a:gd name="connsiteY2" fmla="*/ 145 h 1241570"/>
              <a:gd name="connsiteX3" fmla="*/ 1364578 w 1526236"/>
              <a:gd name="connsiteY3" fmla="*/ 145 h 1241570"/>
              <a:gd name="connsiteX4" fmla="*/ 1526236 w 1526236"/>
              <a:gd name="connsiteY4" fmla="*/ 161803 h 1241570"/>
              <a:gd name="connsiteX5" fmla="*/ 1526236 w 1526236"/>
              <a:gd name="connsiteY5" fmla="*/ 1079912 h 1241570"/>
              <a:gd name="connsiteX6" fmla="*/ 1364578 w 1526236"/>
              <a:gd name="connsiteY6" fmla="*/ 1241570 h 1241570"/>
              <a:gd name="connsiteX7" fmla="*/ 162307 w 1526236"/>
              <a:gd name="connsiteY7" fmla="*/ 1241570 h 1241570"/>
              <a:gd name="connsiteX8" fmla="*/ 649 w 1526236"/>
              <a:gd name="connsiteY8" fmla="*/ 1079912 h 1241570"/>
              <a:gd name="connsiteX9" fmla="*/ 649 w 1526236"/>
              <a:gd name="connsiteY9" fmla="*/ 161803 h 1241570"/>
              <a:gd name="connsiteX0" fmla="*/ 268 w 1525855"/>
              <a:gd name="connsiteY0" fmla="*/ 161803 h 1241570"/>
              <a:gd name="connsiteX1" fmla="*/ 784 w 1525855"/>
              <a:gd name="connsiteY1" fmla="*/ 0 h 1241570"/>
              <a:gd name="connsiteX2" fmla="*/ 161926 w 1525855"/>
              <a:gd name="connsiteY2" fmla="*/ 145 h 1241570"/>
              <a:gd name="connsiteX3" fmla="*/ 1364197 w 1525855"/>
              <a:gd name="connsiteY3" fmla="*/ 145 h 1241570"/>
              <a:gd name="connsiteX4" fmla="*/ 1525855 w 1525855"/>
              <a:gd name="connsiteY4" fmla="*/ 161803 h 1241570"/>
              <a:gd name="connsiteX5" fmla="*/ 1525855 w 1525855"/>
              <a:gd name="connsiteY5" fmla="*/ 1079912 h 1241570"/>
              <a:gd name="connsiteX6" fmla="*/ 1364197 w 1525855"/>
              <a:gd name="connsiteY6" fmla="*/ 1241570 h 1241570"/>
              <a:gd name="connsiteX7" fmla="*/ 161926 w 1525855"/>
              <a:gd name="connsiteY7" fmla="*/ 1241570 h 1241570"/>
              <a:gd name="connsiteX8" fmla="*/ 268 w 1525855"/>
              <a:gd name="connsiteY8" fmla="*/ 1079912 h 1241570"/>
              <a:gd name="connsiteX9" fmla="*/ 268 w 1525855"/>
              <a:gd name="connsiteY9" fmla="*/ 161803 h 1241570"/>
              <a:gd name="connsiteX0" fmla="*/ 359 w 1525946"/>
              <a:gd name="connsiteY0" fmla="*/ 161803 h 1241570"/>
              <a:gd name="connsiteX1" fmla="*/ 253 w 1525946"/>
              <a:gd name="connsiteY1" fmla="*/ 0 h 1241570"/>
              <a:gd name="connsiteX2" fmla="*/ 162017 w 1525946"/>
              <a:gd name="connsiteY2" fmla="*/ 145 h 1241570"/>
              <a:gd name="connsiteX3" fmla="*/ 1364288 w 1525946"/>
              <a:gd name="connsiteY3" fmla="*/ 145 h 1241570"/>
              <a:gd name="connsiteX4" fmla="*/ 1525946 w 1525946"/>
              <a:gd name="connsiteY4" fmla="*/ 161803 h 1241570"/>
              <a:gd name="connsiteX5" fmla="*/ 1525946 w 1525946"/>
              <a:gd name="connsiteY5" fmla="*/ 1079912 h 1241570"/>
              <a:gd name="connsiteX6" fmla="*/ 1364288 w 1525946"/>
              <a:gd name="connsiteY6" fmla="*/ 1241570 h 1241570"/>
              <a:gd name="connsiteX7" fmla="*/ 162017 w 1525946"/>
              <a:gd name="connsiteY7" fmla="*/ 1241570 h 1241570"/>
              <a:gd name="connsiteX8" fmla="*/ 359 w 1525946"/>
              <a:gd name="connsiteY8" fmla="*/ 1079912 h 1241570"/>
              <a:gd name="connsiteX9" fmla="*/ 359 w 1525946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364035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25693" h="1241570">
                <a:moveTo>
                  <a:pt x="106" y="161803"/>
                </a:moveTo>
                <a:cubicBezTo>
                  <a:pt x="-210" y="159620"/>
                  <a:pt x="409" y="7672"/>
                  <a:pt x="0" y="0"/>
                </a:cubicBezTo>
                <a:cubicBezTo>
                  <a:pt x="6219" y="388"/>
                  <a:pt x="110655" y="450"/>
                  <a:pt x="161764" y="145"/>
                </a:cubicBezTo>
                <a:lnTo>
                  <a:pt x="1364035" y="145"/>
                </a:lnTo>
                <a:cubicBezTo>
                  <a:pt x="1453316" y="145"/>
                  <a:pt x="1525693" y="72522"/>
                  <a:pt x="1525693" y="161803"/>
                </a:cubicBezTo>
                <a:lnTo>
                  <a:pt x="1525693" y="1079912"/>
                </a:lnTo>
                <a:cubicBezTo>
                  <a:pt x="1525693" y="1169193"/>
                  <a:pt x="1453316" y="1241570"/>
                  <a:pt x="1364035" y="1241570"/>
                </a:cubicBezTo>
                <a:lnTo>
                  <a:pt x="161764" y="1241570"/>
                </a:lnTo>
                <a:cubicBezTo>
                  <a:pt x="72483" y="1241570"/>
                  <a:pt x="106" y="1169193"/>
                  <a:pt x="106" y="1079912"/>
                </a:cubicBezTo>
                <a:lnTo>
                  <a:pt x="106" y="1618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tIns="0" bIns="252000" anchor="b"/>
          <a:lstStyle>
            <a:lvl1pPr marL="0" indent="0" algn="ctr">
              <a:buNone/>
              <a:defRPr sz="2806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nl-NL" noProof="0"/>
          </a:p>
        </p:txBody>
      </p:sp>
      <p:sp>
        <p:nvSpPr>
          <p:cNvPr id="30" name="Tijdelijke aanduiding voor tekst 2">
            <a:extLst>
              <a:ext uri="{FF2B5EF4-FFF2-40B4-BE49-F238E27FC236}">
                <a16:creationId xmlns:a16="http://schemas.microsoft.com/office/drawing/2014/main" id="{9D2AC618-ACAD-484E-BBCB-91B7EBF7B70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533803" y="13275428"/>
            <a:ext cx="25627524" cy="5476873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089185" y="2382"/>
                </a:lnTo>
                <a:cubicBezTo>
                  <a:pt x="7208841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08841" y="1240632"/>
                  <a:pt x="7089185" y="1240632"/>
                </a:cubicBezTo>
                <a:lnTo>
                  <a:pt x="216824" y="1240632"/>
                </a:lnTo>
                <a:cubicBezTo>
                  <a:pt x="9716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>
              <a:spcAft>
                <a:spcPts val="0"/>
              </a:spcAft>
              <a:defRPr sz="4209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31" name="Tijdelijke aanduiding voor afbeelding 6">
            <a:extLst>
              <a:ext uri="{FF2B5EF4-FFF2-40B4-BE49-F238E27FC236}">
                <a16:creationId xmlns:a16="http://schemas.microsoft.com/office/drawing/2014/main" id="{6EAA7FFB-E40E-4744-8AF0-0E4BEE5C22A0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1696814" y="13269468"/>
            <a:ext cx="5345254" cy="5474264"/>
          </a:xfrm>
          <a:custGeom>
            <a:avLst/>
            <a:gdLst>
              <a:gd name="connsiteX0" fmla="*/ 0 w 1525587"/>
              <a:gd name="connsiteY0" fmla="*/ 161658 h 1241425"/>
              <a:gd name="connsiteX1" fmla="*/ 161658 w 1525587"/>
              <a:gd name="connsiteY1" fmla="*/ 0 h 1241425"/>
              <a:gd name="connsiteX2" fmla="*/ 1363929 w 1525587"/>
              <a:gd name="connsiteY2" fmla="*/ 0 h 1241425"/>
              <a:gd name="connsiteX3" fmla="*/ 1525587 w 1525587"/>
              <a:gd name="connsiteY3" fmla="*/ 161658 h 1241425"/>
              <a:gd name="connsiteX4" fmla="*/ 1525587 w 1525587"/>
              <a:gd name="connsiteY4" fmla="*/ 1079767 h 1241425"/>
              <a:gd name="connsiteX5" fmla="*/ 1363929 w 1525587"/>
              <a:gd name="connsiteY5" fmla="*/ 1241425 h 1241425"/>
              <a:gd name="connsiteX6" fmla="*/ 161658 w 1525587"/>
              <a:gd name="connsiteY6" fmla="*/ 1241425 h 1241425"/>
              <a:gd name="connsiteX7" fmla="*/ 0 w 1525587"/>
              <a:gd name="connsiteY7" fmla="*/ 1079767 h 1241425"/>
              <a:gd name="connsiteX8" fmla="*/ 0 w 1525587"/>
              <a:gd name="connsiteY8" fmla="*/ 161658 h 1241425"/>
              <a:gd name="connsiteX0" fmla="*/ 0 w 1525587"/>
              <a:gd name="connsiteY0" fmla="*/ 161658 h 1241425"/>
              <a:gd name="connsiteX1" fmla="*/ 42862 w 1525587"/>
              <a:gd name="connsiteY1" fmla="*/ 48418 h 1241425"/>
              <a:gd name="connsiteX2" fmla="*/ 161658 w 1525587"/>
              <a:gd name="connsiteY2" fmla="*/ 0 h 1241425"/>
              <a:gd name="connsiteX3" fmla="*/ 1363929 w 1525587"/>
              <a:gd name="connsiteY3" fmla="*/ 0 h 1241425"/>
              <a:gd name="connsiteX4" fmla="*/ 1525587 w 1525587"/>
              <a:gd name="connsiteY4" fmla="*/ 161658 h 1241425"/>
              <a:gd name="connsiteX5" fmla="*/ 1525587 w 1525587"/>
              <a:gd name="connsiteY5" fmla="*/ 1079767 h 1241425"/>
              <a:gd name="connsiteX6" fmla="*/ 1363929 w 1525587"/>
              <a:gd name="connsiteY6" fmla="*/ 1241425 h 1241425"/>
              <a:gd name="connsiteX7" fmla="*/ 161658 w 1525587"/>
              <a:gd name="connsiteY7" fmla="*/ 1241425 h 1241425"/>
              <a:gd name="connsiteX8" fmla="*/ 0 w 1525587"/>
              <a:gd name="connsiteY8" fmla="*/ 1079767 h 1241425"/>
              <a:gd name="connsiteX9" fmla="*/ 0 w 1525587"/>
              <a:gd name="connsiteY9" fmla="*/ 161658 h 1241425"/>
              <a:gd name="connsiteX0" fmla="*/ 8672 w 1534259"/>
              <a:gd name="connsiteY0" fmla="*/ 165982 h 1245749"/>
              <a:gd name="connsiteX1" fmla="*/ 11053 w 1534259"/>
              <a:gd name="connsiteY1" fmla="*/ 12261 h 1245749"/>
              <a:gd name="connsiteX2" fmla="*/ 170330 w 1534259"/>
              <a:gd name="connsiteY2" fmla="*/ 4324 h 1245749"/>
              <a:gd name="connsiteX3" fmla="*/ 1372601 w 1534259"/>
              <a:gd name="connsiteY3" fmla="*/ 4324 h 1245749"/>
              <a:gd name="connsiteX4" fmla="*/ 1534259 w 1534259"/>
              <a:gd name="connsiteY4" fmla="*/ 165982 h 1245749"/>
              <a:gd name="connsiteX5" fmla="*/ 1534259 w 1534259"/>
              <a:gd name="connsiteY5" fmla="*/ 1084091 h 1245749"/>
              <a:gd name="connsiteX6" fmla="*/ 1372601 w 1534259"/>
              <a:gd name="connsiteY6" fmla="*/ 1245749 h 1245749"/>
              <a:gd name="connsiteX7" fmla="*/ 170330 w 1534259"/>
              <a:gd name="connsiteY7" fmla="*/ 1245749 h 1245749"/>
              <a:gd name="connsiteX8" fmla="*/ 8672 w 1534259"/>
              <a:gd name="connsiteY8" fmla="*/ 1084091 h 1245749"/>
              <a:gd name="connsiteX9" fmla="*/ 8672 w 1534259"/>
              <a:gd name="connsiteY9" fmla="*/ 165982 h 1245749"/>
              <a:gd name="connsiteX0" fmla="*/ 8672 w 1534259"/>
              <a:gd name="connsiteY0" fmla="*/ 167890 h 1247657"/>
              <a:gd name="connsiteX1" fmla="*/ 11053 w 1534259"/>
              <a:gd name="connsiteY1" fmla="*/ 14169 h 1247657"/>
              <a:gd name="connsiteX2" fmla="*/ 170330 w 1534259"/>
              <a:gd name="connsiteY2" fmla="*/ 6232 h 1247657"/>
              <a:gd name="connsiteX3" fmla="*/ 1372601 w 1534259"/>
              <a:gd name="connsiteY3" fmla="*/ 6232 h 1247657"/>
              <a:gd name="connsiteX4" fmla="*/ 1534259 w 1534259"/>
              <a:gd name="connsiteY4" fmla="*/ 167890 h 1247657"/>
              <a:gd name="connsiteX5" fmla="*/ 1534259 w 1534259"/>
              <a:gd name="connsiteY5" fmla="*/ 1085999 h 1247657"/>
              <a:gd name="connsiteX6" fmla="*/ 1372601 w 1534259"/>
              <a:gd name="connsiteY6" fmla="*/ 1247657 h 1247657"/>
              <a:gd name="connsiteX7" fmla="*/ 170330 w 1534259"/>
              <a:gd name="connsiteY7" fmla="*/ 1247657 h 1247657"/>
              <a:gd name="connsiteX8" fmla="*/ 8672 w 1534259"/>
              <a:gd name="connsiteY8" fmla="*/ 1085999 h 1247657"/>
              <a:gd name="connsiteX9" fmla="*/ 8672 w 1534259"/>
              <a:gd name="connsiteY9" fmla="*/ 167890 h 1247657"/>
              <a:gd name="connsiteX0" fmla="*/ 8672 w 1534259"/>
              <a:gd name="connsiteY0" fmla="*/ 161658 h 1241425"/>
              <a:gd name="connsiteX1" fmla="*/ 11053 w 1534259"/>
              <a:gd name="connsiteY1" fmla="*/ 7937 h 1241425"/>
              <a:gd name="connsiteX2" fmla="*/ 170330 w 1534259"/>
              <a:gd name="connsiteY2" fmla="*/ 0 h 1241425"/>
              <a:gd name="connsiteX3" fmla="*/ 1372601 w 1534259"/>
              <a:gd name="connsiteY3" fmla="*/ 0 h 1241425"/>
              <a:gd name="connsiteX4" fmla="*/ 1534259 w 1534259"/>
              <a:gd name="connsiteY4" fmla="*/ 161658 h 1241425"/>
              <a:gd name="connsiteX5" fmla="*/ 1534259 w 1534259"/>
              <a:gd name="connsiteY5" fmla="*/ 1079767 h 1241425"/>
              <a:gd name="connsiteX6" fmla="*/ 1372601 w 1534259"/>
              <a:gd name="connsiteY6" fmla="*/ 1241425 h 1241425"/>
              <a:gd name="connsiteX7" fmla="*/ 170330 w 1534259"/>
              <a:gd name="connsiteY7" fmla="*/ 1241425 h 1241425"/>
              <a:gd name="connsiteX8" fmla="*/ 8672 w 1534259"/>
              <a:gd name="connsiteY8" fmla="*/ 1079767 h 1241425"/>
              <a:gd name="connsiteX9" fmla="*/ 8672 w 1534259"/>
              <a:gd name="connsiteY9" fmla="*/ 161658 h 124142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3668 h 1243435"/>
              <a:gd name="connsiteX1" fmla="*/ 10644 w 1535715"/>
              <a:gd name="connsiteY1" fmla="*/ 0 h 1243435"/>
              <a:gd name="connsiteX2" fmla="*/ 171786 w 1535715"/>
              <a:gd name="connsiteY2" fmla="*/ 2010 h 1243435"/>
              <a:gd name="connsiteX3" fmla="*/ 1374057 w 1535715"/>
              <a:gd name="connsiteY3" fmla="*/ 2010 h 1243435"/>
              <a:gd name="connsiteX4" fmla="*/ 1535715 w 1535715"/>
              <a:gd name="connsiteY4" fmla="*/ 163668 h 1243435"/>
              <a:gd name="connsiteX5" fmla="*/ 1535715 w 1535715"/>
              <a:gd name="connsiteY5" fmla="*/ 1081777 h 1243435"/>
              <a:gd name="connsiteX6" fmla="*/ 1374057 w 1535715"/>
              <a:gd name="connsiteY6" fmla="*/ 1243435 h 1243435"/>
              <a:gd name="connsiteX7" fmla="*/ 171786 w 1535715"/>
              <a:gd name="connsiteY7" fmla="*/ 1243435 h 1243435"/>
              <a:gd name="connsiteX8" fmla="*/ 10128 w 1535715"/>
              <a:gd name="connsiteY8" fmla="*/ 1081777 h 1243435"/>
              <a:gd name="connsiteX9" fmla="*/ 10128 w 1535715"/>
              <a:gd name="connsiteY9" fmla="*/ 163668 h 124343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1808 w 1537395"/>
              <a:gd name="connsiteY0" fmla="*/ 161803 h 1241570"/>
              <a:gd name="connsiteX1" fmla="*/ 12324 w 1537395"/>
              <a:gd name="connsiteY1" fmla="*/ 0 h 1241570"/>
              <a:gd name="connsiteX2" fmla="*/ 173466 w 1537395"/>
              <a:gd name="connsiteY2" fmla="*/ 145 h 1241570"/>
              <a:gd name="connsiteX3" fmla="*/ 1375737 w 1537395"/>
              <a:gd name="connsiteY3" fmla="*/ 145 h 1241570"/>
              <a:gd name="connsiteX4" fmla="*/ 1537395 w 1537395"/>
              <a:gd name="connsiteY4" fmla="*/ 161803 h 1241570"/>
              <a:gd name="connsiteX5" fmla="*/ 1537395 w 1537395"/>
              <a:gd name="connsiteY5" fmla="*/ 1079912 h 1241570"/>
              <a:gd name="connsiteX6" fmla="*/ 1375737 w 1537395"/>
              <a:gd name="connsiteY6" fmla="*/ 1241570 h 1241570"/>
              <a:gd name="connsiteX7" fmla="*/ 173466 w 1537395"/>
              <a:gd name="connsiteY7" fmla="*/ 1241570 h 1241570"/>
              <a:gd name="connsiteX8" fmla="*/ 11808 w 1537395"/>
              <a:gd name="connsiteY8" fmla="*/ 1079912 h 1241570"/>
              <a:gd name="connsiteX9" fmla="*/ 11808 w 1537395"/>
              <a:gd name="connsiteY9" fmla="*/ 161803 h 1241570"/>
              <a:gd name="connsiteX0" fmla="*/ 346 w 1525933"/>
              <a:gd name="connsiteY0" fmla="*/ 161803 h 1241570"/>
              <a:gd name="connsiteX1" fmla="*/ 862 w 1525933"/>
              <a:gd name="connsiteY1" fmla="*/ 0 h 1241570"/>
              <a:gd name="connsiteX2" fmla="*/ 162004 w 1525933"/>
              <a:gd name="connsiteY2" fmla="*/ 145 h 1241570"/>
              <a:gd name="connsiteX3" fmla="*/ 1364275 w 1525933"/>
              <a:gd name="connsiteY3" fmla="*/ 145 h 1241570"/>
              <a:gd name="connsiteX4" fmla="*/ 1525933 w 1525933"/>
              <a:gd name="connsiteY4" fmla="*/ 161803 h 1241570"/>
              <a:gd name="connsiteX5" fmla="*/ 1525933 w 1525933"/>
              <a:gd name="connsiteY5" fmla="*/ 1079912 h 1241570"/>
              <a:gd name="connsiteX6" fmla="*/ 1364275 w 1525933"/>
              <a:gd name="connsiteY6" fmla="*/ 1241570 h 1241570"/>
              <a:gd name="connsiteX7" fmla="*/ 162004 w 1525933"/>
              <a:gd name="connsiteY7" fmla="*/ 1241570 h 1241570"/>
              <a:gd name="connsiteX8" fmla="*/ 346 w 1525933"/>
              <a:gd name="connsiteY8" fmla="*/ 1079912 h 1241570"/>
              <a:gd name="connsiteX9" fmla="*/ 346 w 1525933"/>
              <a:gd name="connsiteY9" fmla="*/ 161803 h 1241570"/>
              <a:gd name="connsiteX0" fmla="*/ 872 w 1526459"/>
              <a:gd name="connsiteY0" fmla="*/ 161803 h 1241570"/>
              <a:gd name="connsiteX1" fmla="*/ 1388 w 1526459"/>
              <a:gd name="connsiteY1" fmla="*/ 0 h 1241570"/>
              <a:gd name="connsiteX2" fmla="*/ 162530 w 1526459"/>
              <a:gd name="connsiteY2" fmla="*/ 145 h 1241570"/>
              <a:gd name="connsiteX3" fmla="*/ 1364801 w 1526459"/>
              <a:gd name="connsiteY3" fmla="*/ 145 h 1241570"/>
              <a:gd name="connsiteX4" fmla="*/ 1526459 w 1526459"/>
              <a:gd name="connsiteY4" fmla="*/ 161803 h 1241570"/>
              <a:gd name="connsiteX5" fmla="*/ 1526459 w 1526459"/>
              <a:gd name="connsiteY5" fmla="*/ 1079912 h 1241570"/>
              <a:gd name="connsiteX6" fmla="*/ 1364801 w 1526459"/>
              <a:gd name="connsiteY6" fmla="*/ 1241570 h 1241570"/>
              <a:gd name="connsiteX7" fmla="*/ 162530 w 1526459"/>
              <a:gd name="connsiteY7" fmla="*/ 1241570 h 1241570"/>
              <a:gd name="connsiteX8" fmla="*/ 872 w 1526459"/>
              <a:gd name="connsiteY8" fmla="*/ 1079912 h 1241570"/>
              <a:gd name="connsiteX9" fmla="*/ 872 w 1526459"/>
              <a:gd name="connsiteY9" fmla="*/ 161803 h 1241570"/>
              <a:gd name="connsiteX0" fmla="*/ 470 w 1526057"/>
              <a:gd name="connsiteY0" fmla="*/ 161803 h 1241570"/>
              <a:gd name="connsiteX1" fmla="*/ 986 w 1526057"/>
              <a:gd name="connsiteY1" fmla="*/ 0 h 1241570"/>
              <a:gd name="connsiteX2" fmla="*/ 162128 w 1526057"/>
              <a:gd name="connsiteY2" fmla="*/ 145 h 1241570"/>
              <a:gd name="connsiteX3" fmla="*/ 1364399 w 1526057"/>
              <a:gd name="connsiteY3" fmla="*/ 145 h 1241570"/>
              <a:gd name="connsiteX4" fmla="*/ 1526057 w 1526057"/>
              <a:gd name="connsiteY4" fmla="*/ 161803 h 1241570"/>
              <a:gd name="connsiteX5" fmla="*/ 1526057 w 1526057"/>
              <a:gd name="connsiteY5" fmla="*/ 1079912 h 1241570"/>
              <a:gd name="connsiteX6" fmla="*/ 1364399 w 1526057"/>
              <a:gd name="connsiteY6" fmla="*/ 1241570 h 1241570"/>
              <a:gd name="connsiteX7" fmla="*/ 162128 w 1526057"/>
              <a:gd name="connsiteY7" fmla="*/ 1241570 h 1241570"/>
              <a:gd name="connsiteX8" fmla="*/ 470 w 1526057"/>
              <a:gd name="connsiteY8" fmla="*/ 1079912 h 1241570"/>
              <a:gd name="connsiteX9" fmla="*/ 470 w 1526057"/>
              <a:gd name="connsiteY9" fmla="*/ 161803 h 1241570"/>
              <a:gd name="connsiteX0" fmla="*/ 649 w 1526236"/>
              <a:gd name="connsiteY0" fmla="*/ 161803 h 1241570"/>
              <a:gd name="connsiteX1" fmla="*/ 1165 w 1526236"/>
              <a:gd name="connsiteY1" fmla="*/ 0 h 1241570"/>
              <a:gd name="connsiteX2" fmla="*/ 162307 w 1526236"/>
              <a:gd name="connsiteY2" fmla="*/ 145 h 1241570"/>
              <a:gd name="connsiteX3" fmla="*/ 1364578 w 1526236"/>
              <a:gd name="connsiteY3" fmla="*/ 145 h 1241570"/>
              <a:gd name="connsiteX4" fmla="*/ 1526236 w 1526236"/>
              <a:gd name="connsiteY4" fmla="*/ 161803 h 1241570"/>
              <a:gd name="connsiteX5" fmla="*/ 1526236 w 1526236"/>
              <a:gd name="connsiteY5" fmla="*/ 1079912 h 1241570"/>
              <a:gd name="connsiteX6" fmla="*/ 1364578 w 1526236"/>
              <a:gd name="connsiteY6" fmla="*/ 1241570 h 1241570"/>
              <a:gd name="connsiteX7" fmla="*/ 162307 w 1526236"/>
              <a:gd name="connsiteY7" fmla="*/ 1241570 h 1241570"/>
              <a:gd name="connsiteX8" fmla="*/ 649 w 1526236"/>
              <a:gd name="connsiteY8" fmla="*/ 1079912 h 1241570"/>
              <a:gd name="connsiteX9" fmla="*/ 649 w 1526236"/>
              <a:gd name="connsiteY9" fmla="*/ 161803 h 1241570"/>
              <a:gd name="connsiteX0" fmla="*/ 268 w 1525855"/>
              <a:gd name="connsiteY0" fmla="*/ 161803 h 1241570"/>
              <a:gd name="connsiteX1" fmla="*/ 784 w 1525855"/>
              <a:gd name="connsiteY1" fmla="*/ 0 h 1241570"/>
              <a:gd name="connsiteX2" fmla="*/ 161926 w 1525855"/>
              <a:gd name="connsiteY2" fmla="*/ 145 h 1241570"/>
              <a:gd name="connsiteX3" fmla="*/ 1364197 w 1525855"/>
              <a:gd name="connsiteY3" fmla="*/ 145 h 1241570"/>
              <a:gd name="connsiteX4" fmla="*/ 1525855 w 1525855"/>
              <a:gd name="connsiteY4" fmla="*/ 161803 h 1241570"/>
              <a:gd name="connsiteX5" fmla="*/ 1525855 w 1525855"/>
              <a:gd name="connsiteY5" fmla="*/ 1079912 h 1241570"/>
              <a:gd name="connsiteX6" fmla="*/ 1364197 w 1525855"/>
              <a:gd name="connsiteY6" fmla="*/ 1241570 h 1241570"/>
              <a:gd name="connsiteX7" fmla="*/ 161926 w 1525855"/>
              <a:gd name="connsiteY7" fmla="*/ 1241570 h 1241570"/>
              <a:gd name="connsiteX8" fmla="*/ 268 w 1525855"/>
              <a:gd name="connsiteY8" fmla="*/ 1079912 h 1241570"/>
              <a:gd name="connsiteX9" fmla="*/ 268 w 1525855"/>
              <a:gd name="connsiteY9" fmla="*/ 161803 h 1241570"/>
              <a:gd name="connsiteX0" fmla="*/ 359 w 1525946"/>
              <a:gd name="connsiteY0" fmla="*/ 161803 h 1241570"/>
              <a:gd name="connsiteX1" fmla="*/ 253 w 1525946"/>
              <a:gd name="connsiteY1" fmla="*/ 0 h 1241570"/>
              <a:gd name="connsiteX2" fmla="*/ 162017 w 1525946"/>
              <a:gd name="connsiteY2" fmla="*/ 145 h 1241570"/>
              <a:gd name="connsiteX3" fmla="*/ 1364288 w 1525946"/>
              <a:gd name="connsiteY3" fmla="*/ 145 h 1241570"/>
              <a:gd name="connsiteX4" fmla="*/ 1525946 w 1525946"/>
              <a:gd name="connsiteY4" fmla="*/ 161803 h 1241570"/>
              <a:gd name="connsiteX5" fmla="*/ 1525946 w 1525946"/>
              <a:gd name="connsiteY5" fmla="*/ 1079912 h 1241570"/>
              <a:gd name="connsiteX6" fmla="*/ 1364288 w 1525946"/>
              <a:gd name="connsiteY6" fmla="*/ 1241570 h 1241570"/>
              <a:gd name="connsiteX7" fmla="*/ 162017 w 1525946"/>
              <a:gd name="connsiteY7" fmla="*/ 1241570 h 1241570"/>
              <a:gd name="connsiteX8" fmla="*/ 359 w 1525946"/>
              <a:gd name="connsiteY8" fmla="*/ 1079912 h 1241570"/>
              <a:gd name="connsiteX9" fmla="*/ 359 w 1525946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364035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25693" h="1241570">
                <a:moveTo>
                  <a:pt x="106" y="161803"/>
                </a:moveTo>
                <a:cubicBezTo>
                  <a:pt x="-210" y="159620"/>
                  <a:pt x="409" y="7672"/>
                  <a:pt x="0" y="0"/>
                </a:cubicBezTo>
                <a:cubicBezTo>
                  <a:pt x="6219" y="388"/>
                  <a:pt x="110655" y="450"/>
                  <a:pt x="161764" y="145"/>
                </a:cubicBezTo>
                <a:lnTo>
                  <a:pt x="1364035" y="145"/>
                </a:lnTo>
                <a:cubicBezTo>
                  <a:pt x="1453316" y="145"/>
                  <a:pt x="1525693" y="72522"/>
                  <a:pt x="1525693" y="161803"/>
                </a:cubicBezTo>
                <a:lnTo>
                  <a:pt x="1525693" y="1079912"/>
                </a:lnTo>
                <a:cubicBezTo>
                  <a:pt x="1525693" y="1169193"/>
                  <a:pt x="1453316" y="1241570"/>
                  <a:pt x="1364035" y="1241570"/>
                </a:cubicBezTo>
                <a:lnTo>
                  <a:pt x="161764" y="1241570"/>
                </a:lnTo>
                <a:cubicBezTo>
                  <a:pt x="72483" y="1241570"/>
                  <a:pt x="106" y="1169193"/>
                  <a:pt x="106" y="1079912"/>
                </a:cubicBezTo>
                <a:lnTo>
                  <a:pt x="106" y="1618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tIns="0" bIns="252000" anchor="b"/>
          <a:lstStyle>
            <a:lvl1pPr marL="0" indent="0" algn="ctr">
              <a:buNone/>
              <a:defRPr sz="2806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nl-NL" noProof="0"/>
          </a:p>
        </p:txBody>
      </p:sp>
      <p:sp>
        <p:nvSpPr>
          <p:cNvPr id="32" name="Tijdelijke aanduiding voor tekst 2">
            <a:extLst>
              <a:ext uri="{FF2B5EF4-FFF2-40B4-BE49-F238E27FC236}">
                <a16:creationId xmlns:a16="http://schemas.microsoft.com/office/drawing/2014/main" id="{F4636EEB-5D3E-40A6-BA1D-52AAF0683C6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533803" y="20234339"/>
            <a:ext cx="25627524" cy="5476873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089185" y="2382"/>
                </a:lnTo>
                <a:cubicBezTo>
                  <a:pt x="7208841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08841" y="1240632"/>
                  <a:pt x="7089185" y="1240632"/>
                </a:cubicBezTo>
                <a:lnTo>
                  <a:pt x="216824" y="1240632"/>
                </a:lnTo>
                <a:cubicBezTo>
                  <a:pt x="9716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>
              <a:spcAft>
                <a:spcPts val="0"/>
              </a:spcAft>
              <a:defRPr sz="4209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33" name="Tijdelijke aanduiding voor afbeelding 6">
            <a:extLst>
              <a:ext uri="{FF2B5EF4-FFF2-40B4-BE49-F238E27FC236}">
                <a16:creationId xmlns:a16="http://schemas.microsoft.com/office/drawing/2014/main" id="{E282FF1F-8DC9-4A36-8B0E-4868FD1C3CCE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1696814" y="20228383"/>
            <a:ext cx="5345254" cy="5474264"/>
          </a:xfrm>
          <a:custGeom>
            <a:avLst/>
            <a:gdLst>
              <a:gd name="connsiteX0" fmla="*/ 0 w 1525587"/>
              <a:gd name="connsiteY0" fmla="*/ 161658 h 1241425"/>
              <a:gd name="connsiteX1" fmla="*/ 161658 w 1525587"/>
              <a:gd name="connsiteY1" fmla="*/ 0 h 1241425"/>
              <a:gd name="connsiteX2" fmla="*/ 1363929 w 1525587"/>
              <a:gd name="connsiteY2" fmla="*/ 0 h 1241425"/>
              <a:gd name="connsiteX3" fmla="*/ 1525587 w 1525587"/>
              <a:gd name="connsiteY3" fmla="*/ 161658 h 1241425"/>
              <a:gd name="connsiteX4" fmla="*/ 1525587 w 1525587"/>
              <a:gd name="connsiteY4" fmla="*/ 1079767 h 1241425"/>
              <a:gd name="connsiteX5" fmla="*/ 1363929 w 1525587"/>
              <a:gd name="connsiteY5" fmla="*/ 1241425 h 1241425"/>
              <a:gd name="connsiteX6" fmla="*/ 161658 w 1525587"/>
              <a:gd name="connsiteY6" fmla="*/ 1241425 h 1241425"/>
              <a:gd name="connsiteX7" fmla="*/ 0 w 1525587"/>
              <a:gd name="connsiteY7" fmla="*/ 1079767 h 1241425"/>
              <a:gd name="connsiteX8" fmla="*/ 0 w 1525587"/>
              <a:gd name="connsiteY8" fmla="*/ 161658 h 1241425"/>
              <a:gd name="connsiteX0" fmla="*/ 0 w 1525587"/>
              <a:gd name="connsiteY0" fmla="*/ 161658 h 1241425"/>
              <a:gd name="connsiteX1" fmla="*/ 42862 w 1525587"/>
              <a:gd name="connsiteY1" fmla="*/ 48418 h 1241425"/>
              <a:gd name="connsiteX2" fmla="*/ 161658 w 1525587"/>
              <a:gd name="connsiteY2" fmla="*/ 0 h 1241425"/>
              <a:gd name="connsiteX3" fmla="*/ 1363929 w 1525587"/>
              <a:gd name="connsiteY3" fmla="*/ 0 h 1241425"/>
              <a:gd name="connsiteX4" fmla="*/ 1525587 w 1525587"/>
              <a:gd name="connsiteY4" fmla="*/ 161658 h 1241425"/>
              <a:gd name="connsiteX5" fmla="*/ 1525587 w 1525587"/>
              <a:gd name="connsiteY5" fmla="*/ 1079767 h 1241425"/>
              <a:gd name="connsiteX6" fmla="*/ 1363929 w 1525587"/>
              <a:gd name="connsiteY6" fmla="*/ 1241425 h 1241425"/>
              <a:gd name="connsiteX7" fmla="*/ 161658 w 1525587"/>
              <a:gd name="connsiteY7" fmla="*/ 1241425 h 1241425"/>
              <a:gd name="connsiteX8" fmla="*/ 0 w 1525587"/>
              <a:gd name="connsiteY8" fmla="*/ 1079767 h 1241425"/>
              <a:gd name="connsiteX9" fmla="*/ 0 w 1525587"/>
              <a:gd name="connsiteY9" fmla="*/ 161658 h 1241425"/>
              <a:gd name="connsiteX0" fmla="*/ 8672 w 1534259"/>
              <a:gd name="connsiteY0" fmla="*/ 165982 h 1245749"/>
              <a:gd name="connsiteX1" fmla="*/ 11053 w 1534259"/>
              <a:gd name="connsiteY1" fmla="*/ 12261 h 1245749"/>
              <a:gd name="connsiteX2" fmla="*/ 170330 w 1534259"/>
              <a:gd name="connsiteY2" fmla="*/ 4324 h 1245749"/>
              <a:gd name="connsiteX3" fmla="*/ 1372601 w 1534259"/>
              <a:gd name="connsiteY3" fmla="*/ 4324 h 1245749"/>
              <a:gd name="connsiteX4" fmla="*/ 1534259 w 1534259"/>
              <a:gd name="connsiteY4" fmla="*/ 165982 h 1245749"/>
              <a:gd name="connsiteX5" fmla="*/ 1534259 w 1534259"/>
              <a:gd name="connsiteY5" fmla="*/ 1084091 h 1245749"/>
              <a:gd name="connsiteX6" fmla="*/ 1372601 w 1534259"/>
              <a:gd name="connsiteY6" fmla="*/ 1245749 h 1245749"/>
              <a:gd name="connsiteX7" fmla="*/ 170330 w 1534259"/>
              <a:gd name="connsiteY7" fmla="*/ 1245749 h 1245749"/>
              <a:gd name="connsiteX8" fmla="*/ 8672 w 1534259"/>
              <a:gd name="connsiteY8" fmla="*/ 1084091 h 1245749"/>
              <a:gd name="connsiteX9" fmla="*/ 8672 w 1534259"/>
              <a:gd name="connsiteY9" fmla="*/ 165982 h 1245749"/>
              <a:gd name="connsiteX0" fmla="*/ 8672 w 1534259"/>
              <a:gd name="connsiteY0" fmla="*/ 167890 h 1247657"/>
              <a:gd name="connsiteX1" fmla="*/ 11053 w 1534259"/>
              <a:gd name="connsiteY1" fmla="*/ 14169 h 1247657"/>
              <a:gd name="connsiteX2" fmla="*/ 170330 w 1534259"/>
              <a:gd name="connsiteY2" fmla="*/ 6232 h 1247657"/>
              <a:gd name="connsiteX3" fmla="*/ 1372601 w 1534259"/>
              <a:gd name="connsiteY3" fmla="*/ 6232 h 1247657"/>
              <a:gd name="connsiteX4" fmla="*/ 1534259 w 1534259"/>
              <a:gd name="connsiteY4" fmla="*/ 167890 h 1247657"/>
              <a:gd name="connsiteX5" fmla="*/ 1534259 w 1534259"/>
              <a:gd name="connsiteY5" fmla="*/ 1085999 h 1247657"/>
              <a:gd name="connsiteX6" fmla="*/ 1372601 w 1534259"/>
              <a:gd name="connsiteY6" fmla="*/ 1247657 h 1247657"/>
              <a:gd name="connsiteX7" fmla="*/ 170330 w 1534259"/>
              <a:gd name="connsiteY7" fmla="*/ 1247657 h 1247657"/>
              <a:gd name="connsiteX8" fmla="*/ 8672 w 1534259"/>
              <a:gd name="connsiteY8" fmla="*/ 1085999 h 1247657"/>
              <a:gd name="connsiteX9" fmla="*/ 8672 w 1534259"/>
              <a:gd name="connsiteY9" fmla="*/ 167890 h 1247657"/>
              <a:gd name="connsiteX0" fmla="*/ 8672 w 1534259"/>
              <a:gd name="connsiteY0" fmla="*/ 161658 h 1241425"/>
              <a:gd name="connsiteX1" fmla="*/ 11053 w 1534259"/>
              <a:gd name="connsiteY1" fmla="*/ 7937 h 1241425"/>
              <a:gd name="connsiteX2" fmla="*/ 170330 w 1534259"/>
              <a:gd name="connsiteY2" fmla="*/ 0 h 1241425"/>
              <a:gd name="connsiteX3" fmla="*/ 1372601 w 1534259"/>
              <a:gd name="connsiteY3" fmla="*/ 0 h 1241425"/>
              <a:gd name="connsiteX4" fmla="*/ 1534259 w 1534259"/>
              <a:gd name="connsiteY4" fmla="*/ 161658 h 1241425"/>
              <a:gd name="connsiteX5" fmla="*/ 1534259 w 1534259"/>
              <a:gd name="connsiteY5" fmla="*/ 1079767 h 1241425"/>
              <a:gd name="connsiteX6" fmla="*/ 1372601 w 1534259"/>
              <a:gd name="connsiteY6" fmla="*/ 1241425 h 1241425"/>
              <a:gd name="connsiteX7" fmla="*/ 170330 w 1534259"/>
              <a:gd name="connsiteY7" fmla="*/ 1241425 h 1241425"/>
              <a:gd name="connsiteX8" fmla="*/ 8672 w 1534259"/>
              <a:gd name="connsiteY8" fmla="*/ 1079767 h 1241425"/>
              <a:gd name="connsiteX9" fmla="*/ 8672 w 1534259"/>
              <a:gd name="connsiteY9" fmla="*/ 161658 h 124142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3668 h 1243435"/>
              <a:gd name="connsiteX1" fmla="*/ 10644 w 1535715"/>
              <a:gd name="connsiteY1" fmla="*/ 0 h 1243435"/>
              <a:gd name="connsiteX2" fmla="*/ 171786 w 1535715"/>
              <a:gd name="connsiteY2" fmla="*/ 2010 h 1243435"/>
              <a:gd name="connsiteX3" fmla="*/ 1374057 w 1535715"/>
              <a:gd name="connsiteY3" fmla="*/ 2010 h 1243435"/>
              <a:gd name="connsiteX4" fmla="*/ 1535715 w 1535715"/>
              <a:gd name="connsiteY4" fmla="*/ 163668 h 1243435"/>
              <a:gd name="connsiteX5" fmla="*/ 1535715 w 1535715"/>
              <a:gd name="connsiteY5" fmla="*/ 1081777 h 1243435"/>
              <a:gd name="connsiteX6" fmla="*/ 1374057 w 1535715"/>
              <a:gd name="connsiteY6" fmla="*/ 1243435 h 1243435"/>
              <a:gd name="connsiteX7" fmla="*/ 171786 w 1535715"/>
              <a:gd name="connsiteY7" fmla="*/ 1243435 h 1243435"/>
              <a:gd name="connsiteX8" fmla="*/ 10128 w 1535715"/>
              <a:gd name="connsiteY8" fmla="*/ 1081777 h 1243435"/>
              <a:gd name="connsiteX9" fmla="*/ 10128 w 1535715"/>
              <a:gd name="connsiteY9" fmla="*/ 163668 h 124343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1808 w 1537395"/>
              <a:gd name="connsiteY0" fmla="*/ 161803 h 1241570"/>
              <a:gd name="connsiteX1" fmla="*/ 12324 w 1537395"/>
              <a:gd name="connsiteY1" fmla="*/ 0 h 1241570"/>
              <a:gd name="connsiteX2" fmla="*/ 173466 w 1537395"/>
              <a:gd name="connsiteY2" fmla="*/ 145 h 1241570"/>
              <a:gd name="connsiteX3" fmla="*/ 1375737 w 1537395"/>
              <a:gd name="connsiteY3" fmla="*/ 145 h 1241570"/>
              <a:gd name="connsiteX4" fmla="*/ 1537395 w 1537395"/>
              <a:gd name="connsiteY4" fmla="*/ 161803 h 1241570"/>
              <a:gd name="connsiteX5" fmla="*/ 1537395 w 1537395"/>
              <a:gd name="connsiteY5" fmla="*/ 1079912 h 1241570"/>
              <a:gd name="connsiteX6" fmla="*/ 1375737 w 1537395"/>
              <a:gd name="connsiteY6" fmla="*/ 1241570 h 1241570"/>
              <a:gd name="connsiteX7" fmla="*/ 173466 w 1537395"/>
              <a:gd name="connsiteY7" fmla="*/ 1241570 h 1241570"/>
              <a:gd name="connsiteX8" fmla="*/ 11808 w 1537395"/>
              <a:gd name="connsiteY8" fmla="*/ 1079912 h 1241570"/>
              <a:gd name="connsiteX9" fmla="*/ 11808 w 1537395"/>
              <a:gd name="connsiteY9" fmla="*/ 161803 h 1241570"/>
              <a:gd name="connsiteX0" fmla="*/ 346 w 1525933"/>
              <a:gd name="connsiteY0" fmla="*/ 161803 h 1241570"/>
              <a:gd name="connsiteX1" fmla="*/ 862 w 1525933"/>
              <a:gd name="connsiteY1" fmla="*/ 0 h 1241570"/>
              <a:gd name="connsiteX2" fmla="*/ 162004 w 1525933"/>
              <a:gd name="connsiteY2" fmla="*/ 145 h 1241570"/>
              <a:gd name="connsiteX3" fmla="*/ 1364275 w 1525933"/>
              <a:gd name="connsiteY3" fmla="*/ 145 h 1241570"/>
              <a:gd name="connsiteX4" fmla="*/ 1525933 w 1525933"/>
              <a:gd name="connsiteY4" fmla="*/ 161803 h 1241570"/>
              <a:gd name="connsiteX5" fmla="*/ 1525933 w 1525933"/>
              <a:gd name="connsiteY5" fmla="*/ 1079912 h 1241570"/>
              <a:gd name="connsiteX6" fmla="*/ 1364275 w 1525933"/>
              <a:gd name="connsiteY6" fmla="*/ 1241570 h 1241570"/>
              <a:gd name="connsiteX7" fmla="*/ 162004 w 1525933"/>
              <a:gd name="connsiteY7" fmla="*/ 1241570 h 1241570"/>
              <a:gd name="connsiteX8" fmla="*/ 346 w 1525933"/>
              <a:gd name="connsiteY8" fmla="*/ 1079912 h 1241570"/>
              <a:gd name="connsiteX9" fmla="*/ 346 w 1525933"/>
              <a:gd name="connsiteY9" fmla="*/ 161803 h 1241570"/>
              <a:gd name="connsiteX0" fmla="*/ 872 w 1526459"/>
              <a:gd name="connsiteY0" fmla="*/ 161803 h 1241570"/>
              <a:gd name="connsiteX1" fmla="*/ 1388 w 1526459"/>
              <a:gd name="connsiteY1" fmla="*/ 0 h 1241570"/>
              <a:gd name="connsiteX2" fmla="*/ 162530 w 1526459"/>
              <a:gd name="connsiteY2" fmla="*/ 145 h 1241570"/>
              <a:gd name="connsiteX3" fmla="*/ 1364801 w 1526459"/>
              <a:gd name="connsiteY3" fmla="*/ 145 h 1241570"/>
              <a:gd name="connsiteX4" fmla="*/ 1526459 w 1526459"/>
              <a:gd name="connsiteY4" fmla="*/ 161803 h 1241570"/>
              <a:gd name="connsiteX5" fmla="*/ 1526459 w 1526459"/>
              <a:gd name="connsiteY5" fmla="*/ 1079912 h 1241570"/>
              <a:gd name="connsiteX6" fmla="*/ 1364801 w 1526459"/>
              <a:gd name="connsiteY6" fmla="*/ 1241570 h 1241570"/>
              <a:gd name="connsiteX7" fmla="*/ 162530 w 1526459"/>
              <a:gd name="connsiteY7" fmla="*/ 1241570 h 1241570"/>
              <a:gd name="connsiteX8" fmla="*/ 872 w 1526459"/>
              <a:gd name="connsiteY8" fmla="*/ 1079912 h 1241570"/>
              <a:gd name="connsiteX9" fmla="*/ 872 w 1526459"/>
              <a:gd name="connsiteY9" fmla="*/ 161803 h 1241570"/>
              <a:gd name="connsiteX0" fmla="*/ 470 w 1526057"/>
              <a:gd name="connsiteY0" fmla="*/ 161803 h 1241570"/>
              <a:gd name="connsiteX1" fmla="*/ 986 w 1526057"/>
              <a:gd name="connsiteY1" fmla="*/ 0 h 1241570"/>
              <a:gd name="connsiteX2" fmla="*/ 162128 w 1526057"/>
              <a:gd name="connsiteY2" fmla="*/ 145 h 1241570"/>
              <a:gd name="connsiteX3" fmla="*/ 1364399 w 1526057"/>
              <a:gd name="connsiteY3" fmla="*/ 145 h 1241570"/>
              <a:gd name="connsiteX4" fmla="*/ 1526057 w 1526057"/>
              <a:gd name="connsiteY4" fmla="*/ 161803 h 1241570"/>
              <a:gd name="connsiteX5" fmla="*/ 1526057 w 1526057"/>
              <a:gd name="connsiteY5" fmla="*/ 1079912 h 1241570"/>
              <a:gd name="connsiteX6" fmla="*/ 1364399 w 1526057"/>
              <a:gd name="connsiteY6" fmla="*/ 1241570 h 1241570"/>
              <a:gd name="connsiteX7" fmla="*/ 162128 w 1526057"/>
              <a:gd name="connsiteY7" fmla="*/ 1241570 h 1241570"/>
              <a:gd name="connsiteX8" fmla="*/ 470 w 1526057"/>
              <a:gd name="connsiteY8" fmla="*/ 1079912 h 1241570"/>
              <a:gd name="connsiteX9" fmla="*/ 470 w 1526057"/>
              <a:gd name="connsiteY9" fmla="*/ 161803 h 1241570"/>
              <a:gd name="connsiteX0" fmla="*/ 649 w 1526236"/>
              <a:gd name="connsiteY0" fmla="*/ 161803 h 1241570"/>
              <a:gd name="connsiteX1" fmla="*/ 1165 w 1526236"/>
              <a:gd name="connsiteY1" fmla="*/ 0 h 1241570"/>
              <a:gd name="connsiteX2" fmla="*/ 162307 w 1526236"/>
              <a:gd name="connsiteY2" fmla="*/ 145 h 1241570"/>
              <a:gd name="connsiteX3" fmla="*/ 1364578 w 1526236"/>
              <a:gd name="connsiteY3" fmla="*/ 145 h 1241570"/>
              <a:gd name="connsiteX4" fmla="*/ 1526236 w 1526236"/>
              <a:gd name="connsiteY4" fmla="*/ 161803 h 1241570"/>
              <a:gd name="connsiteX5" fmla="*/ 1526236 w 1526236"/>
              <a:gd name="connsiteY5" fmla="*/ 1079912 h 1241570"/>
              <a:gd name="connsiteX6" fmla="*/ 1364578 w 1526236"/>
              <a:gd name="connsiteY6" fmla="*/ 1241570 h 1241570"/>
              <a:gd name="connsiteX7" fmla="*/ 162307 w 1526236"/>
              <a:gd name="connsiteY7" fmla="*/ 1241570 h 1241570"/>
              <a:gd name="connsiteX8" fmla="*/ 649 w 1526236"/>
              <a:gd name="connsiteY8" fmla="*/ 1079912 h 1241570"/>
              <a:gd name="connsiteX9" fmla="*/ 649 w 1526236"/>
              <a:gd name="connsiteY9" fmla="*/ 161803 h 1241570"/>
              <a:gd name="connsiteX0" fmla="*/ 268 w 1525855"/>
              <a:gd name="connsiteY0" fmla="*/ 161803 h 1241570"/>
              <a:gd name="connsiteX1" fmla="*/ 784 w 1525855"/>
              <a:gd name="connsiteY1" fmla="*/ 0 h 1241570"/>
              <a:gd name="connsiteX2" fmla="*/ 161926 w 1525855"/>
              <a:gd name="connsiteY2" fmla="*/ 145 h 1241570"/>
              <a:gd name="connsiteX3" fmla="*/ 1364197 w 1525855"/>
              <a:gd name="connsiteY3" fmla="*/ 145 h 1241570"/>
              <a:gd name="connsiteX4" fmla="*/ 1525855 w 1525855"/>
              <a:gd name="connsiteY4" fmla="*/ 161803 h 1241570"/>
              <a:gd name="connsiteX5" fmla="*/ 1525855 w 1525855"/>
              <a:gd name="connsiteY5" fmla="*/ 1079912 h 1241570"/>
              <a:gd name="connsiteX6" fmla="*/ 1364197 w 1525855"/>
              <a:gd name="connsiteY6" fmla="*/ 1241570 h 1241570"/>
              <a:gd name="connsiteX7" fmla="*/ 161926 w 1525855"/>
              <a:gd name="connsiteY7" fmla="*/ 1241570 h 1241570"/>
              <a:gd name="connsiteX8" fmla="*/ 268 w 1525855"/>
              <a:gd name="connsiteY8" fmla="*/ 1079912 h 1241570"/>
              <a:gd name="connsiteX9" fmla="*/ 268 w 1525855"/>
              <a:gd name="connsiteY9" fmla="*/ 161803 h 1241570"/>
              <a:gd name="connsiteX0" fmla="*/ 359 w 1525946"/>
              <a:gd name="connsiteY0" fmla="*/ 161803 h 1241570"/>
              <a:gd name="connsiteX1" fmla="*/ 253 w 1525946"/>
              <a:gd name="connsiteY1" fmla="*/ 0 h 1241570"/>
              <a:gd name="connsiteX2" fmla="*/ 162017 w 1525946"/>
              <a:gd name="connsiteY2" fmla="*/ 145 h 1241570"/>
              <a:gd name="connsiteX3" fmla="*/ 1364288 w 1525946"/>
              <a:gd name="connsiteY3" fmla="*/ 145 h 1241570"/>
              <a:gd name="connsiteX4" fmla="*/ 1525946 w 1525946"/>
              <a:gd name="connsiteY4" fmla="*/ 161803 h 1241570"/>
              <a:gd name="connsiteX5" fmla="*/ 1525946 w 1525946"/>
              <a:gd name="connsiteY5" fmla="*/ 1079912 h 1241570"/>
              <a:gd name="connsiteX6" fmla="*/ 1364288 w 1525946"/>
              <a:gd name="connsiteY6" fmla="*/ 1241570 h 1241570"/>
              <a:gd name="connsiteX7" fmla="*/ 162017 w 1525946"/>
              <a:gd name="connsiteY7" fmla="*/ 1241570 h 1241570"/>
              <a:gd name="connsiteX8" fmla="*/ 359 w 1525946"/>
              <a:gd name="connsiteY8" fmla="*/ 1079912 h 1241570"/>
              <a:gd name="connsiteX9" fmla="*/ 359 w 1525946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364035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25693" h="1241570">
                <a:moveTo>
                  <a:pt x="106" y="161803"/>
                </a:moveTo>
                <a:cubicBezTo>
                  <a:pt x="-210" y="159620"/>
                  <a:pt x="409" y="7672"/>
                  <a:pt x="0" y="0"/>
                </a:cubicBezTo>
                <a:cubicBezTo>
                  <a:pt x="6219" y="388"/>
                  <a:pt x="110655" y="450"/>
                  <a:pt x="161764" y="145"/>
                </a:cubicBezTo>
                <a:lnTo>
                  <a:pt x="1364035" y="145"/>
                </a:lnTo>
                <a:cubicBezTo>
                  <a:pt x="1453316" y="145"/>
                  <a:pt x="1525693" y="72522"/>
                  <a:pt x="1525693" y="161803"/>
                </a:cubicBezTo>
                <a:lnTo>
                  <a:pt x="1525693" y="1079912"/>
                </a:lnTo>
                <a:cubicBezTo>
                  <a:pt x="1525693" y="1169193"/>
                  <a:pt x="1453316" y="1241570"/>
                  <a:pt x="1364035" y="1241570"/>
                </a:cubicBezTo>
                <a:lnTo>
                  <a:pt x="161764" y="1241570"/>
                </a:lnTo>
                <a:cubicBezTo>
                  <a:pt x="72483" y="1241570"/>
                  <a:pt x="106" y="1169193"/>
                  <a:pt x="106" y="1079912"/>
                </a:cubicBezTo>
                <a:lnTo>
                  <a:pt x="106" y="1618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tIns="0" bIns="252000" anchor="b"/>
          <a:lstStyle>
            <a:lvl1pPr marL="0" indent="0" algn="ctr">
              <a:buNone/>
              <a:defRPr sz="2806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nl-NL" noProof="0"/>
          </a:p>
        </p:txBody>
      </p:sp>
      <p:grpSp>
        <p:nvGrpSpPr>
          <p:cNvPr id="98" name="Groep 77">
            <a:extLst>
              <a:ext uri="{FF2B5EF4-FFF2-40B4-BE49-F238E27FC236}">
                <a16:creationId xmlns:a16="http://schemas.microsoft.com/office/drawing/2014/main" id="{36CF6C6E-1D1A-4765-B440-AC99DEBA79E4}"/>
              </a:ext>
            </a:extLst>
          </p:cNvPr>
          <p:cNvGrpSpPr/>
          <p:nvPr userDrawn="1"/>
        </p:nvGrpSpPr>
        <p:grpSpPr>
          <a:xfrm>
            <a:off x="43467414" y="0"/>
            <a:ext cx="13065546" cy="24210246"/>
            <a:chOff x="12391601" y="0"/>
            <a:chExt cx="3724699" cy="5484152"/>
          </a:xfrm>
        </p:grpSpPr>
        <p:sp>
          <p:nvSpPr>
            <p:cNvPr id="99" name="Rechthoek 78">
              <a:extLst>
                <a:ext uri="{FF2B5EF4-FFF2-40B4-BE49-F238E27FC236}">
                  <a16:creationId xmlns:a16="http://schemas.microsoft.com/office/drawing/2014/main" id="{3FB3DA4A-49C7-47C0-8216-784B55BB393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100" name="Ovaal 79">
              <a:extLst>
                <a:ext uri="{FF2B5EF4-FFF2-40B4-BE49-F238E27FC236}">
                  <a16:creationId xmlns:a16="http://schemas.microsoft.com/office/drawing/2014/main" id="{95835028-FD7B-4401-B98A-74578806C7A1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80">
              <a:extLst>
                <a:ext uri="{FF2B5EF4-FFF2-40B4-BE49-F238E27FC236}">
                  <a16:creationId xmlns:a16="http://schemas.microsoft.com/office/drawing/2014/main" id="{79C1CABA-42BC-4D1F-BF1A-B55441F8017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81">
              <a:extLst>
                <a:ext uri="{FF2B5EF4-FFF2-40B4-BE49-F238E27FC236}">
                  <a16:creationId xmlns:a16="http://schemas.microsoft.com/office/drawing/2014/main" id="{8E8E79C4-A963-441C-A371-B4B19AD30FE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82">
              <a:extLst>
                <a:ext uri="{FF2B5EF4-FFF2-40B4-BE49-F238E27FC236}">
                  <a16:creationId xmlns:a16="http://schemas.microsoft.com/office/drawing/2014/main" id="{0850B024-9D29-423B-943A-CE327ABDC468}"/>
                </a:ext>
              </a:extLst>
            </p:cNvPr>
            <p:cNvSpPr/>
            <p:nvPr userDrawn="1"/>
          </p:nvSpPr>
          <p:spPr>
            <a:xfrm>
              <a:off x="12757282" y="432552"/>
              <a:ext cx="335901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fbeelding door deze te selecteren en op 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m een nieuwe afbeelding in te voegen.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83">
              <a:extLst>
                <a:ext uri="{FF2B5EF4-FFF2-40B4-BE49-F238E27FC236}">
                  <a16:creationId xmlns:a16="http://schemas.microsoft.com/office/drawing/2014/main" id="{38C84B88-68F1-4F0A-A4DD-DBE8AB0B6FB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84">
              <a:extLst>
                <a:ext uri="{FF2B5EF4-FFF2-40B4-BE49-F238E27FC236}">
                  <a16:creationId xmlns:a16="http://schemas.microsoft.com/office/drawing/2014/main" id="{4979BE6B-C556-4371-85AE-6F394B77646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85">
              <a:extLst>
                <a:ext uri="{FF2B5EF4-FFF2-40B4-BE49-F238E27FC236}">
                  <a16:creationId xmlns:a16="http://schemas.microsoft.com/office/drawing/2014/main" id="{CAF6F14F-14CA-48DA-8995-0FA61D6E8045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1" name="Rechthoek 119">
                <a:extLst>
                  <a:ext uri="{FF2B5EF4-FFF2-40B4-BE49-F238E27FC236}">
                    <a16:creationId xmlns:a16="http://schemas.microsoft.com/office/drawing/2014/main" id="{4902E440-1B17-4EC3-B940-FD4185BAFF5D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172" name="Rechte verbindingslijn 120">
                <a:extLst>
                  <a:ext uri="{FF2B5EF4-FFF2-40B4-BE49-F238E27FC236}">
                    <a16:creationId xmlns:a16="http://schemas.microsoft.com/office/drawing/2014/main" id="{C8480132-BCE5-4A39-A8E9-12F42A981BE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3" name="Gelijkbenige driehoek 121">
                <a:extLst>
                  <a:ext uri="{FF2B5EF4-FFF2-40B4-BE49-F238E27FC236}">
                    <a16:creationId xmlns:a16="http://schemas.microsoft.com/office/drawing/2014/main" id="{F3A6B288-A2CD-4D8A-8EA2-947C39AB44F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7" name="Groep 86">
              <a:extLst>
                <a:ext uri="{FF2B5EF4-FFF2-40B4-BE49-F238E27FC236}">
                  <a16:creationId xmlns:a16="http://schemas.microsoft.com/office/drawing/2014/main" id="{64EC50E0-07F5-4AC2-AF6E-B6A5143A2BFA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145" name="Rechthoek 113">
                <a:extLst>
                  <a:ext uri="{FF2B5EF4-FFF2-40B4-BE49-F238E27FC236}">
                    <a16:creationId xmlns:a16="http://schemas.microsoft.com/office/drawing/2014/main" id="{83816C4C-4BD5-4749-ADBC-2E7B61172B19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6" name="Ovaal 114">
                <a:extLst>
                  <a:ext uri="{FF2B5EF4-FFF2-40B4-BE49-F238E27FC236}">
                    <a16:creationId xmlns:a16="http://schemas.microsoft.com/office/drawing/2014/main" id="{ACFEAC87-13F7-44CA-9E0B-68D031009BE3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7" name="Vrije vorm: vorm 115">
                <a:extLst>
                  <a:ext uri="{FF2B5EF4-FFF2-40B4-BE49-F238E27FC236}">
                    <a16:creationId xmlns:a16="http://schemas.microsoft.com/office/drawing/2014/main" id="{ABC0308E-7743-4151-B79D-A69C7DBA2FE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Rechthoek: afgeronde hoeken 116">
                <a:extLst>
                  <a:ext uri="{FF2B5EF4-FFF2-40B4-BE49-F238E27FC236}">
                    <a16:creationId xmlns:a16="http://schemas.microsoft.com/office/drawing/2014/main" id="{D660C710-BE6A-465A-B164-DB53036696AD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69" name="Rechte verbindingslijn 117">
                <a:extLst>
                  <a:ext uri="{FF2B5EF4-FFF2-40B4-BE49-F238E27FC236}">
                    <a16:creationId xmlns:a16="http://schemas.microsoft.com/office/drawing/2014/main" id="{199FF578-564E-4F76-86C5-18A8186A92D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70" name="Rechte verbindingslijn 118">
                <a:extLst>
                  <a:ext uri="{FF2B5EF4-FFF2-40B4-BE49-F238E27FC236}">
                    <a16:creationId xmlns:a16="http://schemas.microsoft.com/office/drawing/2014/main" id="{D95BFB2A-126D-4432-BB08-64835042BD53}"/>
                  </a:ext>
                </a:extLst>
              </p:cNvPr>
              <p:cNvCxnSpPr>
                <a:cxnSpLocks/>
                <a:stCxn id="168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grpSp>
          <p:nvGrpSpPr>
            <p:cNvPr id="108" name="Groep 87">
              <a:extLst>
                <a:ext uri="{FF2B5EF4-FFF2-40B4-BE49-F238E27FC236}">
                  <a16:creationId xmlns:a16="http://schemas.microsoft.com/office/drawing/2014/main" id="{C8B0E368-2137-4373-A07E-F78EEEFC3081}"/>
                </a:ext>
              </a:extLst>
            </p:cNvPr>
            <p:cNvGrpSpPr/>
            <p:nvPr userDrawn="1"/>
          </p:nvGrpSpPr>
          <p:grpSpPr>
            <a:xfrm>
              <a:off x="12391601" y="2643684"/>
              <a:ext cx="3183678" cy="2840468"/>
              <a:chOff x="12952763" y="4572241"/>
              <a:chExt cx="3183678" cy="2840468"/>
            </a:xfrm>
          </p:grpSpPr>
          <p:grpSp>
            <p:nvGrpSpPr>
              <p:cNvPr id="109" name="Meer informatie">
                <a:extLst>
                  <a:ext uri="{FF2B5EF4-FFF2-40B4-BE49-F238E27FC236}">
                    <a16:creationId xmlns:a16="http://schemas.microsoft.com/office/drawing/2014/main" id="{6F170A1F-5BBE-4D6B-B212-16AD3ECA86B8}"/>
                  </a:ext>
                </a:extLst>
              </p:cNvPr>
              <p:cNvGrpSpPr/>
              <p:nvPr userDrawn="1"/>
            </p:nvGrpSpPr>
            <p:grpSpPr>
              <a:xfrm>
                <a:off x="12957926" y="6629436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41" name="Freeform 101">
                  <a:extLst>
                    <a:ext uri="{FF2B5EF4-FFF2-40B4-BE49-F238E27FC236}">
                      <a16:creationId xmlns:a16="http://schemas.microsoft.com/office/drawing/2014/main" id="{95EBA78B-B606-4FD5-8049-C1E7269320C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3859" noProof="0"/>
                </a:p>
              </p:txBody>
            </p:sp>
            <p:sp>
              <p:nvSpPr>
                <p:cNvPr id="142" name="Rechthoek 111">
                  <a:extLst>
                    <a:ext uri="{FF2B5EF4-FFF2-40B4-BE49-F238E27FC236}">
                      <a16:creationId xmlns:a16="http://schemas.microsoft.com/office/drawing/2014/main" id="{1CB3772C-015A-4BFE-B8E6-5F060ACFD903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3207489" eaLnBrk="1" fontAlgn="auto" latinLnBrk="0" hangingPunct="1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Meer weten?</a:t>
                  </a:r>
                  <a:b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a naar dia </a:t>
                  </a:r>
                  <a:r>
                    <a:rPr kumimoji="0" lang="nl-NL" sz="3859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´Instructie dia: YouTube links´</a:t>
                  </a: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deze in de diavoorstelling en klik op de gewenste video link.</a:t>
                  </a:r>
                </a:p>
              </p:txBody>
            </p:sp>
            <p:cxnSp>
              <p:nvCxnSpPr>
                <p:cNvPr id="144" name="Rechte verbindingslijn 112">
                  <a:extLst>
                    <a:ext uri="{FF2B5EF4-FFF2-40B4-BE49-F238E27FC236}">
                      <a16:creationId xmlns:a16="http://schemas.microsoft.com/office/drawing/2014/main" id="{2556A137-FBB5-4954-80C0-E17457B99F7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10" name="Rechte verbindingslijn 89">
                <a:extLst>
                  <a:ext uri="{FF2B5EF4-FFF2-40B4-BE49-F238E27FC236}">
                    <a16:creationId xmlns:a16="http://schemas.microsoft.com/office/drawing/2014/main" id="{304B37AD-C96F-4E2B-A93C-A8C3EC49828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958423" y="651155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111" name="Ovaal 90">
                <a:extLst>
                  <a:ext uri="{FF2B5EF4-FFF2-40B4-BE49-F238E27FC236}">
                    <a16:creationId xmlns:a16="http://schemas.microsoft.com/office/drawing/2014/main" id="{D52859B2-5D19-49E3-8411-44D4C4F9315D}"/>
                  </a:ext>
                </a:extLst>
              </p:cNvPr>
              <p:cNvSpPr/>
              <p:nvPr userDrawn="1"/>
            </p:nvSpPr>
            <p:spPr>
              <a:xfrm>
                <a:off x="12952763" y="4690403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320748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12" name="Rechthoek 91">
                <a:extLst>
                  <a:ext uri="{FF2B5EF4-FFF2-40B4-BE49-F238E27FC236}">
                    <a16:creationId xmlns:a16="http://schemas.microsoft.com/office/drawing/2014/main" id="{633610E9-9CB2-4026-86EC-65B330063E77}"/>
                  </a:ext>
                </a:extLst>
              </p:cNvPr>
              <p:cNvSpPr/>
              <p:nvPr userDrawn="1"/>
            </p:nvSpPr>
            <p:spPr>
              <a:xfrm>
                <a:off x="13318445" y="4756466"/>
                <a:ext cx="2817996" cy="887319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Om de afbeelding te schalen of bij te snijden, ga naar de tab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Hulpmiddelen voor afbeeldingen - Opmaak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 en klik op de knop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Bijsnijden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Schaal met de bolletjes de afbeelding en met de hoekjes het afbeeldingskader.</a:t>
                </a:r>
                <a:endPara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13" name="Rechte verbindingslijn 92">
                <a:extLst>
                  <a:ext uri="{FF2B5EF4-FFF2-40B4-BE49-F238E27FC236}">
                    <a16:creationId xmlns:a16="http://schemas.microsoft.com/office/drawing/2014/main" id="{64B6EB9A-BA00-4FAA-A071-9E6EF7010BC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958423" y="457224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114" name="Groep 93">
                <a:extLst>
                  <a:ext uri="{FF2B5EF4-FFF2-40B4-BE49-F238E27FC236}">
                    <a16:creationId xmlns:a16="http://schemas.microsoft.com/office/drawing/2014/main" id="{6F930AD3-DC0F-4159-9382-D873A520C172}"/>
                  </a:ext>
                </a:extLst>
              </p:cNvPr>
              <p:cNvGrpSpPr/>
              <p:nvPr userDrawn="1"/>
            </p:nvGrpSpPr>
            <p:grpSpPr>
              <a:xfrm>
                <a:off x="13257676" y="5773610"/>
                <a:ext cx="514284" cy="612917"/>
                <a:chOff x="12682980" y="3403271"/>
                <a:chExt cx="622284" cy="741637"/>
              </a:xfrm>
            </p:grpSpPr>
            <p:grpSp>
              <p:nvGrpSpPr>
                <p:cNvPr id="115" name="Groep 94">
                  <a:extLst>
                    <a:ext uri="{FF2B5EF4-FFF2-40B4-BE49-F238E27FC236}">
                      <a16:creationId xmlns:a16="http://schemas.microsoft.com/office/drawing/2014/main" id="{853B3095-54E2-4529-8570-1293DA0CC153}"/>
                    </a:ext>
                  </a:extLst>
                </p:cNvPr>
                <p:cNvGrpSpPr/>
                <p:nvPr userDrawn="1"/>
              </p:nvGrpSpPr>
              <p:grpSpPr>
                <a:xfrm>
                  <a:off x="12771568" y="3403271"/>
                  <a:ext cx="467138" cy="448459"/>
                  <a:chOff x="12782195" y="3403271"/>
                  <a:chExt cx="467138" cy="448459"/>
                </a:xfrm>
              </p:grpSpPr>
              <p:grpSp>
                <p:nvGrpSpPr>
                  <p:cNvPr id="118" name="Groep 97">
                    <a:extLst>
                      <a:ext uri="{FF2B5EF4-FFF2-40B4-BE49-F238E27FC236}">
                        <a16:creationId xmlns:a16="http://schemas.microsoft.com/office/drawing/2014/main" id="{19F2E613-C7BE-41DD-BF51-FA96E7D7E00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2782195" y="3403271"/>
                    <a:ext cx="412967" cy="393910"/>
                    <a:chOff x="13554906" y="3320143"/>
                    <a:chExt cx="443906" cy="423422"/>
                  </a:xfrm>
                </p:grpSpPr>
                <p:grpSp>
                  <p:nvGrpSpPr>
                    <p:cNvPr id="134" name="Groep 104">
                      <a:extLst>
                        <a:ext uri="{FF2B5EF4-FFF2-40B4-BE49-F238E27FC236}">
                          <a16:creationId xmlns:a16="http://schemas.microsoft.com/office/drawing/2014/main" id="{52429507-38F3-4E9E-8450-6F5B48C34F0C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3554906" y="3320143"/>
                      <a:ext cx="443906" cy="423422"/>
                      <a:chOff x="12909684" y="1276177"/>
                      <a:chExt cx="443906" cy="423422"/>
                    </a:xfrm>
                  </p:grpSpPr>
                  <p:sp>
                    <p:nvSpPr>
                      <p:cNvPr id="138" name="Rechthoek 107">
                        <a:extLst>
                          <a:ext uri="{FF2B5EF4-FFF2-40B4-BE49-F238E27FC236}">
                            <a16:creationId xmlns:a16="http://schemas.microsoft.com/office/drawing/2014/main" id="{A8E6BCC9-5C76-4A72-9754-82EE294361B1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2918700" y="1285299"/>
                        <a:ext cx="434890" cy="414300"/>
                      </a:xfrm>
                      <a:prstGeom prst="rect">
                        <a:avLst/>
                      </a:prstGeom>
                      <a:noFill/>
                      <a:ln w="12700">
                        <a:solidFill>
                          <a:srgbClr val="818181"/>
                        </a:solidFill>
                        <a:prstDash val="dash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2105"/>
                          </a:spcBef>
                          <a:spcAft>
                            <a:spcPts val="2105"/>
                          </a:spcAft>
                        </a:pPr>
                        <a:endParaRPr lang="nl-NL" sz="2806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139" name="Rechthoek 108">
                        <a:extLst>
                          <a:ext uri="{FF2B5EF4-FFF2-40B4-BE49-F238E27FC236}">
                            <a16:creationId xmlns:a16="http://schemas.microsoft.com/office/drawing/2014/main" id="{9D7B8A50-5B3F-4914-9043-965D6F76CE32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2909684" y="1276177"/>
                        <a:ext cx="261629" cy="257808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12700">
                        <a:solidFill>
                          <a:srgbClr val="81818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2105"/>
                          </a:spcBef>
                          <a:spcAft>
                            <a:spcPts val="2105"/>
                          </a:spcAft>
                        </a:pPr>
                        <a:endParaRPr lang="nl-NL" sz="2806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140" name="Ovaal 109">
                        <a:extLst>
                          <a:ext uri="{FF2B5EF4-FFF2-40B4-BE49-F238E27FC236}">
                            <a16:creationId xmlns:a16="http://schemas.microsoft.com/office/drawing/2014/main" id="{8DDF8ECC-166C-4897-8622-374E97AA8163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3069071" y="1308734"/>
                        <a:ext cx="72187" cy="72188"/>
                      </a:xfrm>
                      <a:prstGeom prst="ellipse">
                        <a:avLst/>
                      </a:prstGeom>
                      <a:solidFill>
                        <a:srgbClr val="ECC679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="horz" wrap="square" lIns="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l"/>
                        <a:endParaRPr lang="nl-NL" sz="3509" b="1" noProof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  <p:pic>
                  <p:nvPicPr>
                    <p:cNvPr id="135" name="Afbeelding 105">
                      <a:extLst>
                        <a:ext uri="{FF2B5EF4-FFF2-40B4-BE49-F238E27FC236}">
                          <a16:creationId xmlns:a16="http://schemas.microsoft.com/office/drawing/2014/main" id="{0F5F8622-2778-4F8C-AC1D-88E1E161214B}"/>
                        </a:ext>
                      </a:extLst>
                    </p:cNvPr>
                    <p:cNvPicPr>
                      <a:picLocks noChangeAspect="1"/>
                    </p:cNvPicPr>
                    <p:nvPr userDrawn="1"/>
                  </p:nvPicPr>
                  <p:blipFill>
                    <a:blip r:embed="rId2" cstate="screen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3567296" y="3424991"/>
                      <a:ext cx="173367" cy="14022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36" name="Afbeelding 106">
                      <a:extLst>
                        <a:ext uri="{FF2B5EF4-FFF2-40B4-BE49-F238E27FC236}">
                          <a16:creationId xmlns:a16="http://schemas.microsoft.com/office/drawing/2014/main" id="{58579FE3-F702-4936-B25F-18EB6AB3B960}"/>
                        </a:ext>
                      </a:extLst>
                    </p:cNvPr>
                    <p:cNvPicPr>
                      <a:picLocks noChangeAspect="1"/>
                    </p:cNvPicPr>
                    <p:nvPr userDrawn="1"/>
                  </p:nvPicPr>
                  <p:blipFill>
                    <a:blip r:embed="rId4" cstate="screen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5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flipH="1">
                      <a:off x="13635598" y="3454393"/>
                      <a:ext cx="173366" cy="111424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119" name="Groep 98">
                    <a:extLst>
                      <a:ext uri="{FF2B5EF4-FFF2-40B4-BE49-F238E27FC236}">
                        <a16:creationId xmlns:a16="http://schemas.microsoft.com/office/drawing/2014/main" id="{5BCE9AD3-A1F5-4676-AE07-6D2867FC0E8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103513" y="3705278"/>
                    <a:ext cx="145820" cy="146452"/>
                    <a:chOff x="13096169" y="3602288"/>
                    <a:chExt cx="145820" cy="146452"/>
                  </a:xfrm>
                </p:grpSpPr>
                <p:sp>
                  <p:nvSpPr>
                    <p:cNvPr id="123" name="Rechthoek 102">
                      <a:extLst>
                        <a:ext uri="{FF2B5EF4-FFF2-40B4-BE49-F238E27FC236}">
                          <a16:creationId xmlns:a16="http://schemas.microsoft.com/office/drawing/2014/main" id="{C66784CF-651F-43D0-BF9C-C7DBF4D112DE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96169" y="360228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33" name="Rechthoek 103">
                      <a:extLst>
                        <a:ext uri="{FF2B5EF4-FFF2-40B4-BE49-F238E27FC236}">
                          <a16:creationId xmlns:a16="http://schemas.microsoft.com/office/drawing/2014/main" id="{65FAB179-32F6-43C5-9722-A5EBEF267DAF}"/>
                        </a:ext>
                      </a:extLst>
                    </p:cNvPr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grpSp>
                <p:nvGrpSpPr>
                  <p:cNvPr id="120" name="Groep 99">
                    <a:extLst>
                      <a:ext uri="{FF2B5EF4-FFF2-40B4-BE49-F238E27FC236}">
                        <a16:creationId xmlns:a16="http://schemas.microsoft.com/office/drawing/2014/main" id="{77D4D063-EAC2-4078-A0EE-2D5AAA880B6C}"/>
                      </a:ext>
                    </a:extLst>
                  </p:cNvPr>
                  <p:cNvGrpSpPr/>
                  <p:nvPr userDrawn="1"/>
                </p:nvGrpSpPr>
                <p:grpSpPr>
                  <a:xfrm rot="10800000">
                    <a:off x="13061402" y="3665668"/>
                    <a:ext cx="145820" cy="146461"/>
                    <a:chOff x="13096169" y="3602248"/>
                    <a:chExt cx="145820" cy="146461"/>
                  </a:xfrm>
                </p:grpSpPr>
                <p:sp>
                  <p:nvSpPr>
                    <p:cNvPr id="121" name="Rechthoek 100">
                      <a:extLst>
                        <a:ext uri="{FF2B5EF4-FFF2-40B4-BE49-F238E27FC236}">
                          <a16:creationId xmlns:a16="http://schemas.microsoft.com/office/drawing/2014/main" id="{C143E68D-5638-4CCB-AC3B-AEEC5571CCB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96169" y="360224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22" name="Rechthoek 101">
                      <a:extLst>
                        <a:ext uri="{FF2B5EF4-FFF2-40B4-BE49-F238E27FC236}">
                          <a16:creationId xmlns:a16="http://schemas.microsoft.com/office/drawing/2014/main" id="{38AAB217-F950-4294-9A14-451F149F0D0E}"/>
                        </a:ext>
                      </a:extLst>
                    </p:cNvPr>
                    <p:cNvSpPr/>
                    <p:nvPr userDrawn="1"/>
                  </p:nvSpPr>
                  <p:spPr>
                    <a:xfrm rot="5400000">
                      <a:off x="13037453" y="3661605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  <p:sp>
              <p:nvSpPr>
                <p:cNvPr id="116" name="Rechthoek 95">
                  <a:extLst>
                    <a:ext uri="{FF2B5EF4-FFF2-40B4-BE49-F238E27FC236}">
                      <a16:creationId xmlns:a16="http://schemas.microsoft.com/office/drawing/2014/main" id="{8B0331BE-413D-4F8C-8037-03308E0C944C}"/>
                    </a:ext>
                  </a:extLst>
                </p:cNvPr>
                <p:cNvSpPr/>
                <p:nvPr userDrawn="1"/>
              </p:nvSpPr>
              <p:spPr>
                <a:xfrm>
                  <a:off x="12682980" y="3889920"/>
                  <a:ext cx="622284" cy="16117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r>
                    <a:rPr lang="nl-NL" sz="3158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Bijsnijden</a:t>
                  </a:r>
                </a:p>
              </p:txBody>
            </p:sp>
            <p:sp>
              <p:nvSpPr>
                <p:cNvPr id="117" name="Gelijkbenige driehoek 96">
                  <a:extLst>
                    <a:ext uri="{FF2B5EF4-FFF2-40B4-BE49-F238E27FC236}">
                      <a16:creationId xmlns:a16="http://schemas.microsoft.com/office/drawing/2014/main" id="{E256B01D-D616-46E5-B171-4AE5BDBE58D2}"/>
                    </a:ext>
                  </a:extLst>
                </p:cNvPr>
                <p:cNvSpPr/>
                <p:nvPr userDrawn="1"/>
              </p:nvSpPr>
              <p:spPr>
                <a:xfrm rot="10800000">
                  <a:off x="12950688" y="4093761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pic>
        <p:nvPicPr>
          <p:cNvPr id="202" name="Afbeelding 201">
            <a:extLst>
              <a:ext uri="{FF2B5EF4-FFF2-40B4-BE49-F238E27FC236}">
                <a16:creationId xmlns:a16="http://schemas.microsoft.com/office/drawing/2014/main" id="{889F0510-046E-4908-9005-B0269FC547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3436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kaders + Uitleg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grpSp>
        <p:nvGrpSpPr>
          <p:cNvPr id="38" name="GRID" hidden="1">
            <a:extLst>
              <a:ext uri="{FF2B5EF4-FFF2-40B4-BE49-F238E27FC236}">
                <a16:creationId xmlns:a16="http://schemas.microsoft.com/office/drawing/2014/main" id="{51D5F7E8-69F8-47AD-81F5-1645C97607C1}"/>
              </a:ext>
            </a:extLst>
          </p:cNvPr>
          <p:cNvGrpSpPr/>
          <p:nvPr userDrawn="1"/>
        </p:nvGrpSpPr>
        <p:grpSpPr>
          <a:xfrm>
            <a:off x="5" y="0"/>
            <a:ext cx="42767261" cy="30275213"/>
            <a:chOff x="0" y="0"/>
            <a:chExt cx="12192003" cy="6858000"/>
          </a:xfrm>
        </p:grpSpPr>
        <p:sp>
          <p:nvSpPr>
            <p:cNvPr id="39" name="Rechthoek 38">
              <a:extLst>
                <a:ext uri="{FF2B5EF4-FFF2-40B4-BE49-F238E27FC236}">
                  <a16:creationId xmlns:a16="http://schemas.microsoft.com/office/drawing/2014/main" id="{71DB2C92-E6A8-4532-98F6-C917E7F5CD17}"/>
                </a:ext>
              </a:extLst>
            </p:cNvPr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0" name="Rechthoek 39">
              <a:extLst>
                <a:ext uri="{FF2B5EF4-FFF2-40B4-BE49-F238E27FC236}">
                  <a16:creationId xmlns:a16="http://schemas.microsoft.com/office/drawing/2014/main" id="{1283F161-5F8A-45E1-A9F2-F823FC1CB0A5}"/>
                </a:ext>
              </a:extLst>
            </p:cNvPr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1" name="Rechthoek 40">
              <a:extLst>
                <a:ext uri="{FF2B5EF4-FFF2-40B4-BE49-F238E27FC236}">
                  <a16:creationId xmlns:a16="http://schemas.microsoft.com/office/drawing/2014/main" id="{E25AE021-76F4-4113-9019-FB3CB3351AD2}"/>
                </a:ext>
              </a:extLst>
            </p:cNvPr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2" name="Rechthoek 41">
              <a:extLst>
                <a:ext uri="{FF2B5EF4-FFF2-40B4-BE49-F238E27FC236}">
                  <a16:creationId xmlns:a16="http://schemas.microsoft.com/office/drawing/2014/main" id="{4F56F574-960D-4395-B98C-5F49ED9EF418}"/>
                </a:ext>
              </a:extLst>
            </p:cNvPr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34E307D0-CCA0-4BDF-BC5F-E19838E9F7DA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4" name="Rechthoek 43">
              <a:extLst>
                <a:ext uri="{FF2B5EF4-FFF2-40B4-BE49-F238E27FC236}">
                  <a16:creationId xmlns:a16="http://schemas.microsoft.com/office/drawing/2014/main" id="{2AEE0B25-FBCC-4048-A2C0-6D97C3E7FEB7}"/>
                </a:ext>
              </a:extLst>
            </p:cNvPr>
            <p:cNvSpPr/>
            <p:nvPr userDrawn="1"/>
          </p:nvSpPr>
          <p:spPr>
            <a:xfrm rot="5400000">
              <a:off x="5895976" y="-108104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endParaRPr lang="nl-NL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endParaRPr lang="nl-NL" noProof="0"/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8"/>
            <a:ext cx="707315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0D7B9878-B8FD-4C53-84A0-30824F06295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33807" y="6316512"/>
            <a:ext cx="26489657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 marL="0" indent="0">
              <a:buNone/>
              <a:defRPr sz="4209"/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7F82B2D1-AD00-49E7-AE45-05F1D50B110A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696819" y="6310559"/>
            <a:ext cx="5345591" cy="3935014"/>
          </a:xfrm>
          <a:custGeom>
            <a:avLst/>
            <a:gdLst>
              <a:gd name="connsiteX0" fmla="*/ 0 w 1525587"/>
              <a:gd name="connsiteY0" fmla="*/ 161658 h 1241425"/>
              <a:gd name="connsiteX1" fmla="*/ 161658 w 1525587"/>
              <a:gd name="connsiteY1" fmla="*/ 0 h 1241425"/>
              <a:gd name="connsiteX2" fmla="*/ 1363929 w 1525587"/>
              <a:gd name="connsiteY2" fmla="*/ 0 h 1241425"/>
              <a:gd name="connsiteX3" fmla="*/ 1525587 w 1525587"/>
              <a:gd name="connsiteY3" fmla="*/ 161658 h 1241425"/>
              <a:gd name="connsiteX4" fmla="*/ 1525587 w 1525587"/>
              <a:gd name="connsiteY4" fmla="*/ 1079767 h 1241425"/>
              <a:gd name="connsiteX5" fmla="*/ 1363929 w 1525587"/>
              <a:gd name="connsiteY5" fmla="*/ 1241425 h 1241425"/>
              <a:gd name="connsiteX6" fmla="*/ 161658 w 1525587"/>
              <a:gd name="connsiteY6" fmla="*/ 1241425 h 1241425"/>
              <a:gd name="connsiteX7" fmla="*/ 0 w 1525587"/>
              <a:gd name="connsiteY7" fmla="*/ 1079767 h 1241425"/>
              <a:gd name="connsiteX8" fmla="*/ 0 w 1525587"/>
              <a:gd name="connsiteY8" fmla="*/ 161658 h 1241425"/>
              <a:gd name="connsiteX0" fmla="*/ 0 w 1525587"/>
              <a:gd name="connsiteY0" fmla="*/ 161658 h 1241425"/>
              <a:gd name="connsiteX1" fmla="*/ 42862 w 1525587"/>
              <a:gd name="connsiteY1" fmla="*/ 48418 h 1241425"/>
              <a:gd name="connsiteX2" fmla="*/ 161658 w 1525587"/>
              <a:gd name="connsiteY2" fmla="*/ 0 h 1241425"/>
              <a:gd name="connsiteX3" fmla="*/ 1363929 w 1525587"/>
              <a:gd name="connsiteY3" fmla="*/ 0 h 1241425"/>
              <a:gd name="connsiteX4" fmla="*/ 1525587 w 1525587"/>
              <a:gd name="connsiteY4" fmla="*/ 161658 h 1241425"/>
              <a:gd name="connsiteX5" fmla="*/ 1525587 w 1525587"/>
              <a:gd name="connsiteY5" fmla="*/ 1079767 h 1241425"/>
              <a:gd name="connsiteX6" fmla="*/ 1363929 w 1525587"/>
              <a:gd name="connsiteY6" fmla="*/ 1241425 h 1241425"/>
              <a:gd name="connsiteX7" fmla="*/ 161658 w 1525587"/>
              <a:gd name="connsiteY7" fmla="*/ 1241425 h 1241425"/>
              <a:gd name="connsiteX8" fmla="*/ 0 w 1525587"/>
              <a:gd name="connsiteY8" fmla="*/ 1079767 h 1241425"/>
              <a:gd name="connsiteX9" fmla="*/ 0 w 1525587"/>
              <a:gd name="connsiteY9" fmla="*/ 161658 h 1241425"/>
              <a:gd name="connsiteX0" fmla="*/ 8672 w 1534259"/>
              <a:gd name="connsiteY0" fmla="*/ 165982 h 1245749"/>
              <a:gd name="connsiteX1" fmla="*/ 11053 w 1534259"/>
              <a:gd name="connsiteY1" fmla="*/ 12261 h 1245749"/>
              <a:gd name="connsiteX2" fmla="*/ 170330 w 1534259"/>
              <a:gd name="connsiteY2" fmla="*/ 4324 h 1245749"/>
              <a:gd name="connsiteX3" fmla="*/ 1372601 w 1534259"/>
              <a:gd name="connsiteY3" fmla="*/ 4324 h 1245749"/>
              <a:gd name="connsiteX4" fmla="*/ 1534259 w 1534259"/>
              <a:gd name="connsiteY4" fmla="*/ 165982 h 1245749"/>
              <a:gd name="connsiteX5" fmla="*/ 1534259 w 1534259"/>
              <a:gd name="connsiteY5" fmla="*/ 1084091 h 1245749"/>
              <a:gd name="connsiteX6" fmla="*/ 1372601 w 1534259"/>
              <a:gd name="connsiteY6" fmla="*/ 1245749 h 1245749"/>
              <a:gd name="connsiteX7" fmla="*/ 170330 w 1534259"/>
              <a:gd name="connsiteY7" fmla="*/ 1245749 h 1245749"/>
              <a:gd name="connsiteX8" fmla="*/ 8672 w 1534259"/>
              <a:gd name="connsiteY8" fmla="*/ 1084091 h 1245749"/>
              <a:gd name="connsiteX9" fmla="*/ 8672 w 1534259"/>
              <a:gd name="connsiteY9" fmla="*/ 165982 h 1245749"/>
              <a:gd name="connsiteX0" fmla="*/ 8672 w 1534259"/>
              <a:gd name="connsiteY0" fmla="*/ 167890 h 1247657"/>
              <a:gd name="connsiteX1" fmla="*/ 11053 w 1534259"/>
              <a:gd name="connsiteY1" fmla="*/ 14169 h 1247657"/>
              <a:gd name="connsiteX2" fmla="*/ 170330 w 1534259"/>
              <a:gd name="connsiteY2" fmla="*/ 6232 h 1247657"/>
              <a:gd name="connsiteX3" fmla="*/ 1372601 w 1534259"/>
              <a:gd name="connsiteY3" fmla="*/ 6232 h 1247657"/>
              <a:gd name="connsiteX4" fmla="*/ 1534259 w 1534259"/>
              <a:gd name="connsiteY4" fmla="*/ 167890 h 1247657"/>
              <a:gd name="connsiteX5" fmla="*/ 1534259 w 1534259"/>
              <a:gd name="connsiteY5" fmla="*/ 1085999 h 1247657"/>
              <a:gd name="connsiteX6" fmla="*/ 1372601 w 1534259"/>
              <a:gd name="connsiteY6" fmla="*/ 1247657 h 1247657"/>
              <a:gd name="connsiteX7" fmla="*/ 170330 w 1534259"/>
              <a:gd name="connsiteY7" fmla="*/ 1247657 h 1247657"/>
              <a:gd name="connsiteX8" fmla="*/ 8672 w 1534259"/>
              <a:gd name="connsiteY8" fmla="*/ 1085999 h 1247657"/>
              <a:gd name="connsiteX9" fmla="*/ 8672 w 1534259"/>
              <a:gd name="connsiteY9" fmla="*/ 167890 h 1247657"/>
              <a:gd name="connsiteX0" fmla="*/ 8672 w 1534259"/>
              <a:gd name="connsiteY0" fmla="*/ 161658 h 1241425"/>
              <a:gd name="connsiteX1" fmla="*/ 11053 w 1534259"/>
              <a:gd name="connsiteY1" fmla="*/ 7937 h 1241425"/>
              <a:gd name="connsiteX2" fmla="*/ 170330 w 1534259"/>
              <a:gd name="connsiteY2" fmla="*/ 0 h 1241425"/>
              <a:gd name="connsiteX3" fmla="*/ 1372601 w 1534259"/>
              <a:gd name="connsiteY3" fmla="*/ 0 h 1241425"/>
              <a:gd name="connsiteX4" fmla="*/ 1534259 w 1534259"/>
              <a:gd name="connsiteY4" fmla="*/ 161658 h 1241425"/>
              <a:gd name="connsiteX5" fmla="*/ 1534259 w 1534259"/>
              <a:gd name="connsiteY5" fmla="*/ 1079767 h 1241425"/>
              <a:gd name="connsiteX6" fmla="*/ 1372601 w 1534259"/>
              <a:gd name="connsiteY6" fmla="*/ 1241425 h 1241425"/>
              <a:gd name="connsiteX7" fmla="*/ 170330 w 1534259"/>
              <a:gd name="connsiteY7" fmla="*/ 1241425 h 1241425"/>
              <a:gd name="connsiteX8" fmla="*/ 8672 w 1534259"/>
              <a:gd name="connsiteY8" fmla="*/ 1079767 h 1241425"/>
              <a:gd name="connsiteX9" fmla="*/ 8672 w 1534259"/>
              <a:gd name="connsiteY9" fmla="*/ 161658 h 124142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3668 h 1243435"/>
              <a:gd name="connsiteX1" fmla="*/ 10644 w 1535715"/>
              <a:gd name="connsiteY1" fmla="*/ 0 h 1243435"/>
              <a:gd name="connsiteX2" fmla="*/ 171786 w 1535715"/>
              <a:gd name="connsiteY2" fmla="*/ 2010 h 1243435"/>
              <a:gd name="connsiteX3" fmla="*/ 1374057 w 1535715"/>
              <a:gd name="connsiteY3" fmla="*/ 2010 h 1243435"/>
              <a:gd name="connsiteX4" fmla="*/ 1535715 w 1535715"/>
              <a:gd name="connsiteY4" fmla="*/ 163668 h 1243435"/>
              <a:gd name="connsiteX5" fmla="*/ 1535715 w 1535715"/>
              <a:gd name="connsiteY5" fmla="*/ 1081777 h 1243435"/>
              <a:gd name="connsiteX6" fmla="*/ 1374057 w 1535715"/>
              <a:gd name="connsiteY6" fmla="*/ 1243435 h 1243435"/>
              <a:gd name="connsiteX7" fmla="*/ 171786 w 1535715"/>
              <a:gd name="connsiteY7" fmla="*/ 1243435 h 1243435"/>
              <a:gd name="connsiteX8" fmla="*/ 10128 w 1535715"/>
              <a:gd name="connsiteY8" fmla="*/ 1081777 h 1243435"/>
              <a:gd name="connsiteX9" fmla="*/ 10128 w 1535715"/>
              <a:gd name="connsiteY9" fmla="*/ 163668 h 124343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1808 w 1537395"/>
              <a:gd name="connsiteY0" fmla="*/ 161803 h 1241570"/>
              <a:gd name="connsiteX1" fmla="*/ 12324 w 1537395"/>
              <a:gd name="connsiteY1" fmla="*/ 0 h 1241570"/>
              <a:gd name="connsiteX2" fmla="*/ 173466 w 1537395"/>
              <a:gd name="connsiteY2" fmla="*/ 145 h 1241570"/>
              <a:gd name="connsiteX3" fmla="*/ 1375737 w 1537395"/>
              <a:gd name="connsiteY3" fmla="*/ 145 h 1241570"/>
              <a:gd name="connsiteX4" fmla="*/ 1537395 w 1537395"/>
              <a:gd name="connsiteY4" fmla="*/ 161803 h 1241570"/>
              <a:gd name="connsiteX5" fmla="*/ 1537395 w 1537395"/>
              <a:gd name="connsiteY5" fmla="*/ 1079912 h 1241570"/>
              <a:gd name="connsiteX6" fmla="*/ 1375737 w 1537395"/>
              <a:gd name="connsiteY6" fmla="*/ 1241570 h 1241570"/>
              <a:gd name="connsiteX7" fmla="*/ 173466 w 1537395"/>
              <a:gd name="connsiteY7" fmla="*/ 1241570 h 1241570"/>
              <a:gd name="connsiteX8" fmla="*/ 11808 w 1537395"/>
              <a:gd name="connsiteY8" fmla="*/ 1079912 h 1241570"/>
              <a:gd name="connsiteX9" fmla="*/ 11808 w 1537395"/>
              <a:gd name="connsiteY9" fmla="*/ 161803 h 1241570"/>
              <a:gd name="connsiteX0" fmla="*/ 346 w 1525933"/>
              <a:gd name="connsiteY0" fmla="*/ 161803 h 1241570"/>
              <a:gd name="connsiteX1" fmla="*/ 862 w 1525933"/>
              <a:gd name="connsiteY1" fmla="*/ 0 h 1241570"/>
              <a:gd name="connsiteX2" fmla="*/ 162004 w 1525933"/>
              <a:gd name="connsiteY2" fmla="*/ 145 h 1241570"/>
              <a:gd name="connsiteX3" fmla="*/ 1364275 w 1525933"/>
              <a:gd name="connsiteY3" fmla="*/ 145 h 1241570"/>
              <a:gd name="connsiteX4" fmla="*/ 1525933 w 1525933"/>
              <a:gd name="connsiteY4" fmla="*/ 161803 h 1241570"/>
              <a:gd name="connsiteX5" fmla="*/ 1525933 w 1525933"/>
              <a:gd name="connsiteY5" fmla="*/ 1079912 h 1241570"/>
              <a:gd name="connsiteX6" fmla="*/ 1364275 w 1525933"/>
              <a:gd name="connsiteY6" fmla="*/ 1241570 h 1241570"/>
              <a:gd name="connsiteX7" fmla="*/ 162004 w 1525933"/>
              <a:gd name="connsiteY7" fmla="*/ 1241570 h 1241570"/>
              <a:gd name="connsiteX8" fmla="*/ 346 w 1525933"/>
              <a:gd name="connsiteY8" fmla="*/ 1079912 h 1241570"/>
              <a:gd name="connsiteX9" fmla="*/ 346 w 1525933"/>
              <a:gd name="connsiteY9" fmla="*/ 161803 h 1241570"/>
              <a:gd name="connsiteX0" fmla="*/ 872 w 1526459"/>
              <a:gd name="connsiteY0" fmla="*/ 161803 h 1241570"/>
              <a:gd name="connsiteX1" fmla="*/ 1388 w 1526459"/>
              <a:gd name="connsiteY1" fmla="*/ 0 h 1241570"/>
              <a:gd name="connsiteX2" fmla="*/ 162530 w 1526459"/>
              <a:gd name="connsiteY2" fmla="*/ 145 h 1241570"/>
              <a:gd name="connsiteX3" fmla="*/ 1364801 w 1526459"/>
              <a:gd name="connsiteY3" fmla="*/ 145 h 1241570"/>
              <a:gd name="connsiteX4" fmla="*/ 1526459 w 1526459"/>
              <a:gd name="connsiteY4" fmla="*/ 161803 h 1241570"/>
              <a:gd name="connsiteX5" fmla="*/ 1526459 w 1526459"/>
              <a:gd name="connsiteY5" fmla="*/ 1079912 h 1241570"/>
              <a:gd name="connsiteX6" fmla="*/ 1364801 w 1526459"/>
              <a:gd name="connsiteY6" fmla="*/ 1241570 h 1241570"/>
              <a:gd name="connsiteX7" fmla="*/ 162530 w 1526459"/>
              <a:gd name="connsiteY7" fmla="*/ 1241570 h 1241570"/>
              <a:gd name="connsiteX8" fmla="*/ 872 w 1526459"/>
              <a:gd name="connsiteY8" fmla="*/ 1079912 h 1241570"/>
              <a:gd name="connsiteX9" fmla="*/ 872 w 1526459"/>
              <a:gd name="connsiteY9" fmla="*/ 161803 h 1241570"/>
              <a:gd name="connsiteX0" fmla="*/ 470 w 1526057"/>
              <a:gd name="connsiteY0" fmla="*/ 161803 h 1241570"/>
              <a:gd name="connsiteX1" fmla="*/ 986 w 1526057"/>
              <a:gd name="connsiteY1" fmla="*/ 0 h 1241570"/>
              <a:gd name="connsiteX2" fmla="*/ 162128 w 1526057"/>
              <a:gd name="connsiteY2" fmla="*/ 145 h 1241570"/>
              <a:gd name="connsiteX3" fmla="*/ 1364399 w 1526057"/>
              <a:gd name="connsiteY3" fmla="*/ 145 h 1241570"/>
              <a:gd name="connsiteX4" fmla="*/ 1526057 w 1526057"/>
              <a:gd name="connsiteY4" fmla="*/ 161803 h 1241570"/>
              <a:gd name="connsiteX5" fmla="*/ 1526057 w 1526057"/>
              <a:gd name="connsiteY5" fmla="*/ 1079912 h 1241570"/>
              <a:gd name="connsiteX6" fmla="*/ 1364399 w 1526057"/>
              <a:gd name="connsiteY6" fmla="*/ 1241570 h 1241570"/>
              <a:gd name="connsiteX7" fmla="*/ 162128 w 1526057"/>
              <a:gd name="connsiteY7" fmla="*/ 1241570 h 1241570"/>
              <a:gd name="connsiteX8" fmla="*/ 470 w 1526057"/>
              <a:gd name="connsiteY8" fmla="*/ 1079912 h 1241570"/>
              <a:gd name="connsiteX9" fmla="*/ 470 w 1526057"/>
              <a:gd name="connsiteY9" fmla="*/ 161803 h 1241570"/>
              <a:gd name="connsiteX0" fmla="*/ 649 w 1526236"/>
              <a:gd name="connsiteY0" fmla="*/ 161803 h 1241570"/>
              <a:gd name="connsiteX1" fmla="*/ 1165 w 1526236"/>
              <a:gd name="connsiteY1" fmla="*/ 0 h 1241570"/>
              <a:gd name="connsiteX2" fmla="*/ 162307 w 1526236"/>
              <a:gd name="connsiteY2" fmla="*/ 145 h 1241570"/>
              <a:gd name="connsiteX3" fmla="*/ 1364578 w 1526236"/>
              <a:gd name="connsiteY3" fmla="*/ 145 h 1241570"/>
              <a:gd name="connsiteX4" fmla="*/ 1526236 w 1526236"/>
              <a:gd name="connsiteY4" fmla="*/ 161803 h 1241570"/>
              <a:gd name="connsiteX5" fmla="*/ 1526236 w 1526236"/>
              <a:gd name="connsiteY5" fmla="*/ 1079912 h 1241570"/>
              <a:gd name="connsiteX6" fmla="*/ 1364578 w 1526236"/>
              <a:gd name="connsiteY6" fmla="*/ 1241570 h 1241570"/>
              <a:gd name="connsiteX7" fmla="*/ 162307 w 1526236"/>
              <a:gd name="connsiteY7" fmla="*/ 1241570 h 1241570"/>
              <a:gd name="connsiteX8" fmla="*/ 649 w 1526236"/>
              <a:gd name="connsiteY8" fmla="*/ 1079912 h 1241570"/>
              <a:gd name="connsiteX9" fmla="*/ 649 w 1526236"/>
              <a:gd name="connsiteY9" fmla="*/ 161803 h 1241570"/>
              <a:gd name="connsiteX0" fmla="*/ 268 w 1525855"/>
              <a:gd name="connsiteY0" fmla="*/ 161803 h 1241570"/>
              <a:gd name="connsiteX1" fmla="*/ 784 w 1525855"/>
              <a:gd name="connsiteY1" fmla="*/ 0 h 1241570"/>
              <a:gd name="connsiteX2" fmla="*/ 161926 w 1525855"/>
              <a:gd name="connsiteY2" fmla="*/ 145 h 1241570"/>
              <a:gd name="connsiteX3" fmla="*/ 1364197 w 1525855"/>
              <a:gd name="connsiteY3" fmla="*/ 145 h 1241570"/>
              <a:gd name="connsiteX4" fmla="*/ 1525855 w 1525855"/>
              <a:gd name="connsiteY4" fmla="*/ 161803 h 1241570"/>
              <a:gd name="connsiteX5" fmla="*/ 1525855 w 1525855"/>
              <a:gd name="connsiteY5" fmla="*/ 1079912 h 1241570"/>
              <a:gd name="connsiteX6" fmla="*/ 1364197 w 1525855"/>
              <a:gd name="connsiteY6" fmla="*/ 1241570 h 1241570"/>
              <a:gd name="connsiteX7" fmla="*/ 161926 w 1525855"/>
              <a:gd name="connsiteY7" fmla="*/ 1241570 h 1241570"/>
              <a:gd name="connsiteX8" fmla="*/ 268 w 1525855"/>
              <a:gd name="connsiteY8" fmla="*/ 1079912 h 1241570"/>
              <a:gd name="connsiteX9" fmla="*/ 268 w 1525855"/>
              <a:gd name="connsiteY9" fmla="*/ 161803 h 1241570"/>
              <a:gd name="connsiteX0" fmla="*/ 359 w 1525946"/>
              <a:gd name="connsiteY0" fmla="*/ 161803 h 1241570"/>
              <a:gd name="connsiteX1" fmla="*/ 253 w 1525946"/>
              <a:gd name="connsiteY1" fmla="*/ 0 h 1241570"/>
              <a:gd name="connsiteX2" fmla="*/ 162017 w 1525946"/>
              <a:gd name="connsiteY2" fmla="*/ 145 h 1241570"/>
              <a:gd name="connsiteX3" fmla="*/ 1364288 w 1525946"/>
              <a:gd name="connsiteY3" fmla="*/ 145 h 1241570"/>
              <a:gd name="connsiteX4" fmla="*/ 1525946 w 1525946"/>
              <a:gd name="connsiteY4" fmla="*/ 161803 h 1241570"/>
              <a:gd name="connsiteX5" fmla="*/ 1525946 w 1525946"/>
              <a:gd name="connsiteY5" fmla="*/ 1079912 h 1241570"/>
              <a:gd name="connsiteX6" fmla="*/ 1364288 w 1525946"/>
              <a:gd name="connsiteY6" fmla="*/ 1241570 h 1241570"/>
              <a:gd name="connsiteX7" fmla="*/ 162017 w 1525946"/>
              <a:gd name="connsiteY7" fmla="*/ 1241570 h 1241570"/>
              <a:gd name="connsiteX8" fmla="*/ 359 w 1525946"/>
              <a:gd name="connsiteY8" fmla="*/ 1079912 h 1241570"/>
              <a:gd name="connsiteX9" fmla="*/ 359 w 1525946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364035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414898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414898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414898 w 1525693"/>
              <a:gd name="connsiteY6" fmla="*/ 1232717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  <a:gd name="connsiteX0" fmla="*/ 106 w 1525718"/>
              <a:gd name="connsiteY0" fmla="*/ 161803 h 1241570"/>
              <a:gd name="connsiteX1" fmla="*/ 0 w 1525718"/>
              <a:gd name="connsiteY1" fmla="*/ 0 h 1241570"/>
              <a:gd name="connsiteX2" fmla="*/ 161764 w 1525718"/>
              <a:gd name="connsiteY2" fmla="*/ 145 h 1241570"/>
              <a:gd name="connsiteX3" fmla="*/ 1414898 w 1525718"/>
              <a:gd name="connsiteY3" fmla="*/ 145 h 1241570"/>
              <a:gd name="connsiteX4" fmla="*/ 1525693 w 1525718"/>
              <a:gd name="connsiteY4" fmla="*/ 161803 h 1241570"/>
              <a:gd name="connsiteX5" fmla="*/ 1525693 w 1525718"/>
              <a:gd name="connsiteY5" fmla="*/ 1079912 h 1241570"/>
              <a:gd name="connsiteX6" fmla="*/ 1440330 w 1525718"/>
              <a:gd name="connsiteY6" fmla="*/ 1232717 h 1241570"/>
              <a:gd name="connsiteX7" fmla="*/ 161764 w 1525718"/>
              <a:gd name="connsiteY7" fmla="*/ 1241570 h 1241570"/>
              <a:gd name="connsiteX8" fmla="*/ 106 w 1525718"/>
              <a:gd name="connsiteY8" fmla="*/ 1079912 h 1241570"/>
              <a:gd name="connsiteX9" fmla="*/ 106 w 1525718"/>
              <a:gd name="connsiteY9" fmla="*/ 161803 h 1241570"/>
              <a:gd name="connsiteX0" fmla="*/ 106 w 1525718"/>
              <a:gd name="connsiteY0" fmla="*/ 161803 h 1241570"/>
              <a:gd name="connsiteX1" fmla="*/ 0 w 1525718"/>
              <a:gd name="connsiteY1" fmla="*/ 0 h 1241570"/>
              <a:gd name="connsiteX2" fmla="*/ 161764 w 1525718"/>
              <a:gd name="connsiteY2" fmla="*/ 145 h 1241570"/>
              <a:gd name="connsiteX3" fmla="*/ 1414898 w 1525718"/>
              <a:gd name="connsiteY3" fmla="*/ 145 h 1241570"/>
              <a:gd name="connsiteX4" fmla="*/ 1525693 w 1525718"/>
              <a:gd name="connsiteY4" fmla="*/ 161803 h 1241570"/>
              <a:gd name="connsiteX5" fmla="*/ 1525693 w 1525718"/>
              <a:gd name="connsiteY5" fmla="*/ 1079912 h 1241570"/>
              <a:gd name="connsiteX6" fmla="*/ 1440330 w 1525718"/>
              <a:gd name="connsiteY6" fmla="*/ 1239358 h 1241570"/>
              <a:gd name="connsiteX7" fmla="*/ 161764 w 1525718"/>
              <a:gd name="connsiteY7" fmla="*/ 1241570 h 1241570"/>
              <a:gd name="connsiteX8" fmla="*/ 106 w 1525718"/>
              <a:gd name="connsiteY8" fmla="*/ 1079912 h 1241570"/>
              <a:gd name="connsiteX9" fmla="*/ 106 w 1525718"/>
              <a:gd name="connsiteY9" fmla="*/ 161803 h 1241570"/>
              <a:gd name="connsiteX0" fmla="*/ 106 w 1525718"/>
              <a:gd name="connsiteY0" fmla="*/ 161803 h 1241570"/>
              <a:gd name="connsiteX1" fmla="*/ 0 w 1525718"/>
              <a:gd name="connsiteY1" fmla="*/ 0 h 1241570"/>
              <a:gd name="connsiteX2" fmla="*/ 161764 w 1525718"/>
              <a:gd name="connsiteY2" fmla="*/ 145 h 1241570"/>
              <a:gd name="connsiteX3" fmla="*/ 1414898 w 1525718"/>
              <a:gd name="connsiteY3" fmla="*/ 145 h 1241570"/>
              <a:gd name="connsiteX4" fmla="*/ 1525693 w 1525718"/>
              <a:gd name="connsiteY4" fmla="*/ 161803 h 1241570"/>
              <a:gd name="connsiteX5" fmla="*/ 1525693 w 1525718"/>
              <a:gd name="connsiteY5" fmla="*/ 1079912 h 1241570"/>
              <a:gd name="connsiteX6" fmla="*/ 1440330 w 1525718"/>
              <a:gd name="connsiteY6" fmla="*/ 1232717 h 1241570"/>
              <a:gd name="connsiteX7" fmla="*/ 161764 w 1525718"/>
              <a:gd name="connsiteY7" fmla="*/ 1241570 h 1241570"/>
              <a:gd name="connsiteX8" fmla="*/ 106 w 1525718"/>
              <a:gd name="connsiteY8" fmla="*/ 1079912 h 1241570"/>
              <a:gd name="connsiteX9" fmla="*/ 106 w 1525718"/>
              <a:gd name="connsiteY9" fmla="*/ 161803 h 1241570"/>
              <a:gd name="connsiteX0" fmla="*/ 106 w 1525718"/>
              <a:gd name="connsiteY0" fmla="*/ 161803 h 1241570"/>
              <a:gd name="connsiteX1" fmla="*/ 0 w 1525718"/>
              <a:gd name="connsiteY1" fmla="*/ 0 h 1241570"/>
              <a:gd name="connsiteX2" fmla="*/ 161764 w 1525718"/>
              <a:gd name="connsiteY2" fmla="*/ 145 h 1241570"/>
              <a:gd name="connsiteX3" fmla="*/ 1414898 w 1525718"/>
              <a:gd name="connsiteY3" fmla="*/ 145 h 1241570"/>
              <a:gd name="connsiteX4" fmla="*/ 1525693 w 1525718"/>
              <a:gd name="connsiteY4" fmla="*/ 161803 h 1241570"/>
              <a:gd name="connsiteX5" fmla="*/ 1525693 w 1525718"/>
              <a:gd name="connsiteY5" fmla="*/ 1079912 h 1241570"/>
              <a:gd name="connsiteX6" fmla="*/ 1440330 w 1525718"/>
              <a:gd name="connsiteY6" fmla="*/ 1232717 h 1241570"/>
              <a:gd name="connsiteX7" fmla="*/ 161764 w 1525718"/>
              <a:gd name="connsiteY7" fmla="*/ 1241570 h 1241570"/>
              <a:gd name="connsiteX8" fmla="*/ 106 w 1525718"/>
              <a:gd name="connsiteY8" fmla="*/ 1079912 h 1241570"/>
              <a:gd name="connsiteX9" fmla="*/ 106 w 1525718"/>
              <a:gd name="connsiteY9" fmla="*/ 161803 h 1241570"/>
              <a:gd name="connsiteX0" fmla="*/ 106 w 1525718"/>
              <a:gd name="connsiteY0" fmla="*/ 161803 h 1241570"/>
              <a:gd name="connsiteX1" fmla="*/ 0 w 1525718"/>
              <a:gd name="connsiteY1" fmla="*/ 0 h 1241570"/>
              <a:gd name="connsiteX2" fmla="*/ 161764 w 1525718"/>
              <a:gd name="connsiteY2" fmla="*/ 145 h 1241570"/>
              <a:gd name="connsiteX3" fmla="*/ 1414898 w 1525718"/>
              <a:gd name="connsiteY3" fmla="*/ 145 h 1241570"/>
              <a:gd name="connsiteX4" fmla="*/ 1525693 w 1525718"/>
              <a:gd name="connsiteY4" fmla="*/ 161803 h 1241570"/>
              <a:gd name="connsiteX5" fmla="*/ 1525693 w 1525718"/>
              <a:gd name="connsiteY5" fmla="*/ 1079912 h 1241570"/>
              <a:gd name="connsiteX6" fmla="*/ 1440330 w 1525718"/>
              <a:gd name="connsiteY6" fmla="*/ 1239358 h 1241570"/>
              <a:gd name="connsiteX7" fmla="*/ 161764 w 1525718"/>
              <a:gd name="connsiteY7" fmla="*/ 1241570 h 1241570"/>
              <a:gd name="connsiteX8" fmla="*/ 106 w 1525718"/>
              <a:gd name="connsiteY8" fmla="*/ 1079912 h 1241570"/>
              <a:gd name="connsiteX9" fmla="*/ 106 w 1525718"/>
              <a:gd name="connsiteY9" fmla="*/ 161803 h 1241570"/>
              <a:gd name="connsiteX0" fmla="*/ 106 w 1525718"/>
              <a:gd name="connsiteY0" fmla="*/ 161803 h 1241570"/>
              <a:gd name="connsiteX1" fmla="*/ 0 w 1525718"/>
              <a:gd name="connsiteY1" fmla="*/ 0 h 1241570"/>
              <a:gd name="connsiteX2" fmla="*/ 161764 w 1525718"/>
              <a:gd name="connsiteY2" fmla="*/ 145 h 1241570"/>
              <a:gd name="connsiteX3" fmla="*/ 1414898 w 1525718"/>
              <a:gd name="connsiteY3" fmla="*/ 145 h 1241570"/>
              <a:gd name="connsiteX4" fmla="*/ 1525693 w 1525718"/>
              <a:gd name="connsiteY4" fmla="*/ 161803 h 1241570"/>
              <a:gd name="connsiteX5" fmla="*/ 1525693 w 1525718"/>
              <a:gd name="connsiteY5" fmla="*/ 1079912 h 1241570"/>
              <a:gd name="connsiteX6" fmla="*/ 1440330 w 1525718"/>
              <a:gd name="connsiteY6" fmla="*/ 1229398 h 1241570"/>
              <a:gd name="connsiteX7" fmla="*/ 161764 w 1525718"/>
              <a:gd name="connsiteY7" fmla="*/ 1241570 h 1241570"/>
              <a:gd name="connsiteX8" fmla="*/ 106 w 1525718"/>
              <a:gd name="connsiteY8" fmla="*/ 1079912 h 1241570"/>
              <a:gd name="connsiteX9" fmla="*/ 106 w 1525718"/>
              <a:gd name="connsiteY9" fmla="*/ 161803 h 1241570"/>
              <a:gd name="connsiteX0" fmla="*/ 106 w 1525789"/>
              <a:gd name="connsiteY0" fmla="*/ 161803 h 1249317"/>
              <a:gd name="connsiteX1" fmla="*/ 0 w 1525789"/>
              <a:gd name="connsiteY1" fmla="*/ 0 h 1249317"/>
              <a:gd name="connsiteX2" fmla="*/ 161764 w 1525789"/>
              <a:gd name="connsiteY2" fmla="*/ 145 h 1249317"/>
              <a:gd name="connsiteX3" fmla="*/ 1414898 w 1525789"/>
              <a:gd name="connsiteY3" fmla="*/ 145 h 1249317"/>
              <a:gd name="connsiteX4" fmla="*/ 1525693 w 1525789"/>
              <a:gd name="connsiteY4" fmla="*/ 161803 h 1249317"/>
              <a:gd name="connsiteX5" fmla="*/ 1525693 w 1525789"/>
              <a:gd name="connsiteY5" fmla="*/ 1079912 h 1249317"/>
              <a:gd name="connsiteX6" fmla="*/ 1442714 w 1525789"/>
              <a:gd name="connsiteY6" fmla="*/ 1249317 h 1249317"/>
              <a:gd name="connsiteX7" fmla="*/ 161764 w 1525789"/>
              <a:gd name="connsiteY7" fmla="*/ 1241570 h 1249317"/>
              <a:gd name="connsiteX8" fmla="*/ 106 w 1525789"/>
              <a:gd name="connsiteY8" fmla="*/ 1079912 h 1249317"/>
              <a:gd name="connsiteX9" fmla="*/ 106 w 1525789"/>
              <a:gd name="connsiteY9" fmla="*/ 161803 h 1249317"/>
              <a:gd name="connsiteX0" fmla="*/ 106 w 1525789"/>
              <a:gd name="connsiteY0" fmla="*/ 161803 h 1242677"/>
              <a:gd name="connsiteX1" fmla="*/ 0 w 1525789"/>
              <a:gd name="connsiteY1" fmla="*/ 0 h 1242677"/>
              <a:gd name="connsiteX2" fmla="*/ 161764 w 1525789"/>
              <a:gd name="connsiteY2" fmla="*/ 145 h 1242677"/>
              <a:gd name="connsiteX3" fmla="*/ 1414898 w 1525789"/>
              <a:gd name="connsiteY3" fmla="*/ 145 h 1242677"/>
              <a:gd name="connsiteX4" fmla="*/ 1525693 w 1525789"/>
              <a:gd name="connsiteY4" fmla="*/ 161803 h 1242677"/>
              <a:gd name="connsiteX5" fmla="*/ 1525693 w 1525789"/>
              <a:gd name="connsiteY5" fmla="*/ 1079912 h 1242677"/>
              <a:gd name="connsiteX6" fmla="*/ 1442714 w 1525789"/>
              <a:gd name="connsiteY6" fmla="*/ 1242677 h 1242677"/>
              <a:gd name="connsiteX7" fmla="*/ 161764 w 1525789"/>
              <a:gd name="connsiteY7" fmla="*/ 1241570 h 1242677"/>
              <a:gd name="connsiteX8" fmla="*/ 106 w 1525789"/>
              <a:gd name="connsiteY8" fmla="*/ 1079912 h 1242677"/>
              <a:gd name="connsiteX9" fmla="*/ 106 w 1525789"/>
              <a:gd name="connsiteY9" fmla="*/ 161803 h 1242677"/>
              <a:gd name="connsiteX0" fmla="*/ 106 w 1525789"/>
              <a:gd name="connsiteY0" fmla="*/ 161803 h 1242677"/>
              <a:gd name="connsiteX1" fmla="*/ 0 w 1525789"/>
              <a:gd name="connsiteY1" fmla="*/ 0 h 1242677"/>
              <a:gd name="connsiteX2" fmla="*/ 161764 w 1525789"/>
              <a:gd name="connsiteY2" fmla="*/ 145 h 1242677"/>
              <a:gd name="connsiteX3" fmla="*/ 1414898 w 1525789"/>
              <a:gd name="connsiteY3" fmla="*/ 145 h 1242677"/>
              <a:gd name="connsiteX4" fmla="*/ 1525693 w 1525789"/>
              <a:gd name="connsiteY4" fmla="*/ 161803 h 1242677"/>
              <a:gd name="connsiteX5" fmla="*/ 1525693 w 1525789"/>
              <a:gd name="connsiteY5" fmla="*/ 1079912 h 1242677"/>
              <a:gd name="connsiteX6" fmla="*/ 1442714 w 1525789"/>
              <a:gd name="connsiteY6" fmla="*/ 1242677 h 1242677"/>
              <a:gd name="connsiteX7" fmla="*/ 130769 w 1525789"/>
              <a:gd name="connsiteY7" fmla="*/ 1241570 h 1242677"/>
              <a:gd name="connsiteX8" fmla="*/ 106 w 1525789"/>
              <a:gd name="connsiteY8" fmla="*/ 1079912 h 1242677"/>
              <a:gd name="connsiteX9" fmla="*/ 106 w 1525789"/>
              <a:gd name="connsiteY9" fmla="*/ 161803 h 1242677"/>
              <a:gd name="connsiteX0" fmla="*/ 106 w 1525789"/>
              <a:gd name="connsiteY0" fmla="*/ 161803 h 1242677"/>
              <a:gd name="connsiteX1" fmla="*/ 0 w 1525789"/>
              <a:gd name="connsiteY1" fmla="*/ 0 h 1242677"/>
              <a:gd name="connsiteX2" fmla="*/ 161764 w 1525789"/>
              <a:gd name="connsiteY2" fmla="*/ 145 h 1242677"/>
              <a:gd name="connsiteX3" fmla="*/ 1414898 w 1525789"/>
              <a:gd name="connsiteY3" fmla="*/ 145 h 1242677"/>
              <a:gd name="connsiteX4" fmla="*/ 1525693 w 1525789"/>
              <a:gd name="connsiteY4" fmla="*/ 161803 h 1242677"/>
              <a:gd name="connsiteX5" fmla="*/ 1525693 w 1525789"/>
              <a:gd name="connsiteY5" fmla="*/ 1079912 h 1242677"/>
              <a:gd name="connsiteX6" fmla="*/ 1442714 w 1525789"/>
              <a:gd name="connsiteY6" fmla="*/ 1242677 h 1242677"/>
              <a:gd name="connsiteX7" fmla="*/ 118848 w 1525789"/>
              <a:gd name="connsiteY7" fmla="*/ 1241570 h 1242677"/>
              <a:gd name="connsiteX8" fmla="*/ 106 w 1525789"/>
              <a:gd name="connsiteY8" fmla="*/ 1079912 h 1242677"/>
              <a:gd name="connsiteX9" fmla="*/ 106 w 1525789"/>
              <a:gd name="connsiteY9" fmla="*/ 161803 h 1242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25789" h="1242677">
                <a:moveTo>
                  <a:pt x="106" y="161803"/>
                </a:moveTo>
                <a:cubicBezTo>
                  <a:pt x="-210" y="159620"/>
                  <a:pt x="409" y="7672"/>
                  <a:pt x="0" y="0"/>
                </a:cubicBezTo>
                <a:cubicBezTo>
                  <a:pt x="6219" y="388"/>
                  <a:pt x="110655" y="450"/>
                  <a:pt x="161764" y="145"/>
                </a:cubicBezTo>
                <a:lnTo>
                  <a:pt x="1414898" y="145"/>
                </a:lnTo>
                <a:cubicBezTo>
                  <a:pt x="1504179" y="145"/>
                  <a:pt x="1525693" y="72522"/>
                  <a:pt x="1525693" y="161803"/>
                </a:cubicBezTo>
                <a:lnTo>
                  <a:pt x="1525693" y="1079912"/>
                </a:lnTo>
                <a:cubicBezTo>
                  <a:pt x="1525693" y="1169193"/>
                  <a:pt x="1531995" y="1242677"/>
                  <a:pt x="1442714" y="1242677"/>
                </a:cubicBezTo>
                <a:lnTo>
                  <a:pt x="118848" y="1241570"/>
                </a:lnTo>
                <a:cubicBezTo>
                  <a:pt x="29567" y="1241570"/>
                  <a:pt x="106" y="1169193"/>
                  <a:pt x="106" y="1079912"/>
                </a:cubicBezTo>
                <a:lnTo>
                  <a:pt x="106" y="1618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144000" anchor="b"/>
          <a:lstStyle>
            <a:lvl1pPr marL="0" indent="0" algn="ctr">
              <a:buNone/>
              <a:defRPr sz="2806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nl-NL" noProof="0"/>
          </a:p>
        </p:txBody>
      </p:sp>
      <p:sp>
        <p:nvSpPr>
          <p:cNvPr id="31" name="Tijdelijke aanduiding voor afbeelding 6">
            <a:extLst>
              <a:ext uri="{FF2B5EF4-FFF2-40B4-BE49-F238E27FC236}">
                <a16:creationId xmlns:a16="http://schemas.microsoft.com/office/drawing/2014/main" id="{6EAA7FFB-E40E-4744-8AF0-0E4BEE5C22A0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1696814" y="11466943"/>
            <a:ext cx="5345254" cy="3931509"/>
          </a:xfrm>
          <a:custGeom>
            <a:avLst/>
            <a:gdLst>
              <a:gd name="connsiteX0" fmla="*/ 0 w 1525587"/>
              <a:gd name="connsiteY0" fmla="*/ 161658 h 1241425"/>
              <a:gd name="connsiteX1" fmla="*/ 161658 w 1525587"/>
              <a:gd name="connsiteY1" fmla="*/ 0 h 1241425"/>
              <a:gd name="connsiteX2" fmla="*/ 1363929 w 1525587"/>
              <a:gd name="connsiteY2" fmla="*/ 0 h 1241425"/>
              <a:gd name="connsiteX3" fmla="*/ 1525587 w 1525587"/>
              <a:gd name="connsiteY3" fmla="*/ 161658 h 1241425"/>
              <a:gd name="connsiteX4" fmla="*/ 1525587 w 1525587"/>
              <a:gd name="connsiteY4" fmla="*/ 1079767 h 1241425"/>
              <a:gd name="connsiteX5" fmla="*/ 1363929 w 1525587"/>
              <a:gd name="connsiteY5" fmla="*/ 1241425 h 1241425"/>
              <a:gd name="connsiteX6" fmla="*/ 161658 w 1525587"/>
              <a:gd name="connsiteY6" fmla="*/ 1241425 h 1241425"/>
              <a:gd name="connsiteX7" fmla="*/ 0 w 1525587"/>
              <a:gd name="connsiteY7" fmla="*/ 1079767 h 1241425"/>
              <a:gd name="connsiteX8" fmla="*/ 0 w 1525587"/>
              <a:gd name="connsiteY8" fmla="*/ 161658 h 1241425"/>
              <a:gd name="connsiteX0" fmla="*/ 0 w 1525587"/>
              <a:gd name="connsiteY0" fmla="*/ 161658 h 1241425"/>
              <a:gd name="connsiteX1" fmla="*/ 42862 w 1525587"/>
              <a:gd name="connsiteY1" fmla="*/ 48418 h 1241425"/>
              <a:gd name="connsiteX2" fmla="*/ 161658 w 1525587"/>
              <a:gd name="connsiteY2" fmla="*/ 0 h 1241425"/>
              <a:gd name="connsiteX3" fmla="*/ 1363929 w 1525587"/>
              <a:gd name="connsiteY3" fmla="*/ 0 h 1241425"/>
              <a:gd name="connsiteX4" fmla="*/ 1525587 w 1525587"/>
              <a:gd name="connsiteY4" fmla="*/ 161658 h 1241425"/>
              <a:gd name="connsiteX5" fmla="*/ 1525587 w 1525587"/>
              <a:gd name="connsiteY5" fmla="*/ 1079767 h 1241425"/>
              <a:gd name="connsiteX6" fmla="*/ 1363929 w 1525587"/>
              <a:gd name="connsiteY6" fmla="*/ 1241425 h 1241425"/>
              <a:gd name="connsiteX7" fmla="*/ 161658 w 1525587"/>
              <a:gd name="connsiteY7" fmla="*/ 1241425 h 1241425"/>
              <a:gd name="connsiteX8" fmla="*/ 0 w 1525587"/>
              <a:gd name="connsiteY8" fmla="*/ 1079767 h 1241425"/>
              <a:gd name="connsiteX9" fmla="*/ 0 w 1525587"/>
              <a:gd name="connsiteY9" fmla="*/ 161658 h 1241425"/>
              <a:gd name="connsiteX0" fmla="*/ 8672 w 1534259"/>
              <a:gd name="connsiteY0" fmla="*/ 165982 h 1245749"/>
              <a:gd name="connsiteX1" fmla="*/ 11053 w 1534259"/>
              <a:gd name="connsiteY1" fmla="*/ 12261 h 1245749"/>
              <a:gd name="connsiteX2" fmla="*/ 170330 w 1534259"/>
              <a:gd name="connsiteY2" fmla="*/ 4324 h 1245749"/>
              <a:gd name="connsiteX3" fmla="*/ 1372601 w 1534259"/>
              <a:gd name="connsiteY3" fmla="*/ 4324 h 1245749"/>
              <a:gd name="connsiteX4" fmla="*/ 1534259 w 1534259"/>
              <a:gd name="connsiteY4" fmla="*/ 165982 h 1245749"/>
              <a:gd name="connsiteX5" fmla="*/ 1534259 w 1534259"/>
              <a:gd name="connsiteY5" fmla="*/ 1084091 h 1245749"/>
              <a:gd name="connsiteX6" fmla="*/ 1372601 w 1534259"/>
              <a:gd name="connsiteY6" fmla="*/ 1245749 h 1245749"/>
              <a:gd name="connsiteX7" fmla="*/ 170330 w 1534259"/>
              <a:gd name="connsiteY7" fmla="*/ 1245749 h 1245749"/>
              <a:gd name="connsiteX8" fmla="*/ 8672 w 1534259"/>
              <a:gd name="connsiteY8" fmla="*/ 1084091 h 1245749"/>
              <a:gd name="connsiteX9" fmla="*/ 8672 w 1534259"/>
              <a:gd name="connsiteY9" fmla="*/ 165982 h 1245749"/>
              <a:gd name="connsiteX0" fmla="*/ 8672 w 1534259"/>
              <a:gd name="connsiteY0" fmla="*/ 167890 h 1247657"/>
              <a:gd name="connsiteX1" fmla="*/ 11053 w 1534259"/>
              <a:gd name="connsiteY1" fmla="*/ 14169 h 1247657"/>
              <a:gd name="connsiteX2" fmla="*/ 170330 w 1534259"/>
              <a:gd name="connsiteY2" fmla="*/ 6232 h 1247657"/>
              <a:gd name="connsiteX3" fmla="*/ 1372601 w 1534259"/>
              <a:gd name="connsiteY3" fmla="*/ 6232 h 1247657"/>
              <a:gd name="connsiteX4" fmla="*/ 1534259 w 1534259"/>
              <a:gd name="connsiteY4" fmla="*/ 167890 h 1247657"/>
              <a:gd name="connsiteX5" fmla="*/ 1534259 w 1534259"/>
              <a:gd name="connsiteY5" fmla="*/ 1085999 h 1247657"/>
              <a:gd name="connsiteX6" fmla="*/ 1372601 w 1534259"/>
              <a:gd name="connsiteY6" fmla="*/ 1247657 h 1247657"/>
              <a:gd name="connsiteX7" fmla="*/ 170330 w 1534259"/>
              <a:gd name="connsiteY7" fmla="*/ 1247657 h 1247657"/>
              <a:gd name="connsiteX8" fmla="*/ 8672 w 1534259"/>
              <a:gd name="connsiteY8" fmla="*/ 1085999 h 1247657"/>
              <a:gd name="connsiteX9" fmla="*/ 8672 w 1534259"/>
              <a:gd name="connsiteY9" fmla="*/ 167890 h 1247657"/>
              <a:gd name="connsiteX0" fmla="*/ 8672 w 1534259"/>
              <a:gd name="connsiteY0" fmla="*/ 161658 h 1241425"/>
              <a:gd name="connsiteX1" fmla="*/ 11053 w 1534259"/>
              <a:gd name="connsiteY1" fmla="*/ 7937 h 1241425"/>
              <a:gd name="connsiteX2" fmla="*/ 170330 w 1534259"/>
              <a:gd name="connsiteY2" fmla="*/ 0 h 1241425"/>
              <a:gd name="connsiteX3" fmla="*/ 1372601 w 1534259"/>
              <a:gd name="connsiteY3" fmla="*/ 0 h 1241425"/>
              <a:gd name="connsiteX4" fmla="*/ 1534259 w 1534259"/>
              <a:gd name="connsiteY4" fmla="*/ 161658 h 1241425"/>
              <a:gd name="connsiteX5" fmla="*/ 1534259 w 1534259"/>
              <a:gd name="connsiteY5" fmla="*/ 1079767 h 1241425"/>
              <a:gd name="connsiteX6" fmla="*/ 1372601 w 1534259"/>
              <a:gd name="connsiteY6" fmla="*/ 1241425 h 1241425"/>
              <a:gd name="connsiteX7" fmla="*/ 170330 w 1534259"/>
              <a:gd name="connsiteY7" fmla="*/ 1241425 h 1241425"/>
              <a:gd name="connsiteX8" fmla="*/ 8672 w 1534259"/>
              <a:gd name="connsiteY8" fmla="*/ 1079767 h 1241425"/>
              <a:gd name="connsiteX9" fmla="*/ 8672 w 1534259"/>
              <a:gd name="connsiteY9" fmla="*/ 161658 h 124142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3668 h 1243435"/>
              <a:gd name="connsiteX1" fmla="*/ 10644 w 1535715"/>
              <a:gd name="connsiteY1" fmla="*/ 0 h 1243435"/>
              <a:gd name="connsiteX2" fmla="*/ 171786 w 1535715"/>
              <a:gd name="connsiteY2" fmla="*/ 2010 h 1243435"/>
              <a:gd name="connsiteX3" fmla="*/ 1374057 w 1535715"/>
              <a:gd name="connsiteY3" fmla="*/ 2010 h 1243435"/>
              <a:gd name="connsiteX4" fmla="*/ 1535715 w 1535715"/>
              <a:gd name="connsiteY4" fmla="*/ 163668 h 1243435"/>
              <a:gd name="connsiteX5" fmla="*/ 1535715 w 1535715"/>
              <a:gd name="connsiteY5" fmla="*/ 1081777 h 1243435"/>
              <a:gd name="connsiteX6" fmla="*/ 1374057 w 1535715"/>
              <a:gd name="connsiteY6" fmla="*/ 1243435 h 1243435"/>
              <a:gd name="connsiteX7" fmla="*/ 171786 w 1535715"/>
              <a:gd name="connsiteY7" fmla="*/ 1243435 h 1243435"/>
              <a:gd name="connsiteX8" fmla="*/ 10128 w 1535715"/>
              <a:gd name="connsiteY8" fmla="*/ 1081777 h 1243435"/>
              <a:gd name="connsiteX9" fmla="*/ 10128 w 1535715"/>
              <a:gd name="connsiteY9" fmla="*/ 163668 h 124343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1808 w 1537395"/>
              <a:gd name="connsiteY0" fmla="*/ 161803 h 1241570"/>
              <a:gd name="connsiteX1" fmla="*/ 12324 w 1537395"/>
              <a:gd name="connsiteY1" fmla="*/ 0 h 1241570"/>
              <a:gd name="connsiteX2" fmla="*/ 173466 w 1537395"/>
              <a:gd name="connsiteY2" fmla="*/ 145 h 1241570"/>
              <a:gd name="connsiteX3" fmla="*/ 1375737 w 1537395"/>
              <a:gd name="connsiteY3" fmla="*/ 145 h 1241570"/>
              <a:gd name="connsiteX4" fmla="*/ 1537395 w 1537395"/>
              <a:gd name="connsiteY4" fmla="*/ 161803 h 1241570"/>
              <a:gd name="connsiteX5" fmla="*/ 1537395 w 1537395"/>
              <a:gd name="connsiteY5" fmla="*/ 1079912 h 1241570"/>
              <a:gd name="connsiteX6" fmla="*/ 1375737 w 1537395"/>
              <a:gd name="connsiteY6" fmla="*/ 1241570 h 1241570"/>
              <a:gd name="connsiteX7" fmla="*/ 173466 w 1537395"/>
              <a:gd name="connsiteY7" fmla="*/ 1241570 h 1241570"/>
              <a:gd name="connsiteX8" fmla="*/ 11808 w 1537395"/>
              <a:gd name="connsiteY8" fmla="*/ 1079912 h 1241570"/>
              <a:gd name="connsiteX9" fmla="*/ 11808 w 1537395"/>
              <a:gd name="connsiteY9" fmla="*/ 161803 h 1241570"/>
              <a:gd name="connsiteX0" fmla="*/ 346 w 1525933"/>
              <a:gd name="connsiteY0" fmla="*/ 161803 h 1241570"/>
              <a:gd name="connsiteX1" fmla="*/ 862 w 1525933"/>
              <a:gd name="connsiteY1" fmla="*/ 0 h 1241570"/>
              <a:gd name="connsiteX2" fmla="*/ 162004 w 1525933"/>
              <a:gd name="connsiteY2" fmla="*/ 145 h 1241570"/>
              <a:gd name="connsiteX3" fmla="*/ 1364275 w 1525933"/>
              <a:gd name="connsiteY3" fmla="*/ 145 h 1241570"/>
              <a:gd name="connsiteX4" fmla="*/ 1525933 w 1525933"/>
              <a:gd name="connsiteY4" fmla="*/ 161803 h 1241570"/>
              <a:gd name="connsiteX5" fmla="*/ 1525933 w 1525933"/>
              <a:gd name="connsiteY5" fmla="*/ 1079912 h 1241570"/>
              <a:gd name="connsiteX6" fmla="*/ 1364275 w 1525933"/>
              <a:gd name="connsiteY6" fmla="*/ 1241570 h 1241570"/>
              <a:gd name="connsiteX7" fmla="*/ 162004 w 1525933"/>
              <a:gd name="connsiteY7" fmla="*/ 1241570 h 1241570"/>
              <a:gd name="connsiteX8" fmla="*/ 346 w 1525933"/>
              <a:gd name="connsiteY8" fmla="*/ 1079912 h 1241570"/>
              <a:gd name="connsiteX9" fmla="*/ 346 w 1525933"/>
              <a:gd name="connsiteY9" fmla="*/ 161803 h 1241570"/>
              <a:gd name="connsiteX0" fmla="*/ 872 w 1526459"/>
              <a:gd name="connsiteY0" fmla="*/ 161803 h 1241570"/>
              <a:gd name="connsiteX1" fmla="*/ 1388 w 1526459"/>
              <a:gd name="connsiteY1" fmla="*/ 0 h 1241570"/>
              <a:gd name="connsiteX2" fmla="*/ 162530 w 1526459"/>
              <a:gd name="connsiteY2" fmla="*/ 145 h 1241570"/>
              <a:gd name="connsiteX3" fmla="*/ 1364801 w 1526459"/>
              <a:gd name="connsiteY3" fmla="*/ 145 h 1241570"/>
              <a:gd name="connsiteX4" fmla="*/ 1526459 w 1526459"/>
              <a:gd name="connsiteY4" fmla="*/ 161803 h 1241570"/>
              <a:gd name="connsiteX5" fmla="*/ 1526459 w 1526459"/>
              <a:gd name="connsiteY5" fmla="*/ 1079912 h 1241570"/>
              <a:gd name="connsiteX6" fmla="*/ 1364801 w 1526459"/>
              <a:gd name="connsiteY6" fmla="*/ 1241570 h 1241570"/>
              <a:gd name="connsiteX7" fmla="*/ 162530 w 1526459"/>
              <a:gd name="connsiteY7" fmla="*/ 1241570 h 1241570"/>
              <a:gd name="connsiteX8" fmla="*/ 872 w 1526459"/>
              <a:gd name="connsiteY8" fmla="*/ 1079912 h 1241570"/>
              <a:gd name="connsiteX9" fmla="*/ 872 w 1526459"/>
              <a:gd name="connsiteY9" fmla="*/ 161803 h 1241570"/>
              <a:gd name="connsiteX0" fmla="*/ 470 w 1526057"/>
              <a:gd name="connsiteY0" fmla="*/ 161803 h 1241570"/>
              <a:gd name="connsiteX1" fmla="*/ 986 w 1526057"/>
              <a:gd name="connsiteY1" fmla="*/ 0 h 1241570"/>
              <a:gd name="connsiteX2" fmla="*/ 162128 w 1526057"/>
              <a:gd name="connsiteY2" fmla="*/ 145 h 1241570"/>
              <a:gd name="connsiteX3" fmla="*/ 1364399 w 1526057"/>
              <a:gd name="connsiteY3" fmla="*/ 145 h 1241570"/>
              <a:gd name="connsiteX4" fmla="*/ 1526057 w 1526057"/>
              <a:gd name="connsiteY4" fmla="*/ 161803 h 1241570"/>
              <a:gd name="connsiteX5" fmla="*/ 1526057 w 1526057"/>
              <a:gd name="connsiteY5" fmla="*/ 1079912 h 1241570"/>
              <a:gd name="connsiteX6" fmla="*/ 1364399 w 1526057"/>
              <a:gd name="connsiteY6" fmla="*/ 1241570 h 1241570"/>
              <a:gd name="connsiteX7" fmla="*/ 162128 w 1526057"/>
              <a:gd name="connsiteY7" fmla="*/ 1241570 h 1241570"/>
              <a:gd name="connsiteX8" fmla="*/ 470 w 1526057"/>
              <a:gd name="connsiteY8" fmla="*/ 1079912 h 1241570"/>
              <a:gd name="connsiteX9" fmla="*/ 470 w 1526057"/>
              <a:gd name="connsiteY9" fmla="*/ 161803 h 1241570"/>
              <a:gd name="connsiteX0" fmla="*/ 649 w 1526236"/>
              <a:gd name="connsiteY0" fmla="*/ 161803 h 1241570"/>
              <a:gd name="connsiteX1" fmla="*/ 1165 w 1526236"/>
              <a:gd name="connsiteY1" fmla="*/ 0 h 1241570"/>
              <a:gd name="connsiteX2" fmla="*/ 162307 w 1526236"/>
              <a:gd name="connsiteY2" fmla="*/ 145 h 1241570"/>
              <a:gd name="connsiteX3" fmla="*/ 1364578 w 1526236"/>
              <a:gd name="connsiteY3" fmla="*/ 145 h 1241570"/>
              <a:gd name="connsiteX4" fmla="*/ 1526236 w 1526236"/>
              <a:gd name="connsiteY4" fmla="*/ 161803 h 1241570"/>
              <a:gd name="connsiteX5" fmla="*/ 1526236 w 1526236"/>
              <a:gd name="connsiteY5" fmla="*/ 1079912 h 1241570"/>
              <a:gd name="connsiteX6" fmla="*/ 1364578 w 1526236"/>
              <a:gd name="connsiteY6" fmla="*/ 1241570 h 1241570"/>
              <a:gd name="connsiteX7" fmla="*/ 162307 w 1526236"/>
              <a:gd name="connsiteY7" fmla="*/ 1241570 h 1241570"/>
              <a:gd name="connsiteX8" fmla="*/ 649 w 1526236"/>
              <a:gd name="connsiteY8" fmla="*/ 1079912 h 1241570"/>
              <a:gd name="connsiteX9" fmla="*/ 649 w 1526236"/>
              <a:gd name="connsiteY9" fmla="*/ 161803 h 1241570"/>
              <a:gd name="connsiteX0" fmla="*/ 268 w 1525855"/>
              <a:gd name="connsiteY0" fmla="*/ 161803 h 1241570"/>
              <a:gd name="connsiteX1" fmla="*/ 784 w 1525855"/>
              <a:gd name="connsiteY1" fmla="*/ 0 h 1241570"/>
              <a:gd name="connsiteX2" fmla="*/ 161926 w 1525855"/>
              <a:gd name="connsiteY2" fmla="*/ 145 h 1241570"/>
              <a:gd name="connsiteX3" fmla="*/ 1364197 w 1525855"/>
              <a:gd name="connsiteY3" fmla="*/ 145 h 1241570"/>
              <a:gd name="connsiteX4" fmla="*/ 1525855 w 1525855"/>
              <a:gd name="connsiteY4" fmla="*/ 161803 h 1241570"/>
              <a:gd name="connsiteX5" fmla="*/ 1525855 w 1525855"/>
              <a:gd name="connsiteY5" fmla="*/ 1079912 h 1241570"/>
              <a:gd name="connsiteX6" fmla="*/ 1364197 w 1525855"/>
              <a:gd name="connsiteY6" fmla="*/ 1241570 h 1241570"/>
              <a:gd name="connsiteX7" fmla="*/ 161926 w 1525855"/>
              <a:gd name="connsiteY7" fmla="*/ 1241570 h 1241570"/>
              <a:gd name="connsiteX8" fmla="*/ 268 w 1525855"/>
              <a:gd name="connsiteY8" fmla="*/ 1079912 h 1241570"/>
              <a:gd name="connsiteX9" fmla="*/ 268 w 1525855"/>
              <a:gd name="connsiteY9" fmla="*/ 161803 h 1241570"/>
              <a:gd name="connsiteX0" fmla="*/ 359 w 1525946"/>
              <a:gd name="connsiteY0" fmla="*/ 161803 h 1241570"/>
              <a:gd name="connsiteX1" fmla="*/ 253 w 1525946"/>
              <a:gd name="connsiteY1" fmla="*/ 0 h 1241570"/>
              <a:gd name="connsiteX2" fmla="*/ 162017 w 1525946"/>
              <a:gd name="connsiteY2" fmla="*/ 145 h 1241570"/>
              <a:gd name="connsiteX3" fmla="*/ 1364288 w 1525946"/>
              <a:gd name="connsiteY3" fmla="*/ 145 h 1241570"/>
              <a:gd name="connsiteX4" fmla="*/ 1525946 w 1525946"/>
              <a:gd name="connsiteY4" fmla="*/ 161803 h 1241570"/>
              <a:gd name="connsiteX5" fmla="*/ 1525946 w 1525946"/>
              <a:gd name="connsiteY5" fmla="*/ 1079912 h 1241570"/>
              <a:gd name="connsiteX6" fmla="*/ 1364288 w 1525946"/>
              <a:gd name="connsiteY6" fmla="*/ 1241570 h 1241570"/>
              <a:gd name="connsiteX7" fmla="*/ 162017 w 1525946"/>
              <a:gd name="connsiteY7" fmla="*/ 1241570 h 1241570"/>
              <a:gd name="connsiteX8" fmla="*/ 359 w 1525946"/>
              <a:gd name="connsiteY8" fmla="*/ 1079912 h 1241570"/>
              <a:gd name="connsiteX9" fmla="*/ 359 w 1525946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364035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25693" h="1241570">
                <a:moveTo>
                  <a:pt x="106" y="161803"/>
                </a:moveTo>
                <a:cubicBezTo>
                  <a:pt x="-210" y="159620"/>
                  <a:pt x="409" y="7672"/>
                  <a:pt x="0" y="0"/>
                </a:cubicBezTo>
                <a:cubicBezTo>
                  <a:pt x="6219" y="388"/>
                  <a:pt x="110655" y="450"/>
                  <a:pt x="161764" y="145"/>
                </a:cubicBezTo>
                <a:lnTo>
                  <a:pt x="1364035" y="145"/>
                </a:lnTo>
                <a:cubicBezTo>
                  <a:pt x="1453316" y="145"/>
                  <a:pt x="1525693" y="72522"/>
                  <a:pt x="1525693" y="161803"/>
                </a:cubicBezTo>
                <a:lnTo>
                  <a:pt x="1525693" y="1079912"/>
                </a:lnTo>
                <a:cubicBezTo>
                  <a:pt x="1525693" y="1169193"/>
                  <a:pt x="1453316" y="1241570"/>
                  <a:pt x="1364035" y="1241570"/>
                </a:cubicBezTo>
                <a:lnTo>
                  <a:pt x="161764" y="1241570"/>
                </a:lnTo>
                <a:cubicBezTo>
                  <a:pt x="72483" y="1241570"/>
                  <a:pt x="106" y="1169193"/>
                  <a:pt x="106" y="1079912"/>
                </a:cubicBezTo>
                <a:lnTo>
                  <a:pt x="106" y="1618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144000" anchor="b"/>
          <a:lstStyle>
            <a:lvl1pPr marL="0" indent="0" algn="ctr">
              <a:buNone/>
              <a:defRPr sz="2806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nl-NL" noProof="0"/>
          </a:p>
        </p:txBody>
      </p:sp>
      <p:sp>
        <p:nvSpPr>
          <p:cNvPr id="33" name="Tijdelijke aanduiding voor afbeelding 6">
            <a:extLst>
              <a:ext uri="{FF2B5EF4-FFF2-40B4-BE49-F238E27FC236}">
                <a16:creationId xmlns:a16="http://schemas.microsoft.com/office/drawing/2014/main" id="{E282FF1F-8DC9-4A36-8B0E-4868FD1C3CCE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1696814" y="16623326"/>
            <a:ext cx="5345254" cy="3931509"/>
          </a:xfrm>
          <a:custGeom>
            <a:avLst/>
            <a:gdLst>
              <a:gd name="connsiteX0" fmla="*/ 0 w 1525587"/>
              <a:gd name="connsiteY0" fmla="*/ 161658 h 1241425"/>
              <a:gd name="connsiteX1" fmla="*/ 161658 w 1525587"/>
              <a:gd name="connsiteY1" fmla="*/ 0 h 1241425"/>
              <a:gd name="connsiteX2" fmla="*/ 1363929 w 1525587"/>
              <a:gd name="connsiteY2" fmla="*/ 0 h 1241425"/>
              <a:gd name="connsiteX3" fmla="*/ 1525587 w 1525587"/>
              <a:gd name="connsiteY3" fmla="*/ 161658 h 1241425"/>
              <a:gd name="connsiteX4" fmla="*/ 1525587 w 1525587"/>
              <a:gd name="connsiteY4" fmla="*/ 1079767 h 1241425"/>
              <a:gd name="connsiteX5" fmla="*/ 1363929 w 1525587"/>
              <a:gd name="connsiteY5" fmla="*/ 1241425 h 1241425"/>
              <a:gd name="connsiteX6" fmla="*/ 161658 w 1525587"/>
              <a:gd name="connsiteY6" fmla="*/ 1241425 h 1241425"/>
              <a:gd name="connsiteX7" fmla="*/ 0 w 1525587"/>
              <a:gd name="connsiteY7" fmla="*/ 1079767 h 1241425"/>
              <a:gd name="connsiteX8" fmla="*/ 0 w 1525587"/>
              <a:gd name="connsiteY8" fmla="*/ 161658 h 1241425"/>
              <a:gd name="connsiteX0" fmla="*/ 0 w 1525587"/>
              <a:gd name="connsiteY0" fmla="*/ 161658 h 1241425"/>
              <a:gd name="connsiteX1" fmla="*/ 42862 w 1525587"/>
              <a:gd name="connsiteY1" fmla="*/ 48418 h 1241425"/>
              <a:gd name="connsiteX2" fmla="*/ 161658 w 1525587"/>
              <a:gd name="connsiteY2" fmla="*/ 0 h 1241425"/>
              <a:gd name="connsiteX3" fmla="*/ 1363929 w 1525587"/>
              <a:gd name="connsiteY3" fmla="*/ 0 h 1241425"/>
              <a:gd name="connsiteX4" fmla="*/ 1525587 w 1525587"/>
              <a:gd name="connsiteY4" fmla="*/ 161658 h 1241425"/>
              <a:gd name="connsiteX5" fmla="*/ 1525587 w 1525587"/>
              <a:gd name="connsiteY5" fmla="*/ 1079767 h 1241425"/>
              <a:gd name="connsiteX6" fmla="*/ 1363929 w 1525587"/>
              <a:gd name="connsiteY6" fmla="*/ 1241425 h 1241425"/>
              <a:gd name="connsiteX7" fmla="*/ 161658 w 1525587"/>
              <a:gd name="connsiteY7" fmla="*/ 1241425 h 1241425"/>
              <a:gd name="connsiteX8" fmla="*/ 0 w 1525587"/>
              <a:gd name="connsiteY8" fmla="*/ 1079767 h 1241425"/>
              <a:gd name="connsiteX9" fmla="*/ 0 w 1525587"/>
              <a:gd name="connsiteY9" fmla="*/ 161658 h 1241425"/>
              <a:gd name="connsiteX0" fmla="*/ 8672 w 1534259"/>
              <a:gd name="connsiteY0" fmla="*/ 165982 h 1245749"/>
              <a:gd name="connsiteX1" fmla="*/ 11053 w 1534259"/>
              <a:gd name="connsiteY1" fmla="*/ 12261 h 1245749"/>
              <a:gd name="connsiteX2" fmla="*/ 170330 w 1534259"/>
              <a:gd name="connsiteY2" fmla="*/ 4324 h 1245749"/>
              <a:gd name="connsiteX3" fmla="*/ 1372601 w 1534259"/>
              <a:gd name="connsiteY3" fmla="*/ 4324 h 1245749"/>
              <a:gd name="connsiteX4" fmla="*/ 1534259 w 1534259"/>
              <a:gd name="connsiteY4" fmla="*/ 165982 h 1245749"/>
              <a:gd name="connsiteX5" fmla="*/ 1534259 w 1534259"/>
              <a:gd name="connsiteY5" fmla="*/ 1084091 h 1245749"/>
              <a:gd name="connsiteX6" fmla="*/ 1372601 w 1534259"/>
              <a:gd name="connsiteY6" fmla="*/ 1245749 h 1245749"/>
              <a:gd name="connsiteX7" fmla="*/ 170330 w 1534259"/>
              <a:gd name="connsiteY7" fmla="*/ 1245749 h 1245749"/>
              <a:gd name="connsiteX8" fmla="*/ 8672 w 1534259"/>
              <a:gd name="connsiteY8" fmla="*/ 1084091 h 1245749"/>
              <a:gd name="connsiteX9" fmla="*/ 8672 w 1534259"/>
              <a:gd name="connsiteY9" fmla="*/ 165982 h 1245749"/>
              <a:gd name="connsiteX0" fmla="*/ 8672 w 1534259"/>
              <a:gd name="connsiteY0" fmla="*/ 167890 h 1247657"/>
              <a:gd name="connsiteX1" fmla="*/ 11053 w 1534259"/>
              <a:gd name="connsiteY1" fmla="*/ 14169 h 1247657"/>
              <a:gd name="connsiteX2" fmla="*/ 170330 w 1534259"/>
              <a:gd name="connsiteY2" fmla="*/ 6232 h 1247657"/>
              <a:gd name="connsiteX3" fmla="*/ 1372601 w 1534259"/>
              <a:gd name="connsiteY3" fmla="*/ 6232 h 1247657"/>
              <a:gd name="connsiteX4" fmla="*/ 1534259 w 1534259"/>
              <a:gd name="connsiteY4" fmla="*/ 167890 h 1247657"/>
              <a:gd name="connsiteX5" fmla="*/ 1534259 w 1534259"/>
              <a:gd name="connsiteY5" fmla="*/ 1085999 h 1247657"/>
              <a:gd name="connsiteX6" fmla="*/ 1372601 w 1534259"/>
              <a:gd name="connsiteY6" fmla="*/ 1247657 h 1247657"/>
              <a:gd name="connsiteX7" fmla="*/ 170330 w 1534259"/>
              <a:gd name="connsiteY7" fmla="*/ 1247657 h 1247657"/>
              <a:gd name="connsiteX8" fmla="*/ 8672 w 1534259"/>
              <a:gd name="connsiteY8" fmla="*/ 1085999 h 1247657"/>
              <a:gd name="connsiteX9" fmla="*/ 8672 w 1534259"/>
              <a:gd name="connsiteY9" fmla="*/ 167890 h 1247657"/>
              <a:gd name="connsiteX0" fmla="*/ 8672 w 1534259"/>
              <a:gd name="connsiteY0" fmla="*/ 161658 h 1241425"/>
              <a:gd name="connsiteX1" fmla="*/ 11053 w 1534259"/>
              <a:gd name="connsiteY1" fmla="*/ 7937 h 1241425"/>
              <a:gd name="connsiteX2" fmla="*/ 170330 w 1534259"/>
              <a:gd name="connsiteY2" fmla="*/ 0 h 1241425"/>
              <a:gd name="connsiteX3" fmla="*/ 1372601 w 1534259"/>
              <a:gd name="connsiteY3" fmla="*/ 0 h 1241425"/>
              <a:gd name="connsiteX4" fmla="*/ 1534259 w 1534259"/>
              <a:gd name="connsiteY4" fmla="*/ 161658 h 1241425"/>
              <a:gd name="connsiteX5" fmla="*/ 1534259 w 1534259"/>
              <a:gd name="connsiteY5" fmla="*/ 1079767 h 1241425"/>
              <a:gd name="connsiteX6" fmla="*/ 1372601 w 1534259"/>
              <a:gd name="connsiteY6" fmla="*/ 1241425 h 1241425"/>
              <a:gd name="connsiteX7" fmla="*/ 170330 w 1534259"/>
              <a:gd name="connsiteY7" fmla="*/ 1241425 h 1241425"/>
              <a:gd name="connsiteX8" fmla="*/ 8672 w 1534259"/>
              <a:gd name="connsiteY8" fmla="*/ 1079767 h 1241425"/>
              <a:gd name="connsiteX9" fmla="*/ 8672 w 1534259"/>
              <a:gd name="connsiteY9" fmla="*/ 161658 h 124142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3668 h 1243435"/>
              <a:gd name="connsiteX1" fmla="*/ 10644 w 1535715"/>
              <a:gd name="connsiteY1" fmla="*/ 0 h 1243435"/>
              <a:gd name="connsiteX2" fmla="*/ 171786 w 1535715"/>
              <a:gd name="connsiteY2" fmla="*/ 2010 h 1243435"/>
              <a:gd name="connsiteX3" fmla="*/ 1374057 w 1535715"/>
              <a:gd name="connsiteY3" fmla="*/ 2010 h 1243435"/>
              <a:gd name="connsiteX4" fmla="*/ 1535715 w 1535715"/>
              <a:gd name="connsiteY4" fmla="*/ 163668 h 1243435"/>
              <a:gd name="connsiteX5" fmla="*/ 1535715 w 1535715"/>
              <a:gd name="connsiteY5" fmla="*/ 1081777 h 1243435"/>
              <a:gd name="connsiteX6" fmla="*/ 1374057 w 1535715"/>
              <a:gd name="connsiteY6" fmla="*/ 1243435 h 1243435"/>
              <a:gd name="connsiteX7" fmla="*/ 171786 w 1535715"/>
              <a:gd name="connsiteY7" fmla="*/ 1243435 h 1243435"/>
              <a:gd name="connsiteX8" fmla="*/ 10128 w 1535715"/>
              <a:gd name="connsiteY8" fmla="*/ 1081777 h 1243435"/>
              <a:gd name="connsiteX9" fmla="*/ 10128 w 1535715"/>
              <a:gd name="connsiteY9" fmla="*/ 163668 h 124343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1808 w 1537395"/>
              <a:gd name="connsiteY0" fmla="*/ 161803 h 1241570"/>
              <a:gd name="connsiteX1" fmla="*/ 12324 w 1537395"/>
              <a:gd name="connsiteY1" fmla="*/ 0 h 1241570"/>
              <a:gd name="connsiteX2" fmla="*/ 173466 w 1537395"/>
              <a:gd name="connsiteY2" fmla="*/ 145 h 1241570"/>
              <a:gd name="connsiteX3" fmla="*/ 1375737 w 1537395"/>
              <a:gd name="connsiteY3" fmla="*/ 145 h 1241570"/>
              <a:gd name="connsiteX4" fmla="*/ 1537395 w 1537395"/>
              <a:gd name="connsiteY4" fmla="*/ 161803 h 1241570"/>
              <a:gd name="connsiteX5" fmla="*/ 1537395 w 1537395"/>
              <a:gd name="connsiteY5" fmla="*/ 1079912 h 1241570"/>
              <a:gd name="connsiteX6" fmla="*/ 1375737 w 1537395"/>
              <a:gd name="connsiteY6" fmla="*/ 1241570 h 1241570"/>
              <a:gd name="connsiteX7" fmla="*/ 173466 w 1537395"/>
              <a:gd name="connsiteY7" fmla="*/ 1241570 h 1241570"/>
              <a:gd name="connsiteX8" fmla="*/ 11808 w 1537395"/>
              <a:gd name="connsiteY8" fmla="*/ 1079912 h 1241570"/>
              <a:gd name="connsiteX9" fmla="*/ 11808 w 1537395"/>
              <a:gd name="connsiteY9" fmla="*/ 161803 h 1241570"/>
              <a:gd name="connsiteX0" fmla="*/ 346 w 1525933"/>
              <a:gd name="connsiteY0" fmla="*/ 161803 h 1241570"/>
              <a:gd name="connsiteX1" fmla="*/ 862 w 1525933"/>
              <a:gd name="connsiteY1" fmla="*/ 0 h 1241570"/>
              <a:gd name="connsiteX2" fmla="*/ 162004 w 1525933"/>
              <a:gd name="connsiteY2" fmla="*/ 145 h 1241570"/>
              <a:gd name="connsiteX3" fmla="*/ 1364275 w 1525933"/>
              <a:gd name="connsiteY3" fmla="*/ 145 h 1241570"/>
              <a:gd name="connsiteX4" fmla="*/ 1525933 w 1525933"/>
              <a:gd name="connsiteY4" fmla="*/ 161803 h 1241570"/>
              <a:gd name="connsiteX5" fmla="*/ 1525933 w 1525933"/>
              <a:gd name="connsiteY5" fmla="*/ 1079912 h 1241570"/>
              <a:gd name="connsiteX6" fmla="*/ 1364275 w 1525933"/>
              <a:gd name="connsiteY6" fmla="*/ 1241570 h 1241570"/>
              <a:gd name="connsiteX7" fmla="*/ 162004 w 1525933"/>
              <a:gd name="connsiteY7" fmla="*/ 1241570 h 1241570"/>
              <a:gd name="connsiteX8" fmla="*/ 346 w 1525933"/>
              <a:gd name="connsiteY8" fmla="*/ 1079912 h 1241570"/>
              <a:gd name="connsiteX9" fmla="*/ 346 w 1525933"/>
              <a:gd name="connsiteY9" fmla="*/ 161803 h 1241570"/>
              <a:gd name="connsiteX0" fmla="*/ 872 w 1526459"/>
              <a:gd name="connsiteY0" fmla="*/ 161803 h 1241570"/>
              <a:gd name="connsiteX1" fmla="*/ 1388 w 1526459"/>
              <a:gd name="connsiteY1" fmla="*/ 0 h 1241570"/>
              <a:gd name="connsiteX2" fmla="*/ 162530 w 1526459"/>
              <a:gd name="connsiteY2" fmla="*/ 145 h 1241570"/>
              <a:gd name="connsiteX3" fmla="*/ 1364801 w 1526459"/>
              <a:gd name="connsiteY3" fmla="*/ 145 h 1241570"/>
              <a:gd name="connsiteX4" fmla="*/ 1526459 w 1526459"/>
              <a:gd name="connsiteY4" fmla="*/ 161803 h 1241570"/>
              <a:gd name="connsiteX5" fmla="*/ 1526459 w 1526459"/>
              <a:gd name="connsiteY5" fmla="*/ 1079912 h 1241570"/>
              <a:gd name="connsiteX6" fmla="*/ 1364801 w 1526459"/>
              <a:gd name="connsiteY6" fmla="*/ 1241570 h 1241570"/>
              <a:gd name="connsiteX7" fmla="*/ 162530 w 1526459"/>
              <a:gd name="connsiteY7" fmla="*/ 1241570 h 1241570"/>
              <a:gd name="connsiteX8" fmla="*/ 872 w 1526459"/>
              <a:gd name="connsiteY8" fmla="*/ 1079912 h 1241570"/>
              <a:gd name="connsiteX9" fmla="*/ 872 w 1526459"/>
              <a:gd name="connsiteY9" fmla="*/ 161803 h 1241570"/>
              <a:gd name="connsiteX0" fmla="*/ 470 w 1526057"/>
              <a:gd name="connsiteY0" fmla="*/ 161803 h 1241570"/>
              <a:gd name="connsiteX1" fmla="*/ 986 w 1526057"/>
              <a:gd name="connsiteY1" fmla="*/ 0 h 1241570"/>
              <a:gd name="connsiteX2" fmla="*/ 162128 w 1526057"/>
              <a:gd name="connsiteY2" fmla="*/ 145 h 1241570"/>
              <a:gd name="connsiteX3" fmla="*/ 1364399 w 1526057"/>
              <a:gd name="connsiteY3" fmla="*/ 145 h 1241570"/>
              <a:gd name="connsiteX4" fmla="*/ 1526057 w 1526057"/>
              <a:gd name="connsiteY4" fmla="*/ 161803 h 1241570"/>
              <a:gd name="connsiteX5" fmla="*/ 1526057 w 1526057"/>
              <a:gd name="connsiteY5" fmla="*/ 1079912 h 1241570"/>
              <a:gd name="connsiteX6" fmla="*/ 1364399 w 1526057"/>
              <a:gd name="connsiteY6" fmla="*/ 1241570 h 1241570"/>
              <a:gd name="connsiteX7" fmla="*/ 162128 w 1526057"/>
              <a:gd name="connsiteY7" fmla="*/ 1241570 h 1241570"/>
              <a:gd name="connsiteX8" fmla="*/ 470 w 1526057"/>
              <a:gd name="connsiteY8" fmla="*/ 1079912 h 1241570"/>
              <a:gd name="connsiteX9" fmla="*/ 470 w 1526057"/>
              <a:gd name="connsiteY9" fmla="*/ 161803 h 1241570"/>
              <a:gd name="connsiteX0" fmla="*/ 649 w 1526236"/>
              <a:gd name="connsiteY0" fmla="*/ 161803 h 1241570"/>
              <a:gd name="connsiteX1" fmla="*/ 1165 w 1526236"/>
              <a:gd name="connsiteY1" fmla="*/ 0 h 1241570"/>
              <a:gd name="connsiteX2" fmla="*/ 162307 w 1526236"/>
              <a:gd name="connsiteY2" fmla="*/ 145 h 1241570"/>
              <a:gd name="connsiteX3" fmla="*/ 1364578 w 1526236"/>
              <a:gd name="connsiteY3" fmla="*/ 145 h 1241570"/>
              <a:gd name="connsiteX4" fmla="*/ 1526236 w 1526236"/>
              <a:gd name="connsiteY4" fmla="*/ 161803 h 1241570"/>
              <a:gd name="connsiteX5" fmla="*/ 1526236 w 1526236"/>
              <a:gd name="connsiteY5" fmla="*/ 1079912 h 1241570"/>
              <a:gd name="connsiteX6" fmla="*/ 1364578 w 1526236"/>
              <a:gd name="connsiteY6" fmla="*/ 1241570 h 1241570"/>
              <a:gd name="connsiteX7" fmla="*/ 162307 w 1526236"/>
              <a:gd name="connsiteY7" fmla="*/ 1241570 h 1241570"/>
              <a:gd name="connsiteX8" fmla="*/ 649 w 1526236"/>
              <a:gd name="connsiteY8" fmla="*/ 1079912 h 1241570"/>
              <a:gd name="connsiteX9" fmla="*/ 649 w 1526236"/>
              <a:gd name="connsiteY9" fmla="*/ 161803 h 1241570"/>
              <a:gd name="connsiteX0" fmla="*/ 268 w 1525855"/>
              <a:gd name="connsiteY0" fmla="*/ 161803 h 1241570"/>
              <a:gd name="connsiteX1" fmla="*/ 784 w 1525855"/>
              <a:gd name="connsiteY1" fmla="*/ 0 h 1241570"/>
              <a:gd name="connsiteX2" fmla="*/ 161926 w 1525855"/>
              <a:gd name="connsiteY2" fmla="*/ 145 h 1241570"/>
              <a:gd name="connsiteX3" fmla="*/ 1364197 w 1525855"/>
              <a:gd name="connsiteY3" fmla="*/ 145 h 1241570"/>
              <a:gd name="connsiteX4" fmla="*/ 1525855 w 1525855"/>
              <a:gd name="connsiteY4" fmla="*/ 161803 h 1241570"/>
              <a:gd name="connsiteX5" fmla="*/ 1525855 w 1525855"/>
              <a:gd name="connsiteY5" fmla="*/ 1079912 h 1241570"/>
              <a:gd name="connsiteX6" fmla="*/ 1364197 w 1525855"/>
              <a:gd name="connsiteY6" fmla="*/ 1241570 h 1241570"/>
              <a:gd name="connsiteX7" fmla="*/ 161926 w 1525855"/>
              <a:gd name="connsiteY7" fmla="*/ 1241570 h 1241570"/>
              <a:gd name="connsiteX8" fmla="*/ 268 w 1525855"/>
              <a:gd name="connsiteY8" fmla="*/ 1079912 h 1241570"/>
              <a:gd name="connsiteX9" fmla="*/ 268 w 1525855"/>
              <a:gd name="connsiteY9" fmla="*/ 161803 h 1241570"/>
              <a:gd name="connsiteX0" fmla="*/ 359 w 1525946"/>
              <a:gd name="connsiteY0" fmla="*/ 161803 h 1241570"/>
              <a:gd name="connsiteX1" fmla="*/ 253 w 1525946"/>
              <a:gd name="connsiteY1" fmla="*/ 0 h 1241570"/>
              <a:gd name="connsiteX2" fmla="*/ 162017 w 1525946"/>
              <a:gd name="connsiteY2" fmla="*/ 145 h 1241570"/>
              <a:gd name="connsiteX3" fmla="*/ 1364288 w 1525946"/>
              <a:gd name="connsiteY3" fmla="*/ 145 h 1241570"/>
              <a:gd name="connsiteX4" fmla="*/ 1525946 w 1525946"/>
              <a:gd name="connsiteY4" fmla="*/ 161803 h 1241570"/>
              <a:gd name="connsiteX5" fmla="*/ 1525946 w 1525946"/>
              <a:gd name="connsiteY5" fmla="*/ 1079912 h 1241570"/>
              <a:gd name="connsiteX6" fmla="*/ 1364288 w 1525946"/>
              <a:gd name="connsiteY6" fmla="*/ 1241570 h 1241570"/>
              <a:gd name="connsiteX7" fmla="*/ 162017 w 1525946"/>
              <a:gd name="connsiteY7" fmla="*/ 1241570 h 1241570"/>
              <a:gd name="connsiteX8" fmla="*/ 359 w 1525946"/>
              <a:gd name="connsiteY8" fmla="*/ 1079912 h 1241570"/>
              <a:gd name="connsiteX9" fmla="*/ 359 w 1525946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364035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25693" h="1241570">
                <a:moveTo>
                  <a:pt x="106" y="161803"/>
                </a:moveTo>
                <a:cubicBezTo>
                  <a:pt x="-210" y="159620"/>
                  <a:pt x="409" y="7672"/>
                  <a:pt x="0" y="0"/>
                </a:cubicBezTo>
                <a:cubicBezTo>
                  <a:pt x="6219" y="388"/>
                  <a:pt x="110655" y="450"/>
                  <a:pt x="161764" y="145"/>
                </a:cubicBezTo>
                <a:lnTo>
                  <a:pt x="1364035" y="145"/>
                </a:lnTo>
                <a:cubicBezTo>
                  <a:pt x="1453316" y="145"/>
                  <a:pt x="1525693" y="72522"/>
                  <a:pt x="1525693" y="161803"/>
                </a:cubicBezTo>
                <a:lnTo>
                  <a:pt x="1525693" y="1079912"/>
                </a:lnTo>
                <a:cubicBezTo>
                  <a:pt x="1525693" y="1169193"/>
                  <a:pt x="1453316" y="1241570"/>
                  <a:pt x="1364035" y="1241570"/>
                </a:cubicBezTo>
                <a:lnTo>
                  <a:pt x="161764" y="1241570"/>
                </a:lnTo>
                <a:cubicBezTo>
                  <a:pt x="72483" y="1241570"/>
                  <a:pt x="106" y="1169193"/>
                  <a:pt x="106" y="1079912"/>
                </a:cubicBezTo>
                <a:lnTo>
                  <a:pt x="106" y="1618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144000" anchor="b"/>
          <a:lstStyle>
            <a:lvl1pPr marL="0" indent="0" algn="ctr">
              <a:buNone/>
              <a:defRPr sz="2806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nl-NL" noProof="0"/>
          </a:p>
        </p:txBody>
      </p:sp>
      <p:sp>
        <p:nvSpPr>
          <p:cNvPr id="158" name="Tijdelijke aanduiding voor afbeelding 6">
            <a:extLst>
              <a:ext uri="{FF2B5EF4-FFF2-40B4-BE49-F238E27FC236}">
                <a16:creationId xmlns:a16="http://schemas.microsoft.com/office/drawing/2014/main" id="{3BAEA7E3-4B93-482B-8197-4D73CC7255A6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1696814" y="21779706"/>
            <a:ext cx="5345254" cy="3931509"/>
          </a:xfrm>
          <a:custGeom>
            <a:avLst/>
            <a:gdLst>
              <a:gd name="connsiteX0" fmla="*/ 0 w 1525587"/>
              <a:gd name="connsiteY0" fmla="*/ 161658 h 1241425"/>
              <a:gd name="connsiteX1" fmla="*/ 161658 w 1525587"/>
              <a:gd name="connsiteY1" fmla="*/ 0 h 1241425"/>
              <a:gd name="connsiteX2" fmla="*/ 1363929 w 1525587"/>
              <a:gd name="connsiteY2" fmla="*/ 0 h 1241425"/>
              <a:gd name="connsiteX3" fmla="*/ 1525587 w 1525587"/>
              <a:gd name="connsiteY3" fmla="*/ 161658 h 1241425"/>
              <a:gd name="connsiteX4" fmla="*/ 1525587 w 1525587"/>
              <a:gd name="connsiteY4" fmla="*/ 1079767 h 1241425"/>
              <a:gd name="connsiteX5" fmla="*/ 1363929 w 1525587"/>
              <a:gd name="connsiteY5" fmla="*/ 1241425 h 1241425"/>
              <a:gd name="connsiteX6" fmla="*/ 161658 w 1525587"/>
              <a:gd name="connsiteY6" fmla="*/ 1241425 h 1241425"/>
              <a:gd name="connsiteX7" fmla="*/ 0 w 1525587"/>
              <a:gd name="connsiteY7" fmla="*/ 1079767 h 1241425"/>
              <a:gd name="connsiteX8" fmla="*/ 0 w 1525587"/>
              <a:gd name="connsiteY8" fmla="*/ 161658 h 1241425"/>
              <a:gd name="connsiteX0" fmla="*/ 0 w 1525587"/>
              <a:gd name="connsiteY0" fmla="*/ 161658 h 1241425"/>
              <a:gd name="connsiteX1" fmla="*/ 42862 w 1525587"/>
              <a:gd name="connsiteY1" fmla="*/ 48418 h 1241425"/>
              <a:gd name="connsiteX2" fmla="*/ 161658 w 1525587"/>
              <a:gd name="connsiteY2" fmla="*/ 0 h 1241425"/>
              <a:gd name="connsiteX3" fmla="*/ 1363929 w 1525587"/>
              <a:gd name="connsiteY3" fmla="*/ 0 h 1241425"/>
              <a:gd name="connsiteX4" fmla="*/ 1525587 w 1525587"/>
              <a:gd name="connsiteY4" fmla="*/ 161658 h 1241425"/>
              <a:gd name="connsiteX5" fmla="*/ 1525587 w 1525587"/>
              <a:gd name="connsiteY5" fmla="*/ 1079767 h 1241425"/>
              <a:gd name="connsiteX6" fmla="*/ 1363929 w 1525587"/>
              <a:gd name="connsiteY6" fmla="*/ 1241425 h 1241425"/>
              <a:gd name="connsiteX7" fmla="*/ 161658 w 1525587"/>
              <a:gd name="connsiteY7" fmla="*/ 1241425 h 1241425"/>
              <a:gd name="connsiteX8" fmla="*/ 0 w 1525587"/>
              <a:gd name="connsiteY8" fmla="*/ 1079767 h 1241425"/>
              <a:gd name="connsiteX9" fmla="*/ 0 w 1525587"/>
              <a:gd name="connsiteY9" fmla="*/ 161658 h 1241425"/>
              <a:gd name="connsiteX0" fmla="*/ 8672 w 1534259"/>
              <a:gd name="connsiteY0" fmla="*/ 165982 h 1245749"/>
              <a:gd name="connsiteX1" fmla="*/ 11053 w 1534259"/>
              <a:gd name="connsiteY1" fmla="*/ 12261 h 1245749"/>
              <a:gd name="connsiteX2" fmla="*/ 170330 w 1534259"/>
              <a:gd name="connsiteY2" fmla="*/ 4324 h 1245749"/>
              <a:gd name="connsiteX3" fmla="*/ 1372601 w 1534259"/>
              <a:gd name="connsiteY3" fmla="*/ 4324 h 1245749"/>
              <a:gd name="connsiteX4" fmla="*/ 1534259 w 1534259"/>
              <a:gd name="connsiteY4" fmla="*/ 165982 h 1245749"/>
              <a:gd name="connsiteX5" fmla="*/ 1534259 w 1534259"/>
              <a:gd name="connsiteY5" fmla="*/ 1084091 h 1245749"/>
              <a:gd name="connsiteX6" fmla="*/ 1372601 w 1534259"/>
              <a:gd name="connsiteY6" fmla="*/ 1245749 h 1245749"/>
              <a:gd name="connsiteX7" fmla="*/ 170330 w 1534259"/>
              <a:gd name="connsiteY7" fmla="*/ 1245749 h 1245749"/>
              <a:gd name="connsiteX8" fmla="*/ 8672 w 1534259"/>
              <a:gd name="connsiteY8" fmla="*/ 1084091 h 1245749"/>
              <a:gd name="connsiteX9" fmla="*/ 8672 w 1534259"/>
              <a:gd name="connsiteY9" fmla="*/ 165982 h 1245749"/>
              <a:gd name="connsiteX0" fmla="*/ 8672 w 1534259"/>
              <a:gd name="connsiteY0" fmla="*/ 167890 h 1247657"/>
              <a:gd name="connsiteX1" fmla="*/ 11053 w 1534259"/>
              <a:gd name="connsiteY1" fmla="*/ 14169 h 1247657"/>
              <a:gd name="connsiteX2" fmla="*/ 170330 w 1534259"/>
              <a:gd name="connsiteY2" fmla="*/ 6232 h 1247657"/>
              <a:gd name="connsiteX3" fmla="*/ 1372601 w 1534259"/>
              <a:gd name="connsiteY3" fmla="*/ 6232 h 1247657"/>
              <a:gd name="connsiteX4" fmla="*/ 1534259 w 1534259"/>
              <a:gd name="connsiteY4" fmla="*/ 167890 h 1247657"/>
              <a:gd name="connsiteX5" fmla="*/ 1534259 w 1534259"/>
              <a:gd name="connsiteY5" fmla="*/ 1085999 h 1247657"/>
              <a:gd name="connsiteX6" fmla="*/ 1372601 w 1534259"/>
              <a:gd name="connsiteY6" fmla="*/ 1247657 h 1247657"/>
              <a:gd name="connsiteX7" fmla="*/ 170330 w 1534259"/>
              <a:gd name="connsiteY7" fmla="*/ 1247657 h 1247657"/>
              <a:gd name="connsiteX8" fmla="*/ 8672 w 1534259"/>
              <a:gd name="connsiteY8" fmla="*/ 1085999 h 1247657"/>
              <a:gd name="connsiteX9" fmla="*/ 8672 w 1534259"/>
              <a:gd name="connsiteY9" fmla="*/ 167890 h 1247657"/>
              <a:gd name="connsiteX0" fmla="*/ 8672 w 1534259"/>
              <a:gd name="connsiteY0" fmla="*/ 161658 h 1241425"/>
              <a:gd name="connsiteX1" fmla="*/ 11053 w 1534259"/>
              <a:gd name="connsiteY1" fmla="*/ 7937 h 1241425"/>
              <a:gd name="connsiteX2" fmla="*/ 170330 w 1534259"/>
              <a:gd name="connsiteY2" fmla="*/ 0 h 1241425"/>
              <a:gd name="connsiteX3" fmla="*/ 1372601 w 1534259"/>
              <a:gd name="connsiteY3" fmla="*/ 0 h 1241425"/>
              <a:gd name="connsiteX4" fmla="*/ 1534259 w 1534259"/>
              <a:gd name="connsiteY4" fmla="*/ 161658 h 1241425"/>
              <a:gd name="connsiteX5" fmla="*/ 1534259 w 1534259"/>
              <a:gd name="connsiteY5" fmla="*/ 1079767 h 1241425"/>
              <a:gd name="connsiteX6" fmla="*/ 1372601 w 1534259"/>
              <a:gd name="connsiteY6" fmla="*/ 1241425 h 1241425"/>
              <a:gd name="connsiteX7" fmla="*/ 170330 w 1534259"/>
              <a:gd name="connsiteY7" fmla="*/ 1241425 h 1241425"/>
              <a:gd name="connsiteX8" fmla="*/ 8672 w 1534259"/>
              <a:gd name="connsiteY8" fmla="*/ 1079767 h 1241425"/>
              <a:gd name="connsiteX9" fmla="*/ 8672 w 1534259"/>
              <a:gd name="connsiteY9" fmla="*/ 161658 h 124142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3668 h 1243435"/>
              <a:gd name="connsiteX1" fmla="*/ 10644 w 1535715"/>
              <a:gd name="connsiteY1" fmla="*/ 0 h 1243435"/>
              <a:gd name="connsiteX2" fmla="*/ 171786 w 1535715"/>
              <a:gd name="connsiteY2" fmla="*/ 2010 h 1243435"/>
              <a:gd name="connsiteX3" fmla="*/ 1374057 w 1535715"/>
              <a:gd name="connsiteY3" fmla="*/ 2010 h 1243435"/>
              <a:gd name="connsiteX4" fmla="*/ 1535715 w 1535715"/>
              <a:gd name="connsiteY4" fmla="*/ 163668 h 1243435"/>
              <a:gd name="connsiteX5" fmla="*/ 1535715 w 1535715"/>
              <a:gd name="connsiteY5" fmla="*/ 1081777 h 1243435"/>
              <a:gd name="connsiteX6" fmla="*/ 1374057 w 1535715"/>
              <a:gd name="connsiteY6" fmla="*/ 1243435 h 1243435"/>
              <a:gd name="connsiteX7" fmla="*/ 171786 w 1535715"/>
              <a:gd name="connsiteY7" fmla="*/ 1243435 h 1243435"/>
              <a:gd name="connsiteX8" fmla="*/ 10128 w 1535715"/>
              <a:gd name="connsiteY8" fmla="*/ 1081777 h 1243435"/>
              <a:gd name="connsiteX9" fmla="*/ 10128 w 1535715"/>
              <a:gd name="connsiteY9" fmla="*/ 163668 h 124343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1808 w 1537395"/>
              <a:gd name="connsiteY0" fmla="*/ 161803 h 1241570"/>
              <a:gd name="connsiteX1" fmla="*/ 12324 w 1537395"/>
              <a:gd name="connsiteY1" fmla="*/ 0 h 1241570"/>
              <a:gd name="connsiteX2" fmla="*/ 173466 w 1537395"/>
              <a:gd name="connsiteY2" fmla="*/ 145 h 1241570"/>
              <a:gd name="connsiteX3" fmla="*/ 1375737 w 1537395"/>
              <a:gd name="connsiteY3" fmla="*/ 145 h 1241570"/>
              <a:gd name="connsiteX4" fmla="*/ 1537395 w 1537395"/>
              <a:gd name="connsiteY4" fmla="*/ 161803 h 1241570"/>
              <a:gd name="connsiteX5" fmla="*/ 1537395 w 1537395"/>
              <a:gd name="connsiteY5" fmla="*/ 1079912 h 1241570"/>
              <a:gd name="connsiteX6" fmla="*/ 1375737 w 1537395"/>
              <a:gd name="connsiteY6" fmla="*/ 1241570 h 1241570"/>
              <a:gd name="connsiteX7" fmla="*/ 173466 w 1537395"/>
              <a:gd name="connsiteY7" fmla="*/ 1241570 h 1241570"/>
              <a:gd name="connsiteX8" fmla="*/ 11808 w 1537395"/>
              <a:gd name="connsiteY8" fmla="*/ 1079912 h 1241570"/>
              <a:gd name="connsiteX9" fmla="*/ 11808 w 1537395"/>
              <a:gd name="connsiteY9" fmla="*/ 161803 h 1241570"/>
              <a:gd name="connsiteX0" fmla="*/ 346 w 1525933"/>
              <a:gd name="connsiteY0" fmla="*/ 161803 h 1241570"/>
              <a:gd name="connsiteX1" fmla="*/ 862 w 1525933"/>
              <a:gd name="connsiteY1" fmla="*/ 0 h 1241570"/>
              <a:gd name="connsiteX2" fmla="*/ 162004 w 1525933"/>
              <a:gd name="connsiteY2" fmla="*/ 145 h 1241570"/>
              <a:gd name="connsiteX3" fmla="*/ 1364275 w 1525933"/>
              <a:gd name="connsiteY3" fmla="*/ 145 h 1241570"/>
              <a:gd name="connsiteX4" fmla="*/ 1525933 w 1525933"/>
              <a:gd name="connsiteY4" fmla="*/ 161803 h 1241570"/>
              <a:gd name="connsiteX5" fmla="*/ 1525933 w 1525933"/>
              <a:gd name="connsiteY5" fmla="*/ 1079912 h 1241570"/>
              <a:gd name="connsiteX6" fmla="*/ 1364275 w 1525933"/>
              <a:gd name="connsiteY6" fmla="*/ 1241570 h 1241570"/>
              <a:gd name="connsiteX7" fmla="*/ 162004 w 1525933"/>
              <a:gd name="connsiteY7" fmla="*/ 1241570 h 1241570"/>
              <a:gd name="connsiteX8" fmla="*/ 346 w 1525933"/>
              <a:gd name="connsiteY8" fmla="*/ 1079912 h 1241570"/>
              <a:gd name="connsiteX9" fmla="*/ 346 w 1525933"/>
              <a:gd name="connsiteY9" fmla="*/ 161803 h 1241570"/>
              <a:gd name="connsiteX0" fmla="*/ 872 w 1526459"/>
              <a:gd name="connsiteY0" fmla="*/ 161803 h 1241570"/>
              <a:gd name="connsiteX1" fmla="*/ 1388 w 1526459"/>
              <a:gd name="connsiteY1" fmla="*/ 0 h 1241570"/>
              <a:gd name="connsiteX2" fmla="*/ 162530 w 1526459"/>
              <a:gd name="connsiteY2" fmla="*/ 145 h 1241570"/>
              <a:gd name="connsiteX3" fmla="*/ 1364801 w 1526459"/>
              <a:gd name="connsiteY3" fmla="*/ 145 h 1241570"/>
              <a:gd name="connsiteX4" fmla="*/ 1526459 w 1526459"/>
              <a:gd name="connsiteY4" fmla="*/ 161803 h 1241570"/>
              <a:gd name="connsiteX5" fmla="*/ 1526459 w 1526459"/>
              <a:gd name="connsiteY5" fmla="*/ 1079912 h 1241570"/>
              <a:gd name="connsiteX6" fmla="*/ 1364801 w 1526459"/>
              <a:gd name="connsiteY6" fmla="*/ 1241570 h 1241570"/>
              <a:gd name="connsiteX7" fmla="*/ 162530 w 1526459"/>
              <a:gd name="connsiteY7" fmla="*/ 1241570 h 1241570"/>
              <a:gd name="connsiteX8" fmla="*/ 872 w 1526459"/>
              <a:gd name="connsiteY8" fmla="*/ 1079912 h 1241570"/>
              <a:gd name="connsiteX9" fmla="*/ 872 w 1526459"/>
              <a:gd name="connsiteY9" fmla="*/ 161803 h 1241570"/>
              <a:gd name="connsiteX0" fmla="*/ 470 w 1526057"/>
              <a:gd name="connsiteY0" fmla="*/ 161803 h 1241570"/>
              <a:gd name="connsiteX1" fmla="*/ 986 w 1526057"/>
              <a:gd name="connsiteY1" fmla="*/ 0 h 1241570"/>
              <a:gd name="connsiteX2" fmla="*/ 162128 w 1526057"/>
              <a:gd name="connsiteY2" fmla="*/ 145 h 1241570"/>
              <a:gd name="connsiteX3" fmla="*/ 1364399 w 1526057"/>
              <a:gd name="connsiteY3" fmla="*/ 145 h 1241570"/>
              <a:gd name="connsiteX4" fmla="*/ 1526057 w 1526057"/>
              <a:gd name="connsiteY4" fmla="*/ 161803 h 1241570"/>
              <a:gd name="connsiteX5" fmla="*/ 1526057 w 1526057"/>
              <a:gd name="connsiteY5" fmla="*/ 1079912 h 1241570"/>
              <a:gd name="connsiteX6" fmla="*/ 1364399 w 1526057"/>
              <a:gd name="connsiteY6" fmla="*/ 1241570 h 1241570"/>
              <a:gd name="connsiteX7" fmla="*/ 162128 w 1526057"/>
              <a:gd name="connsiteY7" fmla="*/ 1241570 h 1241570"/>
              <a:gd name="connsiteX8" fmla="*/ 470 w 1526057"/>
              <a:gd name="connsiteY8" fmla="*/ 1079912 h 1241570"/>
              <a:gd name="connsiteX9" fmla="*/ 470 w 1526057"/>
              <a:gd name="connsiteY9" fmla="*/ 161803 h 1241570"/>
              <a:gd name="connsiteX0" fmla="*/ 649 w 1526236"/>
              <a:gd name="connsiteY0" fmla="*/ 161803 h 1241570"/>
              <a:gd name="connsiteX1" fmla="*/ 1165 w 1526236"/>
              <a:gd name="connsiteY1" fmla="*/ 0 h 1241570"/>
              <a:gd name="connsiteX2" fmla="*/ 162307 w 1526236"/>
              <a:gd name="connsiteY2" fmla="*/ 145 h 1241570"/>
              <a:gd name="connsiteX3" fmla="*/ 1364578 w 1526236"/>
              <a:gd name="connsiteY3" fmla="*/ 145 h 1241570"/>
              <a:gd name="connsiteX4" fmla="*/ 1526236 w 1526236"/>
              <a:gd name="connsiteY4" fmla="*/ 161803 h 1241570"/>
              <a:gd name="connsiteX5" fmla="*/ 1526236 w 1526236"/>
              <a:gd name="connsiteY5" fmla="*/ 1079912 h 1241570"/>
              <a:gd name="connsiteX6" fmla="*/ 1364578 w 1526236"/>
              <a:gd name="connsiteY6" fmla="*/ 1241570 h 1241570"/>
              <a:gd name="connsiteX7" fmla="*/ 162307 w 1526236"/>
              <a:gd name="connsiteY7" fmla="*/ 1241570 h 1241570"/>
              <a:gd name="connsiteX8" fmla="*/ 649 w 1526236"/>
              <a:gd name="connsiteY8" fmla="*/ 1079912 h 1241570"/>
              <a:gd name="connsiteX9" fmla="*/ 649 w 1526236"/>
              <a:gd name="connsiteY9" fmla="*/ 161803 h 1241570"/>
              <a:gd name="connsiteX0" fmla="*/ 268 w 1525855"/>
              <a:gd name="connsiteY0" fmla="*/ 161803 h 1241570"/>
              <a:gd name="connsiteX1" fmla="*/ 784 w 1525855"/>
              <a:gd name="connsiteY1" fmla="*/ 0 h 1241570"/>
              <a:gd name="connsiteX2" fmla="*/ 161926 w 1525855"/>
              <a:gd name="connsiteY2" fmla="*/ 145 h 1241570"/>
              <a:gd name="connsiteX3" fmla="*/ 1364197 w 1525855"/>
              <a:gd name="connsiteY3" fmla="*/ 145 h 1241570"/>
              <a:gd name="connsiteX4" fmla="*/ 1525855 w 1525855"/>
              <a:gd name="connsiteY4" fmla="*/ 161803 h 1241570"/>
              <a:gd name="connsiteX5" fmla="*/ 1525855 w 1525855"/>
              <a:gd name="connsiteY5" fmla="*/ 1079912 h 1241570"/>
              <a:gd name="connsiteX6" fmla="*/ 1364197 w 1525855"/>
              <a:gd name="connsiteY6" fmla="*/ 1241570 h 1241570"/>
              <a:gd name="connsiteX7" fmla="*/ 161926 w 1525855"/>
              <a:gd name="connsiteY7" fmla="*/ 1241570 h 1241570"/>
              <a:gd name="connsiteX8" fmla="*/ 268 w 1525855"/>
              <a:gd name="connsiteY8" fmla="*/ 1079912 h 1241570"/>
              <a:gd name="connsiteX9" fmla="*/ 268 w 1525855"/>
              <a:gd name="connsiteY9" fmla="*/ 161803 h 1241570"/>
              <a:gd name="connsiteX0" fmla="*/ 359 w 1525946"/>
              <a:gd name="connsiteY0" fmla="*/ 161803 h 1241570"/>
              <a:gd name="connsiteX1" fmla="*/ 253 w 1525946"/>
              <a:gd name="connsiteY1" fmla="*/ 0 h 1241570"/>
              <a:gd name="connsiteX2" fmla="*/ 162017 w 1525946"/>
              <a:gd name="connsiteY2" fmla="*/ 145 h 1241570"/>
              <a:gd name="connsiteX3" fmla="*/ 1364288 w 1525946"/>
              <a:gd name="connsiteY3" fmla="*/ 145 h 1241570"/>
              <a:gd name="connsiteX4" fmla="*/ 1525946 w 1525946"/>
              <a:gd name="connsiteY4" fmla="*/ 161803 h 1241570"/>
              <a:gd name="connsiteX5" fmla="*/ 1525946 w 1525946"/>
              <a:gd name="connsiteY5" fmla="*/ 1079912 h 1241570"/>
              <a:gd name="connsiteX6" fmla="*/ 1364288 w 1525946"/>
              <a:gd name="connsiteY6" fmla="*/ 1241570 h 1241570"/>
              <a:gd name="connsiteX7" fmla="*/ 162017 w 1525946"/>
              <a:gd name="connsiteY7" fmla="*/ 1241570 h 1241570"/>
              <a:gd name="connsiteX8" fmla="*/ 359 w 1525946"/>
              <a:gd name="connsiteY8" fmla="*/ 1079912 h 1241570"/>
              <a:gd name="connsiteX9" fmla="*/ 359 w 1525946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364035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25693" h="1241570">
                <a:moveTo>
                  <a:pt x="106" y="161803"/>
                </a:moveTo>
                <a:cubicBezTo>
                  <a:pt x="-210" y="159620"/>
                  <a:pt x="409" y="7672"/>
                  <a:pt x="0" y="0"/>
                </a:cubicBezTo>
                <a:cubicBezTo>
                  <a:pt x="6219" y="388"/>
                  <a:pt x="110655" y="450"/>
                  <a:pt x="161764" y="145"/>
                </a:cubicBezTo>
                <a:lnTo>
                  <a:pt x="1364035" y="145"/>
                </a:lnTo>
                <a:cubicBezTo>
                  <a:pt x="1453316" y="145"/>
                  <a:pt x="1525693" y="72522"/>
                  <a:pt x="1525693" y="161803"/>
                </a:cubicBezTo>
                <a:lnTo>
                  <a:pt x="1525693" y="1079912"/>
                </a:lnTo>
                <a:cubicBezTo>
                  <a:pt x="1525693" y="1169193"/>
                  <a:pt x="1453316" y="1241570"/>
                  <a:pt x="1364035" y="1241570"/>
                </a:cubicBezTo>
                <a:lnTo>
                  <a:pt x="161764" y="1241570"/>
                </a:lnTo>
                <a:cubicBezTo>
                  <a:pt x="72483" y="1241570"/>
                  <a:pt x="106" y="1169193"/>
                  <a:pt x="106" y="1079912"/>
                </a:cubicBezTo>
                <a:lnTo>
                  <a:pt x="106" y="1618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144000" anchor="b"/>
          <a:lstStyle>
            <a:lvl1pPr marL="0" indent="0" algn="ctr">
              <a:buNone/>
              <a:defRPr sz="2806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nl-NL" noProof="0"/>
          </a:p>
        </p:txBody>
      </p:sp>
      <p:sp>
        <p:nvSpPr>
          <p:cNvPr id="162" name="Tijdelijke aanduiding voor tekst 2">
            <a:extLst>
              <a:ext uri="{FF2B5EF4-FFF2-40B4-BE49-F238E27FC236}">
                <a16:creationId xmlns:a16="http://schemas.microsoft.com/office/drawing/2014/main" id="{7261898A-F5A9-4EF3-AA75-53FC19067F1D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533807" y="11466940"/>
            <a:ext cx="26489657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 marL="0" indent="0">
              <a:buNone/>
              <a:defRPr sz="4209"/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64" name="Tijdelijke aanduiding voor tekst 2">
            <a:extLst>
              <a:ext uri="{FF2B5EF4-FFF2-40B4-BE49-F238E27FC236}">
                <a16:creationId xmlns:a16="http://schemas.microsoft.com/office/drawing/2014/main" id="{F3B45119-1F04-468E-9C06-CB3EFB775B3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533807" y="16623324"/>
            <a:ext cx="26489657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 marL="0" indent="0">
              <a:buNone/>
              <a:defRPr sz="4209"/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66" name="Tijdelijke aanduiding voor tekst 2">
            <a:extLst>
              <a:ext uri="{FF2B5EF4-FFF2-40B4-BE49-F238E27FC236}">
                <a16:creationId xmlns:a16="http://schemas.microsoft.com/office/drawing/2014/main" id="{853D7205-234D-4794-8AC8-B9710AD7AFF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533807" y="21779704"/>
            <a:ext cx="26489657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 marL="0" indent="0">
              <a:buNone/>
              <a:defRPr sz="4209"/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grpSp>
        <p:nvGrpSpPr>
          <p:cNvPr id="24" name="Groep 77">
            <a:extLst>
              <a:ext uri="{FF2B5EF4-FFF2-40B4-BE49-F238E27FC236}">
                <a16:creationId xmlns:a16="http://schemas.microsoft.com/office/drawing/2014/main" id="{97085740-5F50-441B-B286-975E7F784D6E}"/>
              </a:ext>
            </a:extLst>
          </p:cNvPr>
          <p:cNvGrpSpPr/>
          <p:nvPr userDrawn="1"/>
        </p:nvGrpSpPr>
        <p:grpSpPr>
          <a:xfrm>
            <a:off x="43467414" y="0"/>
            <a:ext cx="13065546" cy="24210246"/>
            <a:chOff x="12391601" y="0"/>
            <a:chExt cx="3724699" cy="5484152"/>
          </a:xfrm>
        </p:grpSpPr>
        <p:sp>
          <p:nvSpPr>
            <p:cNvPr id="25" name="Rechthoek 78">
              <a:extLst>
                <a:ext uri="{FF2B5EF4-FFF2-40B4-BE49-F238E27FC236}">
                  <a16:creationId xmlns:a16="http://schemas.microsoft.com/office/drawing/2014/main" id="{08EE0EE7-9CBB-488C-A4A8-96FE315124EF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26" name="Ovaal 79">
              <a:extLst>
                <a:ext uri="{FF2B5EF4-FFF2-40B4-BE49-F238E27FC236}">
                  <a16:creationId xmlns:a16="http://schemas.microsoft.com/office/drawing/2014/main" id="{0309621B-3B70-4DB4-A0AC-3D08C1083917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7" name="Rechte verbindingslijn 80">
              <a:extLst>
                <a:ext uri="{FF2B5EF4-FFF2-40B4-BE49-F238E27FC236}">
                  <a16:creationId xmlns:a16="http://schemas.microsoft.com/office/drawing/2014/main" id="{595A5195-F77B-485F-B4B4-3B6693483EE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8" name="Rechte verbindingslijn 81">
              <a:extLst>
                <a:ext uri="{FF2B5EF4-FFF2-40B4-BE49-F238E27FC236}">
                  <a16:creationId xmlns:a16="http://schemas.microsoft.com/office/drawing/2014/main" id="{6E5EB08F-4D86-4B67-A2B6-51A9381697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0" name="Rechthoek 82">
              <a:extLst>
                <a:ext uri="{FF2B5EF4-FFF2-40B4-BE49-F238E27FC236}">
                  <a16:creationId xmlns:a16="http://schemas.microsoft.com/office/drawing/2014/main" id="{E2C07AA5-114A-4766-A4E1-D90863BC3CC0}"/>
                </a:ext>
              </a:extLst>
            </p:cNvPr>
            <p:cNvSpPr/>
            <p:nvPr userDrawn="1"/>
          </p:nvSpPr>
          <p:spPr>
            <a:xfrm>
              <a:off x="12757282" y="432552"/>
              <a:ext cx="335901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fbeelding door deze te selecteren en op 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m een nieuwe afbeelding in te voegen.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2" name="Ovaal 83">
              <a:extLst>
                <a:ext uri="{FF2B5EF4-FFF2-40B4-BE49-F238E27FC236}">
                  <a16:creationId xmlns:a16="http://schemas.microsoft.com/office/drawing/2014/main" id="{782FAFD6-0BC4-435A-BCDA-061DC4F9A15A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4" name="Rechthoek 84">
              <a:extLst>
                <a:ext uri="{FF2B5EF4-FFF2-40B4-BE49-F238E27FC236}">
                  <a16:creationId xmlns:a16="http://schemas.microsoft.com/office/drawing/2014/main" id="{F5C62566-713C-4226-AACA-50F6D0A41CA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" name="Groep 85">
              <a:extLst>
                <a:ext uri="{FF2B5EF4-FFF2-40B4-BE49-F238E27FC236}">
                  <a16:creationId xmlns:a16="http://schemas.microsoft.com/office/drawing/2014/main" id="{14699E00-C5BC-43D9-9335-55B37C71E20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79" name="Rechthoek 119">
                <a:extLst>
                  <a:ext uri="{FF2B5EF4-FFF2-40B4-BE49-F238E27FC236}">
                    <a16:creationId xmlns:a16="http://schemas.microsoft.com/office/drawing/2014/main" id="{DC26D3FF-0D90-4A96-AD14-03C81F0DDA3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80" name="Rechte verbindingslijn 120">
                <a:extLst>
                  <a:ext uri="{FF2B5EF4-FFF2-40B4-BE49-F238E27FC236}">
                    <a16:creationId xmlns:a16="http://schemas.microsoft.com/office/drawing/2014/main" id="{B07AFEE0-AAEB-4E58-9520-DCC13CFF98D1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81" name="Gelijkbenige driehoek 121">
                <a:extLst>
                  <a:ext uri="{FF2B5EF4-FFF2-40B4-BE49-F238E27FC236}">
                    <a16:creationId xmlns:a16="http://schemas.microsoft.com/office/drawing/2014/main" id="{B8C0303C-7A51-47C7-9AE7-D2F526F7C44C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6" name="Groep 86">
              <a:extLst>
                <a:ext uri="{FF2B5EF4-FFF2-40B4-BE49-F238E27FC236}">
                  <a16:creationId xmlns:a16="http://schemas.microsoft.com/office/drawing/2014/main" id="{5F8AD94C-7B9A-41A1-A702-7D82678117A5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73" name="Rechthoek 113">
                <a:extLst>
                  <a:ext uri="{FF2B5EF4-FFF2-40B4-BE49-F238E27FC236}">
                    <a16:creationId xmlns:a16="http://schemas.microsoft.com/office/drawing/2014/main" id="{346E73AA-9BD9-49B7-931F-EA7954EFD721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4" name="Ovaal 114">
                <a:extLst>
                  <a:ext uri="{FF2B5EF4-FFF2-40B4-BE49-F238E27FC236}">
                    <a16:creationId xmlns:a16="http://schemas.microsoft.com/office/drawing/2014/main" id="{F5CCB8D1-7824-4B2D-910C-C50602CD114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75" name="Vrije vorm: vorm 115">
                <a:extLst>
                  <a:ext uri="{FF2B5EF4-FFF2-40B4-BE49-F238E27FC236}">
                    <a16:creationId xmlns:a16="http://schemas.microsoft.com/office/drawing/2014/main" id="{D0E0CB0D-C57F-4504-B2B5-566C1025F1D6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76" name="Rechthoek: afgeronde hoeken 116">
                <a:extLst>
                  <a:ext uri="{FF2B5EF4-FFF2-40B4-BE49-F238E27FC236}">
                    <a16:creationId xmlns:a16="http://schemas.microsoft.com/office/drawing/2014/main" id="{79BE821C-E8A0-4E96-A63D-01EBCE8C737C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77" name="Rechte verbindingslijn 117">
                <a:extLst>
                  <a:ext uri="{FF2B5EF4-FFF2-40B4-BE49-F238E27FC236}">
                    <a16:creationId xmlns:a16="http://schemas.microsoft.com/office/drawing/2014/main" id="{DB12E892-8189-40EF-8A85-6A7EA311AAC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8" name="Rechte verbindingslijn 118">
                <a:extLst>
                  <a:ext uri="{FF2B5EF4-FFF2-40B4-BE49-F238E27FC236}">
                    <a16:creationId xmlns:a16="http://schemas.microsoft.com/office/drawing/2014/main" id="{31F44D82-3E86-49D6-AC54-94C660393E13}"/>
                  </a:ext>
                </a:extLst>
              </p:cNvPr>
              <p:cNvCxnSpPr>
                <a:cxnSpLocks/>
                <a:stCxn id="76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grpSp>
          <p:nvGrpSpPr>
            <p:cNvPr id="37" name="Groep 87">
              <a:extLst>
                <a:ext uri="{FF2B5EF4-FFF2-40B4-BE49-F238E27FC236}">
                  <a16:creationId xmlns:a16="http://schemas.microsoft.com/office/drawing/2014/main" id="{0092F181-8B0B-4A97-A26C-F195E4E82FC5}"/>
                </a:ext>
              </a:extLst>
            </p:cNvPr>
            <p:cNvGrpSpPr/>
            <p:nvPr userDrawn="1"/>
          </p:nvGrpSpPr>
          <p:grpSpPr>
            <a:xfrm>
              <a:off x="12391601" y="2643684"/>
              <a:ext cx="3183678" cy="2840468"/>
              <a:chOff x="12952763" y="4572241"/>
              <a:chExt cx="3183678" cy="2840468"/>
            </a:xfrm>
          </p:grpSpPr>
          <p:grpSp>
            <p:nvGrpSpPr>
              <p:cNvPr id="48" name="Meer informatie">
                <a:extLst>
                  <a:ext uri="{FF2B5EF4-FFF2-40B4-BE49-F238E27FC236}">
                    <a16:creationId xmlns:a16="http://schemas.microsoft.com/office/drawing/2014/main" id="{46F47CC9-3339-49C1-A35A-6D0DCFEDE159}"/>
                  </a:ext>
                </a:extLst>
              </p:cNvPr>
              <p:cNvGrpSpPr/>
              <p:nvPr userDrawn="1"/>
            </p:nvGrpSpPr>
            <p:grpSpPr>
              <a:xfrm>
                <a:off x="12957926" y="6629436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70" name="Freeform 101">
                  <a:extLst>
                    <a:ext uri="{FF2B5EF4-FFF2-40B4-BE49-F238E27FC236}">
                      <a16:creationId xmlns:a16="http://schemas.microsoft.com/office/drawing/2014/main" id="{4F3B90D8-5C83-46BB-8442-9E859CC6612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3859" noProof="0"/>
                </a:p>
              </p:txBody>
            </p:sp>
            <p:sp>
              <p:nvSpPr>
                <p:cNvPr id="71" name="Rechthoek 111">
                  <a:extLst>
                    <a:ext uri="{FF2B5EF4-FFF2-40B4-BE49-F238E27FC236}">
                      <a16:creationId xmlns:a16="http://schemas.microsoft.com/office/drawing/2014/main" id="{CDE70456-41E5-4DFC-8129-A3083862E9BC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3207489" eaLnBrk="1" fontAlgn="auto" latinLnBrk="0" hangingPunct="1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Meer weten?</a:t>
                  </a:r>
                  <a:b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a naar dia </a:t>
                  </a:r>
                  <a:r>
                    <a:rPr kumimoji="0" lang="nl-NL" sz="3859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´Instructie dia: YouTube links´</a:t>
                  </a: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deze in de diavoorstelling en klik op de gewenste video link.</a:t>
                  </a:r>
                </a:p>
              </p:txBody>
            </p:sp>
            <p:cxnSp>
              <p:nvCxnSpPr>
                <p:cNvPr id="72" name="Rechte verbindingslijn 112">
                  <a:extLst>
                    <a:ext uri="{FF2B5EF4-FFF2-40B4-BE49-F238E27FC236}">
                      <a16:creationId xmlns:a16="http://schemas.microsoft.com/office/drawing/2014/main" id="{99B0A9B0-D1F7-4E95-8F97-310800A65B4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49" name="Rechte verbindingslijn 89">
                <a:extLst>
                  <a:ext uri="{FF2B5EF4-FFF2-40B4-BE49-F238E27FC236}">
                    <a16:creationId xmlns:a16="http://schemas.microsoft.com/office/drawing/2014/main" id="{86A165B8-B7D0-4A07-BE9E-63819DD6249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958423" y="651155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50" name="Ovaal 90">
                <a:extLst>
                  <a:ext uri="{FF2B5EF4-FFF2-40B4-BE49-F238E27FC236}">
                    <a16:creationId xmlns:a16="http://schemas.microsoft.com/office/drawing/2014/main" id="{A5DEFE7F-75A6-4682-819F-443D4E4C7CFA}"/>
                  </a:ext>
                </a:extLst>
              </p:cNvPr>
              <p:cNvSpPr/>
              <p:nvPr userDrawn="1"/>
            </p:nvSpPr>
            <p:spPr>
              <a:xfrm>
                <a:off x="12952763" y="4690403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320748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1" name="Rechthoek 91">
                <a:extLst>
                  <a:ext uri="{FF2B5EF4-FFF2-40B4-BE49-F238E27FC236}">
                    <a16:creationId xmlns:a16="http://schemas.microsoft.com/office/drawing/2014/main" id="{59151D17-0759-43DE-AF90-3529903D9EB5}"/>
                  </a:ext>
                </a:extLst>
              </p:cNvPr>
              <p:cNvSpPr/>
              <p:nvPr userDrawn="1"/>
            </p:nvSpPr>
            <p:spPr>
              <a:xfrm>
                <a:off x="13318445" y="4756466"/>
                <a:ext cx="2817996" cy="887319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Om de afbeelding te schalen of bij te snijden, ga naar de tab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Hulpmiddelen voor afbeeldingen - Opmaak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 en klik op de knop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Bijsnijden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Schaal met de bolletjes de afbeelding en met de hoekjes het afbeeldingskader.</a:t>
                </a:r>
                <a:endPara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52" name="Rechte verbindingslijn 92">
                <a:extLst>
                  <a:ext uri="{FF2B5EF4-FFF2-40B4-BE49-F238E27FC236}">
                    <a16:creationId xmlns:a16="http://schemas.microsoft.com/office/drawing/2014/main" id="{71A8FFD9-B8B5-4511-8198-52DE5D02641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958423" y="457224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53" name="Groep 93">
                <a:extLst>
                  <a:ext uri="{FF2B5EF4-FFF2-40B4-BE49-F238E27FC236}">
                    <a16:creationId xmlns:a16="http://schemas.microsoft.com/office/drawing/2014/main" id="{526C11E9-F307-4840-91A5-57DC1CA903E0}"/>
                  </a:ext>
                </a:extLst>
              </p:cNvPr>
              <p:cNvGrpSpPr/>
              <p:nvPr userDrawn="1"/>
            </p:nvGrpSpPr>
            <p:grpSpPr>
              <a:xfrm>
                <a:off x="13257676" y="5773610"/>
                <a:ext cx="514284" cy="612917"/>
                <a:chOff x="12682980" y="3403271"/>
                <a:chExt cx="622284" cy="741637"/>
              </a:xfrm>
            </p:grpSpPr>
            <p:grpSp>
              <p:nvGrpSpPr>
                <p:cNvPr id="54" name="Groep 94">
                  <a:extLst>
                    <a:ext uri="{FF2B5EF4-FFF2-40B4-BE49-F238E27FC236}">
                      <a16:creationId xmlns:a16="http://schemas.microsoft.com/office/drawing/2014/main" id="{95A5E7B9-EC06-429E-9740-65D401D27AD4}"/>
                    </a:ext>
                  </a:extLst>
                </p:cNvPr>
                <p:cNvGrpSpPr/>
                <p:nvPr userDrawn="1"/>
              </p:nvGrpSpPr>
              <p:grpSpPr>
                <a:xfrm>
                  <a:off x="12771568" y="3403271"/>
                  <a:ext cx="467138" cy="448459"/>
                  <a:chOff x="12782195" y="3403271"/>
                  <a:chExt cx="467138" cy="448459"/>
                </a:xfrm>
              </p:grpSpPr>
              <p:grpSp>
                <p:nvGrpSpPr>
                  <p:cNvPr id="57" name="Groep 97">
                    <a:extLst>
                      <a:ext uri="{FF2B5EF4-FFF2-40B4-BE49-F238E27FC236}">
                        <a16:creationId xmlns:a16="http://schemas.microsoft.com/office/drawing/2014/main" id="{E2607B29-2789-42C4-9F57-642ECD64247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2782195" y="3403271"/>
                    <a:ext cx="412967" cy="393910"/>
                    <a:chOff x="13554906" y="3320143"/>
                    <a:chExt cx="443906" cy="423422"/>
                  </a:xfrm>
                </p:grpSpPr>
                <p:grpSp>
                  <p:nvGrpSpPr>
                    <p:cNvPr id="64" name="Groep 104">
                      <a:extLst>
                        <a:ext uri="{FF2B5EF4-FFF2-40B4-BE49-F238E27FC236}">
                          <a16:creationId xmlns:a16="http://schemas.microsoft.com/office/drawing/2014/main" id="{9D8BFFDC-3964-4F5C-8247-5ABF9FD11453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3554906" y="3320143"/>
                      <a:ext cx="443906" cy="423422"/>
                      <a:chOff x="12909684" y="1276177"/>
                      <a:chExt cx="443906" cy="423422"/>
                    </a:xfrm>
                  </p:grpSpPr>
                  <p:sp>
                    <p:nvSpPr>
                      <p:cNvPr id="67" name="Rechthoek 107">
                        <a:extLst>
                          <a:ext uri="{FF2B5EF4-FFF2-40B4-BE49-F238E27FC236}">
                            <a16:creationId xmlns:a16="http://schemas.microsoft.com/office/drawing/2014/main" id="{CD2A55FF-A46B-4661-9B7F-23AD0E518D9A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2918700" y="1285299"/>
                        <a:ext cx="434890" cy="414300"/>
                      </a:xfrm>
                      <a:prstGeom prst="rect">
                        <a:avLst/>
                      </a:prstGeom>
                      <a:noFill/>
                      <a:ln w="12700">
                        <a:solidFill>
                          <a:srgbClr val="818181"/>
                        </a:solidFill>
                        <a:prstDash val="dash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2105"/>
                          </a:spcBef>
                          <a:spcAft>
                            <a:spcPts val="2105"/>
                          </a:spcAft>
                        </a:pPr>
                        <a:endParaRPr lang="nl-NL" sz="2806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68" name="Rechthoek 108">
                        <a:extLst>
                          <a:ext uri="{FF2B5EF4-FFF2-40B4-BE49-F238E27FC236}">
                            <a16:creationId xmlns:a16="http://schemas.microsoft.com/office/drawing/2014/main" id="{7DE6CA22-FA69-48A0-A30F-1B03FF452AEB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2909684" y="1276177"/>
                        <a:ext cx="261629" cy="257808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12700">
                        <a:solidFill>
                          <a:srgbClr val="81818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2105"/>
                          </a:spcBef>
                          <a:spcAft>
                            <a:spcPts val="2105"/>
                          </a:spcAft>
                        </a:pPr>
                        <a:endParaRPr lang="nl-NL" sz="2806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69" name="Ovaal 109">
                        <a:extLst>
                          <a:ext uri="{FF2B5EF4-FFF2-40B4-BE49-F238E27FC236}">
                            <a16:creationId xmlns:a16="http://schemas.microsoft.com/office/drawing/2014/main" id="{E770EB0E-9FCB-4378-90F1-CE5A96CB8A84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3069071" y="1308734"/>
                        <a:ext cx="72187" cy="72188"/>
                      </a:xfrm>
                      <a:prstGeom prst="ellipse">
                        <a:avLst/>
                      </a:prstGeom>
                      <a:solidFill>
                        <a:srgbClr val="ECC679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="horz" wrap="square" lIns="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l"/>
                        <a:endParaRPr lang="nl-NL" sz="3509" b="1" noProof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  <p:pic>
                  <p:nvPicPr>
                    <p:cNvPr id="65" name="Afbeelding 105">
                      <a:extLst>
                        <a:ext uri="{FF2B5EF4-FFF2-40B4-BE49-F238E27FC236}">
                          <a16:creationId xmlns:a16="http://schemas.microsoft.com/office/drawing/2014/main" id="{A908E851-5DBE-41F9-B8D3-F4049A78A6F8}"/>
                        </a:ext>
                      </a:extLst>
                    </p:cNvPr>
                    <p:cNvPicPr>
                      <a:picLocks noChangeAspect="1"/>
                    </p:cNvPicPr>
                    <p:nvPr userDrawn="1"/>
                  </p:nvPicPr>
                  <p:blipFill>
                    <a:blip r:embed="rId2" cstate="screen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3567296" y="3424991"/>
                      <a:ext cx="173367" cy="14022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66" name="Afbeelding 106">
                      <a:extLst>
                        <a:ext uri="{FF2B5EF4-FFF2-40B4-BE49-F238E27FC236}">
                          <a16:creationId xmlns:a16="http://schemas.microsoft.com/office/drawing/2014/main" id="{33504082-DE75-41F9-A941-D892141DA144}"/>
                        </a:ext>
                      </a:extLst>
                    </p:cNvPr>
                    <p:cNvPicPr>
                      <a:picLocks noChangeAspect="1"/>
                    </p:cNvPicPr>
                    <p:nvPr userDrawn="1"/>
                  </p:nvPicPr>
                  <p:blipFill>
                    <a:blip r:embed="rId4" cstate="screen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5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flipH="1">
                      <a:off x="13635598" y="3454393"/>
                      <a:ext cx="173366" cy="111424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58" name="Groep 98">
                    <a:extLst>
                      <a:ext uri="{FF2B5EF4-FFF2-40B4-BE49-F238E27FC236}">
                        <a16:creationId xmlns:a16="http://schemas.microsoft.com/office/drawing/2014/main" id="{E05FAD33-582F-478C-B621-F8AB94A3EFF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103513" y="3705278"/>
                    <a:ext cx="145820" cy="146452"/>
                    <a:chOff x="13096169" y="3602288"/>
                    <a:chExt cx="145820" cy="146452"/>
                  </a:xfrm>
                </p:grpSpPr>
                <p:sp>
                  <p:nvSpPr>
                    <p:cNvPr id="62" name="Rechthoek 102">
                      <a:extLst>
                        <a:ext uri="{FF2B5EF4-FFF2-40B4-BE49-F238E27FC236}">
                          <a16:creationId xmlns:a16="http://schemas.microsoft.com/office/drawing/2014/main" id="{54C9EB89-249E-4D91-BF0A-963D2814762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96169" y="360228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3" name="Rechthoek 103">
                      <a:extLst>
                        <a:ext uri="{FF2B5EF4-FFF2-40B4-BE49-F238E27FC236}">
                          <a16:creationId xmlns:a16="http://schemas.microsoft.com/office/drawing/2014/main" id="{AD4BEEFB-7F67-492A-BE70-5693AECE2A2E}"/>
                        </a:ext>
                      </a:extLst>
                    </p:cNvPr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grpSp>
                <p:nvGrpSpPr>
                  <p:cNvPr id="59" name="Groep 99">
                    <a:extLst>
                      <a:ext uri="{FF2B5EF4-FFF2-40B4-BE49-F238E27FC236}">
                        <a16:creationId xmlns:a16="http://schemas.microsoft.com/office/drawing/2014/main" id="{DBA98214-9D86-4134-8CA6-4AC018C54C77}"/>
                      </a:ext>
                    </a:extLst>
                  </p:cNvPr>
                  <p:cNvGrpSpPr/>
                  <p:nvPr userDrawn="1"/>
                </p:nvGrpSpPr>
                <p:grpSpPr>
                  <a:xfrm rot="10800000">
                    <a:off x="13061402" y="3665668"/>
                    <a:ext cx="145820" cy="146461"/>
                    <a:chOff x="13096169" y="3602248"/>
                    <a:chExt cx="145820" cy="146461"/>
                  </a:xfrm>
                </p:grpSpPr>
                <p:sp>
                  <p:nvSpPr>
                    <p:cNvPr id="60" name="Rechthoek 100">
                      <a:extLst>
                        <a:ext uri="{FF2B5EF4-FFF2-40B4-BE49-F238E27FC236}">
                          <a16:creationId xmlns:a16="http://schemas.microsoft.com/office/drawing/2014/main" id="{ED580141-F5F4-4A8B-82E6-F8102185EF0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96169" y="360224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1" name="Rechthoek 101">
                      <a:extLst>
                        <a:ext uri="{FF2B5EF4-FFF2-40B4-BE49-F238E27FC236}">
                          <a16:creationId xmlns:a16="http://schemas.microsoft.com/office/drawing/2014/main" id="{1EC6A88F-C59D-407C-B40A-23D0643DA3C5}"/>
                        </a:ext>
                      </a:extLst>
                    </p:cNvPr>
                    <p:cNvSpPr/>
                    <p:nvPr userDrawn="1"/>
                  </p:nvSpPr>
                  <p:spPr>
                    <a:xfrm rot="5400000">
                      <a:off x="13037453" y="3661605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  <p:sp>
              <p:nvSpPr>
                <p:cNvPr id="55" name="Rechthoek 95">
                  <a:extLst>
                    <a:ext uri="{FF2B5EF4-FFF2-40B4-BE49-F238E27FC236}">
                      <a16:creationId xmlns:a16="http://schemas.microsoft.com/office/drawing/2014/main" id="{3210FEEE-416F-4ED2-9573-0D7AFC95E5F9}"/>
                    </a:ext>
                  </a:extLst>
                </p:cNvPr>
                <p:cNvSpPr/>
                <p:nvPr userDrawn="1"/>
              </p:nvSpPr>
              <p:spPr>
                <a:xfrm>
                  <a:off x="12682980" y="3889920"/>
                  <a:ext cx="622284" cy="16117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r>
                    <a:rPr lang="nl-NL" sz="3158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Bijsnijden</a:t>
                  </a:r>
                </a:p>
              </p:txBody>
            </p:sp>
            <p:sp>
              <p:nvSpPr>
                <p:cNvPr id="56" name="Gelijkbenige driehoek 96">
                  <a:extLst>
                    <a:ext uri="{FF2B5EF4-FFF2-40B4-BE49-F238E27FC236}">
                      <a16:creationId xmlns:a16="http://schemas.microsoft.com/office/drawing/2014/main" id="{BB343D76-EFA6-4D56-89B0-EA34F1C07AAA}"/>
                    </a:ext>
                  </a:extLst>
                </p:cNvPr>
                <p:cNvSpPr/>
                <p:nvPr userDrawn="1"/>
              </p:nvSpPr>
              <p:spPr>
                <a:xfrm rot="10800000">
                  <a:off x="12950688" y="4093761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pic>
        <p:nvPicPr>
          <p:cNvPr id="82" name="Afbeelding 81">
            <a:extLst>
              <a:ext uri="{FF2B5EF4-FFF2-40B4-BE49-F238E27FC236}">
                <a16:creationId xmlns:a16="http://schemas.microsoft.com/office/drawing/2014/main" id="{4267A6BF-8856-45AD-8DCE-2F7DFF35BC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0573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kaders + Uitleg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grpSp>
        <p:nvGrpSpPr>
          <p:cNvPr id="38" name="GRID" hidden="1">
            <a:extLst>
              <a:ext uri="{FF2B5EF4-FFF2-40B4-BE49-F238E27FC236}">
                <a16:creationId xmlns:a16="http://schemas.microsoft.com/office/drawing/2014/main" id="{51D5F7E8-69F8-47AD-81F5-1645C97607C1}"/>
              </a:ext>
            </a:extLst>
          </p:cNvPr>
          <p:cNvGrpSpPr/>
          <p:nvPr userDrawn="1"/>
        </p:nvGrpSpPr>
        <p:grpSpPr>
          <a:xfrm>
            <a:off x="5" y="0"/>
            <a:ext cx="42767261" cy="30275213"/>
            <a:chOff x="0" y="0"/>
            <a:chExt cx="12192003" cy="6858000"/>
          </a:xfrm>
        </p:grpSpPr>
        <p:sp>
          <p:nvSpPr>
            <p:cNvPr id="39" name="Rechthoek 38">
              <a:extLst>
                <a:ext uri="{FF2B5EF4-FFF2-40B4-BE49-F238E27FC236}">
                  <a16:creationId xmlns:a16="http://schemas.microsoft.com/office/drawing/2014/main" id="{71DB2C92-E6A8-4532-98F6-C917E7F5CD17}"/>
                </a:ext>
              </a:extLst>
            </p:cNvPr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0" name="Rechthoek 39">
              <a:extLst>
                <a:ext uri="{FF2B5EF4-FFF2-40B4-BE49-F238E27FC236}">
                  <a16:creationId xmlns:a16="http://schemas.microsoft.com/office/drawing/2014/main" id="{1283F161-5F8A-45E1-A9F2-F823FC1CB0A5}"/>
                </a:ext>
              </a:extLst>
            </p:cNvPr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1" name="Rechthoek 40">
              <a:extLst>
                <a:ext uri="{FF2B5EF4-FFF2-40B4-BE49-F238E27FC236}">
                  <a16:creationId xmlns:a16="http://schemas.microsoft.com/office/drawing/2014/main" id="{E25AE021-76F4-4113-9019-FB3CB3351AD2}"/>
                </a:ext>
              </a:extLst>
            </p:cNvPr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2" name="Rechthoek 41">
              <a:extLst>
                <a:ext uri="{FF2B5EF4-FFF2-40B4-BE49-F238E27FC236}">
                  <a16:creationId xmlns:a16="http://schemas.microsoft.com/office/drawing/2014/main" id="{4F56F574-960D-4395-B98C-5F49ED9EF418}"/>
                </a:ext>
              </a:extLst>
            </p:cNvPr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34E307D0-CCA0-4BDF-BC5F-E19838E9F7DA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4" name="Rechthoek 43">
              <a:extLst>
                <a:ext uri="{FF2B5EF4-FFF2-40B4-BE49-F238E27FC236}">
                  <a16:creationId xmlns:a16="http://schemas.microsoft.com/office/drawing/2014/main" id="{2AEE0B25-FBCC-4048-A2C0-6D97C3E7FEB7}"/>
                </a:ext>
              </a:extLst>
            </p:cNvPr>
            <p:cNvSpPr/>
            <p:nvPr userDrawn="1"/>
          </p:nvSpPr>
          <p:spPr>
            <a:xfrm rot="5400000">
              <a:off x="5895976" y="-108104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618A8028-D7C0-455A-B6A5-E5ECB2C2A8D6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Voettekst</a:t>
            </a:r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9" y="27329718"/>
            <a:ext cx="834509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1B658E1F-0E98-4ED4-B7E8-3A0C15D75D3F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687079" y="6308636"/>
            <a:ext cx="5345254" cy="5484109"/>
          </a:xfrm>
          <a:custGeom>
            <a:avLst/>
            <a:gdLst>
              <a:gd name="connsiteX0" fmla="*/ 0 w 6217773"/>
              <a:gd name="connsiteY0" fmla="*/ 631093 h 5069018"/>
              <a:gd name="connsiteX1" fmla="*/ 631093 w 6217773"/>
              <a:gd name="connsiteY1" fmla="*/ 0 h 5069018"/>
              <a:gd name="connsiteX2" fmla="*/ 5586680 w 6217773"/>
              <a:gd name="connsiteY2" fmla="*/ 0 h 5069018"/>
              <a:gd name="connsiteX3" fmla="*/ 6217773 w 6217773"/>
              <a:gd name="connsiteY3" fmla="*/ 631093 h 5069018"/>
              <a:gd name="connsiteX4" fmla="*/ 6217773 w 6217773"/>
              <a:gd name="connsiteY4" fmla="*/ 4437925 h 5069018"/>
              <a:gd name="connsiteX5" fmla="*/ 5586680 w 6217773"/>
              <a:gd name="connsiteY5" fmla="*/ 5069018 h 5069018"/>
              <a:gd name="connsiteX6" fmla="*/ 631093 w 6217773"/>
              <a:gd name="connsiteY6" fmla="*/ 5069018 h 5069018"/>
              <a:gd name="connsiteX7" fmla="*/ 0 w 6217773"/>
              <a:gd name="connsiteY7" fmla="*/ 4437925 h 5069018"/>
              <a:gd name="connsiteX8" fmla="*/ 0 w 6217773"/>
              <a:gd name="connsiteY8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31029 w 6248802"/>
              <a:gd name="connsiteY0" fmla="*/ 638400 h 5076325"/>
              <a:gd name="connsiteX1" fmla="*/ 35792 w 6248802"/>
              <a:gd name="connsiteY1" fmla="*/ 228 h 5076325"/>
              <a:gd name="connsiteX2" fmla="*/ 662122 w 6248802"/>
              <a:gd name="connsiteY2" fmla="*/ 7307 h 5076325"/>
              <a:gd name="connsiteX3" fmla="*/ 5617709 w 6248802"/>
              <a:gd name="connsiteY3" fmla="*/ 7307 h 5076325"/>
              <a:gd name="connsiteX4" fmla="*/ 6248802 w 6248802"/>
              <a:gd name="connsiteY4" fmla="*/ 638400 h 5076325"/>
              <a:gd name="connsiteX5" fmla="*/ 6248802 w 6248802"/>
              <a:gd name="connsiteY5" fmla="*/ 4445232 h 5076325"/>
              <a:gd name="connsiteX6" fmla="*/ 5617709 w 6248802"/>
              <a:gd name="connsiteY6" fmla="*/ 5076325 h 5076325"/>
              <a:gd name="connsiteX7" fmla="*/ 662122 w 6248802"/>
              <a:gd name="connsiteY7" fmla="*/ 5076325 h 5076325"/>
              <a:gd name="connsiteX8" fmla="*/ 31029 w 6248802"/>
              <a:gd name="connsiteY8" fmla="*/ 4445232 h 5076325"/>
              <a:gd name="connsiteX9" fmla="*/ 31029 w 6248802"/>
              <a:gd name="connsiteY9" fmla="*/ 638400 h 5076325"/>
              <a:gd name="connsiteX0" fmla="*/ 0 w 6217773"/>
              <a:gd name="connsiteY0" fmla="*/ 638860 h 5076785"/>
              <a:gd name="connsiteX1" fmla="*/ 4763 w 6217773"/>
              <a:gd name="connsiteY1" fmla="*/ 688 h 5076785"/>
              <a:gd name="connsiteX2" fmla="*/ 631093 w 6217773"/>
              <a:gd name="connsiteY2" fmla="*/ 7767 h 5076785"/>
              <a:gd name="connsiteX3" fmla="*/ 5586680 w 6217773"/>
              <a:gd name="connsiteY3" fmla="*/ 7767 h 5076785"/>
              <a:gd name="connsiteX4" fmla="*/ 6217773 w 6217773"/>
              <a:gd name="connsiteY4" fmla="*/ 638860 h 5076785"/>
              <a:gd name="connsiteX5" fmla="*/ 6217773 w 6217773"/>
              <a:gd name="connsiteY5" fmla="*/ 4445692 h 5076785"/>
              <a:gd name="connsiteX6" fmla="*/ 5586680 w 6217773"/>
              <a:gd name="connsiteY6" fmla="*/ 5076785 h 5076785"/>
              <a:gd name="connsiteX7" fmla="*/ 631093 w 6217773"/>
              <a:gd name="connsiteY7" fmla="*/ 5076785 h 5076785"/>
              <a:gd name="connsiteX8" fmla="*/ 0 w 6217773"/>
              <a:gd name="connsiteY8" fmla="*/ 4445692 h 5076785"/>
              <a:gd name="connsiteX9" fmla="*/ 0 w 6217773"/>
              <a:gd name="connsiteY9" fmla="*/ 638860 h 5076785"/>
              <a:gd name="connsiteX0" fmla="*/ 64 w 6217837"/>
              <a:gd name="connsiteY0" fmla="*/ 638860 h 5076785"/>
              <a:gd name="connsiteX1" fmla="*/ 4827 w 6217837"/>
              <a:gd name="connsiteY1" fmla="*/ 688 h 5076785"/>
              <a:gd name="connsiteX2" fmla="*/ 631157 w 6217837"/>
              <a:gd name="connsiteY2" fmla="*/ 7767 h 5076785"/>
              <a:gd name="connsiteX3" fmla="*/ 5586744 w 6217837"/>
              <a:gd name="connsiteY3" fmla="*/ 7767 h 5076785"/>
              <a:gd name="connsiteX4" fmla="*/ 6217837 w 6217837"/>
              <a:gd name="connsiteY4" fmla="*/ 638860 h 5076785"/>
              <a:gd name="connsiteX5" fmla="*/ 6217837 w 6217837"/>
              <a:gd name="connsiteY5" fmla="*/ 4445692 h 5076785"/>
              <a:gd name="connsiteX6" fmla="*/ 5586744 w 6217837"/>
              <a:gd name="connsiteY6" fmla="*/ 5076785 h 5076785"/>
              <a:gd name="connsiteX7" fmla="*/ 631157 w 6217837"/>
              <a:gd name="connsiteY7" fmla="*/ 5076785 h 5076785"/>
              <a:gd name="connsiteX8" fmla="*/ 64 w 6217837"/>
              <a:gd name="connsiteY8" fmla="*/ 4445692 h 5076785"/>
              <a:gd name="connsiteX9" fmla="*/ 64 w 6217837"/>
              <a:gd name="connsiteY9" fmla="*/ 638860 h 5076785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586744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17837" h="5069018">
                <a:moveTo>
                  <a:pt x="64" y="631093"/>
                </a:moveTo>
                <a:cubicBezTo>
                  <a:pt x="4033" y="467051"/>
                  <a:pt x="-5105" y="12378"/>
                  <a:pt x="4827" y="2446"/>
                </a:cubicBezTo>
                <a:cubicBezTo>
                  <a:pt x="11584" y="-1136"/>
                  <a:pt x="507287" y="937"/>
                  <a:pt x="631157" y="0"/>
                </a:cubicBezTo>
                <a:lnTo>
                  <a:pt x="5586744" y="0"/>
                </a:lnTo>
                <a:cubicBezTo>
                  <a:pt x="5935287" y="0"/>
                  <a:pt x="6217837" y="282550"/>
                  <a:pt x="6217837" y="631093"/>
                </a:cubicBezTo>
                <a:lnTo>
                  <a:pt x="6217837" y="4437925"/>
                </a:lnTo>
                <a:cubicBezTo>
                  <a:pt x="6217837" y="4786468"/>
                  <a:pt x="5935287" y="5069018"/>
                  <a:pt x="5586744" y="5069018"/>
                </a:cubicBezTo>
                <a:lnTo>
                  <a:pt x="631157" y="5069018"/>
                </a:lnTo>
                <a:cubicBezTo>
                  <a:pt x="282614" y="5069018"/>
                  <a:pt x="64" y="4786468"/>
                  <a:pt x="64" y="4437925"/>
                </a:cubicBezTo>
                <a:lnTo>
                  <a:pt x="64" y="631093"/>
                </a:lnTo>
                <a:close/>
              </a:path>
            </a:pathLst>
          </a:custGeom>
          <a:solidFill>
            <a:schemeClr val="bg2"/>
          </a:solidFill>
        </p:spPr>
        <p:txBody>
          <a:bodyPr lIns="360000" tIns="360000" rIns="360000" bIns="360000"/>
          <a:lstStyle>
            <a:lvl1pPr algn="ctr">
              <a:defRPr sz="4209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Punt 1</a:t>
            </a:r>
          </a:p>
        </p:txBody>
      </p:sp>
      <p:sp>
        <p:nvSpPr>
          <p:cNvPr id="24" name="Tijdelijke aanduiding voor tekst 3">
            <a:extLst>
              <a:ext uri="{FF2B5EF4-FFF2-40B4-BE49-F238E27FC236}">
                <a16:creationId xmlns:a16="http://schemas.microsoft.com/office/drawing/2014/main" id="{9403E59F-DA7E-493E-A75C-18B2CDC74E5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687079" y="13268192"/>
            <a:ext cx="5345254" cy="5484109"/>
          </a:xfrm>
          <a:custGeom>
            <a:avLst/>
            <a:gdLst>
              <a:gd name="connsiteX0" fmla="*/ 0 w 6217773"/>
              <a:gd name="connsiteY0" fmla="*/ 631093 h 5069018"/>
              <a:gd name="connsiteX1" fmla="*/ 631093 w 6217773"/>
              <a:gd name="connsiteY1" fmla="*/ 0 h 5069018"/>
              <a:gd name="connsiteX2" fmla="*/ 5586680 w 6217773"/>
              <a:gd name="connsiteY2" fmla="*/ 0 h 5069018"/>
              <a:gd name="connsiteX3" fmla="*/ 6217773 w 6217773"/>
              <a:gd name="connsiteY3" fmla="*/ 631093 h 5069018"/>
              <a:gd name="connsiteX4" fmla="*/ 6217773 w 6217773"/>
              <a:gd name="connsiteY4" fmla="*/ 4437925 h 5069018"/>
              <a:gd name="connsiteX5" fmla="*/ 5586680 w 6217773"/>
              <a:gd name="connsiteY5" fmla="*/ 5069018 h 5069018"/>
              <a:gd name="connsiteX6" fmla="*/ 631093 w 6217773"/>
              <a:gd name="connsiteY6" fmla="*/ 5069018 h 5069018"/>
              <a:gd name="connsiteX7" fmla="*/ 0 w 6217773"/>
              <a:gd name="connsiteY7" fmla="*/ 4437925 h 5069018"/>
              <a:gd name="connsiteX8" fmla="*/ 0 w 6217773"/>
              <a:gd name="connsiteY8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31029 w 6248802"/>
              <a:gd name="connsiteY0" fmla="*/ 638400 h 5076325"/>
              <a:gd name="connsiteX1" fmla="*/ 35792 w 6248802"/>
              <a:gd name="connsiteY1" fmla="*/ 228 h 5076325"/>
              <a:gd name="connsiteX2" fmla="*/ 662122 w 6248802"/>
              <a:gd name="connsiteY2" fmla="*/ 7307 h 5076325"/>
              <a:gd name="connsiteX3" fmla="*/ 5617709 w 6248802"/>
              <a:gd name="connsiteY3" fmla="*/ 7307 h 5076325"/>
              <a:gd name="connsiteX4" fmla="*/ 6248802 w 6248802"/>
              <a:gd name="connsiteY4" fmla="*/ 638400 h 5076325"/>
              <a:gd name="connsiteX5" fmla="*/ 6248802 w 6248802"/>
              <a:gd name="connsiteY5" fmla="*/ 4445232 h 5076325"/>
              <a:gd name="connsiteX6" fmla="*/ 5617709 w 6248802"/>
              <a:gd name="connsiteY6" fmla="*/ 5076325 h 5076325"/>
              <a:gd name="connsiteX7" fmla="*/ 662122 w 6248802"/>
              <a:gd name="connsiteY7" fmla="*/ 5076325 h 5076325"/>
              <a:gd name="connsiteX8" fmla="*/ 31029 w 6248802"/>
              <a:gd name="connsiteY8" fmla="*/ 4445232 h 5076325"/>
              <a:gd name="connsiteX9" fmla="*/ 31029 w 6248802"/>
              <a:gd name="connsiteY9" fmla="*/ 638400 h 5076325"/>
              <a:gd name="connsiteX0" fmla="*/ 0 w 6217773"/>
              <a:gd name="connsiteY0" fmla="*/ 638860 h 5076785"/>
              <a:gd name="connsiteX1" fmla="*/ 4763 w 6217773"/>
              <a:gd name="connsiteY1" fmla="*/ 688 h 5076785"/>
              <a:gd name="connsiteX2" fmla="*/ 631093 w 6217773"/>
              <a:gd name="connsiteY2" fmla="*/ 7767 h 5076785"/>
              <a:gd name="connsiteX3" fmla="*/ 5586680 w 6217773"/>
              <a:gd name="connsiteY3" fmla="*/ 7767 h 5076785"/>
              <a:gd name="connsiteX4" fmla="*/ 6217773 w 6217773"/>
              <a:gd name="connsiteY4" fmla="*/ 638860 h 5076785"/>
              <a:gd name="connsiteX5" fmla="*/ 6217773 w 6217773"/>
              <a:gd name="connsiteY5" fmla="*/ 4445692 h 5076785"/>
              <a:gd name="connsiteX6" fmla="*/ 5586680 w 6217773"/>
              <a:gd name="connsiteY6" fmla="*/ 5076785 h 5076785"/>
              <a:gd name="connsiteX7" fmla="*/ 631093 w 6217773"/>
              <a:gd name="connsiteY7" fmla="*/ 5076785 h 5076785"/>
              <a:gd name="connsiteX8" fmla="*/ 0 w 6217773"/>
              <a:gd name="connsiteY8" fmla="*/ 4445692 h 5076785"/>
              <a:gd name="connsiteX9" fmla="*/ 0 w 6217773"/>
              <a:gd name="connsiteY9" fmla="*/ 638860 h 5076785"/>
              <a:gd name="connsiteX0" fmla="*/ 64 w 6217837"/>
              <a:gd name="connsiteY0" fmla="*/ 638860 h 5076785"/>
              <a:gd name="connsiteX1" fmla="*/ 4827 w 6217837"/>
              <a:gd name="connsiteY1" fmla="*/ 688 h 5076785"/>
              <a:gd name="connsiteX2" fmla="*/ 631157 w 6217837"/>
              <a:gd name="connsiteY2" fmla="*/ 7767 h 5076785"/>
              <a:gd name="connsiteX3" fmla="*/ 5586744 w 6217837"/>
              <a:gd name="connsiteY3" fmla="*/ 7767 h 5076785"/>
              <a:gd name="connsiteX4" fmla="*/ 6217837 w 6217837"/>
              <a:gd name="connsiteY4" fmla="*/ 638860 h 5076785"/>
              <a:gd name="connsiteX5" fmla="*/ 6217837 w 6217837"/>
              <a:gd name="connsiteY5" fmla="*/ 4445692 h 5076785"/>
              <a:gd name="connsiteX6" fmla="*/ 5586744 w 6217837"/>
              <a:gd name="connsiteY6" fmla="*/ 5076785 h 5076785"/>
              <a:gd name="connsiteX7" fmla="*/ 631157 w 6217837"/>
              <a:gd name="connsiteY7" fmla="*/ 5076785 h 5076785"/>
              <a:gd name="connsiteX8" fmla="*/ 64 w 6217837"/>
              <a:gd name="connsiteY8" fmla="*/ 4445692 h 5076785"/>
              <a:gd name="connsiteX9" fmla="*/ 64 w 6217837"/>
              <a:gd name="connsiteY9" fmla="*/ 638860 h 5076785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586744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17837" h="5069018">
                <a:moveTo>
                  <a:pt x="64" y="631093"/>
                </a:moveTo>
                <a:cubicBezTo>
                  <a:pt x="4033" y="467051"/>
                  <a:pt x="-5105" y="12378"/>
                  <a:pt x="4827" y="2446"/>
                </a:cubicBezTo>
                <a:cubicBezTo>
                  <a:pt x="11584" y="-1136"/>
                  <a:pt x="507287" y="937"/>
                  <a:pt x="631157" y="0"/>
                </a:cubicBezTo>
                <a:lnTo>
                  <a:pt x="5586744" y="0"/>
                </a:lnTo>
                <a:cubicBezTo>
                  <a:pt x="5935287" y="0"/>
                  <a:pt x="6217837" y="282550"/>
                  <a:pt x="6217837" y="631093"/>
                </a:cubicBezTo>
                <a:lnTo>
                  <a:pt x="6217837" y="4437925"/>
                </a:lnTo>
                <a:cubicBezTo>
                  <a:pt x="6217837" y="4786468"/>
                  <a:pt x="5935287" y="5069018"/>
                  <a:pt x="5586744" y="5069018"/>
                </a:cubicBezTo>
                <a:lnTo>
                  <a:pt x="631157" y="5069018"/>
                </a:lnTo>
                <a:cubicBezTo>
                  <a:pt x="282614" y="5069018"/>
                  <a:pt x="64" y="4786468"/>
                  <a:pt x="64" y="4437925"/>
                </a:cubicBezTo>
                <a:lnTo>
                  <a:pt x="64" y="631093"/>
                </a:lnTo>
                <a:close/>
              </a:path>
            </a:pathLst>
          </a:custGeom>
          <a:solidFill>
            <a:schemeClr val="bg2"/>
          </a:solidFill>
        </p:spPr>
        <p:txBody>
          <a:bodyPr lIns="360000" tIns="360000" rIns="360000" bIns="360000"/>
          <a:lstStyle>
            <a:lvl1pPr algn="ctr">
              <a:defRPr sz="4209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Punt 2</a:t>
            </a:r>
          </a:p>
        </p:txBody>
      </p:sp>
      <p:sp>
        <p:nvSpPr>
          <p:cNvPr id="25" name="Tijdelijke aanduiding voor tekst 3">
            <a:extLst>
              <a:ext uri="{FF2B5EF4-FFF2-40B4-BE49-F238E27FC236}">
                <a16:creationId xmlns:a16="http://schemas.microsoft.com/office/drawing/2014/main" id="{18770FDC-CD6D-4A8D-A3C8-1090C7435D39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687079" y="20230721"/>
            <a:ext cx="5345254" cy="5484109"/>
          </a:xfrm>
          <a:custGeom>
            <a:avLst/>
            <a:gdLst>
              <a:gd name="connsiteX0" fmla="*/ 0 w 6217773"/>
              <a:gd name="connsiteY0" fmla="*/ 631093 h 5069018"/>
              <a:gd name="connsiteX1" fmla="*/ 631093 w 6217773"/>
              <a:gd name="connsiteY1" fmla="*/ 0 h 5069018"/>
              <a:gd name="connsiteX2" fmla="*/ 5586680 w 6217773"/>
              <a:gd name="connsiteY2" fmla="*/ 0 h 5069018"/>
              <a:gd name="connsiteX3" fmla="*/ 6217773 w 6217773"/>
              <a:gd name="connsiteY3" fmla="*/ 631093 h 5069018"/>
              <a:gd name="connsiteX4" fmla="*/ 6217773 w 6217773"/>
              <a:gd name="connsiteY4" fmla="*/ 4437925 h 5069018"/>
              <a:gd name="connsiteX5" fmla="*/ 5586680 w 6217773"/>
              <a:gd name="connsiteY5" fmla="*/ 5069018 h 5069018"/>
              <a:gd name="connsiteX6" fmla="*/ 631093 w 6217773"/>
              <a:gd name="connsiteY6" fmla="*/ 5069018 h 5069018"/>
              <a:gd name="connsiteX7" fmla="*/ 0 w 6217773"/>
              <a:gd name="connsiteY7" fmla="*/ 4437925 h 5069018"/>
              <a:gd name="connsiteX8" fmla="*/ 0 w 6217773"/>
              <a:gd name="connsiteY8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31029 w 6248802"/>
              <a:gd name="connsiteY0" fmla="*/ 638400 h 5076325"/>
              <a:gd name="connsiteX1" fmla="*/ 35792 w 6248802"/>
              <a:gd name="connsiteY1" fmla="*/ 228 h 5076325"/>
              <a:gd name="connsiteX2" fmla="*/ 662122 w 6248802"/>
              <a:gd name="connsiteY2" fmla="*/ 7307 h 5076325"/>
              <a:gd name="connsiteX3" fmla="*/ 5617709 w 6248802"/>
              <a:gd name="connsiteY3" fmla="*/ 7307 h 5076325"/>
              <a:gd name="connsiteX4" fmla="*/ 6248802 w 6248802"/>
              <a:gd name="connsiteY4" fmla="*/ 638400 h 5076325"/>
              <a:gd name="connsiteX5" fmla="*/ 6248802 w 6248802"/>
              <a:gd name="connsiteY5" fmla="*/ 4445232 h 5076325"/>
              <a:gd name="connsiteX6" fmla="*/ 5617709 w 6248802"/>
              <a:gd name="connsiteY6" fmla="*/ 5076325 h 5076325"/>
              <a:gd name="connsiteX7" fmla="*/ 662122 w 6248802"/>
              <a:gd name="connsiteY7" fmla="*/ 5076325 h 5076325"/>
              <a:gd name="connsiteX8" fmla="*/ 31029 w 6248802"/>
              <a:gd name="connsiteY8" fmla="*/ 4445232 h 5076325"/>
              <a:gd name="connsiteX9" fmla="*/ 31029 w 6248802"/>
              <a:gd name="connsiteY9" fmla="*/ 638400 h 5076325"/>
              <a:gd name="connsiteX0" fmla="*/ 0 w 6217773"/>
              <a:gd name="connsiteY0" fmla="*/ 638860 h 5076785"/>
              <a:gd name="connsiteX1" fmla="*/ 4763 w 6217773"/>
              <a:gd name="connsiteY1" fmla="*/ 688 h 5076785"/>
              <a:gd name="connsiteX2" fmla="*/ 631093 w 6217773"/>
              <a:gd name="connsiteY2" fmla="*/ 7767 h 5076785"/>
              <a:gd name="connsiteX3" fmla="*/ 5586680 w 6217773"/>
              <a:gd name="connsiteY3" fmla="*/ 7767 h 5076785"/>
              <a:gd name="connsiteX4" fmla="*/ 6217773 w 6217773"/>
              <a:gd name="connsiteY4" fmla="*/ 638860 h 5076785"/>
              <a:gd name="connsiteX5" fmla="*/ 6217773 w 6217773"/>
              <a:gd name="connsiteY5" fmla="*/ 4445692 h 5076785"/>
              <a:gd name="connsiteX6" fmla="*/ 5586680 w 6217773"/>
              <a:gd name="connsiteY6" fmla="*/ 5076785 h 5076785"/>
              <a:gd name="connsiteX7" fmla="*/ 631093 w 6217773"/>
              <a:gd name="connsiteY7" fmla="*/ 5076785 h 5076785"/>
              <a:gd name="connsiteX8" fmla="*/ 0 w 6217773"/>
              <a:gd name="connsiteY8" fmla="*/ 4445692 h 5076785"/>
              <a:gd name="connsiteX9" fmla="*/ 0 w 6217773"/>
              <a:gd name="connsiteY9" fmla="*/ 638860 h 5076785"/>
              <a:gd name="connsiteX0" fmla="*/ 64 w 6217837"/>
              <a:gd name="connsiteY0" fmla="*/ 638860 h 5076785"/>
              <a:gd name="connsiteX1" fmla="*/ 4827 w 6217837"/>
              <a:gd name="connsiteY1" fmla="*/ 688 h 5076785"/>
              <a:gd name="connsiteX2" fmla="*/ 631157 w 6217837"/>
              <a:gd name="connsiteY2" fmla="*/ 7767 h 5076785"/>
              <a:gd name="connsiteX3" fmla="*/ 5586744 w 6217837"/>
              <a:gd name="connsiteY3" fmla="*/ 7767 h 5076785"/>
              <a:gd name="connsiteX4" fmla="*/ 6217837 w 6217837"/>
              <a:gd name="connsiteY4" fmla="*/ 638860 h 5076785"/>
              <a:gd name="connsiteX5" fmla="*/ 6217837 w 6217837"/>
              <a:gd name="connsiteY5" fmla="*/ 4445692 h 5076785"/>
              <a:gd name="connsiteX6" fmla="*/ 5586744 w 6217837"/>
              <a:gd name="connsiteY6" fmla="*/ 5076785 h 5076785"/>
              <a:gd name="connsiteX7" fmla="*/ 631157 w 6217837"/>
              <a:gd name="connsiteY7" fmla="*/ 5076785 h 5076785"/>
              <a:gd name="connsiteX8" fmla="*/ 64 w 6217837"/>
              <a:gd name="connsiteY8" fmla="*/ 4445692 h 5076785"/>
              <a:gd name="connsiteX9" fmla="*/ 64 w 6217837"/>
              <a:gd name="connsiteY9" fmla="*/ 638860 h 5076785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586744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17837" h="5069018">
                <a:moveTo>
                  <a:pt x="64" y="631093"/>
                </a:moveTo>
                <a:cubicBezTo>
                  <a:pt x="4033" y="467051"/>
                  <a:pt x="-5105" y="12378"/>
                  <a:pt x="4827" y="2446"/>
                </a:cubicBezTo>
                <a:cubicBezTo>
                  <a:pt x="11584" y="-1136"/>
                  <a:pt x="507287" y="937"/>
                  <a:pt x="631157" y="0"/>
                </a:cubicBezTo>
                <a:lnTo>
                  <a:pt x="5586744" y="0"/>
                </a:lnTo>
                <a:cubicBezTo>
                  <a:pt x="5935287" y="0"/>
                  <a:pt x="6217837" y="282550"/>
                  <a:pt x="6217837" y="631093"/>
                </a:cubicBezTo>
                <a:lnTo>
                  <a:pt x="6217837" y="4437925"/>
                </a:lnTo>
                <a:cubicBezTo>
                  <a:pt x="6217837" y="4786468"/>
                  <a:pt x="5935287" y="5069018"/>
                  <a:pt x="5586744" y="5069018"/>
                </a:cubicBezTo>
                <a:lnTo>
                  <a:pt x="631157" y="5069018"/>
                </a:lnTo>
                <a:cubicBezTo>
                  <a:pt x="282614" y="5069018"/>
                  <a:pt x="64" y="4786468"/>
                  <a:pt x="64" y="4437925"/>
                </a:cubicBezTo>
                <a:lnTo>
                  <a:pt x="64" y="631093"/>
                </a:lnTo>
                <a:close/>
              </a:path>
            </a:pathLst>
          </a:custGeom>
          <a:solidFill>
            <a:schemeClr val="bg2"/>
          </a:solidFill>
        </p:spPr>
        <p:txBody>
          <a:bodyPr lIns="360000" tIns="360000" rIns="360000" bIns="360000"/>
          <a:lstStyle>
            <a:lvl1pPr algn="ctr">
              <a:defRPr sz="4209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Punt 3</a:t>
            </a:r>
          </a:p>
        </p:txBody>
      </p:sp>
      <p:sp>
        <p:nvSpPr>
          <p:cNvPr id="21" name="Tijdelijke aanduiding voor tekst 2">
            <a:extLst>
              <a:ext uri="{FF2B5EF4-FFF2-40B4-BE49-F238E27FC236}">
                <a16:creationId xmlns:a16="http://schemas.microsoft.com/office/drawing/2014/main" id="{93201188-BF14-4AD6-B8D4-12C6EDF4869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33803" y="6316510"/>
            <a:ext cx="25627524" cy="5476873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089185" y="2382"/>
                </a:lnTo>
                <a:cubicBezTo>
                  <a:pt x="7208841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08841" y="1240632"/>
                  <a:pt x="7089185" y="1240632"/>
                </a:cubicBezTo>
                <a:lnTo>
                  <a:pt x="216824" y="1240632"/>
                </a:lnTo>
                <a:cubicBezTo>
                  <a:pt x="9716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>
              <a:spcAft>
                <a:spcPts val="0"/>
              </a:spcAft>
              <a:defRPr sz="4209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6" name="Tijdelijke aanduiding voor tekst 2">
            <a:extLst>
              <a:ext uri="{FF2B5EF4-FFF2-40B4-BE49-F238E27FC236}">
                <a16:creationId xmlns:a16="http://schemas.microsoft.com/office/drawing/2014/main" id="{6BECFFED-1A12-4250-8E12-F2451314694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533803" y="13275428"/>
            <a:ext cx="25627524" cy="5476873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089185" y="2382"/>
                </a:lnTo>
                <a:cubicBezTo>
                  <a:pt x="7208841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08841" y="1240632"/>
                  <a:pt x="7089185" y="1240632"/>
                </a:cubicBezTo>
                <a:lnTo>
                  <a:pt x="216824" y="1240632"/>
                </a:lnTo>
                <a:cubicBezTo>
                  <a:pt x="9716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>
              <a:spcAft>
                <a:spcPts val="0"/>
              </a:spcAft>
              <a:defRPr sz="4209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7" name="Tijdelijke aanduiding voor tekst 2">
            <a:extLst>
              <a:ext uri="{FF2B5EF4-FFF2-40B4-BE49-F238E27FC236}">
                <a16:creationId xmlns:a16="http://schemas.microsoft.com/office/drawing/2014/main" id="{9A7B8253-F6CE-4FCD-AB4A-5EBAC3E7B2E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533803" y="20234339"/>
            <a:ext cx="25627524" cy="5476873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089185" y="2382"/>
                </a:lnTo>
                <a:cubicBezTo>
                  <a:pt x="7208841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08841" y="1240632"/>
                  <a:pt x="7089185" y="1240632"/>
                </a:cubicBezTo>
                <a:lnTo>
                  <a:pt x="216824" y="1240632"/>
                </a:lnTo>
                <a:cubicBezTo>
                  <a:pt x="9716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>
              <a:spcAft>
                <a:spcPts val="0"/>
              </a:spcAft>
              <a:defRPr sz="4209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pic>
        <p:nvPicPr>
          <p:cNvPr id="34" name="Afbeelding 33">
            <a:extLst>
              <a:ext uri="{FF2B5EF4-FFF2-40B4-BE49-F238E27FC236}">
                <a16:creationId xmlns:a16="http://schemas.microsoft.com/office/drawing/2014/main" id="{C1D6ADE6-9F8A-4FFA-9F89-B845469FFC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  <p:grpSp>
        <p:nvGrpSpPr>
          <p:cNvPr id="35" name="Instructie">
            <a:extLst>
              <a:ext uri="{FF2B5EF4-FFF2-40B4-BE49-F238E27FC236}">
                <a16:creationId xmlns:a16="http://schemas.microsoft.com/office/drawing/2014/main" id="{0950F664-376F-47E8-A039-7D1F3ABF53A0}"/>
              </a:ext>
            </a:extLst>
          </p:cNvPr>
          <p:cNvGrpSpPr/>
          <p:nvPr userDrawn="1"/>
        </p:nvGrpSpPr>
        <p:grpSpPr>
          <a:xfrm>
            <a:off x="43268722" y="0"/>
            <a:ext cx="11164508" cy="11743958"/>
            <a:chOff x="-3426088" y="4512342"/>
            <a:chExt cx="3182755" cy="2660264"/>
          </a:xfrm>
        </p:grpSpPr>
        <p:sp>
          <p:nvSpPr>
            <p:cNvPr id="36" name="Rechthoek 127">
              <a:extLst>
                <a:ext uri="{FF2B5EF4-FFF2-40B4-BE49-F238E27FC236}">
                  <a16:creationId xmlns:a16="http://schemas.microsoft.com/office/drawing/2014/main" id="{AE1BB9F2-F060-49F0-9B39-1909F6E2227B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37" name="Rechte verbindingslijn 128">
              <a:extLst>
                <a:ext uri="{FF2B5EF4-FFF2-40B4-BE49-F238E27FC236}">
                  <a16:creationId xmlns:a16="http://schemas.microsoft.com/office/drawing/2014/main" id="{AEA21112-DF6D-4506-933C-AED4861CFC8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8" name="Rechthoek 130">
              <a:extLst>
                <a:ext uri="{FF2B5EF4-FFF2-40B4-BE49-F238E27FC236}">
                  <a16:creationId xmlns:a16="http://schemas.microsoft.com/office/drawing/2014/main" id="{F89FD12B-CCDB-4EB4-B0A7-AFD5CCE7D284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49" name="Rechthoek 133">
              <a:extLst>
                <a:ext uri="{FF2B5EF4-FFF2-40B4-BE49-F238E27FC236}">
                  <a16:creationId xmlns:a16="http://schemas.microsoft.com/office/drawing/2014/main" id="{6A485D93-0FAA-4147-A4EA-8EC80B5EAB71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50" name="Rechthoek 136">
              <a:extLst>
                <a:ext uri="{FF2B5EF4-FFF2-40B4-BE49-F238E27FC236}">
                  <a16:creationId xmlns:a16="http://schemas.microsoft.com/office/drawing/2014/main" id="{BB0CB53E-11EF-477C-BE13-7DE257BC42F9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51" name="Rechthoek 139">
              <a:extLst>
                <a:ext uri="{FF2B5EF4-FFF2-40B4-BE49-F238E27FC236}">
                  <a16:creationId xmlns:a16="http://schemas.microsoft.com/office/drawing/2014/main" id="{5AC49D2B-0BA2-4398-B23A-5D9811CD5F65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60" name="Rechte verbindingslijn 140">
              <a:extLst>
                <a:ext uri="{FF2B5EF4-FFF2-40B4-BE49-F238E27FC236}">
                  <a16:creationId xmlns:a16="http://schemas.microsoft.com/office/drawing/2014/main" id="{4DAF4CBF-B6A1-42BE-B12F-1CF59C2CC3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244220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/Inhou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7FC8C1DB-5A16-4DC5-BE9E-D1DB67A9F5BF}"/>
              </a:ext>
            </a:extLst>
          </p:cNvPr>
          <p:cNvSpPr/>
          <p:nvPr userDrawn="1"/>
        </p:nvSpPr>
        <p:spPr>
          <a:xfrm>
            <a:off x="-5570" y="22482158"/>
            <a:ext cx="42767250" cy="78246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0855" tIns="150855" rIns="150855" bIns="150855" rtlCol="0" anchor="ctr"/>
          <a:lstStyle/>
          <a:p>
            <a:pPr algn="ctr"/>
            <a:endParaRPr lang="nl-NL" sz="1957" noProof="0"/>
          </a:p>
        </p:txBody>
      </p:sp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-5562" y="-31536"/>
            <a:ext cx="42767255" cy="30306755"/>
          </a:xfrm>
          <a:solidFill>
            <a:schemeClr val="bg1">
              <a:lumMod val="95000"/>
            </a:schemeClr>
          </a:solidFill>
        </p:spPr>
        <p:txBody>
          <a:bodyPr tIns="100800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77" b="0" i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B0FACCAB-FC4B-4AA0-B92F-53F1DD2A892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685533" y="1766054"/>
            <a:ext cx="11962420" cy="22233608"/>
          </a:xfrm>
          <a:custGeom>
            <a:avLst/>
            <a:gdLst>
              <a:gd name="connsiteX0" fmla="*/ 0 w 3384000"/>
              <a:gd name="connsiteY0" fmla="*/ 122061 h 5036400"/>
              <a:gd name="connsiteX1" fmla="*/ 122061 w 3384000"/>
              <a:gd name="connsiteY1" fmla="*/ 0 h 5036400"/>
              <a:gd name="connsiteX2" fmla="*/ 3261939 w 3384000"/>
              <a:gd name="connsiteY2" fmla="*/ 0 h 5036400"/>
              <a:gd name="connsiteX3" fmla="*/ 3384000 w 3384000"/>
              <a:gd name="connsiteY3" fmla="*/ 122061 h 5036400"/>
              <a:gd name="connsiteX4" fmla="*/ 3384000 w 3384000"/>
              <a:gd name="connsiteY4" fmla="*/ 4914339 h 5036400"/>
              <a:gd name="connsiteX5" fmla="*/ 3261939 w 3384000"/>
              <a:gd name="connsiteY5" fmla="*/ 5036400 h 5036400"/>
              <a:gd name="connsiteX6" fmla="*/ 122061 w 3384000"/>
              <a:gd name="connsiteY6" fmla="*/ 5036400 h 5036400"/>
              <a:gd name="connsiteX7" fmla="*/ 0 w 3384000"/>
              <a:gd name="connsiteY7" fmla="*/ 4914339 h 5036400"/>
              <a:gd name="connsiteX8" fmla="*/ 0 w 3384000"/>
              <a:gd name="connsiteY8" fmla="*/ 122061 h 5036400"/>
              <a:gd name="connsiteX0" fmla="*/ 139014 w 3523014"/>
              <a:gd name="connsiteY0" fmla="*/ 381655 h 5295994"/>
              <a:gd name="connsiteX1" fmla="*/ 167589 w 3523014"/>
              <a:gd name="connsiteY1" fmla="*/ 291344 h 5295994"/>
              <a:gd name="connsiteX2" fmla="*/ 261075 w 3523014"/>
              <a:gd name="connsiteY2" fmla="*/ 259594 h 5295994"/>
              <a:gd name="connsiteX3" fmla="*/ 3400953 w 3523014"/>
              <a:gd name="connsiteY3" fmla="*/ 259594 h 5295994"/>
              <a:gd name="connsiteX4" fmla="*/ 3523014 w 3523014"/>
              <a:gd name="connsiteY4" fmla="*/ 381655 h 5295994"/>
              <a:gd name="connsiteX5" fmla="*/ 3523014 w 3523014"/>
              <a:gd name="connsiteY5" fmla="*/ 5173933 h 5295994"/>
              <a:gd name="connsiteX6" fmla="*/ 3400953 w 3523014"/>
              <a:gd name="connsiteY6" fmla="*/ 5295994 h 5295994"/>
              <a:gd name="connsiteX7" fmla="*/ 261075 w 3523014"/>
              <a:gd name="connsiteY7" fmla="*/ 5295994 h 5295994"/>
              <a:gd name="connsiteX8" fmla="*/ 139014 w 3523014"/>
              <a:gd name="connsiteY8" fmla="*/ 5173933 h 5295994"/>
              <a:gd name="connsiteX9" fmla="*/ 139014 w 3523014"/>
              <a:gd name="connsiteY9" fmla="*/ 381655 h 5295994"/>
              <a:gd name="connsiteX0" fmla="*/ 139014 w 3523014"/>
              <a:gd name="connsiteY0" fmla="*/ 381655 h 5295994"/>
              <a:gd name="connsiteX1" fmla="*/ 167589 w 3523014"/>
              <a:gd name="connsiteY1" fmla="*/ 291344 h 5295994"/>
              <a:gd name="connsiteX2" fmla="*/ 261075 w 3523014"/>
              <a:gd name="connsiteY2" fmla="*/ 259594 h 5295994"/>
              <a:gd name="connsiteX3" fmla="*/ 3400953 w 3523014"/>
              <a:gd name="connsiteY3" fmla="*/ 259594 h 5295994"/>
              <a:gd name="connsiteX4" fmla="*/ 3523014 w 3523014"/>
              <a:gd name="connsiteY4" fmla="*/ 381655 h 5295994"/>
              <a:gd name="connsiteX5" fmla="*/ 3523014 w 3523014"/>
              <a:gd name="connsiteY5" fmla="*/ 5173933 h 5295994"/>
              <a:gd name="connsiteX6" fmla="*/ 3400953 w 3523014"/>
              <a:gd name="connsiteY6" fmla="*/ 5295994 h 5295994"/>
              <a:gd name="connsiteX7" fmla="*/ 261075 w 3523014"/>
              <a:gd name="connsiteY7" fmla="*/ 5295994 h 5295994"/>
              <a:gd name="connsiteX8" fmla="*/ 139014 w 3523014"/>
              <a:gd name="connsiteY8" fmla="*/ 5173933 h 5295994"/>
              <a:gd name="connsiteX9" fmla="*/ 139014 w 3523014"/>
              <a:gd name="connsiteY9" fmla="*/ 381655 h 5295994"/>
              <a:gd name="connsiteX0" fmla="*/ 148137 w 3532137"/>
              <a:gd name="connsiteY0" fmla="*/ 390093 h 5304432"/>
              <a:gd name="connsiteX1" fmla="*/ 148137 w 3532137"/>
              <a:gd name="connsiteY1" fmla="*/ 271207 h 5304432"/>
              <a:gd name="connsiteX2" fmla="*/ 270198 w 3532137"/>
              <a:gd name="connsiteY2" fmla="*/ 268032 h 5304432"/>
              <a:gd name="connsiteX3" fmla="*/ 3410076 w 3532137"/>
              <a:gd name="connsiteY3" fmla="*/ 268032 h 5304432"/>
              <a:gd name="connsiteX4" fmla="*/ 3532137 w 3532137"/>
              <a:gd name="connsiteY4" fmla="*/ 390093 h 5304432"/>
              <a:gd name="connsiteX5" fmla="*/ 3532137 w 3532137"/>
              <a:gd name="connsiteY5" fmla="*/ 5182371 h 5304432"/>
              <a:gd name="connsiteX6" fmla="*/ 3410076 w 3532137"/>
              <a:gd name="connsiteY6" fmla="*/ 5304432 h 5304432"/>
              <a:gd name="connsiteX7" fmla="*/ 270198 w 3532137"/>
              <a:gd name="connsiteY7" fmla="*/ 5304432 h 5304432"/>
              <a:gd name="connsiteX8" fmla="*/ 148137 w 3532137"/>
              <a:gd name="connsiteY8" fmla="*/ 5182371 h 5304432"/>
              <a:gd name="connsiteX9" fmla="*/ 148137 w 3532137"/>
              <a:gd name="connsiteY9" fmla="*/ 390093 h 5304432"/>
              <a:gd name="connsiteX0" fmla="*/ 8072 w 3392072"/>
              <a:gd name="connsiteY0" fmla="*/ 390093 h 5304432"/>
              <a:gd name="connsiteX1" fmla="*/ 8072 w 3392072"/>
              <a:gd name="connsiteY1" fmla="*/ 271207 h 5304432"/>
              <a:gd name="connsiteX2" fmla="*/ 130133 w 3392072"/>
              <a:gd name="connsiteY2" fmla="*/ 268032 h 5304432"/>
              <a:gd name="connsiteX3" fmla="*/ 3270011 w 3392072"/>
              <a:gd name="connsiteY3" fmla="*/ 268032 h 5304432"/>
              <a:gd name="connsiteX4" fmla="*/ 3392072 w 3392072"/>
              <a:gd name="connsiteY4" fmla="*/ 390093 h 5304432"/>
              <a:gd name="connsiteX5" fmla="*/ 3392072 w 3392072"/>
              <a:gd name="connsiteY5" fmla="*/ 5182371 h 5304432"/>
              <a:gd name="connsiteX6" fmla="*/ 3270011 w 3392072"/>
              <a:gd name="connsiteY6" fmla="*/ 5304432 h 5304432"/>
              <a:gd name="connsiteX7" fmla="*/ 130133 w 3392072"/>
              <a:gd name="connsiteY7" fmla="*/ 5304432 h 5304432"/>
              <a:gd name="connsiteX8" fmla="*/ 8072 w 3392072"/>
              <a:gd name="connsiteY8" fmla="*/ 5182371 h 5304432"/>
              <a:gd name="connsiteX9" fmla="*/ 8072 w 3392072"/>
              <a:gd name="connsiteY9" fmla="*/ 390093 h 5304432"/>
              <a:gd name="connsiteX0" fmla="*/ 8072 w 3392072"/>
              <a:gd name="connsiteY0" fmla="*/ 129113 h 5043452"/>
              <a:gd name="connsiteX1" fmla="*/ 8072 w 3392072"/>
              <a:gd name="connsiteY1" fmla="*/ 10227 h 5043452"/>
              <a:gd name="connsiteX2" fmla="*/ 130133 w 3392072"/>
              <a:gd name="connsiteY2" fmla="*/ 7052 h 5043452"/>
              <a:gd name="connsiteX3" fmla="*/ 3270011 w 3392072"/>
              <a:gd name="connsiteY3" fmla="*/ 7052 h 5043452"/>
              <a:gd name="connsiteX4" fmla="*/ 3392072 w 3392072"/>
              <a:gd name="connsiteY4" fmla="*/ 129113 h 5043452"/>
              <a:gd name="connsiteX5" fmla="*/ 3392072 w 3392072"/>
              <a:gd name="connsiteY5" fmla="*/ 4921391 h 5043452"/>
              <a:gd name="connsiteX6" fmla="*/ 3270011 w 3392072"/>
              <a:gd name="connsiteY6" fmla="*/ 5043452 h 5043452"/>
              <a:gd name="connsiteX7" fmla="*/ 130133 w 3392072"/>
              <a:gd name="connsiteY7" fmla="*/ 5043452 h 5043452"/>
              <a:gd name="connsiteX8" fmla="*/ 8072 w 3392072"/>
              <a:gd name="connsiteY8" fmla="*/ 4921391 h 5043452"/>
              <a:gd name="connsiteX9" fmla="*/ 8072 w 3392072"/>
              <a:gd name="connsiteY9" fmla="*/ 129113 h 5043452"/>
              <a:gd name="connsiteX0" fmla="*/ 7649 w 3391649"/>
              <a:gd name="connsiteY0" fmla="*/ 129113 h 5043452"/>
              <a:gd name="connsiteX1" fmla="*/ 7649 w 3391649"/>
              <a:gd name="connsiteY1" fmla="*/ 10227 h 5043452"/>
              <a:gd name="connsiteX2" fmla="*/ 129710 w 3391649"/>
              <a:gd name="connsiteY2" fmla="*/ 7052 h 5043452"/>
              <a:gd name="connsiteX3" fmla="*/ 3269588 w 3391649"/>
              <a:gd name="connsiteY3" fmla="*/ 7052 h 5043452"/>
              <a:gd name="connsiteX4" fmla="*/ 3391649 w 3391649"/>
              <a:gd name="connsiteY4" fmla="*/ 129113 h 5043452"/>
              <a:gd name="connsiteX5" fmla="*/ 3391649 w 3391649"/>
              <a:gd name="connsiteY5" fmla="*/ 4921391 h 5043452"/>
              <a:gd name="connsiteX6" fmla="*/ 3269588 w 3391649"/>
              <a:gd name="connsiteY6" fmla="*/ 5043452 h 5043452"/>
              <a:gd name="connsiteX7" fmla="*/ 129710 w 3391649"/>
              <a:gd name="connsiteY7" fmla="*/ 5043452 h 5043452"/>
              <a:gd name="connsiteX8" fmla="*/ 7649 w 3391649"/>
              <a:gd name="connsiteY8" fmla="*/ 4921391 h 5043452"/>
              <a:gd name="connsiteX9" fmla="*/ 7649 w 3391649"/>
              <a:gd name="connsiteY9" fmla="*/ 129113 h 5043452"/>
              <a:gd name="connsiteX0" fmla="*/ 7649 w 3391649"/>
              <a:gd name="connsiteY0" fmla="*/ 122287 h 5036626"/>
              <a:gd name="connsiteX1" fmla="*/ 7649 w 3391649"/>
              <a:gd name="connsiteY1" fmla="*/ 3401 h 5036626"/>
              <a:gd name="connsiteX2" fmla="*/ 129710 w 3391649"/>
              <a:gd name="connsiteY2" fmla="*/ 226 h 5036626"/>
              <a:gd name="connsiteX3" fmla="*/ 3269588 w 3391649"/>
              <a:gd name="connsiteY3" fmla="*/ 226 h 5036626"/>
              <a:gd name="connsiteX4" fmla="*/ 3391649 w 3391649"/>
              <a:gd name="connsiteY4" fmla="*/ 122287 h 5036626"/>
              <a:gd name="connsiteX5" fmla="*/ 3391649 w 3391649"/>
              <a:gd name="connsiteY5" fmla="*/ 4914565 h 5036626"/>
              <a:gd name="connsiteX6" fmla="*/ 3269588 w 3391649"/>
              <a:gd name="connsiteY6" fmla="*/ 5036626 h 5036626"/>
              <a:gd name="connsiteX7" fmla="*/ 129710 w 3391649"/>
              <a:gd name="connsiteY7" fmla="*/ 5036626 h 5036626"/>
              <a:gd name="connsiteX8" fmla="*/ 7649 w 3391649"/>
              <a:gd name="connsiteY8" fmla="*/ 4914565 h 5036626"/>
              <a:gd name="connsiteX9" fmla="*/ 7649 w 3391649"/>
              <a:gd name="connsiteY9" fmla="*/ 122287 h 5036626"/>
              <a:gd name="connsiteX0" fmla="*/ 7649 w 3391649"/>
              <a:gd name="connsiteY0" fmla="*/ 127836 h 5042175"/>
              <a:gd name="connsiteX1" fmla="*/ 7649 w 3391649"/>
              <a:gd name="connsiteY1" fmla="*/ 8950 h 5042175"/>
              <a:gd name="connsiteX2" fmla="*/ 129710 w 3391649"/>
              <a:gd name="connsiteY2" fmla="*/ 5775 h 5042175"/>
              <a:gd name="connsiteX3" fmla="*/ 3269588 w 3391649"/>
              <a:gd name="connsiteY3" fmla="*/ 5775 h 5042175"/>
              <a:gd name="connsiteX4" fmla="*/ 3391649 w 3391649"/>
              <a:gd name="connsiteY4" fmla="*/ 127836 h 5042175"/>
              <a:gd name="connsiteX5" fmla="*/ 3391649 w 3391649"/>
              <a:gd name="connsiteY5" fmla="*/ 4920114 h 5042175"/>
              <a:gd name="connsiteX6" fmla="*/ 3269588 w 3391649"/>
              <a:gd name="connsiteY6" fmla="*/ 5042175 h 5042175"/>
              <a:gd name="connsiteX7" fmla="*/ 129710 w 3391649"/>
              <a:gd name="connsiteY7" fmla="*/ 5042175 h 5042175"/>
              <a:gd name="connsiteX8" fmla="*/ 7649 w 3391649"/>
              <a:gd name="connsiteY8" fmla="*/ 4920114 h 5042175"/>
              <a:gd name="connsiteX9" fmla="*/ 7649 w 3391649"/>
              <a:gd name="connsiteY9" fmla="*/ 127836 h 5042175"/>
              <a:gd name="connsiteX0" fmla="*/ 7649 w 3391649"/>
              <a:gd name="connsiteY0" fmla="*/ 127836 h 5042175"/>
              <a:gd name="connsiteX1" fmla="*/ 7649 w 3391649"/>
              <a:gd name="connsiteY1" fmla="*/ 8950 h 5042175"/>
              <a:gd name="connsiteX2" fmla="*/ 129710 w 3391649"/>
              <a:gd name="connsiteY2" fmla="*/ 5775 h 5042175"/>
              <a:gd name="connsiteX3" fmla="*/ 3269588 w 3391649"/>
              <a:gd name="connsiteY3" fmla="*/ 5775 h 5042175"/>
              <a:gd name="connsiteX4" fmla="*/ 3391649 w 3391649"/>
              <a:gd name="connsiteY4" fmla="*/ 127836 h 5042175"/>
              <a:gd name="connsiteX5" fmla="*/ 3391649 w 3391649"/>
              <a:gd name="connsiteY5" fmla="*/ 4920114 h 5042175"/>
              <a:gd name="connsiteX6" fmla="*/ 3269588 w 3391649"/>
              <a:gd name="connsiteY6" fmla="*/ 5042175 h 5042175"/>
              <a:gd name="connsiteX7" fmla="*/ 129710 w 3391649"/>
              <a:gd name="connsiteY7" fmla="*/ 5042175 h 5042175"/>
              <a:gd name="connsiteX8" fmla="*/ 7649 w 3391649"/>
              <a:gd name="connsiteY8" fmla="*/ 4920114 h 5042175"/>
              <a:gd name="connsiteX9" fmla="*/ 7649 w 3391649"/>
              <a:gd name="connsiteY9" fmla="*/ 127836 h 5042175"/>
              <a:gd name="connsiteX0" fmla="*/ 15257 w 3399257"/>
              <a:gd name="connsiteY0" fmla="*/ 5276782 h 5398843"/>
              <a:gd name="connsiteX1" fmla="*/ 15257 w 3399257"/>
              <a:gd name="connsiteY1" fmla="*/ 365618 h 5398843"/>
              <a:gd name="connsiteX2" fmla="*/ 137318 w 3399257"/>
              <a:gd name="connsiteY2" fmla="*/ 362443 h 5398843"/>
              <a:gd name="connsiteX3" fmla="*/ 3277196 w 3399257"/>
              <a:gd name="connsiteY3" fmla="*/ 362443 h 5398843"/>
              <a:gd name="connsiteX4" fmla="*/ 3399257 w 3399257"/>
              <a:gd name="connsiteY4" fmla="*/ 484504 h 5398843"/>
              <a:gd name="connsiteX5" fmla="*/ 3399257 w 3399257"/>
              <a:gd name="connsiteY5" fmla="*/ 5276782 h 5398843"/>
              <a:gd name="connsiteX6" fmla="*/ 3277196 w 3399257"/>
              <a:gd name="connsiteY6" fmla="*/ 5398843 h 5398843"/>
              <a:gd name="connsiteX7" fmla="*/ 137318 w 3399257"/>
              <a:gd name="connsiteY7" fmla="*/ 5398843 h 5398843"/>
              <a:gd name="connsiteX8" fmla="*/ 15257 w 3399257"/>
              <a:gd name="connsiteY8" fmla="*/ 5276782 h 5398843"/>
              <a:gd name="connsiteX0" fmla="*/ 10990 w 3394990"/>
              <a:gd name="connsiteY0" fmla="*/ 5276782 h 5398843"/>
              <a:gd name="connsiteX1" fmla="*/ 10990 w 3394990"/>
              <a:gd name="connsiteY1" fmla="*/ 365618 h 5398843"/>
              <a:gd name="connsiteX2" fmla="*/ 133051 w 3394990"/>
              <a:gd name="connsiteY2" fmla="*/ 362443 h 5398843"/>
              <a:gd name="connsiteX3" fmla="*/ 3272929 w 3394990"/>
              <a:gd name="connsiteY3" fmla="*/ 362443 h 5398843"/>
              <a:gd name="connsiteX4" fmla="*/ 3394990 w 3394990"/>
              <a:gd name="connsiteY4" fmla="*/ 484504 h 5398843"/>
              <a:gd name="connsiteX5" fmla="*/ 3394990 w 3394990"/>
              <a:gd name="connsiteY5" fmla="*/ 5276782 h 5398843"/>
              <a:gd name="connsiteX6" fmla="*/ 3272929 w 3394990"/>
              <a:gd name="connsiteY6" fmla="*/ 5398843 h 5398843"/>
              <a:gd name="connsiteX7" fmla="*/ 133051 w 3394990"/>
              <a:gd name="connsiteY7" fmla="*/ 5398843 h 5398843"/>
              <a:gd name="connsiteX8" fmla="*/ 10990 w 3394990"/>
              <a:gd name="connsiteY8" fmla="*/ 5276782 h 5398843"/>
              <a:gd name="connsiteX0" fmla="*/ 10990 w 3394990"/>
              <a:gd name="connsiteY0" fmla="*/ 4918814 h 5040875"/>
              <a:gd name="connsiteX1" fmla="*/ 10990 w 3394990"/>
              <a:gd name="connsiteY1" fmla="*/ 7650 h 5040875"/>
              <a:gd name="connsiteX2" fmla="*/ 133051 w 3394990"/>
              <a:gd name="connsiteY2" fmla="*/ 4475 h 5040875"/>
              <a:gd name="connsiteX3" fmla="*/ 3272929 w 3394990"/>
              <a:gd name="connsiteY3" fmla="*/ 4475 h 5040875"/>
              <a:gd name="connsiteX4" fmla="*/ 3394990 w 3394990"/>
              <a:gd name="connsiteY4" fmla="*/ 126536 h 5040875"/>
              <a:gd name="connsiteX5" fmla="*/ 3394990 w 3394990"/>
              <a:gd name="connsiteY5" fmla="*/ 4918814 h 5040875"/>
              <a:gd name="connsiteX6" fmla="*/ 3272929 w 3394990"/>
              <a:gd name="connsiteY6" fmla="*/ 5040875 h 5040875"/>
              <a:gd name="connsiteX7" fmla="*/ 133051 w 3394990"/>
              <a:gd name="connsiteY7" fmla="*/ 5040875 h 5040875"/>
              <a:gd name="connsiteX8" fmla="*/ 10990 w 3394990"/>
              <a:gd name="connsiteY8" fmla="*/ 4918814 h 5040875"/>
              <a:gd name="connsiteX0" fmla="*/ 158635 w 3542635"/>
              <a:gd name="connsiteY0" fmla="*/ 4917578 h 5039639"/>
              <a:gd name="connsiteX1" fmla="*/ 146729 w 3542635"/>
              <a:gd name="connsiteY1" fmla="*/ 6414 h 5039639"/>
              <a:gd name="connsiteX2" fmla="*/ 280696 w 3542635"/>
              <a:gd name="connsiteY2" fmla="*/ 3239 h 5039639"/>
              <a:gd name="connsiteX3" fmla="*/ 3420574 w 3542635"/>
              <a:gd name="connsiteY3" fmla="*/ 3239 h 5039639"/>
              <a:gd name="connsiteX4" fmla="*/ 3542635 w 3542635"/>
              <a:gd name="connsiteY4" fmla="*/ 125300 h 5039639"/>
              <a:gd name="connsiteX5" fmla="*/ 3542635 w 3542635"/>
              <a:gd name="connsiteY5" fmla="*/ 4917578 h 5039639"/>
              <a:gd name="connsiteX6" fmla="*/ 3420574 w 3542635"/>
              <a:gd name="connsiteY6" fmla="*/ 5039639 h 5039639"/>
              <a:gd name="connsiteX7" fmla="*/ 280696 w 3542635"/>
              <a:gd name="connsiteY7" fmla="*/ 5039639 h 5039639"/>
              <a:gd name="connsiteX8" fmla="*/ 158635 w 3542635"/>
              <a:gd name="connsiteY8" fmla="*/ 4917578 h 5039639"/>
              <a:gd name="connsiteX0" fmla="*/ 160634 w 3544634"/>
              <a:gd name="connsiteY0" fmla="*/ 4917578 h 5039639"/>
              <a:gd name="connsiteX1" fmla="*/ 143965 w 3544634"/>
              <a:gd name="connsiteY1" fmla="*/ 6414 h 5039639"/>
              <a:gd name="connsiteX2" fmla="*/ 282695 w 3544634"/>
              <a:gd name="connsiteY2" fmla="*/ 3239 h 5039639"/>
              <a:gd name="connsiteX3" fmla="*/ 3422573 w 3544634"/>
              <a:gd name="connsiteY3" fmla="*/ 3239 h 5039639"/>
              <a:gd name="connsiteX4" fmla="*/ 3544634 w 3544634"/>
              <a:gd name="connsiteY4" fmla="*/ 125300 h 5039639"/>
              <a:gd name="connsiteX5" fmla="*/ 3544634 w 3544634"/>
              <a:gd name="connsiteY5" fmla="*/ 4917578 h 5039639"/>
              <a:gd name="connsiteX6" fmla="*/ 3422573 w 3544634"/>
              <a:gd name="connsiteY6" fmla="*/ 5039639 h 5039639"/>
              <a:gd name="connsiteX7" fmla="*/ 282695 w 3544634"/>
              <a:gd name="connsiteY7" fmla="*/ 5039639 h 5039639"/>
              <a:gd name="connsiteX8" fmla="*/ 160634 w 3544634"/>
              <a:gd name="connsiteY8" fmla="*/ 4917578 h 5039639"/>
              <a:gd name="connsiteX0" fmla="*/ 164685 w 3548685"/>
              <a:gd name="connsiteY0" fmla="*/ 4917578 h 5039639"/>
              <a:gd name="connsiteX1" fmla="*/ 138491 w 3548685"/>
              <a:gd name="connsiteY1" fmla="*/ 6414 h 5039639"/>
              <a:gd name="connsiteX2" fmla="*/ 286746 w 3548685"/>
              <a:gd name="connsiteY2" fmla="*/ 3239 h 5039639"/>
              <a:gd name="connsiteX3" fmla="*/ 3426624 w 3548685"/>
              <a:gd name="connsiteY3" fmla="*/ 3239 h 5039639"/>
              <a:gd name="connsiteX4" fmla="*/ 3548685 w 3548685"/>
              <a:gd name="connsiteY4" fmla="*/ 125300 h 5039639"/>
              <a:gd name="connsiteX5" fmla="*/ 3548685 w 3548685"/>
              <a:gd name="connsiteY5" fmla="*/ 4917578 h 5039639"/>
              <a:gd name="connsiteX6" fmla="*/ 3426624 w 3548685"/>
              <a:gd name="connsiteY6" fmla="*/ 5039639 h 5039639"/>
              <a:gd name="connsiteX7" fmla="*/ 286746 w 3548685"/>
              <a:gd name="connsiteY7" fmla="*/ 5039639 h 5039639"/>
              <a:gd name="connsiteX8" fmla="*/ 164685 w 3548685"/>
              <a:gd name="connsiteY8" fmla="*/ 4917578 h 5039639"/>
              <a:gd name="connsiteX0" fmla="*/ 163666 w 3547666"/>
              <a:gd name="connsiteY0" fmla="*/ 4917578 h 5039639"/>
              <a:gd name="connsiteX1" fmla="*/ 139854 w 3547666"/>
              <a:gd name="connsiteY1" fmla="*/ 6414 h 5039639"/>
              <a:gd name="connsiteX2" fmla="*/ 285727 w 3547666"/>
              <a:gd name="connsiteY2" fmla="*/ 3239 h 5039639"/>
              <a:gd name="connsiteX3" fmla="*/ 3425605 w 3547666"/>
              <a:gd name="connsiteY3" fmla="*/ 3239 h 5039639"/>
              <a:gd name="connsiteX4" fmla="*/ 3547666 w 3547666"/>
              <a:gd name="connsiteY4" fmla="*/ 125300 h 5039639"/>
              <a:gd name="connsiteX5" fmla="*/ 3547666 w 3547666"/>
              <a:gd name="connsiteY5" fmla="*/ 4917578 h 5039639"/>
              <a:gd name="connsiteX6" fmla="*/ 3425605 w 3547666"/>
              <a:gd name="connsiteY6" fmla="*/ 5039639 h 5039639"/>
              <a:gd name="connsiteX7" fmla="*/ 285727 w 3547666"/>
              <a:gd name="connsiteY7" fmla="*/ 5039639 h 5039639"/>
              <a:gd name="connsiteX8" fmla="*/ 163666 w 3547666"/>
              <a:gd name="connsiteY8" fmla="*/ 4917578 h 5039639"/>
              <a:gd name="connsiteX0" fmla="*/ 161641 w 3545641"/>
              <a:gd name="connsiteY0" fmla="*/ 4917578 h 5039639"/>
              <a:gd name="connsiteX1" fmla="*/ 142591 w 3545641"/>
              <a:gd name="connsiteY1" fmla="*/ 6414 h 5039639"/>
              <a:gd name="connsiteX2" fmla="*/ 283702 w 3545641"/>
              <a:gd name="connsiteY2" fmla="*/ 3239 h 5039639"/>
              <a:gd name="connsiteX3" fmla="*/ 3423580 w 3545641"/>
              <a:gd name="connsiteY3" fmla="*/ 3239 h 5039639"/>
              <a:gd name="connsiteX4" fmla="*/ 3545641 w 3545641"/>
              <a:gd name="connsiteY4" fmla="*/ 125300 h 5039639"/>
              <a:gd name="connsiteX5" fmla="*/ 3545641 w 3545641"/>
              <a:gd name="connsiteY5" fmla="*/ 4917578 h 5039639"/>
              <a:gd name="connsiteX6" fmla="*/ 3423580 w 3545641"/>
              <a:gd name="connsiteY6" fmla="*/ 5039639 h 5039639"/>
              <a:gd name="connsiteX7" fmla="*/ 283702 w 3545641"/>
              <a:gd name="connsiteY7" fmla="*/ 5039639 h 5039639"/>
              <a:gd name="connsiteX8" fmla="*/ 161641 w 3545641"/>
              <a:gd name="connsiteY8" fmla="*/ 4917578 h 5039639"/>
              <a:gd name="connsiteX0" fmla="*/ 158636 w 3542636"/>
              <a:gd name="connsiteY0" fmla="*/ 4917578 h 5039639"/>
              <a:gd name="connsiteX1" fmla="*/ 146730 w 3542636"/>
              <a:gd name="connsiteY1" fmla="*/ 6414 h 5039639"/>
              <a:gd name="connsiteX2" fmla="*/ 280697 w 3542636"/>
              <a:gd name="connsiteY2" fmla="*/ 3239 h 5039639"/>
              <a:gd name="connsiteX3" fmla="*/ 3420575 w 3542636"/>
              <a:gd name="connsiteY3" fmla="*/ 3239 h 5039639"/>
              <a:gd name="connsiteX4" fmla="*/ 3542636 w 3542636"/>
              <a:gd name="connsiteY4" fmla="*/ 125300 h 5039639"/>
              <a:gd name="connsiteX5" fmla="*/ 3542636 w 3542636"/>
              <a:gd name="connsiteY5" fmla="*/ 4917578 h 5039639"/>
              <a:gd name="connsiteX6" fmla="*/ 3420575 w 3542636"/>
              <a:gd name="connsiteY6" fmla="*/ 5039639 h 5039639"/>
              <a:gd name="connsiteX7" fmla="*/ 280697 w 3542636"/>
              <a:gd name="connsiteY7" fmla="*/ 5039639 h 5039639"/>
              <a:gd name="connsiteX8" fmla="*/ 158636 w 3542636"/>
              <a:gd name="connsiteY8" fmla="*/ 4917578 h 5039639"/>
              <a:gd name="connsiteX0" fmla="*/ 160634 w 3544634"/>
              <a:gd name="connsiteY0" fmla="*/ 4917578 h 5039639"/>
              <a:gd name="connsiteX1" fmla="*/ 143965 w 3544634"/>
              <a:gd name="connsiteY1" fmla="*/ 6414 h 5039639"/>
              <a:gd name="connsiteX2" fmla="*/ 282695 w 3544634"/>
              <a:gd name="connsiteY2" fmla="*/ 3239 h 5039639"/>
              <a:gd name="connsiteX3" fmla="*/ 3422573 w 3544634"/>
              <a:gd name="connsiteY3" fmla="*/ 3239 h 5039639"/>
              <a:gd name="connsiteX4" fmla="*/ 3544634 w 3544634"/>
              <a:gd name="connsiteY4" fmla="*/ 125300 h 5039639"/>
              <a:gd name="connsiteX5" fmla="*/ 3544634 w 3544634"/>
              <a:gd name="connsiteY5" fmla="*/ 4917578 h 5039639"/>
              <a:gd name="connsiteX6" fmla="*/ 3422573 w 3544634"/>
              <a:gd name="connsiteY6" fmla="*/ 5039639 h 5039639"/>
              <a:gd name="connsiteX7" fmla="*/ 282695 w 3544634"/>
              <a:gd name="connsiteY7" fmla="*/ 5039639 h 5039639"/>
              <a:gd name="connsiteX8" fmla="*/ 160634 w 3544634"/>
              <a:gd name="connsiteY8" fmla="*/ 4917578 h 5039639"/>
              <a:gd name="connsiteX0" fmla="*/ 162650 w 3546650"/>
              <a:gd name="connsiteY0" fmla="*/ 4917578 h 5039639"/>
              <a:gd name="connsiteX1" fmla="*/ 141219 w 3546650"/>
              <a:gd name="connsiteY1" fmla="*/ 6414 h 5039639"/>
              <a:gd name="connsiteX2" fmla="*/ 284711 w 3546650"/>
              <a:gd name="connsiteY2" fmla="*/ 3239 h 5039639"/>
              <a:gd name="connsiteX3" fmla="*/ 3424589 w 3546650"/>
              <a:gd name="connsiteY3" fmla="*/ 3239 h 5039639"/>
              <a:gd name="connsiteX4" fmla="*/ 3546650 w 3546650"/>
              <a:gd name="connsiteY4" fmla="*/ 125300 h 5039639"/>
              <a:gd name="connsiteX5" fmla="*/ 3546650 w 3546650"/>
              <a:gd name="connsiteY5" fmla="*/ 4917578 h 5039639"/>
              <a:gd name="connsiteX6" fmla="*/ 3424589 w 3546650"/>
              <a:gd name="connsiteY6" fmla="*/ 5039639 h 5039639"/>
              <a:gd name="connsiteX7" fmla="*/ 284711 w 3546650"/>
              <a:gd name="connsiteY7" fmla="*/ 5039639 h 5039639"/>
              <a:gd name="connsiteX8" fmla="*/ 162650 w 3546650"/>
              <a:gd name="connsiteY8" fmla="*/ 4917578 h 5039639"/>
              <a:gd name="connsiteX0" fmla="*/ 164685 w 3548685"/>
              <a:gd name="connsiteY0" fmla="*/ 4917578 h 5039639"/>
              <a:gd name="connsiteX1" fmla="*/ 138491 w 3548685"/>
              <a:gd name="connsiteY1" fmla="*/ 6414 h 5039639"/>
              <a:gd name="connsiteX2" fmla="*/ 286746 w 3548685"/>
              <a:gd name="connsiteY2" fmla="*/ 3239 h 5039639"/>
              <a:gd name="connsiteX3" fmla="*/ 3426624 w 3548685"/>
              <a:gd name="connsiteY3" fmla="*/ 3239 h 5039639"/>
              <a:gd name="connsiteX4" fmla="*/ 3548685 w 3548685"/>
              <a:gd name="connsiteY4" fmla="*/ 125300 h 5039639"/>
              <a:gd name="connsiteX5" fmla="*/ 3548685 w 3548685"/>
              <a:gd name="connsiteY5" fmla="*/ 4917578 h 5039639"/>
              <a:gd name="connsiteX6" fmla="*/ 3426624 w 3548685"/>
              <a:gd name="connsiteY6" fmla="*/ 5039639 h 5039639"/>
              <a:gd name="connsiteX7" fmla="*/ 286746 w 3548685"/>
              <a:gd name="connsiteY7" fmla="*/ 5039639 h 5039639"/>
              <a:gd name="connsiteX8" fmla="*/ 164685 w 3548685"/>
              <a:gd name="connsiteY8" fmla="*/ 4917578 h 5039639"/>
              <a:gd name="connsiteX0" fmla="*/ 162651 w 3546651"/>
              <a:gd name="connsiteY0" fmla="*/ 4917578 h 5039639"/>
              <a:gd name="connsiteX1" fmla="*/ 141220 w 3546651"/>
              <a:gd name="connsiteY1" fmla="*/ 6414 h 5039639"/>
              <a:gd name="connsiteX2" fmla="*/ 284712 w 3546651"/>
              <a:gd name="connsiteY2" fmla="*/ 3239 h 5039639"/>
              <a:gd name="connsiteX3" fmla="*/ 3424590 w 3546651"/>
              <a:gd name="connsiteY3" fmla="*/ 3239 h 5039639"/>
              <a:gd name="connsiteX4" fmla="*/ 3546651 w 3546651"/>
              <a:gd name="connsiteY4" fmla="*/ 125300 h 5039639"/>
              <a:gd name="connsiteX5" fmla="*/ 3546651 w 3546651"/>
              <a:gd name="connsiteY5" fmla="*/ 4917578 h 5039639"/>
              <a:gd name="connsiteX6" fmla="*/ 3424590 w 3546651"/>
              <a:gd name="connsiteY6" fmla="*/ 5039639 h 5039639"/>
              <a:gd name="connsiteX7" fmla="*/ 284712 w 3546651"/>
              <a:gd name="connsiteY7" fmla="*/ 5039639 h 5039639"/>
              <a:gd name="connsiteX8" fmla="*/ 162651 w 3546651"/>
              <a:gd name="connsiteY8" fmla="*/ 4917578 h 5039639"/>
              <a:gd name="connsiteX0" fmla="*/ 164685 w 3548685"/>
              <a:gd name="connsiteY0" fmla="*/ 4917578 h 5039639"/>
              <a:gd name="connsiteX1" fmla="*/ 138491 w 3548685"/>
              <a:gd name="connsiteY1" fmla="*/ 6414 h 5039639"/>
              <a:gd name="connsiteX2" fmla="*/ 286746 w 3548685"/>
              <a:gd name="connsiteY2" fmla="*/ 3239 h 5039639"/>
              <a:gd name="connsiteX3" fmla="*/ 3426624 w 3548685"/>
              <a:gd name="connsiteY3" fmla="*/ 3239 h 5039639"/>
              <a:gd name="connsiteX4" fmla="*/ 3548685 w 3548685"/>
              <a:gd name="connsiteY4" fmla="*/ 125300 h 5039639"/>
              <a:gd name="connsiteX5" fmla="*/ 3548685 w 3548685"/>
              <a:gd name="connsiteY5" fmla="*/ 4917578 h 5039639"/>
              <a:gd name="connsiteX6" fmla="*/ 3426624 w 3548685"/>
              <a:gd name="connsiteY6" fmla="*/ 5039639 h 5039639"/>
              <a:gd name="connsiteX7" fmla="*/ 286746 w 3548685"/>
              <a:gd name="connsiteY7" fmla="*/ 5039639 h 5039639"/>
              <a:gd name="connsiteX8" fmla="*/ 164685 w 3548685"/>
              <a:gd name="connsiteY8" fmla="*/ 4917578 h 5039639"/>
              <a:gd name="connsiteX0" fmla="*/ 28361 w 3412361"/>
              <a:gd name="connsiteY0" fmla="*/ 4917578 h 5039639"/>
              <a:gd name="connsiteX1" fmla="*/ 2167 w 3412361"/>
              <a:gd name="connsiteY1" fmla="*/ 6414 h 5039639"/>
              <a:gd name="connsiteX2" fmla="*/ 150422 w 3412361"/>
              <a:gd name="connsiteY2" fmla="*/ 3239 h 5039639"/>
              <a:gd name="connsiteX3" fmla="*/ 3290300 w 3412361"/>
              <a:gd name="connsiteY3" fmla="*/ 3239 h 5039639"/>
              <a:gd name="connsiteX4" fmla="*/ 3412361 w 3412361"/>
              <a:gd name="connsiteY4" fmla="*/ 125300 h 5039639"/>
              <a:gd name="connsiteX5" fmla="*/ 3412361 w 3412361"/>
              <a:gd name="connsiteY5" fmla="*/ 4917578 h 5039639"/>
              <a:gd name="connsiteX6" fmla="*/ 3290300 w 3412361"/>
              <a:gd name="connsiteY6" fmla="*/ 5039639 h 5039639"/>
              <a:gd name="connsiteX7" fmla="*/ 150422 w 3412361"/>
              <a:gd name="connsiteY7" fmla="*/ 5039639 h 5039639"/>
              <a:gd name="connsiteX8" fmla="*/ 28361 w 3412361"/>
              <a:gd name="connsiteY8" fmla="*/ 4917578 h 5039639"/>
              <a:gd name="connsiteX0" fmla="*/ 28361 w 3412361"/>
              <a:gd name="connsiteY0" fmla="*/ 4917578 h 5039639"/>
              <a:gd name="connsiteX1" fmla="*/ 2167 w 3412361"/>
              <a:gd name="connsiteY1" fmla="*/ 6414 h 5039639"/>
              <a:gd name="connsiteX2" fmla="*/ 150422 w 3412361"/>
              <a:gd name="connsiteY2" fmla="*/ 3239 h 5039639"/>
              <a:gd name="connsiteX3" fmla="*/ 3290300 w 3412361"/>
              <a:gd name="connsiteY3" fmla="*/ 3239 h 5039639"/>
              <a:gd name="connsiteX4" fmla="*/ 3412361 w 3412361"/>
              <a:gd name="connsiteY4" fmla="*/ 125300 h 5039639"/>
              <a:gd name="connsiteX5" fmla="*/ 3412361 w 3412361"/>
              <a:gd name="connsiteY5" fmla="*/ 4917578 h 5039639"/>
              <a:gd name="connsiteX6" fmla="*/ 3290300 w 3412361"/>
              <a:gd name="connsiteY6" fmla="*/ 5039639 h 5039639"/>
              <a:gd name="connsiteX7" fmla="*/ 150422 w 3412361"/>
              <a:gd name="connsiteY7" fmla="*/ 5039639 h 5039639"/>
              <a:gd name="connsiteX8" fmla="*/ 28361 w 3412361"/>
              <a:gd name="connsiteY8" fmla="*/ 4917578 h 5039639"/>
              <a:gd name="connsiteX0" fmla="*/ 33210 w 3417210"/>
              <a:gd name="connsiteY0" fmla="*/ 4916549 h 5038610"/>
              <a:gd name="connsiteX1" fmla="*/ 7016 w 3417210"/>
              <a:gd name="connsiteY1" fmla="*/ 5385 h 5038610"/>
              <a:gd name="connsiteX2" fmla="*/ 155271 w 3417210"/>
              <a:gd name="connsiteY2" fmla="*/ 2210 h 5038610"/>
              <a:gd name="connsiteX3" fmla="*/ 3295149 w 3417210"/>
              <a:gd name="connsiteY3" fmla="*/ 2210 h 5038610"/>
              <a:gd name="connsiteX4" fmla="*/ 3417210 w 3417210"/>
              <a:gd name="connsiteY4" fmla="*/ 124271 h 5038610"/>
              <a:gd name="connsiteX5" fmla="*/ 3417210 w 3417210"/>
              <a:gd name="connsiteY5" fmla="*/ 4916549 h 5038610"/>
              <a:gd name="connsiteX6" fmla="*/ 3295149 w 3417210"/>
              <a:gd name="connsiteY6" fmla="*/ 5038610 h 5038610"/>
              <a:gd name="connsiteX7" fmla="*/ 155271 w 3417210"/>
              <a:gd name="connsiteY7" fmla="*/ 5038610 h 5038610"/>
              <a:gd name="connsiteX8" fmla="*/ 33210 w 3417210"/>
              <a:gd name="connsiteY8" fmla="*/ 4916549 h 5038610"/>
              <a:gd name="connsiteX0" fmla="*/ 26222 w 3410222"/>
              <a:gd name="connsiteY0" fmla="*/ 4914339 h 5036400"/>
              <a:gd name="connsiteX1" fmla="*/ 28 w 3410222"/>
              <a:gd name="connsiteY1" fmla="*/ 3175 h 5036400"/>
              <a:gd name="connsiteX2" fmla="*/ 148283 w 3410222"/>
              <a:gd name="connsiteY2" fmla="*/ 0 h 5036400"/>
              <a:gd name="connsiteX3" fmla="*/ 3288161 w 3410222"/>
              <a:gd name="connsiteY3" fmla="*/ 0 h 5036400"/>
              <a:gd name="connsiteX4" fmla="*/ 3410222 w 3410222"/>
              <a:gd name="connsiteY4" fmla="*/ 122061 h 5036400"/>
              <a:gd name="connsiteX5" fmla="*/ 3410222 w 3410222"/>
              <a:gd name="connsiteY5" fmla="*/ 4914339 h 5036400"/>
              <a:gd name="connsiteX6" fmla="*/ 3288161 w 3410222"/>
              <a:gd name="connsiteY6" fmla="*/ 5036400 h 5036400"/>
              <a:gd name="connsiteX7" fmla="*/ 148283 w 3410222"/>
              <a:gd name="connsiteY7" fmla="*/ 5036400 h 5036400"/>
              <a:gd name="connsiteX8" fmla="*/ 26222 w 3410222"/>
              <a:gd name="connsiteY8" fmla="*/ 4914339 h 503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10222" h="5036400">
                <a:moveTo>
                  <a:pt x="26222" y="4914339"/>
                </a:moveTo>
                <a:cubicBezTo>
                  <a:pt x="5879" y="4075468"/>
                  <a:pt x="1910" y="6256"/>
                  <a:pt x="28" y="3175"/>
                </a:cubicBezTo>
                <a:cubicBezTo>
                  <a:pt x="-1854" y="94"/>
                  <a:pt x="93180" y="529"/>
                  <a:pt x="148283" y="0"/>
                </a:cubicBezTo>
                <a:lnTo>
                  <a:pt x="3288161" y="0"/>
                </a:lnTo>
                <a:cubicBezTo>
                  <a:pt x="3355573" y="0"/>
                  <a:pt x="3410222" y="54649"/>
                  <a:pt x="3410222" y="122061"/>
                </a:cubicBezTo>
                <a:lnTo>
                  <a:pt x="3410222" y="4914339"/>
                </a:lnTo>
                <a:cubicBezTo>
                  <a:pt x="3410222" y="4981751"/>
                  <a:pt x="3355573" y="5036400"/>
                  <a:pt x="3288161" y="5036400"/>
                </a:cubicBezTo>
                <a:lnTo>
                  <a:pt x="148283" y="5036400"/>
                </a:lnTo>
                <a:cubicBezTo>
                  <a:pt x="80871" y="5036400"/>
                  <a:pt x="26222" y="4981751"/>
                  <a:pt x="26222" y="4914339"/>
                </a:cubicBezTo>
                <a:close/>
              </a:path>
            </a:pathLst>
          </a:custGeom>
          <a:solidFill>
            <a:schemeClr val="bg1"/>
          </a:solidFill>
        </p:spPr>
        <p:txBody>
          <a:bodyPr lIns="576000" tIns="1224000" rIns="576000" bIns="576000"/>
          <a:lstStyle>
            <a:lvl1pPr marL="0" indent="0">
              <a:spcAft>
                <a:spcPts val="0"/>
              </a:spcAft>
              <a:buNone/>
              <a:defRPr sz="2515" b="0">
                <a:solidFill>
                  <a:schemeClr val="bg2"/>
                </a:solidFill>
              </a:defRPr>
            </a:lvl1pPr>
            <a:lvl2pPr marL="507783" indent="-507783">
              <a:spcAft>
                <a:spcPts val="0"/>
              </a:spcAft>
              <a:buClr>
                <a:schemeClr val="bg2"/>
              </a:buClr>
              <a:buFont typeface="+mj-lt"/>
              <a:buAutoNum type="arabicPeriod"/>
              <a:defRPr sz="2515">
                <a:solidFill>
                  <a:schemeClr val="bg2"/>
                </a:solidFill>
              </a:defRPr>
            </a:lvl2pPr>
            <a:lvl3pPr marL="399129" indent="-399129">
              <a:spcAft>
                <a:spcPts val="0"/>
              </a:spcAft>
              <a:buFont typeface="Arial" panose="020B0604020202020204" pitchFamily="34" charset="0"/>
              <a:buChar char="•"/>
              <a:defRPr sz="2515">
                <a:solidFill>
                  <a:schemeClr val="bg2"/>
                </a:solidFill>
              </a:defRPr>
            </a:lvl3pPr>
            <a:lvl4pPr marL="252781" indent="0">
              <a:spcAft>
                <a:spcPts val="0"/>
              </a:spcAft>
              <a:buNone/>
              <a:defRPr sz="2515">
                <a:solidFill>
                  <a:schemeClr val="tx2"/>
                </a:solidFill>
              </a:defRPr>
            </a:lvl4pPr>
            <a:lvl5pPr marL="0" indent="0">
              <a:spcBef>
                <a:spcPts val="1117"/>
              </a:spcBef>
              <a:spcAft>
                <a:spcPts val="0"/>
              </a:spcAft>
              <a:buNone/>
              <a:defRPr sz="5028" b="0">
                <a:solidFill>
                  <a:schemeClr val="tx2"/>
                </a:solidFill>
              </a:defRPr>
            </a:lvl5pPr>
          </a:lstStyle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145" name="Tijdelijke aanduiding voor verticale tekst 2">
            <a:extLst>
              <a:ext uri="{FF2B5EF4-FFF2-40B4-BE49-F238E27FC236}">
                <a16:creationId xmlns:a16="http://schemas.microsoft.com/office/drawing/2014/main" id="{9001FD48-79F0-4F0E-AB81-634459ED5BE7}"/>
              </a:ext>
            </a:extLst>
          </p:cNvPr>
          <p:cNvSpPr>
            <a:spLocks noGrp="1"/>
          </p:cNvSpPr>
          <p:nvPr>
            <p:ph type="body" orient="vert" idx="30" hasCustomPrompt="1"/>
          </p:nvPr>
        </p:nvSpPr>
        <p:spPr>
          <a:xfrm>
            <a:off x="3673392" y="4706261"/>
            <a:ext cx="6882852" cy="2325639"/>
          </a:xfrm>
        </p:spPr>
        <p:txBody>
          <a:bodyPr vert="horz" anchor="b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Tx/>
              <a:buNone/>
              <a:defRPr sz="5028" b="0" baseline="0">
                <a:solidFill>
                  <a:schemeClr val="tx2"/>
                </a:solidFill>
                <a:latin typeface="+mj-lt"/>
              </a:defRPr>
            </a:lvl1pPr>
            <a:lvl2pPr algn="r">
              <a:lnSpc>
                <a:spcPct val="100000"/>
              </a:lnSpc>
              <a:defRPr>
                <a:latin typeface="+mj-lt"/>
              </a:defRPr>
            </a:lvl2pPr>
            <a:lvl3pPr algn="r">
              <a:lnSpc>
                <a:spcPct val="100000"/>
              </a:lnSpc>
              <a:defRPr>
                <a:latin typeface="+mj-lt"/>
              </a:defRPr>
            </a:lvl3pPr>
            <a:lvl4pPr algn="r">
              <a:lnSpc>
                <a:spcPct val="100000"/>
              </a:lnSpc>
              <a:defRPr sz="6705">
                <a:solidFill>
                  <a:schemeClr val="tx2"/>
                </a:solidFill>
                <a:latin typeface="+mj-lt"/>
              </a:defRPr>
            </a:lvl4pPr>
            <a:lvl5pPr algn="r">
              <a:lnSpc>
                <a:spcPct val="100000"/>
              </a:lnSpc>
              <a:defRPr>
                <a:latin typeface="+mj-lt"/>
              </a:defRPr>
            </a:lvl5pPr>
          </a:lstStyle>
          <a:p>
            <a:pPr lvl="0"/>
            <a:r>
              <a:rPr lang="nl-NL" noProof="0"/>
              <a:t>Typ Titel</a:t>
            </a:r>
          </a:p>
        </p:txBody>
      </p:sp>
      <p:sp>
        <p:nvSpPr>
          <p:cNvPr id="256" name="Tijdelijke aanduiding voor tekst 3">
            <a:extLst>
              <a:ext uri="{FF2B5EF4-FFF2-40B4-BE49-F238E27FC236}">
                <a16:creationId xmlns:a16="http://schemas.microsoft.com/office/drawing/2014/main" id="{3CE98F57-4E31-4AA0-A992-55245B424F3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504420" y="1449454"/>
            <a:ext cx="6635240" cy="3534584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248"/>
            </a:lvl1pPr>
          </a:lstStyle>
          <a:p>
            <a:pPr lvl="0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29097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6" presetClass="emp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4250" fill="hold"/>
                                        <p:tgtEl>
                                          <p:spTgt spid="10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4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5" grpId="0" uiExpand="1" build="p">
        <p:tmplLst>
          <p:tmpl lvl="1">
            <p:tnLst>
              <p:par>
                <p:cTn presetID="2" presetClass="entr" presetSubtype="8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2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3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4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5">
            <p:tnLst>
              <p:par>
                <p:cTn presetID="2" presetClass="entr" presetSubtype="2" decel="100000" fill="hold" nodeType="withEffect" nodePh="1">
                  <p:stCondLst>
                    <p:cond delay="5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id="{C99B9AD0-B92A-4C48-A52A-FAE4B74811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78" y="1766065"/>
            <a:ext cx="32281087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18" name="Tijdelijke aanduiding voor tekst 14">
            <a:extLst>
              <a:ext uri="{FF2B5EF4-FFF2-40B4-BE49-F238E27FC236}">
                <a16:creationId xmlns:a16="http://schemas.microsoft.com/office/drawing/2014/main" id="{3EAC74E4-7359-43B9-BD46-0CBB8C9D38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78" y="3469430"/>
            <a:ext cx="32281087" cy="1195424"/>
          </a:xfrm>
        </p:spPr>
        <p:txBody>
          <a:bodyPr>
            <a:noAutofit/>
          </a:bodyPr>
          <a:lstStyle>
            <a:lvl1pPr marL="0" indent="0">
              <a:buNone/>
              <a:defRPr sz="2794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21" name="Tijdelijke aanduiding voor voettekst 4">
            <a:extLst>
              <a:ext uri="{FF2B5EF4-FFF2-40B4-BE49-F238E27FC236}">
                <a16:creationId xmlns:a16="http://schemas.microsoft.com/office/drawing/2014/main" id="{A5D9591E-4C98-475E-B8D6-C3C11099BF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7" y="27345278"/>
            <a:ext cx="18027561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22" name="Tijdelijke aanduiding voor dianummer 5">
            <a:extLst>
              <a:ext uri="{FF2B5EF4-FFF2-40B4-BE49-F238E27FC236}">
                <a16:creationId xmlns:a16="http://schemas.microsoft.com/office/drawing/2014/main" id="{943A493B-8731-4825-81F9-F1B852A8C7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3" y="27329717"/>
            <a:ext cx="863059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19" name="Tijdelijke aanduiding voor datum 3">
            <a:extLst>
              <a:ext uri="{FF2B5EF4-FFF2-40B4-BE49-F238E27FC236}">
                <a16:creationId xmlns:a16="http://schemas.microsoft.com/office/drawing/2014/main" id="{7AF0D1FE-8D2B-44E6-B3D5-0C8F9474C79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503"/>
            <a:ext cx="9622631" cy="1000848"/>
          </a:xfrm>
        </p:spPr>
        <p:txBody>
          <a:bodyPr/>
          <a:lstStyle/>
          <a:p>
            <a:fld id="{1F9EDFB3-D3AA-4F39-950A-ED89DC69A420}" type="datetime1">
              <a:rPr lang="nl-NL" noProof="0" smtClean="0"/>
              <a:t>26-6-2023</a:t>
            </a:fld>
            <a:endParaRPr lang="nl-NL" noProof="0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3F7DA627-C135-4D0D-8C88-2B07C2C3B7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5" y="831727"/>
            <a:ext cx="9249575" cy="4281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6495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kaders + Uitleg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Tijdelijke aanduiding voor tekst 3">
            <a:extLst>
              <a:ext uri="{FF2B5EF4-FFF2-40B4-BE49-F238E27FC236}">
                <a16:creationId xmlns:a16="http://schemas.microsoft.com/office/drawing/2014/main" id="{62C5E5DA-733C-4AA3-9467-0732E67E8A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687079" y="21776191"/>
            <a:ext cx="5345254" cy="3935018"/>
          </a:xfrm>
          <a:custGeom>
            <a:avLst/>
            <a:gdLst>
              <a:gd name="connsiteX0" fmla="*/ 0 w 6217773"/>
              <a:gd name="connsiteY0" fmla="*/ 631093 h 5069018"/>
              <a:gd name="connsiteX1" fmla="*/ 631093 w 6217773"/>
              <a:gd name="connsiteY1" fmla="*/ 0 h 5069018"/>
              <a:gd name="connsiteX2" fmla="*/ 5586680 w 6217773"/>
              <a:gd name="connsiteY2" fmla="*/ 0 h 5069018"/>
              <a:gd name="connsiteX3" fmla="*/ 6217773 w 6217773"/>
              <a:gd name="connsiteY3" fmla="*/ 631093 h 5069018"/>
              <a:gd name="connsiteX4" fmla="*/ 6217773 w 6217773"/>
              <a:gd name="connsiteY4" fmla="*/ 4437925 h 5069018"/>
              <a:gd name="connsiteX5" fmla="*/ 5586680 w 6217773"/>
              <a:gd name="connsiteY5" fmla="*/ 5069018 h 5069018"/>
              <a:gd name="connsiteX6" fmla="*/ 631093 w 6217773"/>
              <a:gd name="connsiteY6" fmla="*/ 5069018 h 5069018"/>
              <a:gd name="connsiteX7" fmla="*/ 0 w 6217773"/>
              <a:gd name="connsiteY7" fmla="*/ 4437925 h 5069018"/>
              <a:gd name="connsiteX8" fmla="*/ 0 w 6217773"/>
              <a:gd name="connsiteY8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31029 w 6248802"/>
              <a:gd name="connsiteY0" fmla="*/ 638400 h 5076325"/>
              <a:gd name="connsiteX1" fmla="*/ 35792 w 6248802"/>
              <a:gd name="connsiteY1" fmla="*/ 228 h 5076325"/>
              <a:gd name="connsiteX2" fmla="*/ 662122 w 6248802"/>
              <a:gd name="connsiteY2" fmla="*/ 7307 h 5076325"/>
              <a:gd name="connsiteX3" fmla="*/ 5617709 w 6248802"/>
              <a:gd name="connsiteY3" fmla="*/ 7307 h 5076325"/>
              <a:gd name="connsiteX4" fmla="*/ 6248802 w 6248802"/>
              <a:gd name="connsiteY4" fmla="*/ 638400 h 5076325"/>
              <a:gd name="connsiteX5" fmla="*/ 6248802 w 6248802"/>
              <a:gd name="connsiteY5" fmla="*/ 4445232 h 5076325"/>
              <a:gd name="connsiteX6" fmla="*/ 5617709 w 6248802"/>
              <a:gd name="connsiteY6" fmla="*/ 5076325 h 5076325"/>
              <a:gd name="connsiteX7" fmla="*/ 662122 w 6248802"/>
              <a:gd name="connsiteY7" fmla="*/ 5076325 h 5076325"/>
              <a:gd name="connsiteX8" fmla="*/ 31029 w 6248802"/>
              <a:gd name="connsiteY8" fmla="*/ 4445232 h 5076325"/>
              <a:gd name="connsiteX9" fmla="*/ 31029 w 6248802"/>
              <a:gd name="connsiteY9" fmla="*/ 638400 h 5076325"/>
              <a:gd name="connsiteX0" fmla="*/ 0 w 6217773"/>
              <a:gd name="connsiteY0" fmla="*/ 638860 h 5076785"/>
              <a:gd name="connsiteX1" fmla="*/ 4763 w 6217773"/>
              <a:gd name="connsiteY1" fmla="*/ 688 h 5076785"/>
              <a:gd name="connsiteX2" fmla="*/ 631093 w 6217773"/>
              <a:gd name="connsiteY2" fmla="*/ 7767 h 5076785"/>
              <a:gd name="connsiteX3" fmla="*/ 5586680 w 6217773"/>
              <a:gd name="connsiteY3" fmla="*/ 7767 h 5076785"/>
              <a:gd name="connsiteX4" fmla="*/ 6217773 w 6217773"/>
              <a:gd name="connsiteY4" fmla="*/ 638860 h 5076785"/>
              <a:gd name="connsiteX5" fmla="*/ 6217773 w 6217773"/>
              <a:gd name="connsiteY5" fmla="*/ 4445692 h 5076785"/>
              <a:gd name="connsiteX6" fmla="*/ 5586680 w 6217773"/>
              <a:gd name="connsiteY6" fmla="*/ 5076785 h 5076785"/>
              <a:gd name="connsiteX7" fmla="*/ 631093 w 6217773"/>
              <a:gd name="connsiteY7" fmla="*/ 5076785 h 5076785"/>
              <a:gd name="connsiteX8" fmla="*/ 0 w 6217773"/>
              <a:gd name="connsiteY8" fmla="*/ 4445692 h 5076785"/>
              <a:gd name="connsiteX9" fmla="*/ 0 w 6217773"/>
              <a:gd name="connsiteY9" fmla="*/ 638860 h 5076785"/>
              <a:gd name="connsiteX0" fmla="*/ 64 w 6217837"/>
              <a:gd name="connsiteY0" fmla="*/ 638860 h 5076785"/>
              <a:gd name="connsiteX1" fmla="*/ 4827 w 6217837"/>
              <a:gd name="connsiteY1" fmla="*/ 688 h 5076785"/>
              <a:gd name="connsiteX2" fmla="*/ 631157 w 6217837"/>
              <a:gd name="connsiteY2" fmla="*/ 7767 h 5076785"/>
              <a:gd name="connsiteX3" fmla="*/ 5586744 w 6217837"/>
              <a:gd name="connsiteY3" fmla="*/ 7767 h 5076785"/>
              <a:gd name="connsiteX4" fmla="*/ 6217837 w 6217837"/>
              <a:gd name="connsiteY4" fmla="*/ 638860 h 5076785"/>
              <a:gd name="connsiteX5" fmla="*/ 6217837 w 6217837"/>
              <a:gd name="connsiteY5" fmla="*/ 4445692 h 5076785"/>
              <a:gd name="connsiteX6" fmla="*/ 5586744 w 6217837"/>
              <a:gd name="connsiteY6" fmla="*/ 5076785 h 5076785"/>
              <a:gd name="connsiteX7" fmla="*/ 631157 w 6217837"/>
              <a:gd name="connsiteY7" fmla="*/ 5076785 h 5076785"/>
              <a:gd name="connsiteX8" fmla="*/ 64 w 6217837"/>
              <a:gd name="connsiteY8" fmla="*/ 4445692 h 5076785"/>
              <a:gd name="connsiteX9" fmla="*/ 64 w 6217837"/>
              <a:gd name="connsiteY9" fmla="*/ 638860 h 5076785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586744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19941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17837" h="5069018">
                <a:moveTo>
                  <a:pt x="64" y="631093"/>
                </a:moveTo>
                <a:cubicBezTo>
                  <a:pt x="4033" y="467051"/>
                  <a:pt x="-5105" y="12378"/>
                  <a:pt x="4827" y="2446"/>
                </a:cubicBezTo>
                <a:cubicBezTo>
                  <a:pt x="11584" y="-1136"/>
                  <a:pt x="507287" y="937"/>
                  <a:pt x="631157" y="0"/>
                </a:cubicBezTo>
                <a:lnTo>
                  <a:pt x="5819941" y="0"/>
                </a:lnTo>
                <a:cubicBezTo>
                  <a:pt x="6168484" y="0"/>
                  <a:pt x="6217837" y="282550"/>
                  <a:pt x="6217837" y="631093"/>
                </a:cubicBezTo>
                <a:lnTo>
                  <a:pt x="6217837" y="4437925"/>
                </a:lnTo>
                <a:cubicBezTo>
                  <a:pt x="6217837" y="4786468"/>
                  <a:pt x="6155528" y="5069018"/>
                  <a:pt x="5806985" y="5069018"/>
                </a:cubicBezTo>
                <a:lnTo>
                  <a:pt x="449783" y="5069018"/>
                </a:lnTo>
                <a:cubicBezTo>
                  <a:pt x="101240" y="5069018"/>
                  <a:pt x="64" y="4786468"/>
                  <a:pt x="64" y="4437925"/>
                </a:cubicBezTo>
                <a:lnTo>
                  <a:pt x="64" y="631093"/>
                </a:lnTo>
                <a:close/>
              </a:path>
            </a:pathLst>
          </a:custGeom>
          <a:solidFill>
            <a:schemeClr val="bg2"/>
          </a:solidFill>
        </p:spPr>
        <p:txBody>
          <a:bodyPr lIns="504000" tIns="252000" rIns="252000" bIns="360000"/>
          <a:lstStyle>
            <a:lvl1pPr>
              <a:defRPr sz="4209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Punt 4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grpSp>
        <p:nvGrpSpPr>
          <p:cNvPr id="38" name="GRID" hidden="1">
            <a:extLst>
              <a:ext uri="{FF2B5EF4-FFF2-40B4-BE49-F238E27FC236}">
                <a16:creationId xmlns:a16="http://schemas.microsoft.com/office/drawing/2014/main" id="{51D5F7E8-69F8-47AD-81F5-1645C97607C1}"/>
              </a:ext>
            </a:extLst>
          </p:cNvPr>
          <p:cNvGrpSpPr/>
          <p:nvPr userDrawn="1"/>
        </p:nvGrpSpPr>
        <p:grpSpPr>
          <a:xfrm>
            <a:off x="5" y="0"/>
            <a:ext cx="42767261" cy="30275213"/>
            <a:chOff x="0" y="0"/>
            <a:chExt cx="12192003" cy="6858000"/>
          </a:xfrm>
        </p:grpSpPr>
        <p:sp>
          <p:nvSpPr>
            <p:cNvPr id="39" name="Rechthoek 38">
              <a:extLst>
                <a:ext uri="{FF2B5EF4-FFF2-40B4-BE49-F238E27FC236}">
                  <a16:creationId xmlns:a16="http://schemas.microsoft.com/office/drawing/2014/main" id="{71DB2C92-E6A8-4532-98F6-C917E7F5CD17}"/>
                </a:ext>
              </a:extLst>
            </p:cNvPr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0" name="Rechthoek 39">
              <a:extLst>
                <a:ext uri="{FF2B5EF4-FFF2-40B4-BE49-F238E27FC236}">
                  <a16:creationId xmlns:a16="http://schemas.microsoft.com/office/drawing/2014/main" id="{1283F161-5F8A-45E1-A9F2-F823FC1CB0A5}"/>
                </a:ext>
              </a:extLst>
            </p:cNvPr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1" name="Rechthoek 40">
              <a:extLst>
                <a:ext uri="{FF2B5EF4-FFF2-40B4-BE49-F238E27FC236}">
                  <a16:creationId xmlns:a16="http://schemas.microsoft.com/office/drawing/2014/main" id="{E25AE021-76F4-4113-9019-FB3CB3351AD2}"/>
                </a:ext>
              </a:extLst>
            </p:cNvPr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2" name="Rechthoek 41">
              <a:extLst>
                <a:ext uri="{FF2B5EF4-FFF2-40B4-BE49-F238E27FC236}">
                  <a16:creationId xmlns:a16="http://schemas.microsoft.com/office/drawing/2014/main" id="{4F56F574-960D-4395-B98C-5F49ED9EF418}"/>
                </a:ext>
              </a:extLst>
            </p:cNvPr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34E307D0-CCA0-4BDF-BC5F-E19838E9F7DA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4" name="Rechthoek 43">
              <a:extLst>
                <a:ext uri="{FF2B5EF4-FFF2-40B4-BE49-F238E27FC236}">
                  <a16:creationId xmlns:a16="http://schemas.microsoft.com/office/drawing/2014/main" id="{2AEE0B25-FBCC-4048-A2C0-6D97C3E7FEB7}"/>
                </a:ext>
              </a:extLst>
            </p:cNvPr>
            <p:cNvSpPr/>
            <p:nvPr userDrawn="1"/>
          </p:nvSpPr>
          <p:spPr>
            <a:xfrm rot="5400000">
              <a:off x="5895976" y="-108104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endParaRPr lang="nl-NL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endParaRPr lang="nl-NL" noProof="0"/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8"/>
            <a:ext cx="707315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1B658E1F-0E98-4ED4-B7E8-3A0C15D75D3F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687079" y="6308642"/>
            <a:ext cx="5345254" cy="3935018"/>
          </a:xfrm>
          <a:custGeom>
            <a:avLst/>
            <a:gdLst>
              <a:gd name="connsiteX0" fmla="*/ 0 w 6217773"/>
              <a:gd name="connsiteY0" fmla="*/ 631093 h 5069018"/>
              <a:gd name="connsiteX1" fmla="*/ 631093 w 6217773"/>
              <a:gd name="connsiteY1" fmla="*/ 0 h 5069018"/>
              <a:gd name="connsiteX2" fmla="*/ 5586680 w 6217773"/>
              <a:gd name="connsiteY2" fmla="*/ 0 h 5069018"/>
              <a:gd name="connsiteX3" fmla="*/ 6217773 w 6217773"/>
              <a:gd name="connsiteY3" fmla="*/ 631093 h 5069018"/>
              <a:gd name="connsiteX4" fmla="*/ 6217773 w 6217773"/>
              <a:gd name="connsiteY4" fmla="*/ 4437925 h 5069018"/>
              <a:gd name="connsiteX5" fmla="*/ 5586680 w 6217773"/>
              <a:gd name="connsiteY5" fmla="*/ 5069018 h 5069018"/>
              <a:gd name="connsiteX6" fmla="*/ 631093 w 6217773"/>
              <a:gd name="connsiteY6" fmla="*/ 5069018 h 5069018"/>
              <a:gd name="connsiteX7" fmla="*/ 0 w 6217773"/>
              <a:gd name="connsiteY7" fmla="*/ 4437925 h 5069018"/>
              <a:gd name="connsiteX8" fmla="*/ 0 w 6217773"/>
              <a:gd name="connsiteY8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31029 w 6248802"/>
              <a:gd name="connsiteY0" fmla="*/ 638400 h 5076325"/>
              <a:gd name="connsiteX1" fmla="*/ 35792 w 6248802"/>
              <a:gd name="connsiteY1" fmla="*/ 228 h 5076325"/>
              <a:gd name="connsiteX2" fmla="*/ 662122 w 6248802"/>
              <a:gd name="connsiteY2" fmla="*/ 7307 h 5076325"/>
              <a:gd name="connsiteX3" fmla="*/ 5617709 w 6248802"/>
              <a:gd name="connsiteY3" fmla="*/ 7307 h 5076325"/>
              <a:gd name="connsiteX4" fmla="*/ 6248802 w 6248802"/>
              <a:gd name="connsiteY4" fmla="*/ 638400 h 5076325"/>
              <a:gd name="connsiteX5" fmla="*/ 6248802 w 6248802"/>
              <a:gd name="connsiteY5" fmla="*/ 4445232 h 5076325"/>
              <a:gd name="connsiteX6" fmla="*/ 5617709 w 6248802"/>
              <a:gd name="connsiteY6" fmla="*/ 5076325 h 5076325"/>
              <a:gd name="connsiteX7" fmla="*/ 662122 w 6248802"/>
              <a:gd name="connsiteY7" fmla="*/ 5076325 h 5076325"/>
              <a:gd name="connsiteX8" fmla="*/ 31029 w 6248802"/>
              <a:gd name="connsiteY8" fmla="*/ 4445232 h 5076325"/>
              <a:gd name="connsiteX9" fmla="*/ 31029 w 6248802"/>
              <a:gd name="connsiteY9" fmla="*/ 638400 h 5076325"/>
              <a:gd name="connsiteX0" fmla="*/ 0 w 6217773"/>
              <a:gd name="connsiteY0" fmla="*/ 638860 h 5076785"/>
              <a:gd name="connsiteX1" fmla="*/ 4763 w 6217773"/>
              <a:gd name="connsiteY1" fmla="*/ 688 h 5076785"/>
              <a:gd name="connsiteX2" fmla="*/ 631093 w 6217773"/>
              <a:gd name="connsiteY2" fmla="*/ 7767 h 5076785"/>
              <a:gd name="connsiteX3" fmla="*/ 5586680 w 6217773"/>
              <a:gd name="connsiteY3" fmla="*/ 7767 h 5076785"/>
              <a:gd name="connsiteX4" fmla="*/ 6217773 w 6217773"/>
              <a:gd name="connsiteY4" fmla="*/ 638860 h 5076785"/>
              <a:gd name="connsiteX5" fmla="*/ 6217773 w 6217773"/>
              <a:gd name="connsiteY5" fmla="*/ 4445692 h 5076785"/>
              <a:gd name="connsiteX6" fmla="*/ 5586680 w 6217773"/>
              <a:gd name="connsiteY6" fmla="*/ 5076785 h 5076785"/>
              <a:gd name="connsiteX7" fmla="*/ 631093 w 6217773"/>
              <a:gd name="connsiteY7" fmla="*/ 5076785 h 5076785"/>
              <a:gd name="connsiteX8" fmla="*/ 0 w 6217773"/>
              <a:gd name="connsiteY8" fmla="*/ 4445692 h 5076785"/>
              <a:gd name="connsiteX9" fmla="*/ 0 w 6217773"/>
              <a:gd name="connsiteY9" fmla="*/ 638860 h 5076785"/>
              <a:gd name="connsiteX0" fmla="*/ 64 w 6217837"/>
              <a:gd name="connsiteY0" fmla="*/ 638860 h 5076785"/>
              <a:gd name="connsiteX1" fmla="*/ 4827 w 6217837"/>
              <a:gd name="connsiteY1" fmla="*/ 688 h 5076785"/>
              <a:gd name="connsiteX2" fmla="*/ 631157 w 6217837"/>
              <a:gd name="connsiteY2" fmla="*/ 7767 h 5076785"/>
              <a:gd name="connsiteX3" fmla="*/ 5586744 w 6217837"/>
              <a:gd name="connsiteY3" fmla="*/ 7767 h 5076785"/>
              <a:gd name="connsiteX4" fmla="*/ 6217837 w 6217837"/>
              <a:gd name="connsiteY4" fmla="*/ 638860 h 5076785"/>
              <a:gd name="connsiteX5" fmla="*/ 6217837 w 6217837"/>
              <a:gd name="connsiteY5" fmla="*/ 4445692 h 5076785"/>
              <a:gd name="connsiteX6" fmla="*/ 5586744 w 6217837"/>
              <a:gd name="connsiteY6" fmla="*/ 5076785 h 5076785"/>
              <a:gd name="connsiteX7" fmla="*/ 631157 w 6217837"/>
              <a:gd name="connsiteY7" fmla="*/ 5076785 h 5076785"/>
              <a:gd name="connsiteX8" fmla="*/ 64 w 6217837"/>
              <a:gd name="connsiteY8" fmla="*/ 4445692 h 5076785"/>
              <a:gd name="connsiteX9" fmla="*/ 64 w 6217837"/>
              <a:gd name="connsiteY9" fmla="*/ 638860 h 5076785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586744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19941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17837" h="5069018">
                <a:moveTo>
                  <a:pt x="64" y="631093"/>
                </a:moveTo>
                <a:cubicBezTo>
                  <a:pt x="4033" y="467051"/>
                  <a:pt x="-5105" y="12378"/>
                  <a:pt x="4827" y="2446"/>
                </a:cubicBezTo>
                <a:cubicBezTo>
                  <a:pt x="11584" y="-1136"/>
                  <a:pt x="507287" y="937"/>
                  <a:pt x="631157" y="0"/>
                </a:cubicBezTo>
                <a:lnTo>
                  <a:pt x="5819941" y="0"/>
                </a:lnTo>
                <a:cubicBezTo>
                  <a:pt x="6168484" y="0"/>
                  <a:pt x="6217837" y="282550"/>
                  <a:pt x="6217837" y="631093"/>
                </a:cubicBezTo>
                <a:lnTo>
                  <a:pt x="6217837" y="4437925"/>
                </a:lnTo>
                <a:cubicBezTo>
                  <a:pt x="6217837" y="4786468"/>
                  <a:pt x="6155528" y="5069018"/>
                  <a:pt x="5806985" y="5069018"/>
                </a:cubicBezTo>
                <a:lnTo>
                  <a:pt x="449783" y="5069018"/>
                </a:lnTo>
                <a:cubicBezTo>
                  <a:pt x="101240" y="5069018"/>
                  <a:pt x="64" y="4786468"/>
                  <a:pt x="64" y="4437925"/>
                </a:cubicBezTo>
                <a:lnTo>
                  <a:pt x="64" y="631093"/>
                </a:lnTo>
                <a:close/>
              </a:path>
            </a:pathLst>
          </a:custGeom>
          <a:solidFill>
            <a:schemeClr val="bg2"/>
          </a:solidFill>
        </p:spPr>
        <p:txBody>
          <a:bodyPr lIns="504000" tIns="252000" rIns="252000" bIns="360000"/>
          <a:lstStyle>
            <a:lvl1pPr>
              <a:defRPr sz="4209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Punt 1</a:t>
            </a:r>
          </a:p>
        </p:txBody>
      </p:sp>
      <p:sp>
        <p:nvSpPr>
          <p:cNvPr id="163" name="Tijdelijke aanduiding voor tekst 3">
            <a:extLst>
              <a:ext uri="{FF2B5EF4-FFF2-40B4-BE49-F238E27FC236}">
                <a16:creationId xmlns:a16="http://schemas.microsoft.com/office/drawing/2014/main" id="{D63CF0FC-A378-4DBC-879D-CF2808176423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687079" y="11464491"/>
            <a:ext cx="5345254" cy="3935018"/>
          </a:xfrm>
          <a:custGeom>
            <a:avLst/>
            <a:gdLst>
              <a:gd name="connsiteX0" fmla="*/ 0 w 6217773"/>
              <a:gd name="connsiteY0" fmla="*/ 631093 h 5069018"/>
              <a:gd name="connsiteX1" fmla="*/ 631093 w 6217773"/>
              <a:gd name="connsiteY1" fmla="*/ 0 h 5069018"/>
              <a:gd name="connsiteX2" fmla="*/ 5586680 w 6217773"/>
              <a:gd name="connsiteY2" fmla="*/ 0 h 5069018"/>
              <a:gd name="connsiteX3" fmla="*/ 6217773 w 6217773"/>
              <a:gd name="connsiteY3" fmla="*/ 631093 h 5069018"/>
              <a:gd name="connsiteX4" fmla="*/ 6217773 w 6217773"/>
              <a:gd name="connsiteY4" fmla="*/ 4437925 h 5069018"/>
              <a:gd name="connsiteX5" fmla="*/ 5586680 w 6217773"/>
              <a:gd name="connsiteY5" fmla="*/ 5069018 h 5069018"/>
              <a:gd name="connsiteX6" fmla="*/ 631093 w 6217773"/>
              <a:gd name="connsiteY6" fmla="*/ 5069018 h 5069018"/>
              <a:gd name="connsiteX7" fmla="*/ 0 w 6217773"/>
              <a:gd name="connsiteY7" fmla="*/ 4437925 h 5069018"/>
              <a:gd name="connsiteX8" fmla="*/ 0 w 6217773"/>
              <a:gd name="connsiteY8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31029 w 6248802"/>
              <a:gd name="connsiteY0" fmla="*/ 638400 h 5076325"/>
              <a:gd name="connsiteX1" fmla="*/ 35792 w 6248802"/>
              <a:gd name="connsiteY1" fmla="*/ 228 h 5076325"/>
              <a:gd name="connsiteX2" fmla="*/ 662122 w 6248802"/>
              <a:gd name="connsiteY2" fmla="*/ 7307 h 5076325"/>
              <a:gd name="connsiteX3" fmla="*/ 5617709 w 6248802"/>
              <a:gd name="connsiteY3" fmla="*/ 7307 h 5076325"/>
              <a:gd name="connsiteX4" fmla="*/ 6248802 w 6248802"/>
              <a:gd name="connsiteY4" fmla="*/ 638400 h 5076325"/>
              <a:gd name="connsiteX5" fmla="*/ 6248802 w 6248802"/>
              <a:gd name="connsiteY5" fmla="*/ 4445232 h 5076325"/>
              <a:gd name="connsiteX6" fmla="*/ 5617709 w 6248802"/>
              <a:gd name="connsiteY6" fmla="*/ 5076325 h 5076325"/>
              <a:gd name="connsiteX7" fmla="*/ 662122 w 6248802"/>
              <a:gd name="connsiteY7" fmla="*/ 5076325 h 5076325"/>
              <a:gd name="connsiteX8" fmla="*/ 31029 w 6248802"/>
              <a:gd name="connsiteY8" fmla="*/ 4445232 h 5076325"/>
              <a:gd name="connsiteX9" fmla="*/ 31029 w 6248802"/>
              <a:gd name="connsiteY9" fmla="*/ 638400 h 5076325"/>
              <a:gd name="connsiteX0" fmla="*/ 0 w 6217773"/>
              <a:gd name="connsiteY0" fmla="*/ 638860 h 5076785"/>
              <a:gd name="connsiteX1" fmla="*/ 4763 w 6217773"/>
              <a:gd name="connsiteY1" fmla="*/ 688 h 5076785"/>
              <a:gd name="connsiteX2" fmla="*/ 631093 w 6217773"/>
              <a:gd name="connsiteY2" fmla="*/ 7767 h 5076785"/>
              <a:gd name="connsiteX3" fmla="*/ 5586680 w 6217773"/>
              <a:gd name="connsiteY3" fmla="*/ 7767 h 5076785"/>
              <a:gd name="connsiteX4" fmla="*/ 6217773 w 6217773"/>
              <a:gd name="connsiteY4" fmla="*/ 638860 h 5076785"/>
              <a:gd name="connsiteX5" fmla="*/ 6217773 w 6217773"/>
              <a:gd name="connsiteY5" fmla="*/ 4445692 h 5076785"/>
              <a:gd name="connsiteX6" fmla="*/ 5586680 w 6217773"/>
              <a:gd name="connsiteY6" fmla="*/ 5076785 h 5076785"/>
              <a:gd name="connsiteX7" fmla="*/ 631093 w 6217773"/>
              <a:gd name="connsiteY7" fmla="*/ 5076785 h 5076785"/>
              <a:gd name="connsiteX8" fmla="*/ 0 w 6217773"/>
              <a:gd name="connsiteY8" fmla="*/ 4445692 h 5076785"/>
              <a:gd name="connsiteX9" fmla="*/ 0 w 6217773"/>
              <a:gd name="connsiteY9" fmla="*/ 638860 h 5076785"/>
              <a:gd name="connsiteX0" fmla="*/ 64 w 6217837"/>
              <a:gd name="connsiteY0" fmla="*/ 638860 h 5076785"/>
              <a:gd name="connsiteX1" fmla="*/ 4827 w 6217837"/>
              <a:gd name="connsiteY1" fmla="*/ 688 h 5076785"/>
              <a:gd name="connsiteX2" fmla="*/ 631157 w 6217837"/>
              <a:gd name="connsiteY2" fmla="*/ 7767 h 5076785"/>
              <a:gd name="connsiteX3" fmla="*/ 5586744 w 6217837"/>
              <a:gd name="connsiteY3" fmla="*/ 7767 h 5076785"/>
              <a:gd name="connsiteX4" fmla="*/ 6217837 w 6217837"/>
              <a:gd name="connsiteY4" fmla="*/ 638860 h 5076785"/>
              <a:gd name="connsiteX5" fmla="*/ 6217837 w 6217837"/>
              <a:gd name="connsiteY5" fmla="*/ 4445692 h 5076785"/>
              <a:gd name="connsiteX6" fmla="*/ 5586744 w 6217837"/>
              <a:gd name="connsiteY6" fmla="*/ 5076785 h 5076785"/>
              <a:gd name="connsiteX7" fmla="*/ 631157 w 6217837"/>
              <a:gd name="connsiteY7" fmla="*/ 5076785 h 5076785"/>
              <a:gd name="connsiteX8" fmla="*/ 64 w 6217837"/>
              <a:gd name="connsiteY8" fmla="*/ 4445692 h 5076785"/>
              <a:gd name="connsiteX9" fmla="*/ 64 w 6217837"/>
              <a:gd name="connsiteY9" fmla="*/ 638860 h 5076785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586744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19941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17837" h="5069018">
                <a:moveTo>
                  <a:pt x="64" y="631093"/>
                </a:moveTo>
                <a:cubicBezTo>
                  <a:pt x="4033" y="467051"/>
                  <a:pt x="-5105" y="12378"/>
                  <a:pt x="4827" y="2446"/>
                </a:cubicBezTo>
                <a:cubicBezTo>
                  <a:pt x="11584" y="-1136"/>
                  <a:pt x="507287" y="937"/>
                  <a:pt x="631157" y="0"/>
                </a:cubicBezTo>
                <a:lnTo>
                  <a:pt x="5819941" y="0"/>
                </a:lnTo>
                <a:cubicBezTo>
                  <a:pt x="6168484" y="0"/>
                  <a:pt x="6217837" y="282550"/>
                  <a:pt x="6217837" y="631093"/>
                </a:cubicBezTo>
                <a:lnTo>
                  <a:pt x="6217837" y="4437925"/>
                </a:lnTo>
                <a:cubicBezTo>
                  <a:pt x="6217837" y="4786468"/>
                  <a:pt x="6155528" y="5069018"/>
                  <a:pt x="5806985" y="5069018"/>
                </a:cubicBezTo>
                <a:lnTo>
                  <a:pt x="449783" y="5069018"/>
                </a:lnTo>
                <a:cubicBezTo>
                  <a:pt x="101240" y="5069018"/>
                  <a:pt x="64" y="4786468"/>
                  <a:pt x="64" y="4437925"/>
                </a:cubicBezTo>
                <a:lnTo>
                  <a:pt x="64" y="631093"/>
                </a:lnTo>
                <a:close/>
              </a:path>
            </a:pathLst>
          </a:custGeom>
          <a:solidFill>
            <a:schemeClr val="bg2"/>
          </a:solidFill>
        </p:spPr>
        <p:txBody>
          <a:bodyPr lIns="504000" tIns="252000" rIns="252000" bIns="360000"/>
          <a:lstStyle>
            <a:lvl1pPr>
              <a:defRPr sz="4209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Punt 2</a:t>
            </a:r>
          </a:p>
        </p:txBody>
      </p:sp>
      <p:sp>
        <p:nvSpPr>
          <p:cNvPr id="164" name="Tijdelijke aanduiding voor tekst 3">
            <a:extLst>
              <a:ext uri="{FF2B5EF4-FFF2-40B4-BE49-F238E27FC236}">
                <a16:creationId xmlns:a16="http://schemas.microsoft.com/office/drawing/2014/main" id="{3D564F2E-B66A-44B1-BD7F-8488248EED5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687079" y="16620337"/>
            <a:ext cx="5345254" cy="3935018"/>
          </a:xfrm>
          <a:custGeom>
            <a:avLst/>
            <a:gdLst>
              <a:gd name="connsiteX0" fmla="*/ 0 w 6217773"/>
              <a:gd name="connsiteY0" fmla="*/ 631093 h 5069018"/>
              <a:gd name="connsiteX1" fmla="*/ 631093 w 6217773"/>
              <a:gd name="connsiteY1" fmla="*/ 0 h 5069018"/>
              <a:gd name="connsiteX2" fmla="*/ 5586680 w 6217773"/>
              <a:gd name="connsiteY2" fmla="*/ 0 h 5069018"/>
              <a:gd name="connsiteX3" fmla="*/ 6217773 w 6217773"/>
              <a:gd name="connsiteY3" fmla="*/ 631093 h 5069018"/>
              <a:gd name="connsiteX4" fmla="*/ 6217773 w 6217773"/>
              <a:gd name="connsiteY4" fmla="*/ 4437925 h 5069018"/>
              <a:gd name="connsiteX5" fmla="*/ 5586680 w 6217773"/>
              <a:gd name="connsiteY5" fmla="*/ 5069018 h 5069018"/>
              <a:gd name="connsiteX6" fmla="*/ 631093 w 6217773"/>
              <a:gd name="connsiteY6" fmla="*/ 5069018 h 5069018"/>
              <a:gd name="connsiteX7" fmla="*/ 0 w 6217773"/>
              <a:gd name="connsiteY7" fmla="*/ 4437925 h 5069018"/>
              <a:gd name="connsiteX8" fmla="*/ 0 w 6217773"/>
              <a:gd name="connsiteY8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31029 w 6248802"/>
              <a:gd name="connsiteY0" fmla="*/ 638400 h 5076325"/>
              <a:gd name="connsiteX1" fmla="*/ 35792 w 6248802"/>
              <a:gd name="connsiteY1" fmla="*/ 228 h 5076325"/>
              <a:gd name="connsiteX2" fmla="*/ 662122 w 6248802"/>
              <a:gd name="connsiteY2" fmla="*/ 7307 h 5076325"/>
              <a:gd name="connsiteX3" fmla="*/ 5617709 w 6248802"/>
              <a:gd name="connsiteY3" fmla="*/ 7307 h 5076325"/>
              <a:gd name="connsiteX4" fmla="*/ 6248802 w 6248802"/>
              <a:gd name="connsiteY4" fmla="*/ 638400 h 5076325"/>
              <a:gd name="connsiteX5" fmla="*/ 6248802 w 6248802"/>
              <a:gd name="connsiteY5" fmla="*/ 4445232 h 5076325"/>
              <a:gd name="connsiteX6" fmla="*/ 5617709 w 6248802"/>
              <a:gd name="connsiteY6" fmla="*/ 5076325 h 5076325"/>
              <a:gd name="connsiteX7" fmla="*/ 662122 w 6248802"/>
              <a:gd name="connsiteY7" fmla="*/ 5076325 h 5076325"/>
              <a:gd name="connsiteX8" fmla="*/ 31029 w 6248802"/>
              <a:gd name="connsiteY8" fmla="*/ 4445232 h 5076325"/>
              <a:gd name="connsiteX9" fmla="*/ 31029 w 6248802"/>
              <a:gd name="connsiteY9" fmla="*/ 638400 h 5076325"/>
              <a:gd name="connsiteX0" fmla="*/ 0 w 6217773"/>
              <a:gd name="connsiteY0" fmla="*/ 638860 h 5076785"/>
              <a:gd name="connsiteX1" fmla="*/ 4763 w 6217773"/>
              <a:gd name="connsiteY1" fmla="*/ 688 h 5076785"/>
              <a:gd name="connsiteX2" fmla="*/ 631093 w 6217773"/>
              <a:gd name="connsiteY2" fmla="*/ 7767 h 5076785"/>
              <a:gd name="connsiteX3" fmla="*/ 5586680 w 6217773"/>
              <a:gd name="connsiteY3" fmla="*/ 7767 h 5076785"/>
              <a:gd name="connsiteX4" fmla="*/ 6217773 w 6217773"/>
              <a:gd name="connsiteY4" fmla="*/ 638860 h 5076785"/>
              <a:gd name="connsiteX5" fmla="*/ 6217773 w 6217773"/>
              <a:gd name="connsiteY5" fmla="*/ 4445692 h 5076785"/>
              <a:gd name="connsiteX6" fmla="*/ 5586680 w 6217773"/>
              <a:gd name="connsiteY6" fmla="*/ 5076785 h 5076785"/>
              <a:gd name="connsiteX7" fmla="*/ 631093 w 6217773"/>
              <a:gd name="connsiteY7" fmla="*/ 5076785 h 5076785"/>
              <a:gd name="connsiteX8" fmla="*/ 0 w 6217773"/>
              <a:gd name="connsiteY8" fmla="*/ 4445692 h 5076785"/>
              <a:gd name="connsiteX9" fmla="*/ 0 w 6217773"/>
              <a:gd name="connsiteY9" fmla="*/ 638860 h 5076785"/>
              <a:gd name="connsiteX0" fmla="*/ 64 w 6217837"/>
              <a:gd name="connsiteY0" fmla="*/ 638860 h 5076785"/>
              <a:gd name="connsiteX1" fmla="*/ 4827 w 6217837"/>
              <a:gd name="connsiteY1" fmla="*/ 688 h 5076785"/>
              <a:gd name="connsiteX2" fmla="*/ 631157 w 6217837"/>
              <a:gd name="connsiteY2" fmla="*/ 7767 h 5076785"/>
              <a:gd name="connsiteX3" fmla="*/ 5586744 w 6217837"/>
              <a:gd name="connsiteY3" fmla="*/ 7767 h 5076785"/>
              <a:gd name="connsiteX4" fmla="*/ 6217837 w 6217837"/>
              <a:gd name="connsiteY4" fmla="*/ 638860 h 5076785"/>
              <a:gd name="connsiteX5" fmla="*/ 6217837 w 6217837"/>
              <a:gd name="connsiteY5" fmla="*/ 4445692 h 5076785"/>
              <a:gd name="connsiteX6" fmla="*/ 5586744 w 6217837"/>
              <a:gd name="connsiteY6" fmla="*/ 5076785 h 5076785"/>
              <a:gd name="connsiteX7" fmla="*/ 631157 w 6217837"/>
              <a:gd name="connsiteY7" fmla="*/ 5076785 h 5076785"/>
              <a:gd name="connsiteX8" fmla="*/ 64 w 6217837"/>
              <a:gd name="connsiteY8" fmla="*/ 4445692 h 5076785"/>
              <a:gd name="connsiteX9" fmla="*/ 64 w 6217837"/>
              <a:gd name="connsiteY9" fmla="*/ 638860 h 5076785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586744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19941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17837" h="5069018">
                <a:moveTo>
                  <a:pt x="64" y="631093"/>
                </a:moveTo>
                <a:cubicBezTo>
                  <a:pt x="4033" y="467051"/>
                  <a:pt x="-5105" y="12378"/>
                  <a:pt x="4827" y="2446"/>
                </a:cubicBezTo>
                <a:cubicBezTo>
                  <a:pt x="11584" y="-1136"/>
                  <a:pt x="507287" y="937"/>
                  <a:pt x="631157" y="0"/>
                </a:cubicBezTo>
                <a:lnTo>
                  <a:pt x="5819941" y="0"/>
                </a:lnTo>
                <a:cubicBezTo>
                  <a:pt x="6168484" y="0"/>
                  <a:pt x="6217837" y="282550"/>
                  <a:pt x="6217837" y="631093"/>
                </a:cubicBezTo>
                <a:lnTo>
                  <a:pt x="6217837" y="4437925"/>
                </a:lnTo>
                <a:cubicBezTo>
                  <a:pt x="6217837" y="4786468"/>
                  <a:pt x="6155528" y="5069018"/>
                  <a:pt x="5806985" y="5069018"/>
                </a:cubicBezTo>
                <a:lnTo>
                  <a:pt x="449783" y="5069018"/>
                </a:lnTo>
                <a:cubicBezTo>
                  <a:pt x="101240" y="5069018"/>
                  <a:pt x="64" y="4786468"/>
                  <a:pt x="64" y="4437925"/>
                </a:cubicBezTo>
                <a:lnTo>
                  <a:pt x="64" y="631093"/>
                </a:lnTo>
                <a:close/>
              </a:path>
            </a:pathLst>
          </a:custGeom>
          <a:solidFill>
            <a:schemeClr val="bg2"/>
          </a:solidFill>
        </p:spPr>
        <p:txBody>
          <a:bodyPr lIns="504000" tIns="252000" rIns="252000" bIns="360000"/>
          <a:lstStyle>
            <a:lvl1pPr>
              <a:defRPr sz="4209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Punt 3</a:t>
            </a:r>
          </a:p>
        </p:txBody>
      </p:sp>
      <p:sp>
        <p:nvSpPr>
          <p:cNvPr id="160" name="Tijdelijke aanduiding voor tekst 2">
            <a:extLst>
              <a:ext uri="{FF2B5EF4-FFF2-40B4-BE49-F238E27FC236}">
                <a16:creationId xmlns:a16="http://schemas.microsoft.com/office/drawing/2014/main" id="{C8983519-A824-4AAD-84BE-E86BCCAA3C8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33807" y="6316512"/>
            <a:ext cx="26489657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 marL="0" indent="0">
              <a:buNone/>
              <a:defRPr sz="4209"/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61" name="Tijdelijke aanduiding voor tekst 2">
            <a:extLst>
              <a:ext uri="{FF2B5EF4-FFF2-40B4-BE49-F238E27FC236}">
                <a16:creationId xmlns:a16="http://schemas.microsoft.com/office/drawing/2014/main" id="{AE7372F4-5605-49B5-BFA6-75FB9F7F477F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533807" y="11466940"/>
            <a:ext cx="26489657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 marL="0" indent="0">
              <a:buNone/>
              <a:defRPr sz="4209"/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69" name="Tijdelijke aanduiding voor tekst 2">
            <a:extLst>
              <a:ext uri="{FF2B5EF4-FFF2-40B4-BE49-F238E27FC236}">
                <a16:creationId xmlns:a16="http://schemas.microsoft.com/office/drawing/2014/main" id="{6DF20755-33D3-4DFC-B8F1-88598EDF11D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533807" y="16623324"/>
            <a:ext cx="26489657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 marL="0" indent="0">
              <a:buNone/>
              <a:defRPr sz="4209"/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70" name="Tijdelijke aanduiding voor tekst 2">
            <a:extLst>
              <a:ext uri="{FF2B5EF4-FFF2-40B4-BE49-F238E27FC236}">
                <a16:creationId xmlns:a16="http://schemas.microsoft.com/office/drawing/2014/main" id="{E9ABA610-FA89-4787-B010-B4676D2C42C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533807" y="21779704"/>
            <a:ext cx="26489657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 marL="0" indent="0">
              <a:buNone/>
              <a:defRPr sz="4209"/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pic>
        <p:nvPicPr>
          <p:cNvPr id="24" name="Afbeelding 23">
            <a:extLst>
              <a:ext uri="{FF2B5EF4-FFF2-40B4-BE49-F238E27FC236}">
                <a16:creationId xmlns:a16="http://schemas.microsoft.com/office/drawing/2014/main" id="{E73F6112-D899-4F2E-A37F-7292DFE860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  <p:grpSp>
        <p:nvGrpSpPr>
          <p:cNvPr id="25" name="Instructie">
            <a:extLst>
              <a:ext uri="{FF2B5EF4-FFF2-40B4-BE49-F238E27FC236}">
                <a16:creationId xmlns:a16="http://schemas.microsoft.com/office/drawing/2014/main" id="{6B80ED24-686D-4703-833A-DFF98BF6FA34}"/>
              </a:ext>
            </a:extLst>
          </p:cNvPr>
          <p:cNvGrpSpPr/>
          <p:nvPr userDrawn="1"/>
        </p:nvGrpSpPr>
        <p:grpSpPr>
          <a:xfrm>
            <a:off x="43268722" y="0"/>
            <a:ext cx="11164508" cy="11743958"/>
            <a:chOff x="-3426088" y="4512342"/>
            <a:chExt cx="3182755" cy="2660264"/>
          </a:xfrm>
        </p:grpSpPr>
        <p:sp>
          <p:nvSpPr>
            <p:cNvPr id="26" name="Rechthoek 127">
              <a:extLst>
                <a:ext uri="{FF2B5EF4-FFF2-40B4-BE49-F238E27FC236}">
                  <a16:creationId xmlns:a16="http://schemas.microsoft.com/office/drawing/2014/main" id="{062D4B2D-434F-47B3-A870-0155931F969C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27" name="Rechte verbindingslijn 128">
              <a:extLst>
                <a:ext uri="{FF2B5EF4-FFF2-40B4-BE49-F238E27FC236}">
                  <a16:creationId xmlns:a16="http://schemas.microsoft.com/office/drawing/2014/main" id="{77436DFA-7D76-4055-A207-4850EC866E9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8" name="Rechthoek 130">
              <a:extLst>
                <a:ext uri="{FF2B5EF4-FFF2-40B4-BE49-F238E27FC236}">
                  <a16:creationId xmlns:a16="http://schemas.microsoft.com/office/drawing/2014/main" id="{BE66A822-8F0B-4E68-8DDB-CDDE9A5FFC2C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30" name="Rechthoek 133">
              <a:extLst>
                <a:ext uri="{FF2B5EF4-FFF2-40B4-BE49-F238E27FC236}">
                  <a16:creationId xmlns:a16="http://schemas.microsoft.com/office/drawing/2014/main" id="{994F4FAB-ECE6-40D4-A381-483634364B6A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31" name="Rechthoek 136">
              <a:extLst>
                <a:ext uri="{FF2B5EF4-FFF2-40B4-BE49-F238E27FC236}">
                  <a16:creationId xmlns:a16="http://schemas.microsoft.com/office/drawing/2014/main" id="{67AFAADF-A676-4765-A4AF-5B8C246FF961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32" name="Rechthoek 139">
              <a:extLst>
                <a:ext uri="{FF2B5EF4-FFF2-40B4-BE49-F238E27FC236}">
                  <a16:creationId xmlns:a16="http://schemas.microsoft.com/office/drawing/2014/main" id="{579184D9-BFD8-41CB-9056-6F3BD24C1777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33" name="Rechte verbindingslijn 140">
              <a:extLst>
                <a:ext uri="{FF2B5EF4-FFF2-40B4-BE49-F238E27FC236}">
                  <a16:creationId xmlns:a16="http://schemas.microsoft.com/office/drawing/2014/main" id="{76B4A990-530A-4CD6-983D-6A5661EEDE9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884467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-media + tekst 50%50%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1742377" y="6476687"/>
            <a:ext cx="39446169" cy="3973575"/>
          </a:xfrm>
        </p:spPr>
        <p:txBody>
          <a:bodyPr vert="horz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b="1">
                <a:solidFill>
                  <a:schemeClr val="bg2"/>
                </a:solidFill>
                <a:latin typeface="+mj-lt"/>
              </a:defRPr>
            </a:lvl1pPr>
            <a:lvl2pPr marL="0" indent="0">
              <a:lnSpc>
                <a:spcPct val="120000"/>
              </a:lnSpc>
              <a:spcAft>
                <a:spcPts val="0"/>
              </a:spcAft>
              <a:buNone/>
              <a:defRPr/>
            </a:lvl2pPr>
            <a:lvl3pPr marL="2199582" indent="-952226">
              <a:lnSpc>
                <a:spcPct val="70000"/>
              </a:lnSpc>
              <a:defRPr/>
            </a:lvl3pPr>
            <a:lvl4pPr>
              <a:lnSpc>
                <a:spcPct val="70000"/>
              </a:lnSpc>
              <a:defRPr/>
            </a:lvl4pPr>
            <a:lvl5pPr>
              <a:lnSpc>
                <a:spcPct val="70000"/>
              </a:lnSpc>
              <a:defRPr>
                <a:solidFill>
                  <a:schemeClr val="bg2"/>
                </a:solidFill>
              </a:defRPr>
            </a:lvl5pPr>
            <a:lvl6pPr marL="0" indent="0">
              <a:lnSpc>
                <a:spcPct val="70000"/>
              </a:lnSpc>
              <a:buFontTx/>
              <a:buNone/>
              <a:defRPr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34" name="Titel 1">
            <a:extLst>
              <a:ext uri="{FF2B5EF4-FFF2-40B4-BE49-F238E27FC236}">
                <a16:creationId xmlns:a16="http://schemas.microsoft.com/office/drawing/2014/main" id="{53A6CE20-1E7A-4F87-96EC-7E964AA913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41" name="Tijdelijke aanduiding voor tekst 14">
            <a:extLst>
              <a:ext uri="{FF2B5EF4-FFF2-40B4-BE49-F238E27FC236}">
                <a16:creationId xmlns:a16="http://schemas.microsoft.com/office/drawing/2014/main" id="{4B035891-3F3E-4E86-9D5A-96D1E3B9D0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grpSp>
        <p:nvGrpSpPr>
          <p:cNvPr id="50" name="GRID" hidden="1">
            <a:extLst>
              <a:ext uri="{FF2B5EF4-FFF2-40B4-BE49-F238E27FC236}">
                <a16:creationId xmlns:a16="http://schemas.microsoft.com/office/drawing/2014/main" id="{C59E2946-118D-4C01-970E-FC9CE00C6395}"/>
              </a:ext>
            </a:extLst>
          </p:cNvPr>
          <p:cNvGrpSpPr/>
          <p:nvPr userDrawn="1"/>
        </p:nvGrpSpPr>
        <p:grpSpPr>
          <a:xfrm>
            <a:off x="5" y="0"/>
            <a:ext cx="42767261" cy="30275213"/>
            <a:chOff x="0" y="0"/>
            <a:chExt cx="12192003" cy="6858000"/>
          </a:xfrm>
        </p:grpSpPr>
        <p:sp>
          <p:nvSpPr>
            <p:cNvPr id="51" name="Rechthoek 50">
              <a:extLst>
                <a:ext uri="{FF2B5EF4-FFF2-40B4-BE49-F238E27FC236}">
                  <a16:creationId xmlns:a16="http://schemas.microsoft.com/office/drawing/2014/main" id="{E2414C7D-389F-487F-9221-8D96900B448B}"/>
                </a:ext>
              </a:extLst>
            </p:cNvPr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52" name="Rechthoek 51">
              <a:extLst>
                <a:ext uri="{FF2B5EF4-FFF2-40B4-BE49-F238E27FC236}">
                  <a16:creationId xmlns:a16="http://schemas.microsoft.com/office/drawing/2014/main" id="{A8F1195A-80D2-4EBF-8EE2-23A21E134CE7}"/>
                </a:ext>
              </a:extLst>
            </p:cNvPr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53" name="Rechthoek 52">
              <a:extLst>
                <a:ext uri="{FF2B5EF4-FFF2-40B4-BE49-F238E27FC236}">
                  <a16:creationId xmlns:a16="http://schemas.microsoft.com/office/drawing/2014/main" id="{CA706088-94D0-49B2-9F47-CD39731ED611}"/>
                </a:ext>
              </a:extLst>
            </p:cNvPr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54" name="Rechthoek 53">
              <a:extLst>
                <a:ext uri="{FF2B5EF4-FFF2-40B4-BE49-F238E27FC236}">
                  <a16:creationId xmlns:a16="http://schemas.microsoft.com/office/drawing/2014/main" id="{6701A262-4D8B-4596-BEA3-1CDEA9A29D2D}"/>
                </a:ext>
              </a:extLst>
            </p:cNvPr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55" name="Rechthoek 54">
              <a:extLst>
                <a:ext uri="{FF2B5EF4-FFF2-40B4-BE49-F238E27FC236}">
                  <a16:creationId xmlns:a16="http://schemas.microsoft.com/office/drawing/2014/main" id="{3961D0F0-38E3-4745-BB91-8DF2B41B9EC6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56" name="Rechthoek 55">
              <a:extLst>
                <a:ext uri="{FF2B5EF4-FFF2-40B4-BE49-F238E27FC236}">
                  <a16:creationId xmlns:a16="http://schemas.microsoft.com/office/drawing/2014/main" id="{F082B6D4-918A-42B7-99B3-3B8D5AD389F5}"/>
                </a:ext>
              </a:extLst>
            </p:cNvPr>
            <p:cNvSpPr/>
            <p:nvPr userDrawn="1"/>
          </p:nvSpPr>
          <p:spPr>
            <a:xfrm rot="5400000">
              <a:off x="5895976" y="-108104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6D9780EE-AC3E-4C16-9B20-B0A0803E6ED4}"/>
                </a:ext>
              </a:extLst>
            </p:cNvPr>
            <p:cNvSpPr/>
            <p:nvPr userDrawn="1"/>
          </p:nvSpPr>
          <p:spPr>
            <a:xfrm rot="5400000">
              <a:off x="5895976" y="-3728182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FBFCF26E-9F29-4558-9176-F149D8C8577D}"/>
                </a:ext>
              </a:extLst>
            </p:cNvPr>
            <p:cNvSpPr/>
            <p:nvPr userDrawn="1"/>
          </p:nvSpPr>
          <p:spPr>
            <a:xfrm>
              <a:off x="603936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58" name="Tijdelijke aanduiding voor voettekst 4">
            <a:extLst>
              <a:ext uri="{FF2B5EF4-FFF2-40B4-BE49-F238E27FC236}">
                <a16:creationId xmlns:a16="http://schemas.microsoft.com/office/drawing/2014/main" id="{0E659B60-CF7C-460A-A879-0DDBF9C652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endParaRPr lang="nl-NL" noProof="0"/>
          </a:p>
        </p:txBody>
      </p:sp>
      <p:sp>
        <p:nvSpPr>
          <p:cNvPr id="59" name="Tijdelijke aanduiding voor dianummer 5">
            <a:extLst>
              <a:ext uri="{FF2B5EF4-FFF2-40B4-BE49-F238E27FC236}">
                <a16:creationId xmlns:a16="http://schemas.microsoft.com/office/drawing/2014/main" id="{F1A38C1E-7B15-4C30-B676-08D9095C1F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8"/>
            <a:ext cx="707315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26" name="Tijdelijke aanduiding voor inhoud 3">
            <a:extLst>
              <a:ext uri="{FF2B5EF4-FFF2-40B4-BE49-F238E27FC236}">
                <a16:creationId xmlns:a16="http://schemas.microsoft.com/office/drawing/2014/main" id="{D2E8F4BF-FD5F-4F05-BB33-AC3E7EF96F6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22826085" y="11156982"/>
            <a:ext cx="18368190" cy="14394742"/>
          </a:xfrm>
          <a:solidFill>
            <a:schemeClr val="bg1">
              <a:lumMod val="95000"/>
            </a:schemeClr>
          </a:solidFill>
        </p:spPr>
        <p:txBody>
          <a:bodyPr vert="horz" lIns="180000" tIns="180000" rIns="180000" bIns="180000" rtlCol="0">
            <a:normAutofit/>
          </a:bodyPr>
          <a:lstStyle>
            <a:lvl1pPr algn="l">
              <a:defRPr lang="nl-NL" sz="4209" b="0" i="0" smtClean="0">
                <a:latin typeface="+mj-lt"/>
              </a:defRPr>
            </a:lvl1pPr>
            <a:lvl2pPr>
              <a:defRPr lang="nl-NL" smtClean="0"/>
            </a:lvl2pPr>
            <a:lvl3pPr>
              <a:defRPr lang="nl-NL" smtClean="0"/>
            </a:lvl3pPr>
            <a:lvl4pPr>
              <a:defRPr lang="nl-NL" smtClean="0"/>
            </a:lvl4pPr>
            <a:lvl5pPr>
              <a:defRPr lang="nl-NL"/>
            </a:lvl5pPr>
          </a:lstStyle>
          <a:p>
            <a:pPr marL="0" lvl="0" indent="0" algn="ctr">
              <a:buNone/>
            </a:pPr>
            <a:r>
              <a:rPr lang="nl-NL" noProof="0"/>
              <a:t>Klik op één van de iconen</a:t>
            </a:r>
            <a:br>
              <a:rPr lang="nl-NL" noProof="0"/>
            </a:br>
            <a:r>
              <a:rPr lang="nl-NL" noProof="0"/>
              <a:t>om een media in te vullen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3DFC91BB-AEF5-43B4-84CF-C6590D01D3E3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22820351" y="11157673"/>
            <a:ext cx="18373922" cy="14394049"/>
          </a:xfrm>
          <a:solidFill>
            <a:schemeClr val="bg1">
              <a:lumMod val="95000"/>
            </a:schemeClr>
          </a:solidFill>
        </p:spPr>
        <p:txBody>
          <a:bodyPr lIns="180000" tIns="180000" rIns="180000" bIns="180000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 sz="4911" b="1">
                <a:solidFill>
                  <a:schemeClr val="bg2"/>
                </a:solidFill>
              </a:defRPr>
            </a:lvl1pPr>
            <a:lvl2pPr marL="0" indent="0">
              <a:spcAft>
                <a:spcPts val="0"/>
              </a:spcAft>
              <a:buNone/>
              <a:defRPr sz="4209"/>
            </a:lvl2pPr>
            <a:lvl3pPr marL="1247357" indent="-623677">
              <a:spcAft>
                <a:spcPts val="0"/>
              </a:spcAft>
              <a:defRPr sz="4209"/>
            </a:lvl3pPr>
            <a:lvl4pPr marL="1002340" indent="-1002340"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à"/>
              <a:defRPr sz="4209"/>
            </a:lvl4pPr>
            <a:lvl5pPr>
              <a:spcAft>
                <a:spcPts val="4209"/>
              </a:spcAft>
              <a:defRPr sz="4911"/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0" name="Tijdelijke aanduiding voor inhoud 3">
            <a:extLst>
              <a:ext uri="{FF2B5EF4-FFF2-40B4-BE49-F238E27FC236}">
                <a16:creationId xmlns:a16="http://schemas.microsoft.com/office/drawing/2014/main" id="{011BE011-FD19-4C53-988E-6F68943521B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1742373" y="11157673"/>
            <a:ext cx="18373922" cy="14394049"/>
          </a:xfrm>
          <a:solidFill>
            <a:schemeClr val="bg1">
              <a:lumMod val="95000"/>
            </a:schemeClr>
          </a:solidFill>
        </p:spPr>
        <p:txBody>
          <a:bodyPr lIns="180000" tIns="180000" rIns="180000" bIns="18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 sz="4911" b="1">
                <a:solidFill>
                  <a:schemeClr val="bg2"/>
                </a:solidFill>
              </a:defRPr>
            </a:lvl1pPr>
            <a:lvl2pPr marL="0" indent="0">
              <a:spcAft>
                <a:spcPts val="0"/>
              </a:spcAft>
              <a:buNone/>
              <a:defRPr sz="4209"/>
            </a:lvl2pPr>
            <a:lvl3pPr marL="1247357" indent="-623677">
              <a:spcAft>
                <a:spcPts val="0"/>
              </a:spcAft>
              <a:defRPr sz="4209"/>
            </a:lvl3pPr>
            <a:lvl4pPr marL="1002340" indent="-1002340"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à"/>
              <a:defRPr sz="4209"/>
            </a:lvl4pPr>
            <a:lvl5pPr>
              <a:spcAft>
                <a:spcPts val="4209"/>
              </a:spcAft>
              <a:defRPr sz="4911"/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nl-NL" noProof="0"/>
              <a:t>Klik om tekst in te voegen</a:t>
            </a:r>
          </a:p>
          <a:p>
            <a:pPr lvl="0"/>
            <a:endParaRPr lang="nl-NL" noProof="0"/>
          </a:p>
        </p:txBody>
      </p:sp>
      <p:grpSp>
        <p:nvGrpSpPr>
          <p:cNvPr id="23" name="Instructie">
            <a:extLst>
              <a:ext uri="{FF2B5EF4-FFF2-40B4-BE49-F238E27FC236}">
                <a16:creationId xmlns:a16="http://schemas.microsoft.com/office/drawing/2014/main" id="{969EA301-B913-4643-9ABD-180EFDB46534}"/>
              </a:ext>
            </a:extLst>
          </p:cNvPr>
          <p:cNvGrpSpPr/>
          <p:nvPr userDrawn="1"/>
        </p:nvGrpSpPr>
        <p:grpSpPr>
          <a:xfrm>
            <a:off x="43467416" y="3"/>
            <a:ext cx="11167745" cy="17428095"/>
            <a:chOff x="12391601" y="0"/>
            <a:chExt cx="3183678" cy="3947846"/>
          </a:xfrm>
        </p:grpSpPr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671A3C21-2740-4EB0-9EFD-9D2F7EC6FB9E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SmartArt invoegen/veranderen</a:t>
              </a:r>
            </a:p>
          </p:txBody>
        </p:sp>
        <p:sp>
          <p:nvSpPr>
            <p:cNvPr id="25" name="Ovaal 24">
              <a:extLst>
                <a:ext uri="{FF2B5EF4-FFF2-40B4-BE49-F238E27FC236}">
                  <a16:creationId xmlns:a16="http://schemas.microsoft.com/office/drawing/2014/main" id="{F3BC5726-1C08-4F05-B026-F3EFEB5D15A7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7" name="Rechte verbindingslijn 26">
              <a:extLst>
                <a:ext uri="{FF2B5EF4-FFF2-40B4-BE49-F238E27FC236}">
                  <a16:creationId xmlns:a16="http://schemas.microsoft.com/office/drawing/2014/main" id="{710F43EA-6B64-44B0-A291-485624C9AE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8" name="Rechte verbindingslijn 27">
              <a:extLst>
                <a:ext uri="{FF2B5EF4-FFF2-40B4-BE49-F238E27FC236}">
                  <a16:creationId xmlns:a16="http://schemas.microsoft.com/office/drawing/2014/main" id="{E09EE25D-EE60-42D7-A9E7-C5DD7B052EB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16A7D4DE-E8D0-42C4-82F1-6E9D4792E020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het bestaande SmartArt object d.m.v.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knop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Klik op het pictogram om een nieuw object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0" name="Rechte verbindingslijn 29">
              <a:extLst>
                <a:ext uri="{FF2B5EF4-FFF2-40B4-BE49-F238E27FC236}">
                  <a16:creationId xmlns:a16="http://schemas.microsoft.com/office/drawing/2014/main" id="{3DAC510A-CCEA-4C67-80F5-91B5DB4266B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947846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1" name="Ovaal 30">
              <a:extLst>
                <a:ext uri="{FF2B5EF4-FFF2-40B4-BE49-F238E27FC236}">
                  <a16:creationId xmlns:a16="http://schemas.microsoft.com/office/drawing/2014/main" id="{599A7A1A-AC9F-4335-9BBF-F7F10ACE59B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2" name="Rechthoek 31">
              <a:extLst>
                <a:ext uri="{FF2B5EF4-FFF2-40B4-BE49-F238E27FC236}">
                  <a16:creationId xmlns:a16="http://schemas.microsoft.com/office/drawing/2014/main" id="{FC429184-DD71-4C45-9AE9-EC6D4DDF83A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aan de linker kant van het venster het gewenste type en vervolgens het gewenste objecten klik op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3" name="Groep 32">
              <a:extLst>
                <a:ext uri="{FF2B5EF4-FFF2-40B4-BE49-F238E27FC236}">
                  <a16:creationId xmlns:a16="http://schemas.microsoft.com/office/drawing/2014/main" id="{AF3004DB-BC64-4750-94C3-119F8F8A0392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60" name="Rechthoek 59">
                <a:extLst>
                  <a:ext uri="{FF2B5EF4-FFF2-40B4-BE49-F238E27FC236}">
                    <a16:creationId xmlns:a16="http://schemas.microsoft.com/office/drawing/2014/main" id="{8117F592-BBC9-433D-A383-3FAA32C7BB0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61" name="Rechte verbindingslijn 60">
                <a:extLst>
                  <a:ext uri="{FF2B5EF4-FFF2-40B4-BE49-F238E27FC236}">
                    <a16:creationId xmlns:a16="http://schemas.microsoft.com/office/drawing/2014/main" id="{64C97D7B-D416-4CB8-988A-E030848DB9F9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62" name="Gelijkbenige driehoek 61">
                <a:extLst>
                  <a:ext uri="{FF2B5EF4-FFF2-40B4-BE49-F238E27FC236}">
                    <a16:creationId xmlns:a16="http://schemas.microsoft.com/office/drawing/2014/main" id="{E9931FC1-FE37-449E-85C9-20F1E0A2A853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5" name="Ovaal 34">
              <a:extLst>
                <a:ext uri="{FF2B5EF4-FFF2-40B4-BE49-F238E27FC236}">
                  <a16:creationId xmlns:a16="http://schemas.microsoft.com/office/drawing/2014/main" id="{403294EC-1214-4265-BF57-7F02819C38B2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" name="Rechthoek 35">
              <a:extLst>
                <a:ext uri="{FF2B5EF4-FFF2-40B4-BE49-F238E27FC236}">
                  <a16:creationId xmlns:a16="http://schemas.microsoft.com/office/drawing/2014/main" id="{7CCC7F87-B043-4C9B-962A-2BFE1EC696DF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ulpmiddelen voor SmartArt - Opmaak’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kunnen opvulkleuren en lijnkleuren aangepast worden.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der de tab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tart’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kan o.a. de tekstopmaak worden gewijzigd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" name="Rechte verbindingslijn 36">
              <a:extLst>
                <a:ext uri="{FF2B5EF4-FFF2-40B4-BE49-F238E27FC236}">
                  <a16:creationId xmlns:a16="http://schemas.microsoft.com/office/drawing/2014/main" id="{4EA2C6E2-1BD9-4FC0-9202-F35C5F46679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" name="Groep 37">
              <a:extLst>
                <a:ext uri="{FF2B5EF4-FFF2-40B4-BE49-F238E27FC236}">
                  <a16:creationId xmlns:a16="http://schemas.microsoft.com/office/drawing/2014/main" id="{20880509-B8A3-4761-B4E3-14EEE63E71A9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39" name="Pijl: punthaak 38">
                <a:extLst>
                  <a:ext uri="{FF2B5EF4-FFF2-40B4-BE49-F238E27FC236}">
                    <a16:creationId xmlns:a16="http://schemas.microsoft.com/office/drawing/2014/main" id="{F82DBB84-5BFC-4D76-A29E-E1030376D7D0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A8F93624-F9B6-420B-AEFC-DAA83308AE10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42" name="Groep 41">
                <a:extLst>
                  <a:ext uri="{FF2B5EF4-FFF2-40B4-BE49-F238E27FC236}">
                    <a16:creationId xmlns:a16="http://schemas.microsoft.com/office/drawing/2014/main" id="{6D01A9BB-A323-4B22-94AA-B37B07E22AD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49" name="Ovaal 48">
                  <a:extLst>
                    <a:ext uri="{FF2B5EF4-FFF2-40B4-BE49-F238E27FC236}">
                      <a16:creationId xmlns:a16="http://schemas.microsoft.com/office/drawing/2014/main" id="{E258FA11-22E2-49D3-A8E5-83DA1680A660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57" name="Rechte verbindingslijn 56">
                  <a:extLst>
                    <a:ext uri="{FF2B5EF4-FFF2-40B4-BE49-F238E27FC236}">
                      <a16:creationId xmlns:a16="http://schemas.microsoft.com/office/drawing/2014/main" id="{7ACF1F81-6476-4EEC-8068-788F2A7ACD30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43" name="Groep 42">
                <a:extLst>
                  <a:ext uri="{FF2B5EF4-FFF2-40B4-BE49-F238E27FC236}">
                    <a16:creationId xmlns:a16="http://schemas.microsoft.com/office/drawing/2014/main" id="{EF97AA14-53A2-4BFC-B45F-476F5004D488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47" name="Ovaal 46">
                  <a:extLst>
                    <a:ext uri="{FF2B5EF4-FFF2-40B4-BE49-F238E27FC236}">
                      <a16:creationId xmlns:a16="http://schemas.microsoft.com/office/drawing/2014/main" id="{32C1C2A0-E77D-4E49-9818-18CA943D6700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48" name="Rechte verbindingslijn 47">
                  <a:extLst>
                    <a:ext uri="{FF2B5EF4-FFF2-40B4-BE49-F238E27FC236}">
                      <a16:creationId xmlns:a16="http://schemas.microsoft.com/office/drawing/2014/main" id="{219F074F-C4DC-40EC-A4E3-73D2F77F52C7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44" name="Groep 43">
                <a:extLst>
                  <a:ext uri="{FF2B5EF4-FFF2-40B4-BE49-F238E27FC236}">
                    <a16:creationId xmlns:a16="http://schemas.microsoft.com/office/drawing/2014/main" id="{30A68E1B-82DB-4868-BC90-521430CA2057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45" name="Ovaal 44">
                  <a:extLst>
                    <a:ext uri="{FF2B5EF4-FFF2-40B4-BE49-F238E27FC236}">
                      <a16:creationId xmlns:a16="http://schemas.microsoft.com/office/drawing/2014/main" id="{DCED931A-9F11-4F84-B19A-DB412A998567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46" name="Rechte verbindingslijn 45">
                  <a:extLst>
                    <a:ext uri="{FF2B5EF4-FFF2-40B4-BE49-F238E27FC236}">
                      <a16:creationId xmlns:a16="http://schemas.microsoft.com/office/drawing/2014/main" id="{A0679111-00FC-40BF-8A13-5C1FE834D7B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63" name="Afbeelding 62">
            <a:extLst>
              <a:ext uri="{FF2B5EF4-FFF2-40B4-BE49-F238E27FC236}">
                <a16:creationId xmlns:a16="http://schemas.microsoft.com/office/drawing/2014/main" id="{520D55F0-1946-40CA-BE77-284D34AB78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749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 Balken 8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-5567" y="6476684"/>
            <a:ext cx="42767257" cy="23798534"/>
          </a:xfrm>
          <a:solidFill>
            <a:schemeClr val="bg1">
              <a:lumMod val="95000"/>
            </a:schemeClr>
          </a:solidFill>
        </p:spPr>
        <p:txBody>
          <a:bodyPr tIns="1080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0" name="Tijdelijke aanduiding voor voettekst 4">
            <a:extLst>
              <a:ext uri="{FF2B5EF4-FFF2-40B4-BE49-F238E27FC236}">
                <a16:creationId xmlns:a16="http://schemas.microsoft.com/office/drawing/2014/main" id="{1DA20FBD-9D0F-4EAB-B12C-126591D8B7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6644E39-2AF2-4EA0-9C3F-28C89D5A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7" y="27329718"/>
            <a:ext cx="851960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7" name="Tijdelijke aanduiding voor tekst 14">
            <a:extLst>
              <a:ext uri="{FF2B5EF4-FFF2-40B4-BE49-F238E27FC236}">
                <a16:creationId xmlns:a16="http://schemas.microsoft.com/office/drawing/2014/main" id="{A6BF4B27-7FC5-4896-80CE-3BA6119B83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32" name="Tijdelijke aanduiding voor tekst 3">
            <a:extLst>
              <a:ext uri="{FF2B5EF4-FFF2-40B4-BE49-F238E27FC236}">
                <a16:creationId xmlns:a16="http://schemas.microsoft.com/office/drawing/2014/main" id="{54C989E9-FA4D-4EA9-9D83-ACEFB86E984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2673480" y="14733967"/>
            <a:ext cx="18310781" cy="2416918"/>
          </a:xfrm>
          <a:custGeom>
            <a:avLst/>
            <a:gdLst>
              <a:gd name="connsiteX0" fmla="*/ 0 w 6336000"/>
              <a:gd name="connsiteY0" fmla="*/ 34052 h 547200"/>
              <a:gd name="connsiteX1" fmla="*/ 34052 w 6336000"/>
              <a:gd name="connsiteY1" fmla="*/ 0 h 547200"/>
              <a:gd name="connsiteX2" fmla="*/ 6301948 w 6336000"/>
              <a:gd name="connsiteY2" fmla="*/ 0 h 547200"/>
              <a:gd name="connsiteX3" fmla="*/ 6336000 w 6336000"/>
              <a:gd name="connsiteY3" fmla="*/ 34052 h 547200"/>
              <a:gd name="connsiteX4" fmla="*/ 6336000 w 6336000"/>
              <a:gd name="connsiteY4" fmla="*/ 513148 h 547200"/>
              <a:gd name="connsiteX5" fmla="*/ 6301948 w 6336000"/>
              <a:gd name="connsiteY5" fmla="*/ 547200 h 547200"/>
              <a:gd name="connsiteX6" fmla="*/ 34052 w 6336000"/>
              <a:gd name="connsiteY6" fmla="*/ 547200 h 547200"/>
              <a:gd name="connsiteX7" fmla="*/ 0 w 6336000"/>
              <a:gd name="connsiteY7" fmla="*/ 513148 h 547200"/>
              <a:gd name="connsiteX8" fmla="*/ 0 w 6336000"/>
              <a:gd name="connsiteY8" fmla="*/ 34052 h 547200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0 w 6336000"/>
              <a:gd name="connsiteY0" fmla="*/ 44015 h 557163"/>
              <a:gd name="connsiteX1" fmla="*/ 4390 w 6336000"/>
              <a:gd name="connsiteY1" fmla="*/ 17721 h 557163"/>
              <a:gd name="connsiteX2" fmla="*/ 34052 w 6336000"/>
              <a:gd name="connsiteY2" fmla="*/ 9963 h 557163"/>
              <a:gd name="connsiteX3" fmla="*/ 6301948 w 6336000"/>
              <a:gd name="connsiteY3" fmla="*/ 9963 h 557163"/>
              <a:gd name="connsiteX4" fmla="*/ 6336000 w 6336000"/>
              <a:gd name="connsiteY4" fmla="*/ 44015 h 557163"/>
              <a:gd name="connsiteX5" fmla="*/ 6336000 w 6336000"/>
              <a:gd name="connsiteY5" fmla="*/ 523111 h 557163"/>
              <a:gd name="connsiteX6" fmla="*/ 6301948 w 6336000"/>
              <a:gd name="connsiteY6" fmla="*/ 557163 h 557163"/>
              <a:gd name="connsiteX7" fmla="*/ 34052 w 6336000"/>
              <a:gd name="connsiteY7" fmla="*/ 557163 h 557163"/>
              <a:gd name="connsiteX8" fmla="*/ 0 w 6336000"/>
              <a:gd name="connsiteY8" fmla="*/ 523111 h 557163"/>
              <a:gd name="connsiteX9" fmla="*/ 0 w 6336000"/>
              <a:gd name="connsiteY9" fmla="*/ 44015 h 557163"/>
              <a:gd name="connsiteX0" fmla="*/ 325 w 6336325"/>
              <a:gd name="connsiteY0" fmla="*/ 34265 h 547413"/>
              <a:gd name="connsiteX1" fmla="*/ 4715 w 6336325"/>
              <a:gd name="connsiteY1" fmla="*/ 7971 h 547413"/>
              <a:gd name="connsiteX2" fmla="*/ 34377 w 6336325"/>
              <a:gd name="connsiteY2" fmla="*/ 213 h 547413"/>
              <a:gd name="connsiteX3" fmla="*/ 6302273 w 6336325"/>
              <a:gd name="connsiteY3" fmla="*/ 213 h 547413"/>
              <a:gd name="connsiteX4" fmla="*/ 6336325 w 6336325"/>
              <a:gd name="connsiteY4" fmla="*/ 34265 h 547413"/>
              <a:gd name="connsiteX5" fmla="*/ 6336325 w 6336325"/>
              <a:gd name="connsiteY5" fmla="*/ 513361 h 547413"/>
              <a:gd name="connsiteX6" fmla="*/ 6302273 w 6336325"/>
              <a:gd name="connsiteY6" fmla="*/ 547413 h 547413"/>
              <a:gd name="connsiteX7" fmla="*/ 34377 w 6336325"/>
              <a:gd name="connsiteY7" fmla="*/ 547413 h 547413"/>
              <a:gd name="connsiteX8" fmla="*/ 325 w 6336325"/>
              <a:gd name="connsiteY8" fmla="*/ 513361 h 547413"/>
              <a:gd name="connsiteX9" fmla="*/ 325 w 6336325"/>
              <a:gd name="connsiteY9" fmla="*/ 34265 h 547413"/>
              <a:gd name="connsiteX0" fmla="*/ 2320 w 6338320"/>
              <a:gd name="connsiteY0" fmla="*/ 545788 h 579840"/>
              <a:gd name="connsiteX1" fmla="*/ 6710 w 6338320"/>
              <a:gd name="connsiteY1" fmla="*/ 40398 h 579840"/>
              <a:gd name="connsiteX2" fmla="*/ 36372 w 6338320"/>
              <a:gd name="connsiteY2" fmla="*/ 32640 h 579840"/>
              <a:gd name="connsiteX3" fmla="*/ 6304268 w 6338320"/>
              <a:gd name="connsiteY3" fmla="*/ 32640 h 579840"/>
              <a:gd name="connsiteX4" fmla="*/ 6338320 w 6338320"/>
              <a:gd name="connsiteY4" fmla="*/ 66692 h 579840"/>
              <a:gd name="connsiteX5" fmla="*/ 6338320 w 6338320"/>
              <a:gd name="connsiteY5" fmla="*/ 545788 h 579840"/>
              <a:gd name="connsiteX6" fmla="*/ 6304268 w 6338320"/>
              <a:gd name="connsiteY6" fmla="*/ 579840 h 579840"/>
              <a:gd name="connsiteX7" fmla="*/ 36372 w 6338320"/>
              <a:gd name="connsiteY7" fmla="*/ 579840 h 579840"/>
              <a:gd name="connsiteX8" fmla="*/ 2320 w 6338320"/>
              <a:gd name="connsiteY8" fmla="*/ 545788 h 579840"/>
              <a:gd name="connsiteX0" fmla="*/ 440580 w 6776580"/>
              <a:gd name="connsiteY0" fmla="*/ 545209 h 579261"/>
              <a:gd name="connsiteX1" fmla="*/ 440208 w 6776580"/>
              <a:gd name="connsiteY1" fmla="*/ 39819 h 579261"/>
              <a:gd name="connsiteX2" fmla="*/ 474632 w 6776580"/>
              <a:gd name="connsiteY2" fmla="*/ 32061 h 579261"/>
              <a:gd name="connsiteX3" fmla="*/ 6742528 w 6776580"/>
              <a:gd name="connsiteY3" fmla="*/ 32061 h 579261"/>
              <a:gd name="connsiteX4" fmla="*/ 6776580 w 6776580"/>
              <a:gd name="connsiteY4" fmla="*/ 66113 h 579261"/>
              <a:gd name="connsiteX5" fmla="*/ 6776580 w 6776580"/>
              <a:gd name="connsiteY5" fmla="*/ 545209 h 579261"/>
              <a:gd name="connsiteX6" fmla="*/ 6742528 w 6776580"/>
              <a:gd name="connsiteY6" fmla="*/ 579261 h 579261"/>
              <a:gd name="connsiteX7" fmla="*/ 474632 w 6776580"/>
              <a:gd name="connsiteY7" fmla="*/ 579261 h 579261"/>
              <a:gd name="connsiteX8" fmla="*/ 440580 w 6776580"/>
              <a:gd name="connsiteY8" fmla="*/ 545209 h 579261"/>
              <a:gd name="connsiteX0" fmla="*/ 4188 w 6340188"/>
              <a:gd name="connsiteY0" fmla="*/ 545788 h 579840"/>
              <a:gd name="connsiteX1" fmla="*/ 3816 w 6340188"/>
              <a:gd name="connsiteY1" fmla="*/ 40398 h 579840"/>
              <a:gd name="connsiteX2" fmla="*/ 38240 w 6340188"/>
              <a:gd name="connsiteY2" fmla="*/ 32640 h 579840"/>
              <a:gd name="connsiteX3" fmla="*/ 6306136 w 6340188"/>
              <a:gd name="connsiteY3" fmla="*/ 32640 h 579840"/>
              <a:gd name="connsiteX4" fmla="*/ 6340188 w 6340188"/>
              <a:gd name="connsiteY4" fmla="*/ 66692 h 579840"/>
              <a:gd name="connsiteX5" fmla="*/ 6340188 w 6340188"/>
              <a:gd name="connsiteY5" fmla="*/ 545788 h 579840"/>
              <a:gd name="connsiteX6" fmla="*/ 6306136 w 6340188"/>
              <a:gd name="connsiteY6" fmla="*/ 579840 h 579840"/>
              <a:gd name="connsiteX7" fmla="*/ 38240 w 6340188"/>
              <a:gd name="connsiteY7" fmla="*/ 579840 h 579840"/>
              <a:gd name="connsiteX8" fmla="*/ 4188 w 6340188"/>
              <a:gd name="connsiteY8" fmla="*/ 545788 h 579840"/>
              <a:gd name="connsiteX0" fmla="*/ 1984 w 6337984"/>
              <a:gd name="connsiteY0" fmla="*/ 513434 h 547486"/>
              <a:gd name="connsiteX1" fmla="*/ 1612 w 6337984"/>
              <a:gd name="connsiteY1" fmla="*/ 8044 h 547486"/>
              <a:gd name="connsiteX2" fmla="*/ 36036 w 6337984"/>
              <a:gd name="connsiteY2" fmla="*/ 286 h 547486"/>
              <a:gd name="connsiteX3" fmla="*/ 6303932 w 6337984"/>
              <a:gd name="connsiteY3" fmla="*/ 286 h 547486"/>
              <a:gd name="connsiteX4" fmla="*/ 6337984 w 6337984"/>
              <a:gd name="connsiteY4" fmla="*/ 34338 h 547486"/>
              <a:gd name="connsiteX5" fmla="*/ 6337984 w 6337984"/>
              <a:gd name="connsiteY5" fmla="*/ 513434 h 547486"/>
              <a:gd name="connsiteX6" fmla="*/ 6303932 w 6337984"/>
              <a:gd name="connsiteY6" fmla="*/ 547486 h 547486"/>
              <a:gd name="connsiteX7" fmla="*/ 36036 w 6337984"/>
              <a:gd name="connsiteY7" fmla="*/ 547486 h 547486"/>
              <a:gd name="connsiteX8" fmla="*/ 1984 w 6337984"/>
              <a:gd name="connsiteY8" fmla="*/ 513434 h 547486"/>
              <a:gd name="connsiteX0" fmla="*/ 443038 w 6779038"/>
              <a:gd name="connsiteY0" fmla="*/ 513148 h 547200"/>
              <a:gd name="connsiteX1" fmla="*/ 440285 w 6779038"/>
              <a:gd name="connsiteY1" fmla="*/ 7758 h 547200"/>
              <a:gd name="connsiteX2" fmla="*/ 477090 w 6779038"/>
              <a:gd name="connsiteY2" fmla="*/ 0 h 547200"/>
              <a:gd name="connsiteX3" fmla="*/ 6744986 w 6779038"/>
              <a:gd name="connsiteY3" fmla="*/ 0 h 547200"/>
              <a:gd name="connsiteX4" fmla="*/ 6779038 w 6779038"/>
              <a:gd name="connsiteY4" fmla="*/ 34052 h 547200"/>
              <a:gd name="connsiteX5" fmla="*/ 6779038 w 6779038"/>
              <a:gd name="connsiteY5" fmla="*/ 513148 h 547200"/>
              <a:gd name="connsiteX6" fmla="*/ 6744986 w 6779038"/>
              <a:gd name="connsiteY6" fmla="*/ 547200 h 547200"/>
              <a:gd name="connsiteX7" fmla="*/ 477090 w 6779038"/>
              <a:gd name="connsiteY7" fmla="*/ 547200 h 547200"/>
              <a:gd name="connsiteX8" fmla="*/ 443038 w 6779038"/>
              <a:gd name="connsiteY8" fmla="*/ 513148 h 547200"/>
              <a:gd name="connsiteX0" fmla="*/ 3229 w 6339229"/>
              <a:gd name="connsiteY0" fmla="*/ 513433 h 547485"/>
              <a:gd name="connsiteX1" fmla="*/ 476 w 6339229"/>
              <a:gd name="connsiteY1" fmla="*/ 8043 h 547485"/>
              <a:gd name="connsiteX2" fmla="*/ 37281 w 6339229"/>
              <a:gd name="connsiteY2" fmla="*/ 285 h 547485"/>
              <a:gd name="connsiteX3" fmla="*/ 6305177 w 6339229"/>
              <a:gd name="connsiteY3" fmla="*/ 285 h 547485"/>
              <a:gd name="connsiteX4" fmla="*/ 6339229 w 6339229"/>
              <a:gd name="connsiteY4" fmla="*/ 34337 h 547485"/>
              <a:gd name="connsiteX5" fmla="*/ 6339229 w 6339229"/>
              <a:gd name="connsiteY5" fmla="*/ 513433 h 547485"/>
              <a:gd name="connsiteX6" fmla="*/ 6305177 w 6339229"/>
              <a:gd name="connsiteY6" fmla="*/ 547485 h 547485"/>
              <a:gd name="connsiteX7" fmla="*/ 37281 w 6339229"/>
              <a:gd name="connsiteY7" fmla="*/ 547485 h 547485"/>
              <a:gd name="connsiteX8" fmla="*/ 3229 w 6339229"/>
              <a:gd name="connsiteY8" fmla="*/ 513433 h 547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339229" h="547485">
                <a:moveTo>
                  <a:pt x="3229" y="513433"/>
                </a:moveTo>
                <a:cubicBezTo>
                  <a:pt x="-1715" y="423526"/>
                  <a:pt x="1945" y="14987"/>
                  <a:pt x="476" y="8043"/>
                </a:cubicBezTo>
                <a:cubicBezTo>
                  <a:pt x="-993" y="1099"/>
                  <a:pt x="-1471" y="-803"/>
                  <a:pt x="37281" y="285"/>
                </a:cubicBezTo>
                <a:cubicBezTo>
                  <a:pt x="76033" y="1373"/>
                  <a:pt x="4215878" y="285"/>
                  <a:pt x="6305177" y="285"/>
                </a:cubicBezTo>
                <a:cubicBezTo>
                  <a:pt x="6323983" y="285"/>
                  <a:pt x="6339229" y="15531"/>
                  <a:pt x="6339229" y="34337"/>
                </a:cubicBezTo>
                <a:lnTo>
                  <a:pt x="6339229" y="513433"/>
                </a:lnTo>
                <a:cubicBezTo>
                  <a:pt x="6339229" y="532239"/>
                  <a:pt x="6323983" y="547485"/>
                  <a:pt x="6305177" y="547485"/>
                </a:cubicBezTo>
                <a:lnTo>
                  <a:pt x="37281" y="547485"/>
                </a:lnTo>
                <a:cubicBezTo>
                  <a:pt x="18475" y="547485"/>
                  <a:pt x="3229" y="532239"/>
                  <a:pt x="3229" y="513433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144000" tIns="144000" rIns="216000" bIns="216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3" name="Tijdelijke aanduiding voor datum 3">
            <a:extLst>
              <a:ext uri="{FF2B5EF4-FFF2-40B4-BE49-F238E27FC236}">
                <a16:creationId xmlns:a16="http://schemas.microsoft.com/office/drawing/2014/main" id="{BDC78B71-F098-49D0-A82C-26F4C2AFD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70796E-DDED-4E27-9226-E9660C071F14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153" name="Tijdelijke aanduiding voor tekst 3">
            <a:extLst>
              <a:ext uri="{FF2B5EF4-FFF2-40B4-BE49-F238E27FC236}">
                <a16:creationId xmlns:a16="http://schemas.microsoft.com/office/drawing/2014/main" id="{8A98C4B6-1A94-4159-9EB3-581D74066A8F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22673480" y="17557276"/>
            <a:ext cx="18310781" cy="2416918"/>
          </a:xfrm>
          <a:custGeom>
            <a:avLst/>
            <a:gdLst>
              <a:gd name="connsiteX0" fmla="*/ 0 w 6336000"/>
              <a:gd name="connsiteY0" fmla="*/ 34052 h 547200"/>
              <a:gd name="connsiteX1" fmla="*/ 34052 w 6336000"/>
              <a:gd name="connsiteY1" fmla="*/ 0 h 547200"/>
              <a:gd name="connsiteX2" fmla="*/ 6301948 w 6336000"/>
              <a:gd name="connsiteY2" fmla="*/ 0 h 547200"/>
              <a:gd name="connsiteX3" fmla="*/ 6336000 w 6336000"/>
              <a:gd name="connsiteY3" fmla="*/ 34052 h 547200"/>
              <a:gd name="connsiteX4" fmla="*/ 6336000 w 6336000"/>
              <a:gd name="connsiteY4" fmla="*/ 513148 h 547200"/>
              <a:gd name="connsiteX5" fmla="*/ 6301948 w 6336000"/>
              <a:gd name="connsiteY5" fmla="*/ 547200 h 547200"/>
              <a:gd name="connsiteX6" fmla="*/ 34052 w 6336000"/>
              <a:gd name="connsiteY6" fmla="*/ 547200 h 547200"/>
              <a:gd name="connsiteX7" fmla="*/ 0 w 6336000"/>
              <a:gd name="connsiteY7" fmla="*/ 513148 h 547200"/>
              <a:gd name="connsiteX8" fmla="*/ 0 w 6336000"/>
              <a:gd name="connsiteY8" fmla="*/ 34052 h 547200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0 w 6336000"/>
              <a:gd name="connsiteY0" fmla="*/ 44015 h 557163"/>
              <a:gd name="connsiteX1" fmla="*/ 4390 w 6336000"/>
              <a:gd name="connsiteY1" fmla="*/ 17721 h 557163"/>
              <a:gd name="connsiteX2" fmla="*/ 34052 w 6336000"/>
              <a:gd name="connsiteY2" fmla="*/ 9963 h 557163"/>
              <a:gd name="connsiteX3" fmla="*/ 6301948 w 6336000"/>
              <a:gd name="connsiteY3" fmla="*/ 9963 h 557163"/>
              <a:gd name="connsiteX4" fmla="*/ 6336000 w 6336000"/>
              <a:gd name="connsiteY4" fmla="*/ 44015 h 557163"/>
              <a:gd name="connsiteX5" fmla="*/ 6336000 w 6336000"/>
              <a:gd name="connsiteY5" fmla="*/ 523111 h 557163"/>
              <a:gd name="connsiteX6" fmla="*/ 6301948 w 6336000"/>
              <a:gd name="connsiteY6" fmla="*/ 557163 h 557163"/>
              <a:gd name="connsiteX7" fmla="*/ 34052 w 6336000"/>
              <a:gd name="connsiteY7" fmla="*/ 557163 h 557163"/>
              <a:gd name="connsiteX8" fmla="*/ 0 w 6336000"/>
              <a:gd name="connsiteY8" fmla="*/ 523111 h 557163"/>
              <a:gd name="connsiteX9" fmla="*/ 0 w 6336000"/>
              <a:gd name="connsiteY9" fmla="*/ 44015 h 557163"/>
              <a:gd name="connsiteX0" fmla="*/ 325 w 6336325"/>
              <a:gd name="connsiteY0" fmla="*/ 34265 h 547413"/>
              <a:gd name="connsiteX1" fmla="*/ 4715 w 6336325"/>
              <a:gd name="connsiteY1" fmla="*/ 7971 h 547413"/>
              <a:gd name="connsiteX2" fmla="*/ 34377 w 6336325"/>
              <a:gd name="connsiteY2" fmla="*/ 213 h 547413"/>
              <a:gd name="connsiteX3" fmla="*/ 6302273 w 6336325"/>
              <a:gd name="connsiteY3" fmla="*/ 213 h 547413"/>
              <a:gd name="connsiteX4" fmla="*/ 6336325 w 6336325"/>
              <a:gd name="connsiteY4" fmla="*/ 34265 h 547413"/>
              <a:gd name="connsiteX5" fmla="*/ 6336325 w 6336325"/>
              <a:gd name="connsiteY5" fmla="*/ 513361 h 547413"/>
              <a:gd name="connsiteX6" fmla="*/ 6302273 w 6336325"/>
              <a:gd name="connsiteY6" fmla="*/ 547413 h 547413"/>
              <a:gd name="connsiteX7" fmla="*/ 34377 w 6336325"/>
              <a:gd name="connsiteY7" fmla="*/ 547413 h 547413"/>
              <a:gd name="connsiteX8" fmla="*/ 325 w 6336325"/>
              <a:gd name="connsiteY8" fmla="*/ 513361 h 547413"/>
              <a:gd name="connsiteX9" fmla="*/ 325 w 6336325"/>
              <a:gd name="connsiteY9" fmla="*/ 34265 h 547413"/>
              <a:gd name="connsiteX0" fmla="*/ 2320 w 6338320"/>
              <a:gd name="connsiteY0" fmla="*/ 545788 h 579840"/>
              <a:gd name="connsiteX1" fmla="*/ 6710 w 6338320"/>
              <a:gd name="connsiteY1" fmla="*/ 40398 h 579840"/>
              <a:gd name="connsiteX2" fmla="*/ 36372 w 6338320"/>
              <a:gd name="connsiteY2" fmla="*/ 32640 h 579840"/>
              <a:gd name="connsiteX3" fmla="*/ 6304268 w 6338320"/>
              <a:gd name="connsiteY3" fmla="*/ 32640 h 579840"/>
              <a:gd name="connsiteX4" fmla="*/ 6338320 w 6338320"/>
              <a:gd name="connsiteY4" fmla="*/ 66692 h 579840"/>
              <a:gd name="connsiteX5" fmla="*/ 6338320 w 6338320"/>
              <a:gd name="connsiteY5" fmla="*/ 545788 h 579840"/>
              <a:gd name="connsiteX6" fmla="*/ 6304268 w 6338320"/>
              <a:gd name="connsiteY6" fmla="*/ 579840 h 579840"/>
              <a:gd name="connsiteX7" fmla="*/ 36372 w 6338320"/>
              <a:gd name="connsiteY7" fmla="*/ 579840 h 579840"/>
              <a:gd name="connsiteX8" fmla="*/ 2320 w 6338320"/>
              <a:gd name="connsiteY8" fmla="*/ 545788 h 579840"/>
              <a:gd name="connsiteX0" fmla="*/ 440580 w 6776580"/>
              <a:gd name="connsiteY0" fmla="*/ 545209 h 579261"/>
              <a:gd name="connsiteX1" fmla="*/ 440208 w 6776580"/>
              <a:gd name="connsiteY1" fmla="*/ 39819 h 579261"/>
              <a:gd name="connsiteX2" fmla="*/ 474632 w 6776580"/>
              <a:gd name="connsiteY2" fmla="*/ 32061 h 579261"/>
              <a:gd name="connsiteX3" fmla="*/ 6742528 w 6776580"/>
              <a:gd name="connsiteY3" fmla="*/ 32061 h 579261"/>
              <a:gd name="connsiteX4" fmla="*/ 6776580 w 6776580"/>
              <a:gd name="connsiteY4" fmla="*/ 66113 h 579261"/>
              <a:gd name="connsiteX5" fmla="*/ 6776580 w 6776580"/>
              <a:gd name="connsiteY5" fmla="*/ 545209 h 579261"/>
              <a:gd name="connsiteX6" fmla="*/ 6742528 w 6776580"/>
              <a:gd name="connsiteY6" fmla="*/ 579261 h 579261"/>
              <a:gd name="connsiteX7" fmla="*/ 474632 w 6776580"/>
              <a:gd name="connsiteY7" fmla="*/ 579261 h 579261"/>
              <a:gd name="connsiteX8" fmla="*/ 440580 w 6776580"/>
              <a:gd name="connsiteY8" fmla="*/ 545209 h 579261"/>
              <a:gd name="connsiteX0" fmla="*/ 4188 w 6340188"/>
              <a:gd name="connsiteY0" fmla="*/ 545788 h 579840"/>
              <a:gd name="connsiteX1" fmla="*/ 3816 w 6340188"/>
              <a:gd name="connsiteY1" fmla="*/ 40398 h 579840"/>
              <a:gd name="connsiteX2" fmla="*/ 38240 w 6340188"/>
              <a:gd name="connsiteY2" fmla="*/ 32640 h 579840"/>
              <a:gd name="connsiteX3" fmla="*/ 6306136 w 6340188"/>
              <a:gd name="connsiteY3" fmla="*/ 32640 h 579840"/>
              <a:gd name="connsiteX4" fmla="*/ 6340188 w 6340188"/>
              <a:gd name="connsiteY4" fmla="*/ 66692 h 579840"/>
              <a:gd name="connsiteX5" fmla="*/ 6340188 w 6340188"/>
              <a:gd name="connsiteY5" fmla="*/ 545788 h 579840"/>
              <a:gd name="connsiteX6" fmla="*/ 6306136 w 6340188"/>
              <a:gd name="connsiteY6" fmla="*/ 579840 h 579840"/>
              <a:gd name="connsiteX7" fmla="*/ 38240 w 6340188"/>
              <a:gd name="connsiteY7" fmla="*/ 579840 h 579840"/>
              <a:gd name="connsiteX8" fmla="*/ 4188 w 6340188"/>
              <a:gd name="connsiteY8" fmla="*/ 545788 h 579840"/>
              <a:gd name="connsiteX0" fmla="*/ 1984 w 6337984"/>
              <a:gd name="connsiteY0" fmla="*/ 513434 h 547486"/>
              <a:gd name="connsiteX1" fmla="*/ 1612 w 6337984"/>
              <a:gd name="connsiteY1" fmla="*/ 8044 h 547486"/>
              <a:gd name="connsiteX2" fmla="*/ 36036 w 6337984"/>
              <a:gd name="connsiteY2" fmla="*/ 286 h 547486"/>
              <a:gd name="connsiteX3" fmla="*/ 6303932 w 6337984"/>
              <a:gd name="connsiteY3" fmla="*/ 286 h 547486"/>
              <a:gd name="connsiteX4" fmla="*/ 6337984 w 6337984"/>
              <a:gd name="connsiteY4" fmla="*/ 34338 h 547486"/>
              <a:gd name="connsiteX5" fmla="*/ 6337984 w 6337984"/>
              <a:gd name="connsiteY5" fmla="*/ 513434 h 547486"/>
              <a:gd name="connsiteX6" fmla="*/ 6303932 w 6337984"/>
              <a:gd name="connsiteY6" fmla="*/ 547486 h 547486"/>
              <a:gd name="connsiteX7" fmla="*/ 36036 w 6337984"/>
              <a:gd name="connsiteY7" fmla="*/ 547486 h 547486"/>
              <a:gd name="connsiteX8" fmla="*/ 1984 w 6337984"/>
              <a:gd name="connsiteY8" fmla="*/ 513434 h 547486"/>
              <a:gd name="connsiteX0" fmla="*/ 443038 w 6779038"/>
              <a:gd name="connsiteY0" fmla="*/ 513148 h 547200"/>
              <a:gd name="connsiteX1" fmla="*/ 440285 w 6779038"/>
              <a:gd name="connsiteY1" fmla="*/ 7758 h 547200"/>
              <a:gd name="connsiteX2" fmla="*/ 477090 w 6779038"/>
              <a:gd name="connsiteY2" fmla="*/ 0 h 547200"/>
              <a:gd name="connsiteX3" fmla="*/ 6744986 w 6779038"/>
              <a:gd name="connsiteY3" fmla="*/ 0 h 547200"/>
              <a:gd name="connsiteX4" fmla="*/ 6779038 w 6779038"/>
              <a:gd name="connsiteY4" fmla="*/ 34052 h 547200"/>
              <a:gd name="connsiteX5" fmla="*/ 6779038 w 6779038"/>
              <a:gd name="connsiteY5" fmla="*/ 513148 h 547200"/>
              <a:gd name="connsiteX6" fmla="*/ 6744986 w 6779038"/>
              <a:gd name="connsiteY6" fmla="*/ 547200 h 547200"/>
              <a:gd name="connsiteX7" fmla="*/ 477090 w 6779038"/>
              <a:gd name="connsiteY7" fmla="*/ 547200 h 547200"/>
              <a:gd name="connsiteX8" fmla="*/ 443038 w 6779038"/>
              <a:gd name="connsiteY8" fmla="*/ 513148 h 547200"/>
              <a:gd name="connsiteX0" fmla="*/ 3229 w 6339229"/>
              <a:gd name="connsiteY0" fmla="*/ 513433 h 547485"/>
              <a:gd name="connsiteX1" fmla="*/ 476 w 6339229"/>
              <a:gd name="connsiteY1" fmla="*/ 8043 h 547485"/>
              <a:gd name="connsiteX2" fmla="*/ 37281 w 6339229"/>
              <a:gd name="connsiteY2" fmla="*/ 285 h 547485"/>
              <a:gd name="connsiteX3" fmla="*/ 6305177 w 6339229"/>
              <a:gd name="connsiteY3" fmla="*/ 285 h 547485"/>
              <a:gd name="connsiteX4" fmla="*/ 6339229 w 6339229"/>
              <a:gd name="connsiteY4" fmla="*/ 34337 h 547485"/>
              <a:gd name="connsiteX5" fmla="*/ 6339229 w 6339229"/>
              <a:gd name="connsiteY5" fmla="*/ 513433 h 547485"/>
              <a:gd name="connsiteX6" fmla="*/ 6305177 w 6339229"/>
              <a:gd name="connsiteY6" fmla="*/ 547485 h 547485"/>
              <a:gd name="connsiteX7" fmla="*/ 37281 w 6339229"/>
              <a:gd name="connsiteY7" fmla="*/ 547485 h 547485"/>
              <a:gd name="connsiteX8" fmla="*/ 3229 w 6339229"/>
              <a:gd name="connsiteY8" fmla="*/ 513433 h 547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339229" h="547485">
                <a:moveTo>
                  <a:pt x="3229" y="513433"/>
                </a:moveTo>
                <a:cubicBezTo>
                  <a:pt x="-1715" y="423526"/>
                  <a:pt x="1945" y="14987"/>
                  <a:pt x="476" y="8043"/>
                </a:cubicBezTo>
                <a:cubicBezTo>
                  <a:pt x="-993" y="1099"/>
                  <a:pt x="-1471" y="-803"/>
                  <a:pt x="37281" y="285"/>
                </a:cubicBezTo>
                <a:cubicBezTo>
                  <a:pt x="76033" y="1373"/>
                  <a:pt x="4215878" y="285"/>
                  <a:pt x="6305177" y="285"/>
                </a:cubicBezTo>
                <a:cubicBezTo>
                  <a:pt x="6323983" y="285"/>
                  <a:pt x="6339229" y="15531"/>
                  <a:pt x="6339229" y="34337"/>
                </a:cubicBezTo>
                <a:lnTo>
                  <a:pt x="6339229" y="513433"/>
                </a:lnTo>
                <a:cubicBezTo>
                  <a:pt x="6339229" y="532239"/>
                  <a:pt x="6323983" y="547485"/>
                  <a:pt x="6305177" y="547485"/>
                </a:cubicBezTo>
                <a:lnTo>
                  <a:pt x="37281" y="547485"/>
                </a:lnTo>
                <a:cubicBezTo>
                  <a:pt x="18475" y="547485"/>
                  <a:pt x="3229" y="532239"/>
                  <a:pt x="3229" y="513433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144000" tIns="144000" rIns="216000" bIns="216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54" name="Tijdelijke aanduiding voor tekst 3">
            <a:extLst>
              <a:ext uri="{FF2B5EF4-FFF2-40B4-BE49-F238E27FC236}">
                <a16:creationId xmlns:a16="http://schemas.microsoft.com/office/drawing/2014/main" id="{FD32AE00-24ED-4295-A98C-4052E811CA7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22673480" y="20380583"/>
            <a:ext cx="18310781" cy="2416918"/>
          </a:xfrm>
          <a:custGeom>
            <a:avLst/>
            <a:gdLst>
              <a:gd name="connsiteX0" fmla="*/ 0 w 6336000"/>
              <a:gd name="connsiteY0" fmla="*/ 34052 h 547200"/>
              <a:gd name="connsiteX1" fmla="*/ 34052 w 6336000"/>
              <a:gd name="connsiteY1" fmla="*/ 0 h 547200"/>
              <a:gd name="connsiteX2" fmla="*/ 6301948 w 6336000"/>
              <a:gd name="connsiteY2" fmla="*/ 0 h 547200"/>
              <a:gd name="connsiteX3" fmla="*/ 6336000 w 6336000"/>
              <a:gd name="connsiteY3" fmla="*/ 34052 h 547200"/>
              <a:gd name="connsiteX4" fmla="*/ 6336000 w 6336000"/>
              <a:gd name="connsiteY4" fmla="*/ 513148 h 547200"/>
              <a:gd name="connsiteX5" fmla="*/ 6301948 w 6336000"/>
              <a:gd name="connsiteY5" fmla="*/ 547200 h 547200"/>
              <a:gd name="connsiteX6" fmla="*/ 34052 w 6336000"/>
              <a:gd name="connsiteY6" fmla="*/ 547200 h 547200"/>
              <a:gd name="connsiteX7" fmla="*/ 0 w 6336000"/>
              <a:gd name="connsiteY7" fmla="*/ 513148 h 547200"/>
              <a:gd name="connsiteX8" fmla="*/ 0 w 6336000"/>
              <a:gd name="connsiteY8" fmla="*/ 34052 h 547200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0 w 6336000"/>
              <a:gd name="connsiteY0" fmla="*/ 44015 h 557163"/>
              <a:gd name="connsiteX1" fmla="*/ 4390 w 6336000"/>
              <a:gd name="connsiteY1" fmla="*/ 17721 h 557163"/>
              <a:gd name="connsiteX2" fmla="*/ 34052 w 6336000"/>
              <a:gd name="connsiteY2" fmla="*/ 9963 h 557163"/>
              <a:gd name="connsiteX3" fmla="*/ 6301948 w 6336000"/>
              <a:gd name="connsiteY3" fmla="*/ 9963 h 557163"/>
              <a:gd name="connsiteX4" fmla="*/ 6336000 w 6336000"/>
              <a:gd name="connsiteY4" fmla="*/ 44015 h 557163"/>
              <a:gd name="connsiteX5" fmla="*/ 6336000 w 6336000"/>
              <a:gd name="connsiteY5" fmla="*/ 523111 h 557163"/>
              <a:gd name="connsiteX6" fmla="*/ 6301948 w 6336000"/>
              <a:gd name="connsiteY6" fmla="*/ 557163 h 557163"/>
              <a:gd name="connsiteX7" fmla="*/ 34052 w 6336000"/>
              <a:gd name="connsiteY7" fmla="*/ 557163 h 557163"/>
              <a:gd name="connsiteX8" fmla="*/ 0 w 6336000"/>
              <a:gd name="connsiteY8" fmla="*/ 523111 h 557163"/>
              <a:gd name="connsiteX9" fmla="*/ 0 w 6336000"/>
              <a:gd name="connsiteY9" fmla="*/ 44015 h 557163"/>
              <a:gd name="connsiteX0" fmla="*/ 325 w 6336325"/>
              <a:gd name="connsiteY0" fmla="*/ 34265 h 547413"/>
              <a:gd name="connsiteX1" fmla="*/ 4715 w 6336325"/>
              <a:gd name="connsiteY1" fmla="*/ 7971 h 547413"/>
              <a:gd name="connsiteX2" fmla="*/ 34377 w 6336325"/>
              <a:gd name="connsiteY2" fmla="*/ 213 h 547413"/>
              <a:gd name="connsiteX3" fmla="*/ 6302273 w 6336325"/>
              <a:gd name="connsiteY3" fmla="*/ 213 h 547413"/>
              <a:gd name="connsiteX4" fmla="*/ 6336325 w 6336325"/>
              <a:gd name="connsiteY4" fmla="*/ 34265 h 547413"/>
              <a:gd name="connsiteX5" fmla="*/ 6336325 w 6336325"/>
              <a:gd name="connsiteY5" fmla="*/ 513361 h 547413"/>
              <a:gd name="connsiteX6" fmla="*/ 6302273 w 6336325"/>
              <a:gd name="connsiteY6" fmla="*/ 547413 h 547413"/>
              <a:gd name="connsiteX7" fmla="*/ 34377 w 6336325"/>
              <a:gd name="connsiteY7" fmla="*/ 547413 h 547413"/>
              <a:gd name="connsiteX8" fmla="*/ 325 w 6336325"/>
              <a:gd name="connsiteY8" fmla="*/ 513361 h 547413"/>
              <a:gd name="connsiteX9" fmla="*/ 325 w 6336325"/>
              <a:gd name="connsiteY9" fmla="*/ 34265 h 547413"/>
              <a:gd name="connsiteX0" fmla="*/ 2320 w 6338320"/>
              <a:gd name="connsiteY0" fmla="*/ 545788 h 579840"/>
              <a:gd name="connsiteX1" fmla="*/ 6710 w 6338320"/>
              <a:gd name="connsiteY1" fmla="*/ 40398 h 579840"/>
              <a:gd name="connsiteX2" fmla="*/ 36372 w 6338320"/>
              <a:gd name="connsiteY2" fmla="*/ 32640 h 579840"/>
              <a:gd name="connsiteX3" fmla="*/ 6304268 w 6338320"/>
              <a:gd name="connsiteY3" fmla="*/ 32640 h 579840"/>
              <a:gd name="connsiteX4" fmla="*/ 6338320 w 6338320"/>
              <a:gd name="connsiteY4" fmla="*/ 66692 h 579840"/>
              <a:gd name="connsiteX5" fmla="*/ 6338320 w 6338320"/>
              <a:gd name="connsiteY5" fmla="*/ 545788 h 579840"/>
              <a:gd name="connsiteX6" fmla="*/ 6304268 w 6338320"/>
              <a:gd name="connsiteY6" fmla="*/ 579840 h 579840"/>
              <a:gd name="connsiteX7" fmla="*/ 36372 w 6338320"/>
              <a:gd name="connsiteY7" fmla="*/ 579840 h 579840"/>
              <a:gd name="connsiteX8" fmla="*/ 2320 w 6338320"/>
              <a:gd name="connsiteY8" fmla="*/ 545788 h 579840"/>
              <a:gd name="connsiteX0" fmla="*/ 440580 w 6776580"/>
              <a:gd name="connsiteY0" fmla="*/ 545209 h 579261"/>
              <a:gd name="connsiteX1" fmla="*/ 440208 w 6776580"/>
              <a:gd name="connsiteY1" fmla="*/ 39819 h 579261"/>
              <a:gd name="connsiteX2" fmla="*/ 474632 w 6776580"/>
              <a:gd name="connsiteY2" fmla="*/ 32061 h 579261"/>
              <a:gd name="connsiteX3" fmla="*/ 6742528 w 6776580"/>
              <a:gd name="connsiteY3" fmla="*/ 32061 h 579261"/>
              <a:gd name="connsiteX4" fmla="*/ 6776580 w 6776580"/>
              <a:gd name="connsiteY4" fmla="*/ 66113 h 579261"/>
              <a:gd name="connsiteX5" fmla="*/ 6776580 w 6776580"/>
              <a:gd name="connsiteY5" fmla="*/ 545209 h 579261"/>
              <a:gd name="connsiteX6" fmla="*/ 6742528 w 6776580"/>
              <a:gd name="connsiteY6" fmla="*/ 579261 h 579261"/>
              <a:gd name="connsiteX7" fmla="*/ 474632 w 6776580"/>
              <a:gd name="connsiteY7" fmla="*/ 579261 h 579261"/>
              <a:gd name="connsiteX8" fmla="*/ 440580 w 6776580"/>
              <a:gd name="connsiteY8" fmla="*/ 545209 h 579261"/>
              <a:gd name="connsiteX0" fmla="*/ 4188 w 6340188"/>
              <a:gd name="connsiteY0" fmla="*/ 545788 h 579840"/>
              <a:gd name="connsiteX1" fmla="*/ 3816 w 6340188"/>
              <a:gd name="connsiteY1" fmla="*/ 40398 h 579840"/>
              <a:gd name="connsiteX2" fmla="*/ 38240 w 6340188"/>
              <a:gd name="connsiteY2" fmla="*/ 32640 h 579840"/>
              <a:gd name="connsiteX3" fmla="*/ 6306136 w 6340188"/>
              <a:gd name="connsiteY3" fmla="*/ 32640 h 579840"/>
              <a:gd name="connsiteX4" fmla="*/ 6340188 w 6340188"/>
              <a:gd name="connsiteY4" fmla="*/ 66692 h 579840"/>
              <a:gd name="connsiteX5" fmla="*/ 6340188 w 6340188"/>
              <a:gd name="connsiteY5" fmla="*/ 545788 h 579840"/>
              <a:gd name="connsiteX6" fmla="*/ 6306136 w 6340188"/>
              <a:gd name="connsiteY6" fmla="*/ 579840 h 579840"/>
              <a:gd name="connsiteX7" fmla="*/ 38240 w 6340188"/>
              <a:gd name="connsiteY7" fmla="*/ 579840 h 579840"/>
              <a:gd name="connsiteX8" fmla="*/ 4188 w 6340188"/>
              <a:gd name="connsiteY8" fmla="*/ 545788 h 579840"/>
              <a:gd name="connsiteX0" fmla="*/ 1984 w 6337984"/>
              <a:gd name="connsiteY0" fmla="*/ 513434 h 547486"/>
              <a:gd name="connsiteX1" fmla="*/ 1612 w 6337984"/>
              <a:gd name="connsiteY1" fmla="*/ 8044 h 547486"/>
              <a:gd name="connsiteX2" fmla="*/ 36036 w 6337984"/>
              <a:gd name="connsiteY2" fmla="*/ 286 h 547486"/>
              <a:gd name="connsiteX3" fmla="*/ 6303932 w 6337984"/>
              <a:gd name="connsiteY3" fmla="*/ 286 h 547486"/>
              <a:gd name="connsiteX4" fmla="*/ 6337984 w 6337984"/>
              <a:gd name="connsiteY4" fmla="*/ 34338 h 547486"/>
              <a:gd name="connsiteX5" fmla="*/ 6337984 w 6337984"/>
              <a:gd name="connsiteY5" fmla="*/ 513434 h 547486"/>
              <a:gd name="connsiteX6" fmla="*/ 6303932 w 6337984"/>
              <a:gd name="connsiteY6" fmla="*/ 547486 h 547486"/>
              <a:gd name="connsiteX7" fmla="*/ 36036 w 6337984"/>
              <a:gd name="connsiteY7" fmla="*/ 547486 h 547486"/>
              <a:gd name="connsiteX8" fmla="*/ 1984 w 6337984"/>
              <a:gd name="connsiteY8" fmla="*/ 513434 h 547486"/>
              <a:gd name="connsiteX0" fmla="*/ 443038 w 6779038"/>
              <a:gd name="connsiteY0" fmla="*/ 513148 h 547200"/>
              <a:gd name="connsiteX1" fmla="*/ 440285 w 6779038"/>
              <a:gd name="connsiteY1" fmla="*/ 7758 h 547200"/>
              <a:gd name="connsiteX2" fmla="*/ 477090 w 6779038"/>
              <a:gd name="connsiteY2" fmla="*/ 0 h 547200"/>
              <a:gd name="connsiteX3" fmla="*/ 6744986 w 6779038"/>
              <a:gd name="connsiteY3" fmla="*/ 0 h 547200"/>
              <a:gd name="connsiteX4" fmla="*/ 6779038 w 6779038"/>
              <a:gd name="connsiteY4" fmla="*/ 34052 h 547200"/>
              <a:gd name="connsiteX5" fmla="*/ 6779038 w 6779038"/>
              <a:gd name="connsiteY5" fmla="*/ 513148 h 547200"/>
              <a:gd name="connsiteX6" fmla="*/ 6744986 w 6779038"/>
              <a:gd name="connsiteY6" fmla="*/ 547200 h 547200"/>
              <a:gd name="connsiteX7" fmla="*/ 477090 w 6779038"/>
              <a:gd name="connsiteY7" fmla="*/ 547200 h 547200"/>
              <a:gd name="connsiteX8" fmla="*/ 443038 w 6779038"/>
              <a:gd name="connsiteY8" fmla="*/ 513148 h 547200"/>
              <a:gd name="connsiteX0" fmla="*/ 3229 w 6339229"/>
              <a:gd name="connsiteY0" fmla="*/ 513433 h 547485"/>
              <a:gd name="connsiteX1" fmla="*/ 476 w 6339229"/>
              <a:gd name="connsiteY1" fmla="*/ 8043 h 547485"/>
              <a:gd name="connsiteX2" fmla="*/ 37281 w 6339229"/>
              <a:gd name="connsiteY2" fmla="*/ 285 h 547485"/>
              <a:gd name="connsiteX3" fmla="*/ 6305177 w 6339229"/>
              <a:gd name="connsiteY3" fmla="*/ 285 h 547485"/>
              <a:gd name="connsiteX4" fmla="*/ 6339229 w 6339229"/>
              <a:gd name="connsiteY4" fmla="*/ 34337 h 547485"/>
              <a:gd name="connsiteX5" fmla="*/ 6339229 w 6339229"/>
              <a:gd name="connsiteY5" fmla="*/ 513433 h 547485"/>
              <a:gd name="connsiteX6" fmla="*/ 6305177 w 6339229"/>
              <a:gd name="connsiteY6" fmla="*/ 547485 h 547485"/>
              <a:gd name="connsiteX7" fmla="*/ 37281 w 6339229"/>
              <a:gd name="connsiteY7" fmla="*/ 547485 h 547485"/>
              <a:gd name="connsiteX8" fmla="*/ 3229 w 6339229"/>
              <a:gd name="connsiteY8" fmla="*/ 513433 h 547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339229" h="547485">
                <a:moveTo>
                  <a:pt x="3229" y="513433"/>
                </a:moveTo>
                <a:cubicBezTo>
                  <a:pt x="-1715" y="423526"/>
                  <a:pt x="1945" y="14987"/>
                  <a:pt x="476" y="8043"/>
                </a:cubicBezTo>
                <a:cubicBezTo>
                  <a:pt x="-993" y="1099"/>
                  <a:pt x="-1471" y="-803"/>
                  <a:pt x="37281" y="285"/>
                </a:cubicBezTo>
                <a:cubicBezTo>
                  <a:pt x="76033" y="1373"/>
                  <a:pt x="4215878" y="285"/>
                  <a:pt x="6305177" y="285"/>
                </a:cubicBezTo>
                <a:cubicBezTo>
                  <a:pt x="6323983" y="285"/>
                  <a:pt x="6339229" y="15531"/>
                  <a:pt x="6339229" y="34337"/>
                </a:cubicBezTo>
                <a:lnTo>
                  <a:pt x="6339229" y="513433"/>
                </a:lnTo>
                <a:cubicBezTo>
                  <a:pt x="6339229" y="532239"/>
                  <a:pt x="6323983" y="547485"/>
                  <a:pt x="6305177" y="547485"/>
                </a:cubicBezTo>
                <a:lnTo>
                  <a:pt x="37281" y="547485"/>
                </a:lnTo>
                <a:cubicBezTo>
                  <a:pt x="18475" y="547485"/>
                  <a:pt x="3229" y="532239"/>
                  <a:pt x="3229" y="513433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144000" tIns="144000" rIns="216000" bIns="216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55" name="Tijdelijke aanduiding voor tekst 3">
            <a:extLst>
              <a:ext uri="{FF2B5EF4-FFF2-40B4-BE49-F238E27FC236}">
                <a16:creationId xmlns:a16="http://schemas.microsoft.com/office/drawing/2014/main" id="{995A4DD9-A511-424A-A6EF-3EFF4DF1BE8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2673480" y="23203883"/>
            <a:ext cx="18310781" cy="2416918"/>
          </a:xfrm>
          <a:custGeom>
            <a:avLst/>
            <a:gdLst>
              <a:gd name="connsiteX0" fmla="*/ 0 w 6336000"/>
              <a:gd name="connsiteY0" fmla="*/ 34052 h 547200"/>
              <a:gd name="connsiteX1" fmla="*/ 34052 w 6336000"/>
              <a:gd name="connsiteY1" fmla="*/ 0 h 547200"/>
              <a:gd name="connsiteX2" fmla="*/ 6301948 w 6336000"/>
              <a:gd name="connsiteY2" fmla="*/ 0 h 547200"/>
              <a:gd name="connsiteX3" fmla="*/ 6336000 w 6336000"/>
              <a:gd name="connsiteY3" fmla="*/ 34052 h 547200"/>
              <a:gd name="connsiteX4" fmla="*/ 6336000 w 6336000"/>
              <a:gd name="connsiteY4" fmla="*/ 513148 h 547200"/>
              <a:gd name="connsiteX5" fmla="*/ 6301948 w 6336000"/>
              <a:gd name="connsiteY5" fmla="*/ 547200 h 547200"/>
              <a:gd name="connsiteX6" fmla="*/ 34052 w 6336000"/>
              <a:gd name="connsiteY6" fmla="*/ 547200 h 547200"/>
              <a:gd name="connsiteX7" fmla="*/ 0 w 6336000"/>
              <a:gd name="connsiteY7" fmla="*/ 513148 h 547200"/>
              <a:gd name="connsiteX8" fmla="*/ 0 w 6336000"/>
              <a:gd name="connsiteY8" fmla="*/ 34052 h 547200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0 w 6336000"/>
              <a:gd name="connsiteY0" fmla="*/ 44015 h 557163"/>
              <a:gd name="connsiteX1" fmla="*/ 4390 w 6336000"/>
              <a:gd name="connsiteY1" fmla="*/ 17721 h 557163"/>
              <a:gd name="connsiteX2" fmla="*/ 34052 w 6336000"/>
              <a:gd name="connsiteY2" fmla="*/ 9963 h 557163"/>
              <a:gd name="connsiteX3" fmla="*/ 6301948 w 6336000"/>
              <a:gd name="connsiteY3" fmla="*/ 9963 h 557163"/>
              <a:gd name="connsiteX4" fmla="*/ 6336000 w 6336000"/>
              <a:gd name="connsiteY4" fmla="*/ 44015 h 557163"/>
              <a:gd name="connsiteX5" fmla="*/ 6336000 w 6336000"/>
              <a:gd name="connsiteY5" fmla="*/ 523111 h 557163"/>
              <a:gd name="connsiteX6" fmla="*/ 6301948 w 6336000"/>
              <a:gd name="connsiteY6" fmla="*/ 557163 h 557163"/>
              <a:gd name="connsiteX7" fmla="*/ 34052 w 6336000"/>
              <a:gd name="connsiteY7" fmla="*/ 557163 h 557163"/>
              <a:gd name="connsiteX8" fmla="*/ 0 w 6336000"/>
              <a:gd name="connsiteY8" fmla="*/ 523111 h 557163"/>
              <a:gd name="connsiteX9" fmla="*/ 0 w 6336000"/>
              <a:gd name="connsiteY9" fmla="*/ 44015 h 557163"/>
              <a:gd name="connsiteX0" fmla="*/ 325 w 6336325"/>
              <a:gd name="connsiteY0" fmla="*/ 34265 h 547413"/>
              <a:gd name="connsiteX1" fmla="*/ 4715 w 6336325"/>
              <a:gd name="connsiteY1" fmla="*/ 7971 h 547413"/>
              <a:gd name="connsiteX2" fmla="*/ 34377 w 6336325"/>
              <a:gd name="connsiteY2" fmla="*/ 213 h 547413"/>
              <a:gd name="connsiteX3" fmla="*/ 6302273 w 6336325"/>
              <a:gd name="connsiteY3" fmla="*/ 213 h 547413"/>
              <a:gd name="connsiteX4" fmla="*/ 6336325 w 6336325"/>
              <a:gd name="connsiteY4" fmla="*/ 34265 h 547413"/>
              <a:gd name="connsiteX5" fmla="*/ 6336325 w 6336325"/>
              <a:gd name="connsiteY5" fmla="*/ 513361 h 547413"/>
              <a:gd name="connsiteX6" fmla="*/ 6302273 w 6336325"/>
              <a:gd name="connsiteY6" fmla="*/ 547413 h 547413"/>
              <a:gd name="connsiteX7" fmla="*/ 34377 w 6336325"/>
              <a:gd name="connsiteY7" fmla="*/ 547413 h 547413"/>
              <a:gd name="connsiteX8" fmla="*/ 325 w 6336325"/>
              <a:gd name="connsiteY8" fmla="*/ 513361 h 547413"/>
              <a:gd name="connsiteX9" fmla="*/ 325 w 6336325"/>
              <a:gd name="connsiteY9" fmla="*/ 34265 h 547413"/>
              <a:gd name="connsiteX0" fmla="*/ 2320 w 6338320"/>
              <a:gd name="connsiteY0" fmla="*/ 545788 h 579840"/>
              <a:gd name="connsiteX1" fmla="*/ 6710 w 6338320"/>
              <a:gd name="connsiteY1" fmla="*/ 40398 h 579840"/>
              <a:gd name="connsiteX2" fmla="*/ 36372 w 6338320"/>
              <a:gd name="connsiteY2" fmla="*/ 32640 h 579840"/>
              <a:gd name="connsiteX3" fmla="*/ 6304268 w 6338320"/>
              <a:gd name="connsiteY3" fmla="*/ 32640 h 579840"/>
              <a:gd name="connsiteX4" fmla="*/ 6338320 w 6338320"/>
              <a:gd name="connsiteY4" fmla="*/ 66692 h 579840"/>
              <a:gd name="connsiteX5" fmla="*/ 6338320 w 6338320"/>
              <a:gd name="connsiteY5" fmla="*/ 545788 h 579840"/>
              <a:gd name="connsiteX6" fmla="*/ 6304268 w 6338320"/>
              <a:gd name="connsiteY6" fmla="*/ 579840 h 579840"/>
              <a:gd name="connsiteX7" fmla="*/ 36372 w 6338320"/>
              <a:gd name="connsiteY7" fmla="*/ 579840 h 579840"/>
              <a:gd name="connsiteX8" fmla="*/ 2320 w 6338320"/>
              <a:gd name="connsiteY8" fmla="*/ 545788 h 579840"/>
              <a:gd name="connsiteX0" fmla="*/ 440580 w 6776580"/>
              <a:gd name="connsiteY0" fmla="*/ 545209 h 579261"/>
              <a:gd name="connsiteX1" fmla="*/ 440208 w 6776580"/>
              <a:gd name="connsiteY1" fmla="*/ 39819 h 579261"/>
              <a:gd name="connsiteX2" fmla="*/ 474632 w 6776580"/>
              <a:gd name="connsiteY2" fmla="*/ 32061 h 579261"/>
              <a:gd name="connsiteX3" fmla="*/ 6742528 w 6776580"/>
              <a:gd name="connsiteY3" fmla="*/ 32061 h 579261"/>
              <a:gd name="connsiteX4" fmla="*/ 6776580 w 6776580"/>
              <a:gd name="connsiteY4" fmla="*/ 66113 h 579261"/>
              <a:gd name="connsiteX5" fmla="*/ 6776580 w 6776580"/>
              <a:gd name="connsiteY5" fmla="*/ 545209 h 579261"/>
              <a:gd name="connsiteX6" fmla="*/ 6742528 w 6776580"/>
              <a:gd name="connsiteY6" fmla="*/ 579261 h 579261"/>
              <a:gd name="connsiteX7" fmla="*/ 474632 w 6776580"/>
              <a:gd name="connsiteY7" fmla="*/ 579261 h 579261"/>
              <a:gd name="connsiteX8" fmla="*/ 440580 w 6776580"/>
              <a:gd name="connsiteY8" fmla="*/ 545209 h 579261"/>
              <a:gd name="connsiteX0" fmla="*/ 4188 w 6340188"/>
              <a:gd name="connsiteY0" fmla="*/ 545788 h 579840"/>
              <a:gd name="connsiteX1" fmla="*/ 3816 w 6340188"/>
              <a:gd name="connsiteY1" fmla="*/ 40398 h 579840"/>
              <a:gd name="connsiteX2" fmla="*/ 38240 w 6340188"/>
              <a:gd name="connsiteY2" fmla="*/ 32640 h 579840"/>
              <a:gd name="connsiteX3" fmla="*/ 6306136 w 6340188"/>
              <a:gd name="connsiteY3" fmla="*/ 32640 h 579840"/>
              <a:gd name="connsiteX4" fmla="*/ 6340188 w 6340188"/>
              <a:gd name="connsiteY4" fmla="*/ 66692 h 579840"/>
              <a:gd name="connsiteX5" fmla="*/ 6340188 w 6340188"/>
              <a:gd name="connsiteY5" fmla="*/ 545788 h 579840"/>
              <a:gd name="connsiteX6" fmla="*/ 6306136 w 6340188"/>
              <a:gd name="connsiteY6" fmla="*/ 579840 h 579840"/>
              <a:gd name="connsiteX7" fmla="*/ 38240 w 6340188"/>
              <a:gd name="connsiteY7" fmla="*/ 579840 h 579840"/>
              <a:gd name="connsiteX8" fmla="*/ 4188 w 6340188"/>
              <a:gd name="connsiteY8" fmla="*/ 545788 h 579840"/>
              <a:gd name="connsiteX0" fmla="*/ 1984 w 6337984"/>
              <a:gd name="connsiteY0" fmla="*/ 513434 h 547486"/>
              <a:gd name="connsiteX1" fmla="*/ 1612 w 6337984"/>
              <a:gd name="connsiteY1" fmla="*/ 8044 h 547486"/>
              <a:gd name="connsiteX2" fmla="*/ 36036 w 6337984"/>
              <a:gd name="connsiteY2" fmla="*/ 286 h 547486"/>
              <a:gd name="connsiteX3" fmla="*/ 6303932 w 6337984"/>
              <a:gd name="connsiteY3" fmla="*/ 286 h 547486"/>
              <a:gd name="connsiteX4" fmla="*/ 6337984 w 6337984"/>
              <a:gd name="connsiteY4" fmla="*/ 34338 h 547486"/>
              <a:gd name="connsiteX5" fmla="*/ 6337984 w 6337984"/>
              <a:gd name="connsiteY5" fmla="*/ 513434 h 547486"/>
              <a:gd name="connsiteX6" fmla="*/ 6303932 w 6337984"/>
              <a:gd name="connsiteY6" fmla="*/ 547486 h 547486"/>
              <a:gd name="connsiteX7" fmla="*/ 36036 w 6337984"/>
              <a:gd name="connsiteY7" fmla="*/ 547486 h 547486"/>
              <a:gd name="connsiteX8" fmla="*/ 1984 w 6337984"/>
              <a:gd name="connsiteY8" fmla="*/ 513434 h 547486"/>
              <a:gd name="connsiteX0" fmla="*/ 443038 w 6779038"/>
              <a:gd name="connsiteY0" fmla="*/ 513148 h 547200"/>
              <a:gd name="connsiteX1" fmla="*/ 440285 w 6779038"/>
              <a:gd name="connsiteY1" fmla="*/ 7758 h 547200"/>
              <a:gd name="connsiteX2" fmla="*/ 477090 w 6779038"/>
              <a:gd name="connsiteY2" fmla="*/ 0 h 547200"/>
              <a:gd name="connsiteX3" fmla="*/ 6744986 w 6779038"/>
              <a:gd name="connsiteY3" fmla="*/ 0 h 547200"/>
              <a:gd name="connsiteX4" fmla="*/ 6779038 w 6779038"/>
              <a:gd name="connsiteY4" fmla="*/ 34052 h 547200"/>
              <a:gd name="connsiteX5" fmla="*/ 6779038 w 6779038"/>
              <a:gd name="connsiteY5" fmla="*/ 513148 h 547200"/>
              <a:gd name="connsiteX6" fmla="*/ 6744986 w 6779038"/>
              <a:gd name="connsiteY6" fmla="*/ 547200 h 547200"/>
              <a:gd name="connsiteX7" fmla="*/ 477090 w 6779038"/>
              <a:gd name="connsiteY7" fmla="*/ 547200 h 547200"/>
              <a:gd name="connsiteX8" fmla="*/ 443038 w 6779038"/>
              <a:gd name="connsiteY8" fmla="*/ 513148 h 547200"/>
              <a:gd name="connsiteX0" fmla="*/ 3229 w 6339229"/>
              <a:gd name="connsiteY0" fmla="*/ 513433 h 547485"/>
              <a:gd name="connsiteX1" fmla="*/ 476 w 6339229"/>
              <a:gd name="connsiteY1" fmla="*/ 8043 h 547485"/>
              <a:gd name="connsiteX2" fmla="*/ 37281 w 6339229"/>
              <a:gd name="connsiteY2" fmla="*/ 285 h 547485"/>
              <a:gd name="connsiteX3" fmla="*/ 6305177 w 6339229"/>
              <a:gd name="connsiteY3" fmla="*/ 285 h 547485"/>
              <a:gd name="connsiteX4" fmla="*/ 6339229 w 6339229"/>
              <a:gd name="connsiteY4" fmla="*/ 34337 h 547485"/>
              <a:gd name="connsiteX5" fmla="*/ 6339229 w 6339229"/>
              <a:gd name="connsiteY5" fmla="*/ 513433 h 547485"/>
              <a:gd name="connsiteX6" fmla="*/ 6305177 w 6339229"/>
              <a:gd name="connsiteY6" fmla="*/ 547485 h 547485"/>
              <a:gd name="connsiteX7" fmla="*/ 37281 w 6339229"/>
              <a:gd name="connsiteY7" fmla="*/ 547485 h 547485"/>
              <a:gd name="connsiteX8" fmla="*/ 3229 w 6339229"/>
              <a:gd name="connsiteY8" fmla="*/ 513433 h 547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339229" h="547485">
                <a:moveTo>
                  <a:pt x="3229" y="513433"/>
                </a:moveTo>
                <a:cubicBezTo>
                  <a:pt x="-1715" y="423526"/>
                  <a:pt x="1945" y="14987"/>
                  <a:pt x="476" y="8043"/>
                </a:cubicBezTo>
                <a:cubicBezTo>
                  <a:pt x="-993" y="1099"/>
                  <a:pt x="-1471" y="-803"/>
                  <a:pt x="37281" y="285"/>
                </a:cubicBezTo>
                <a:cubicBezTo>
                  <a:pt x="76033" y="1373"/>
                  <a:pt x="4215878" y="285"/>
                  <a:pt x="6305177" y="285"/>
                </a:cubicBezTo>
                <a:cubicBezTo>
                  <a:pt x="6323983" y="285"/>
                  <a:pt x="6339229" y="15531"/>
                  <a:pt x="6339229" y="34337"/>
                </a:cubicBezTo>
                <a:lnTo>
                  <a:pt x="6339229" y="513433"/>
                </a:lnTo>
                <a:cubicBezTo>
                  <a:pt x="6339229" y="532239"/>
                  <a:pt x="6323983" y="547485"/>
                  <a:pt x="6305177" y="547485"/>
                </a:cubicBezTo>
                <a:lnTo>
                  <a:pt x="37281" y="547485"/>
                </a:lnTo>
                <a:cubicBezTo>
                  <a:pt x="18475" y="547485"/>
                  <a:pt x="3229" y="532239"/>
                  <a:pt x="3229" y="513433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144000" tIns="144000" rIns="216000" bIns="216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grpSp>
        <p:nvGrpSpPr>
          <p:cNvPr id="167" name="Groep 258">
            <a:extLst>
              <a:ext uri="{FF2B5EF4-FFF2-40B4-BE49-F238E27FC236}">
                <a16:creationId xmlns:a16="http://schemas.microsoft.com/office/drawing/2014/main" id="{FE18E7C9-5F3C-41EF-BF34-D683CD93781B}"/>
              </a:ext>
            </a:extLst>
          </p:cNvPr>
          <p:cNvGrpSpPr/>
          <p:nvPr userDrawn="1"/>
        </p:nvGrpSpPr>
        <p:grpSpPr>
          <a:xfrm>
            <a:off x="43467416" y="5"/>
            <a:ext cx="11167745" cy="23084356"/>
            <a:chOff x="12391601" y="0"/>
            <a:chExt cx="3183678" cy="5229113"/>
          </a:xfrm>
        </p:grpSpPr>
        <p:grpSp>
          <p:nvGrpSpPr>
            <p:cNvPr id="168" name="Meer informatie">
              <a:extLst>
                <a:ext uri="{FF2B5EF4-FFF2-40B4-BE49-F238E27FC236}">
                  <a16:creationId xmlns:a16="http://schemas.microsoft.com/office/drawing/2014/main" id="{0F7A2FB2-D7BB-48FE-8D4F-62B9A176ED81}"/>
                </a:ext>
              </a:extLst>
            </p:cNvPr>
            <p:cNvGrpSpPr/>
            <p:nvPr userDrawn="1"/>
          </p:nvGrpSpPr>
          <p:grpSpPr>
            <a:xfrm>
              <a:off x="12396764" y="4445840"/>
              <a:ext cx="3178515" cy="783273"/>
              <a:chOff x="-3741486" y="3386444"/>
              <a:chExt cx="3178515" cy="783273"/>
            </a:xfrm>
          </p:grpSpPr>
          <p:sp>
            <p:nvSpPr>
              <p:cNvPr id="229" name="Freeform 101">
                <a:extLst>
                  <a:ext uri="{FF2B5EF4-FFF2-40B4-BE49-F238E27FC236}">
                    <a16:creationId xmlns:a16="http://schemas.microsoft.com/office/drawing/2014/main" id="{0031DDF7-C28C-4806-A86F-2013C6A9F7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230" name="Rechthoek 306">
                <a:extLst>
                  <a:ext uri="{FF2B5EF4-FFF2-40B4-BE49-F238E27FC236}">
                    <a16:creationId xmlns:a16="http://schemas.microsoft.com/office/drawing/2014/main" id="{4B4FF802-0062-4182-A927-B60762328980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45" name="Rechte verbindingslijn 307">
                <a:extLst>
                  <a:ext uri="{FF2B5EF4-FFF2-40B4-BE49-F238E27FC236}">
                    <a16:creationId xmlns:a16="http://schemas.microsoft.com/office/drawing/2014/main" id="{3A2592B0-6D7A-45E7-8F22-0323E512F1A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9" name="Rechthoek 260">
              <a:extLst>
                <a:ext uri="{FF2B5EF4-FFF2-40B4-BE49-F238E27FC236}">
                  <a16:creationId xmlns:a16="http://schemas.microsoft.com/office/drawing/2014/main" id="{52C54B33-0E6F-4900-A56F-19F0B351850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170" name="Ovaal 261">
              <a:extLst>
                <a:ext uri="{FF2B5EF4-FFF2-40B4-BE49-F238E27FC236}">
                  <a16:creationId xmlns:a16="http://schemas.microsoft.com/office/drawing/2014/main" id="{2B842E25-22E9-4681-AE1C-387696989BB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1" name="Rechte verbindingslijn 262">
              <a:extLst>
                <a:ext uri="{FF2B5EF4-FFF2-40B4-BE49-F238E27FC236}">
                  <a16:creationId xmlns:a16="http://schemas.microsoft.com/office/drawing/2014/main" id="{1620D41F-AB81-46F9-99BE-1B9124F7B8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7" name="Rechte verbindingslijn 263">
              <a:extLst>
                <a:ext uri="{FF2B5EF4-FFF2-40B4-BE49-F238E27FC236}">
                  <a16:creationId xmlns:a16="http://schemas.microsoft.com/office/drawing/2014/main" id="{60989F6B-E889-44B7-8FF9-52DAAC264D1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88" name="Rechthoek 264">
              <a:extLst>
                <a:ext uri="{FF2B5EF4-FFF2-40B4-BE49-F238E27FC236}">
                  <a16:creationId xmlns:a16="http://schemas.microsoft.com/office/drawing/2014/main" id="{5C7E4C0C-182F-4B9E-AE82-C28502245921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oor deze te selecteren en op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om een nieuwe afbeelding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89" name="Rechte verbindingslijn 265">
              <a:extLst>
                <a:ext uri="{FF2B5EF4-FFF2-40B4-BE49-F238E27FC236}">
                  <a16:creationId xmlns:a16="http://schemas.microsoft.com/office/drawing/2014/main" id="{0E852508-8CBA-43BD-8D2D-72E14BEDE5C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4327957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90" name="Ovaal 266">
              <a:extLst>
                <a:ext uri="{FF2B5EF4-FFF2-40B4-BE49-F238E27FC236}">
                  <a16:creationId xmlns:a16="http://schemas.microsoft.com/office/drawing/2014/main" id="{B3EA64D6-D0B9-42B9-A0E7-1E9CE13B131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91" name="Rechthoek 267">
              <a:extLst>
                <a:ext uri="{FF2B5EF4-FFF2-40B4-BE49-F238E27FC236}">
                  <a16:creationId xmlns:a16="http://schemas.microsoft.com/office/drawing/2014/main" id="{D94D0B71-4AD1-444D-A3C1-D84F41870101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92" name="Groep 268">
              <a:extLst>
                <a:ext uri="{FF2B5EF4-FFF2-40B4-BE49-F238E27FC236}">
                  <a16:creationId xmlns:a16="http://schemas.microsoft.com/office/drawing/2014/main" id="{C3AE59F1-5BCF-4C25-B665-F056FB35F7D1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26" name="Rechthoek 302">
                <a:extLst>
                  <a:ext uri="{FF2B5EF4-FFF2-40B4-BE49-F238E27FC236}">
                    <a16:creationId xmlns:a16="http://schemas.microsoft.com/office/drawing/2014/main" id="{CF7490C1-4857-4F62-9534-0289BB759C7D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227" name="Rechte verbindingslijn 303">
                <a:extLst>
                  <a:ext uri="{FF2B5EF4-FFF2-40B4-BE49-F238E27FC236}">
                    <a16:creationId xmlns:a16="http://schemas.microsoft.com/office/drawing/2014/main" id="{D8B49E5E-9784-4489-90CA-AC197D62229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28" name="Gelijkbenige driehoek 304">
                <a:extLst>
                  <a:ext uri="{FF2B5EF4-FFF2-40B4-BE49-F238E27FC236}">
                    <a16:creationId xmlns:a16="http://schemas.microsoft.com/office/drawing/2014/main" id="{1E92FB0C-DCB1-4FD2-9390-00C4DB0B0E3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93" name="Groep 269">
              <a:extLst>
                <a:ext uri="{FF2B5EF4-FFF2-40B4-BE49-F238E27FC236}">
                  <a16:creationId xmlns:a16="http://schemas.microsoft.com/office/drawing/2014/main" id="{E772412E-F4EA-4570-9686-E3FEC98EEE9A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220" name="Rechthoek 296">
                <a:extLst>
                  <a:ext uri="{FF2B5EF4-FFF2-40B4-BE49-F238E27FC236}">
                    <a16:creationId xmlns:a16="http://schemas.microsoft.com/office/drawing/2014/main" id="{A5213E24-7215-48EA-8BB0-CC7435242DA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1" name="Ovaal 297">
                <a:extLst>
                  <a:ext uri="{FF2B5EF4-FFF2-40B4-BE49-F238E27FC236}">
                    <a16:creationId xmlns:a16="http://schemas.microsoft.com/office/drawing/2014/main" id="{DD5060DB-DF93-4FAB-8006-F1A519E6461D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2" name="Vrije vorm: vorm 298">
                <a:extLst>
                  <a:ext uri="{FF2B5EF4-FFF2-40B4-BE49-F238E27FC236}">
                    <a16:creationId xmlns:a16="http://schemas.microsoft.com/office/drawing/2014/main" id="{B0B2F49B-3A69-452B-A23D-32B8D39B30CF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3" name="Rechthoek: afgeronde hoeken 299">
                <a:extLst>
                  <a:ext uri="{FF2B5EF4-FFF2-40B4-BE49-F238E27FC236}">
                    <a16:creationId xmlns:a16="http://schemas.microsoft.com/office/drawing/2014/main" id="{67CEDE91-2011-4A0A-9C72-C29BE7EC087A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224" name="Rechte verbindingslijn 300">
                <a:extLst>
                  <a:ext uri="{FF2B5EF4-FFF2-40B4-BE49-F238E27FC236}">
                    <a16:creationId xmlns:a16="http://schemas.microsoft.com/office/drawing/2014/main" id="{18932C09-A93A-46A3-BC20-77AAC16A3F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25" name="Rechte verbindingslijn 301">
                <a:extLst>
                  <a:ext uri="{FF2B5EF4-FFF2-40B4-BE49-F238E27FC236}">
                    <a16:creationId xmlns:a16="http://schemas.microsoft.com/office/drawing/2014/main" id="{3B5E5436-3EAE-413F-ABA5-1756E7C8674E}"/>
                  </a:ext>
                </a:extLst>
              </p:cNvPr>
              <p:cNvCxnSpPr>
                <a:cxnSpLocks/>
                <a:stCxn id="223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94" name="Ovaal 270">
              <a:extLst>
                <a:ext uri="{FF2B5EF4-FFF2-40B4-BE49-F238E27FC236}">
                  <a16:creationId xmlns:a16="http://schemas.microsoft.com/office/drawing/2014/main" id="{2419888C-19B6-481E-B2FF-C4DC63D52977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95" name="Rechthoek 271">
              <a:extLst>
                <a:ext uri="{FF2B5EF4-FFF2-40B4-BE49-F238E27FC236}">
                  <a16:creationId xmlns:a16="http://schemas.microsoft.com/office/drawing/2014/main" id="{84D765E4-A791-4119-BA2B-5C4D7918047F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43320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aan de linker kant van het scherm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96" name="Rechte verbindingslijn 272">
              <a:extLst>
                <a:ext uri="{FF2B5EF4-FFF2-40B4-BE49-F238E27FC236}">
                  <a16:creationId xmlns:a16="http://schemas.microsoft.com/office/drawing/2014/main" id="{F476E69D-E8BF-4595-8E00-C2E4F7C220D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97" name="Rechthoek 273">
              <a:extLst>
                <a:ext uri="{FF2B5EF4-FFF2-40B4-BE49-F238E27FC236}">
                  <a16:creationId xmlns:a16="http://schemas.microsoft.com/office/drawing/2014/main" id="{5EA26063-7526-462C-87B0-58492330FAB4}"/>
                </a:ext>
              </a:extLst>
            </p:cNvPr>
            <p:cNvSpPr/>
            <p:nvPr userDrawn="1"/>
          </p:nvSpPr>
          <p:spPr>
            <a:xfrm>
              <a:off x="12654153" y="3238910"/>
              <a:ext cx="1624926" cy="805220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3509" b="0" i="1" noProof="0">
                <a:solidFill>
                  <a:schemeClr val="tx1"/>
                </a:solidFill>
              </a:endParaRPr>
            </a:p>
          </p:txBody>
        </p:sp>
        <p:grpSp>
          <p:nvGrpSpPr>
            <p:cNvPr id="198" name="Groep 274">
              <a:extLst>
                <a:ext uri="{FF2B5EF4-FFF2-40B4-BE49-F238E27FC236}">
                  <a16:creationId xmlns:a16="http://schemas.microsoft.com/office/drawing/2014/main" id="{4D87C859-C297-43C7-887B-2EB1DE1E3DB5}"/>
                </a:ext>
              </a:extLst>
            </p:cNvPr>
            <p:cNvGrpSpPr/>
            <p:nvPr userDrawn="1"/>
          </p:nvGrpSpPr>
          <p:grpSpPr>
            <a:xfrm>
              <a:off x="13614067" y="3535184"/>
              <a:ext cx="1195438" cy="678267"/>
              <a:chOff x="12757284" y="3224292"/>
              <a:chExt cx="1195438" cy="678267"/>
            </a:xfrm>
          </p:grpSpPr>
          <p:sp>
            <p:nvSpPr>
              <p:cNvPr id="199" name="Rechthoek 275">
                <a:extLst>
                  <a:ext uri="{FF2B5EF4-FFF2-40B4-BE49-F238E27FC236}">
                    <a16:creationId xmlns:a16="http://schemas.microsoft.com/office/drawing/2014/main" id="{49CA24D3-8532-4674-B98A-8296E6528AF2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00" name="Rechthoek 276">
                <a:extLst>
                  <a:ext uri="{FF2B5EF4-FFF2-40B4-BE49-F238E27FC236}">
                    <a16:creationId xmlns:a16="http://schemas.microsoft.com/office/drawing/2014/main" id="{4B8939E3-92C3-44F4-9BD5-1DB7FB0A66B8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01" name="Groep 277">
                <a:extLst>
                  <a:ext uri="{FF2B5EF4-FFF2-40B4-BE49-F238E27FC236}">
                    <a16:creationId xmlns:a16="http://schemas.microsoft.com/office/drawing/2014/main" id="{855C3FD2-D5A3-4C68-BAA6-B45D3AB5AD00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214" name="Rechthoek: afgeronde hoeken 290">
                  <a:extLst>
                    <a:ext uri="{FF2B5EF4-FFF2-40B4-BE49-F238E27FC236}">
                      <a16:creationId xmlns:a16="http://schemas.microsoft.com/office/drawing/2014/main" id="{D6592CD7-4960-4B26-A3A8-7BD365991DBB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endPara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5" name="Rechthoek 291">
                  <a:extLst>
                    <a:ext uri="{FF2B5EF4-FFF2-40B4-BE49-F238E27FC236}">
                      <a16:creationId xmlns:a16="http://schemas.microsoft.com/office/drawing/2014/main" id="{AA4A7C17-FB54-4CFF-82FD-8E2CE35D7C39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6" name="Rechthoek 292">
                  <a:extLst>
                    <a:ext uri="{FF2B5EF4-FFF2-40B4-BE49-F238E27FC236}">
                      <a16:creationId xmlns:a16="http://schemas.microsoft.com/office/drawing/2014/main" id="{A244A498-0425-4308-8955-DFB58DF90D1A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7" name="Rechthoek 293">
                  <a:extLst>
                    <a:ext uri="{FF2B5EF4-FFF2-40B4-BE49-F238E27FC236}">
                      <a16:creationId xmlns:a16="http://schemas.microsoft.com/office/drawing/2014/main" id="{4FCDD622-0C8B-4364-BE92-D9FC5CB0ACB1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8" name="Rechthoek 294">
                  <a:extLst>
                    <a:ext uri="{FF2B5EF4-FFF2-40B4-BE49-F238E27FC236}">
                      <a16:creationId xmlns:a16="http://schemas.microsoft.com/office/drawing/2014/main" id="{D1802FA6-02D6-47CD-8382-93A10D0ED1B7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9" name="Rechthoek 295">
                  <a:extLst>
                    <a:ext uri="{FF2B5EF4-FFF2-40B4-BE49-F238E27FC236}">
                      <a16:creationId xmlns:a16="http://schemas.microsoft.com/office/drawing/2014/main" id="{7CCAE6D6-0960-47F2-A8FF-5C4236C3F017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202" name="Groep 278">
                <a:extLst>
                  <a:ext uri="{FF2B5EF4-FFF2-40B4-BE49-F238E27FC236}">
                    <a16:creationId xmlns:a16="http://schemas.microsoft.com/office/drawing/2014/main" id="{0A65F830-9A93-416D-A8DE-4C626A5808C8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206" name="Groep 282">
                  <a:extLst>
                    <a:ext uri="{FF2B5EF4-FFF2-40B4-BE49-F238E27FC236}">
                      <a16:creationId xmlns:a16="http://schemas.microsoft.com/office/drawing/2014/main" id="{EAE90E13-348A-43A8-A4E6-B5466EE74C3E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208" name="Rechthoek: afgeronde hoeken 284">
                    <a:extLst>
                      <a:ext uri="{FF2B5EF4-FFF2-40B4-BE49-F238E27FC236}">
                        <a16:creationId xmlns:a16="http://schemas.microsoft.com/office/drawing/2014/main" id="{5F77DA0A-C183-478A-B017-0410985F7C4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2105"/>
                      </a:spcBef>
                      <a:spcAft>
                        <a:spcPts val="2105"/>
                      </a:spcAft>
                    </a:pPr>
                    <a:endParaRPr lang="nl-NL" sz="280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09" name="Rechthoek 285">
                    <a:extLst>
                      <a:ext uri="{FF2B5EF4-FFF2-40B4-BE49-F238E27FC236}">
                        <a16:creationId xmlns:a16="http://schemas.microsoft.com/office/drawing/2014/main" id="{96A832AB-F720-4677-A58E-304A99A962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0" name="Rechthoek 286">
                    <a:extLst>
                      <a:ext uri="{FF2B5EF4-FFF2-40B4-BE49-F238E27FC236}">
                        <a16:creationId xmlns:a16="http://schemas.microsoft.com/office/drawing/2014/main" id="{B64019D6-18FD-4935-AE7E-4A41AEBB1C7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1" name="Rechthoek 287">
                    <a:extLst>
                      <a:ext uri="{FF2B5EF4-FFF2-40B4-BE49-F238E27FC236}">
                        <a16:creationId xmlns:a16="http://schemas.microsoft.com/office/drawing/2014/main" id="{AF896FF2-4F79-4B3A-B16F-303DB01B99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2" name="Rechthoek 288">
                    <a:extLst>
                      <a:ext uri="{FF2B5EF4-FFF2-40B4-BE49-F238E27FC236}">
                        <a16:creationId xmlns:a16="http://schemas.microsoft.com/office/drawing/2014/main" id="{5C2A8C0D-0583-42B3-8C7A-07A28E797ED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3" name="Rechthoek 289">
                    <a:extLst>
                      <a:ext uri="{FF2B5EF4-FFF2-40B4-BE49-F238E27FC236}">
                        <a16:creationId xmlns:a16="http://schemas.microsoft.com/office/drawing/2014/main" id="{E4C9D569-FA79-4D56-ADDE-25FDBCBD504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207" name="Boog 283">
                  <a:extLst>
                    <a:ext uri="{FF2B5EF4-FFF2-40B4-BE49-F238E27FC236}">
                      <a16:creationId xmlns:a16="http://schemas.microsoft.com/office/drawing/2014/main" id="{5A56BBA6-F562-421F-9337-19ECAC422E00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</p:grpSp>
          <p:sp>
            <p:nvSpPr>
              <p:cNvPr id="203" name="Tekstvak 279">
                <a:extLst>
                  <a:ext uri="{FF2B5EF4-FFF2-40B4-BE49-F238E27FC236}">
                    <a16:creationId xmlns:a16="http://schemas.microsoft.com/office/drawing/2014/main" id="{3EB31D65-4EFE-415F-8BFB-3EC9FDDC22A3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204" name="Tekstvak 280">
                <a:extLst>
                  <a:ext uri="{FF2B5EF4-FFF2-40B4-BE49-F238E27FC236}">
                    <a16:creationId xmlns:a16="http://schemas.microsoft.com/office/drawing/2014/main" id="{B7EF83F3-2B7D-4A64-B8C2-61227520E238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205" name="Picture 3">
                <a:extLst>
                  <a:ext uri="{FF2B5EF4-FFF2-40B4-BE49-F238E27FC236}">
                    <a16:creationId xmlns:a16="http://schemas.microsoft.com/office/drawing/2014/main" id="{6ECEF6A9-F446-4E57-8697-B8562D0E271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810206" y="3671228"/>
                <a:ext cx="14251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grpSp>
        <p:nvGrpSpPr>
          <p:cNvPr id="87" name="Instructie">
            <a:extLst>
              <a:ext uri="{FF2B5EF4-FFF2-40B4-BE49-F238E27FC236}">
                <a16:creationId xmlns:a16="http://schemas.microsoft.com/office/drawing/2014/main" id="{1FB51ED4-F5DD-486A-9E36-11EBE1FBB0B7}"/>
              </a:ext>
            </a:extLst>
          </p:cNvPr>
          <p:cNvGrpSpPr/>
          <p:nvPr userDrawn="1"/>
        </p:nvGrpSpPr>
        <p:grpSpPr>
          <a:xfrm>
            <a:off x="-11761540" y="0"/>
            <a:ext cx="11164508" cy="11743958"/>
            <a:chOff x="-3426088" y="4512342"/>
            <a:chExt cx="3182755" cy="2660264"/>
          </a:xfrm>
        </p:grpSpPr>
        <p:sp>
          <p:nvSpPr>
            <p:cNvPr id="88" name="Rechthoek 127">
              <a:extLst>
                <a:ext uri="{FF2B5EF4-FFF2-40B4-BE49-F238E27FC236}">
                  <a16:creationId xmlns:a16="http://schemas.microsoft.com/office/drawing/2014/main" id="{90A476DB-9B4A-476C-B3CD-A1A5C8C09EE2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89" name="Rechte verbindingslijn 128">
              <a:extLst>
                <a:ext uri="{FF2B5EF4-FFF2-40B4-BE49-F238E27FC236}">
                  <a16:creationId xmlns:a16="http://schemas.microsoft.com/office/drawing/2014/main" id="{3661848B-C261-4C32-891C-F024942F9F2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0" name="Rechthoek 130">
              <a:extLst>
                <a:ext uri="{FF2B5EF4-FFF2-40B4-BE49-F238E27FC236}">
                  <a16:creationId xmlns:a16="http://schemas.microsoft.com/office/drawing/2014/main" id="{856D4C44-35AF-488D-8B4A-5F819DDDEB62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91" name="Rechthoek 133">
              <a:extLst>
                <a:ext uri="{FF2B5EF4-FFF2-40B4-BE49-F238E27FC236}">
                  <a16:creationId xmlns:a16="http://schemas.microsoft.com/office/drawing/2014/main" id="{1371B4DB-163F-4863-BACE-D948DECA21BC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92" name="Rechthoek 136">
              <a:extLst>
                <a:ext uri="{FF2B5EF4-FFF2-40B4-BE49-F238E27FC236}">
                  <a16:creationId xmlns:a16="http://schemas.microsoft.com/office/drawing/2014/main" id="{11876C2B-3DFA-4771-8C36-791C16CF633D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93" name="Rechthoek 139">
              <a:extLst>
                <a:ext uri="{FF2B5EF4-FFF2-40B4-BE49-F238E27FC236}">
                  <a16:creationId xmlns:a16="http://schemas.microsoft.com/office/drawing/2014/main" id="{20E38BB6-2FC6-4BD7-94CD-82F88AD296C5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94" name="Rechte verbindingslijn 140">
              <a:extLst>
                <a:ext uri="{FF2B5EF4-FFF2-40B4-BE49-F238E27FC236}">
                  <a16:creationId xmlns:a16="http://schemas.microsoft.com/office/drawing/2014/main" id="{0D45D1BD-1E6B-41C3-AA27-B8A834AC400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71" name="Afbeelding 70">
            <a:extLst>
              <a:ext uri="{FF2B5EF4-FFF2-40B4-BE49-F238E27FC236}">
                <a16:creationId xmlns:a16="http://schemas.microsoft.com/office/drawing/2014/main" id="{EBAD7435-810D-4257-965C-E74C034C95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5247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0% Foto + Oranje Vl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-5567" y="6476684"/>
            <a:ext cx="42767257" cy="23798534"/>
          </a:xfrm>
          <a:solidFill>
            <a:schemeClr val="bg1">
              <a:lumMod val="95000"/>
            </a:schemeClr>
          </a:solidFill>
        </p:spPr>
        <p:txBody>
          <a:bodyPr tIns="2700000">
            <a:normAutofit/>
          </a:bodyPr>
          <a:lstStyle>
            <a:lvl1pPr marL="0" indent="0" algn="ctr">
              <a:buNone/>
              <a:defRPr sz="4209" i="1"/>
            </a:lvl1pPr>
          </a:lstStyle>
          <a:p>
            <a:r>
              <a:rPr lang="en-US" noProof="0"/>
              <a:t>Click on the pictogram below</a:t>
            </a:r>
            <a:br>
              <a:rPr lang="en-US" noProof="0"/>
            </a:br>
            <a:r>
              <a:rPr lang="en-US" noProof="0"/>
              <a:t>to insert an image</a:t>
            </a:r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E95C33EA-B26A-48AB-9D03-46F91C58157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0" y="0"/>
            <a:ext cx="42767250" cy="6476679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351">
                <a:solidFill>
                  <a:schemeClr val="bg1"/>
                </a:solidFill>
              </a:defRPr>
            </a:lvl1pPr>
          </a:lstStyle>
          <a:p>
            <a:pPr lvl="0"/>
            <a:endParaRPr lang="nl-NL" sz="351"/>
          </a:p>
          <a:p>
            <a:pPr lvl="0"/>
            <a:endParaRPr lang="nl-NL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noProof="0"/>
              <a:t>Title</a:t>
            </a:r>
          </a:p>
        </p:txBody>
      </p:sp>
      <p:grpSp>
        <p:nvGrpSpPr>
          <p:cNvPr id="19" name="GRID" hidden="1"/>
          <p:cNvGrpSpPr/>
          <p:nvPr userDrawn="1"/>
        </p:nvGrpSpPr>
        <p:grpSpPr>
          <a:xfrm>
            <a:off x="5" y="0"/>
            <a:ext cx="42767261" cy="30275213"/>
            <a:chOff x="0" y="0"/>
            <a:chExt cx="12192003" cy="6858000"/>
          </a:xfrm>
        </p:grpSpPr>
        <p:sp>
          <p:nvSpPr>
            <p:cNvPr id="20" name="Rechthoek 19"/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1" name="Rechthoek 20"/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2" name="Rechthoek 21"/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4" name="Rechthoek 23"/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8" name="Rechthoek 27">
              <a:extLst>
                <a:ext uri="{FF2B5EF4-FFF2-40B4-BE49-F238E27FC236}">
                  <a16:creationId xmlns:a16="http://schemas.microsoft.com/office/drawing/2014/main" id="{6BC69531-4B5F-447E-B7A9-2951B17E6FC2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30" name="Tijdelijke aanduiding voor voettekst 4">
            <a:extLst>
              <a:ext uri="{FF2B5EF4-FFF2-40B4-BE49-F238E27FC236}">
                <a16:creationId xmlns:a16="http://schemas.microsoft.com/office/drawing/2014/main" id="{1DA20FBD-9D0F-4EAB-B12C-126591D8B7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Hier komt de voettekst</a:t>
            </a:r>
          </a:p>
        </p:txBody>
      </p: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6644E39-2AF2-4EA0-9C3F-28C89D5A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8"/>
            <a:ext cx="707315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7" name="Tijdelijke aanduiding voor tekst 14">
            <a:extLst>
              <a:ext uri="{FF2B5EF4-FFF2-40B4-BE49-F238E27FC236}">
                <a16:creationId xmlns:a16="http://schemas.microsoft.com/office/drawing/2014/main" id="{A6BF4B27-7FC5-4896-80CE-3BA6119B83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endParaRPr lang="en-US"/>
          </a:p>
        </p:txBody>
      </p:sp>
      <p:sp>
        <p:nvSpPr>
          <p:cNvPr id="25" name="Tijdelijke aanduiding voor tekst 3">
            <a:extLst>
              <a:ext uri="{FF2B5EF4-FFF2-40B4-BE49-F238E27FC236}">
                <a16:creationId xmlns:a16="http://schemas.microsoft.com/office/drawing/2014/main" id="{B1EBCF2F-E9DD-4864-A450-DD8AF487DDE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504415" y="1217632"/>
            <a:ext cx="6635238" cy="3534585"/>
          </a:xfrm>
          <a:blipFill>
            <a:blip r:embed="rId2"/>
            <a:stretch>
              <a:fillRect l="-22041" t="-51776" r="-22041" b="-51776"/>
            </a:stretch>
          </a:blipFill>
        </p:spPr>
        <p:txBody>
          <a:bodyPr/>
          <a:lstStyle>
            <a:lvl1pPr marL="0" indent="0">
              <a:buNone/>
              <a:defRPr sz="351"/>
            </a:lvl1pPr>
          </a:lstStyle>
          <a:p>
            <a:pPr lvl="0"/>
            <a:endParaRPr lang="nl-NL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28641602-EFC5-4A31-A66E-7D18FE4BC0DE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27317714" y="18836413"/>
            <a:ext cx="13821939" cy="7118065"/>
          </a:xfrm>
          <a:custGeom>
            <a:avLst/>
            <a:gdLst>
              <a:gd name="connsiteX0" fmla="*/ 0 w 3938778"/>
              <a:gd name="connsiteY0" fmla="*/ 84049 h 1609202"/>
              <a:gd name="connsiteX1" fmla="*/ 84049 w 3938778"/>
              <a:gd name="connsiteY1" fmla="*/ 0 h 1609202"/>
              <a:gd name="connsiteX2" fmla="*/ 3854729 w 3938778"/>
              <a:gd name="connsiteY2" fmla="*/ 0 h 1609202"/>
              <a:gd name="connsiteX3" fmla="*/ 3938778 w 3938778"/>
              <a:gd name="connsiteY3" fmla="*/ 84049 h 1609202"/>
              <a:gd name="connsiteX4" fmla="*/ 3938778 w 3938778"/>
              <a:gd name="connsiteY4" fmla="*/ 1525153 h 1609202"/>
              <a:gd name="connsiteX5" fmla="*/ 3854729 w 3938778"/>
              <a:gd name="connsiteY5" fmla="*/ 1609202 h 1609202"/>
              <a:gd name="connsiteX6" fmla="*/ 84049 w 3938778"/>
              <a:gd name="connsiteY6" fmla="*/ 1609202 h 1609202"/>
              <a:gd name="connsiteX7" fmla="*/ 0 w 3938778"/>
              <a:gd name="connsiteY7" fmla="*/ 1525153 h 1609202"/>
              <a:gd name="connsiteX8" fmla="*/ 0 w 3938778"/>
              <a:gd name="connsiteY8" fmla="*/ 84049 h 1609202"/>
              <a:gd name="connsiteX0" fmla="*/ 212359 w 4151137"/>
              <a:gd name="connsiteY0" fmla="*/ 126307 h 1651460"/>
              <a:gd name="connsiteX1" fmla="*/ 237486 w 4151137"/>
              <a:gd name="connsiteY1" fmla="*/ 63809 h 1651460"/>
              <a:gd name="connsiteX2" fmla="*/ 296408 w 4151137"/>
              <a:gd name="connsiteY2" fmla="*/ 42258 h 1651460"/>
              <a:gd name="connsiteX3" fmla="*/ 4067088 w 4151137"/>
              <a:gd name="connsiteY3" fmla="*/ 42258 h 1651460"/>
              <a:gd name="connsiteX4" fmla="*/ 4151137 w 4151137"/>
              <a:gd name="connsiteY4" fmla="*/ 126307 h 1651460"/>
              <a:gd name="connsiteX5" fmla="*/ 4151137 w 4151137"/>
              <a:gd name="connsiteY5" fmla="*/ 1567411 h 1651460"/>
              <a:gd name="connsiteX6" fmla="*/ 4067088 w 4151137"/>
              <a:gd name="connsiteY6" fmla="*/ 1651460 h 1651460"/>
              <a:gd name="connsiteX7" fmla="*/ 296408 w 4151137"/>
              <a:gd name="connsiteY7" fmla="*/ 1651460 h 1651460"/>
              <a:gd name="connsiteX8" fmla="*/ 212359 w 4151137"/>
              <a:gd name="connsiteY8" fmla="*/ 1567411 h 1651460"/>
              <a:gd name="connsiteX9" fmla="*/ 212359 w 4151137"/>
              <a:gd name="connsiteY9" fmla="*/ 126307 h 1651460"/>
              <a:gd name="connsiteX0" fmla="*/ 212359 w 4151137"/>
              <a:gd name="connsiteY0" fmla="*/ 84049 h 1609202"/>
              <a:gd name="connsiteX1" fmla="*/ 237486 w 4151137"/>
              <a:gd name="connsiteY1" fmla="*/ 21551 h 1609202"/>
              <a:gd name="connsiteX2" fmla="*/ 296408 w 4151137"/>
              <a:gd name="connsiteY2" fmla="*/ 0 h 1609202"/>
              <a:gd name="connsiteX3" fmla="*/ 4067088 w 4151137"/>
              <a:gd name="connsiteY3" fmla="*/ 0 h 1609202"/>
              <a:gd name="connsiteX4" fmla="*/ 4151137 w 4151137"/>
              <a:gd name="connsiteY4" fmla="*/ 84049 h 1609202"/>
              <a:gd name="connsiteX5" fmla="*/ 4151137 w 4151137"/>
              <a:gd name="connsiteY5" fmla="*/ 1525153 h 1609202"/>
              <a:gd name="connsiteX6" fmla="*/ 4067088 w 4151137"/>
              <a:gd name="connsiteY6" fmla="*/ 1609202 h 1609202"/>
              <a:gd name="connsiteX7" fmla="*/ 296408 w 4151137"/>
              <a:gd name="connsiteY7" fmla="*/ 1609202 h 1609202"/>
              <a:gd name="connsiteX8" fmla="*/ 212359 w 4151137"/>
              <a:gd name="connsiteY8" fmla="*/ 1525153 h 1609202"/>
              <a:gd name="connsiteX9" fmla="*/ 212359 w 4151137"/>
              <a:gd name="connsiteY9" fmla="*/ 84049 h 1609202"/>
              <a:gd name="connsiteX0" fmla="*/ 21 w 3938799"/>
              <a:gd name="connsiteY0" fmla="*/ 85645 h 1610798"/>
              <a:gd name="connsiteX1" fmla="*/ 25148 w 3938799"/>
              <a:gd name="connsiteY1" fmla="*/ 23147 h 1610798"/>
              <a:gd name="connsiteX2" fmla="*/ 84070 w 3938799"/>
              <a:gd name="connsiteY2" fmla="*/ 1596 h 1610798"/>
              <a:gd name="connsiteX3" fmla="*/ 3854750 w 3938799"/>
              <a:gd name="connsiteY3" fmla="*/ 1596 h 1610798"/>
              <a:gd name="connsiteX4" fmla="*/ 3938799 w 3938799"/>
              <a:gd name="connsiteY4" fmla="*/ 85645 h 1610798"/>
              <a:gd name="connsiteX5" fmla="*/ 3938799 w 3938799"/>
              <a:gd name="connsiteY5" fmla="*/ 1526749 h 1610798"/>
              <a:gd name="connsiteX6" fmla="*/ 3854750 w 3938799"/>
              <a:gd name="connsiteY6" fmla="*/ 1610798 h 1610798"/>
              <a:gd name="connsiteX7" fmla="*/ 84070 w 3938799"/>
              <a:gd name="connsiteY7" fmla="*/ 1610798 h 1610798"/>
              <a:gd name="connsiteX8" fmla="*/ 21 w 3938799"/>
              <a:gd name="connsiteY8" fmla="*/ 1526749 h 1610798"/>
              <a:gd name="connsiteX9" fmla="*/ 21 w 3938799"/>
              <a:gd name="connsiteY9" fmla="*/ 85645 h 1610798"/>
              <a:gd name="connsiteX0" fmla="*/ 221900 w 4160678"/>
              <a:gd name="connsiteY0" fmla="*/ 126307 h 1651460"/>
              <a:gd name="connsiteX1" fmla="*/ 220833 w 4160678"/>
              <a:gd name="connsiteY1" fmla="*/ 63809 h 1651460"/>
              <a:gd name="connsiteX2" fmla="*/ 305949 w 4160678"/>
              <a:gd name="connsiteY2" fmla="*/ 42258 h 1651460"/>
              <a:gd name="connsiteX3" fmla="*/ 4076629 w 4160678"/>
              <a:gd name="connsiteY3" fmla="*/ 42258 h 1651460"/>
              <a:gd name="connsiteX4" fmla="*/ 4160678 w 4160678"/>
              <a:gd name="connsiteY4" fmla="*/ 126307 h 1651460"/>
              <a:gd name="connsiteX5" fmla="*/ 4160678 w 4160678"/>
              <a:gd name="connsiteY5" fmla="*/ 1567411 h 1651460"/>
              <a:gd name="connsiteX6" fmla="*/ 4076629 w 4160678"/>
              <a:gd name="connsiteY6" fmla="*/ 1651460 h 1651460"/>
              <a:gd name="connsiteX7" fmla="*/ 305949 w 4160678"/>
              <a:gd name="connsiteY7" fmla="*/ 1651460 h 1651460"/>
              <a:gd name="connsiteX8" fmla="*/ 221900 w 4160678"/>
              <a:gd name="connsiteY8" fmla="*/ 1567411 h 1651460"/>
              <a:gd name="connsiteX9" fmla="*/ 221900 w 4160678"/>
              <a:gd name="connsiteY9" fmla="*/ 126307 h 1651460"/>
              <a:gd name="connsiteX0" fmla="*/ 222785 w 4161563"/>
              <a:gd name="connsiteY0" fmla="*/ 132298 h 1657451"/>
              <a:gd name="connsiteX1" fmla="*/ 219337 w 4161563"/>
              <a:gd name="connsiteY1" fmla="*/ 55513 h 1657451"/>
              <a:gd name="connsiteX2" fmla="*/ 306834 w 4161563"/>
              <a:gd name="connsiteY2" fmla="*/ 48249 h 1657451"/>
              <a:gd name="connsiteX3" fmla="*/ 4077514 w 4161563"/>
              <a:gd name="connsiteY3" fmla="*/ 48249 h 1657451"/>
              <a:gd name="connsiteX4" fmla="*/ 4161563 w 4161563"/>
              <a:gd name="connsiteY4" fmla="*/ 132298 h 1657451"/>
              <a:gd name="connsiteX5" fmla="*/ 4161563 w 4161563"/>
              <a:gd name="connsiteY5" fmla="*/ 1573402 h 1657451"/>
              <a:gd name="connsiteX6" fmla="*/ 4077514 w 4161563"/>
              <a:gd name="connsiteY6" fmla="*/ 1657451 h 1657451"/>
              <a:gd name="connsiteX7" fmla="*/ 306834 w 4161563"/>
              <a:gd name="connsiteY7" fmla="*/ 1657451 h 1657451"/>
              <a:gd name="connsiteX8" fmla="*/ 222785 w 4161563"/>
              <a:gd name="connsiteY8" fmla="*/ 1573402 h 1657451"/>
              <a:gd name="connsiteX9" fmla="*/ 222785 w 4161563"/>
              <a:gd name="connsiteY9" fmla="*/ 132298 h 1657451"/>
              <a:gd name="connsiteX0" fmla="*/ 8993 w 3947771"/>
              <a:gd name="connsiteY0" fmla="*/ 132298 h 1657451"/>
              <a:gd name="connsiteX1" fmla="*/ 5545 w 3947771"/>
              <a:gd name="connsiteY1" fmla="*/ 55513 h 1657451"/>
              <a:gd name="connsiteX2" fmla="*/ 93042 w 3947771"/>
              <a:gd name="connsiteY2" fmla="*/ 48249 h 1657451"/>
              <a:gd name="connsiteX3" fmla="*/ 3863722 w 3947771"/>
              <a:gd name="connsiteY3" fmla="*/ 48249 h 1657451"/>
              <a:gd name="connsiteX4" fmla="*/ 3947771 w 3947771"/>
              <a:gd name="connsiteY4" fmla="*/ 132298 h 1657451"/>
              <a:gd name="connsiteX5" fmla="*/ 3947771 w 3947771"/>
              <a:gd name="connsiteY5" fmla="*/ 1573402 h 1657451"/>
              <a:gd name="connsiteX6" fmla="*/ 3863722 w 3947771"/>
              <a:gd name="connsiteY6" fmla="*/ 1657451 h 1657451"/>
              <a:gd name="connsiteX7" fmla="*/ 93042 w 3947771"/>
              <a:gd name="connsiteY7" fmla="*/ 1657451 h 1657451"/>
              <a:gd name="connsiteX8" fmla="*/ 8993 w 3947771"/>
              <a:gd name="connsiteY8" fmla="*/ 1573402 h 1657451"/>
              <a:gd name="connsiteX9" fmla="*/ 8993 w 3947771"/>
              <a:gd name="connsiteY9" fmla="*/ 132298 h 1657451"/>
              <a:gd name="connsiteX0" fmla="*/ 9451 w 3948229"/>
              <a:gd name="connsiteY0" fmla="*/ 85220 h 1610373"/>
              <a:gd name="connsiteX1" fmla="*/ 6003 w 3948229"/>
              <a:gd name="connsiteY1" fmla="*/ 8435 h 1610373"/>
              <a:gd name="connsiteX2" fmla="*/ 93500 w 3948229"/>
              <a:gd name="connsiteY2" fmla="*/ 1171 h 1610373"/>
              <a:gd name="connsiteX3" fmla="*/ 3864180 w 3948229"/>
              <a:gd name="connsiteY3" fmla="*/ 1171 h 1610373"/>
              <a:gd name="connsiteX4" fmla="*/ 3948229 w 3948229"/>
              <a:gd name="connsiteY4" fmla="*/ 85220 h 1610373"/>
              <a:gd name="connsiteX5" fmla="*/ 3948229 w 3948229"/>
              <a:gd name="connsiteY5" fmla="*/ 1526324 h 1610373"/>
              <a:gd name="connsiteX6" fmla="*/ 3864180 w 3948229"/>
              <a:gd name="connsiteY6" fmla="*/ 1610373 h 1610373"/>
              <a:gd name="connsiteX7" fmla="*/ 93500 w 3948229"/>
              <a:gd name="connsiteY7" fmla="*/ 1610373 h 1610373"/>
              <a:gd name="connsiteX8" fmla="*/ 9451 w 3948229"/>
              <a:gd name="connsiteY8" fmla="*/ 1526324 h 1610373"/>
              <a:gd name="connsiteX9" fmla="*/ 9451 w 3948229"/>
              <a:gd name="connsiteY9" fmla="*/ 85220 h 1610373"/>
              <a:gd name="connsiteX0" fmla="*/ 9451 w 3948229"/>
              <a:gd name="connsiteY0" fmla="*/ 85220 h 1610373"/>
              <a:gd name="connsiteX1" fmla="*/ 6003 w 3948229"/>
              <a:gd name="connsiteY1" fmla="*/ 8435 h 1610373"/>
              <a:gd name="connsiteX2" fmla="*/ 93500 w 3948229"/>
              <a:gd name="connsiteY2" fmla="*/ 1171 h 1610373"/>
              <a:gd name="connsiteX3" fmla="*/ 3864180 w 3948229"/>
              <a:gd name="connsiteY3" fmla="*/ 1171 h 1610373"/>
              <a:gd name="connsiteX4" fmla="*/ 3948229 w 3948229"/>
              <a:gd name="connsiteY4" fmla="*/ 85220 h 1610373"/>
              <a:gd name="connsiteX5" fmla="*/ 3948229 w 3948229"/>
              <a:gd name="connsiteY5" fmla="*/ 1526324 h 1610373"/>
              <a:gd name="connsiteX6" fmla="*/ 3864180 w 3948229"/>
              <a:gd name="connsiteY6" fmla="*/ 1610373 h 1610373"/>
              <a:gd name="connsiteX7" fmla="*/ 93500 w 3948229"/>
              <a:gd name="connsiteY7" fmla="*/ 1610373 h 1610373"/>
              <a:gd name="connsiteX8" fmla="*/ 9451 w 3948229"/>
              <a:gd name="connsiteY8" fmla="*/ 1526324 h 1610373"/>
              <a:gd name="connsiteX9" fmla="*/ 9451 w 3948229"/>
              <a:gd name="connsiteY9" fmla="*/ 85220 h 1610373"/>
              <a:gd name="connsiteX0" fmla="*/ 12575 w 3951353"/>
              <a:gd name="connsiteY0" fmla="*/ 1632501 h 1716550"/>
              <a:gd name="connsiteX1" fmla="*/ 9127 w 3951353"/>
              <a:gd name="connsiteY1" fmla="*/ 114612 h 1716550"/>
              <a:gd name="connsiteX2" fmla="*/ 96624 w 3951353"/>
              <a:gd name="connsiteY2" fmla="*/ 107348 h 1716550"/>
              <a:gd name="connsiteX3" fmla="*/ 3867304 w 3951353"/>
              <a:gd name="connsiteY3" fmla="*/ 107348 h 1716550"/>
              <a:gd name="connsiteX4" fmla="*/ 3951353 w 3951353"/>
              <a:gd name="connsiteY4" fmla="*/ 191397 h 1716550"/>
              <a:gd name="connsiteX5" fmla="*/ 3951353 w 3951353"/>
              <a:gd name="connsiteY5" fmla="*/ 1632501 h 1716550"/>
              <a:gd name="connsiteX6" fmla="*/ 3867304 w 3951353"/>
              <a:gd name="connsiteY6" fmla="*/ 1716550 h 1716550"/>
              <a:gd name="connsiteX7" fmla="*/ 96624 w 3951353"/>
              <a:gd name="connsiteY7" fmla="*/ 1716550 h 1716550"/>
              <a:gd name="connsiteX8" fmla="*/ 12575 w 3951353"/>
              <a:gd name="connsiteY8" fmla="*/ 1632501 h 1716550"/>
              <a:gd name="connsiteX0" fmla="*/ 9770 w 3948548"/>
              <a:gd name="connsiteY0" fmla="*/ 1632631 h 1716680"/>
              <a:gd name="connsiteX1" fmla="*/ 6322 w 3948548"/>
              <a:gd name="connsiteY1" fmla="*/ 114742 h 1716680"/>
              <a:gd name="connsiteX2" fmla="*/ 93819 w 3948548"/>
              <a:gd name="connsiteY2" fmla="*/ 107478 h 1716680"/>
              <a:gd name="connsiteX3" fmla="*/ 3864499 w 3948548"/>
              <a:gd name="connsiteY3" fmla="*/ 107478 h 1716680"/>
              <a:gd name="connsiteX4" fmla="*/ 3948548 w 3948548"/>
              <a:gd name="connsiteY4" fmla="*/ 191527 h 1716680"/>
              <a:gd name="connsiteX5" fmla="*/ 3948548 w 3948548"/>
              <a:gd name="connsiteY5" fmla="*/ 1632631 h 1716680"/>
              <a:gd name="connsiteX6" fmla="*/ 3864499 w 3948548"/>
              <a:gd name="connsiteY6" fmla="*/ 1716680 h 1716680"/>
              <a:gd name="connsiteX7" fmla="*/ 93819 w 3948548"/>
              <a:gd name="connsiteY7" fmla="*/ 1716680 h 1716680"/>
              <a:gd name="connsiteX8" fmla="*/ 9770 w 3948548"/>
              <a:gd name="connsiteY8" fmla="*/ 1632631 h 1716680"/>
              <a:gd name="connsiteX0" fmla="*/ 6731 w 3945509"/>
              <a:gd name="connsiteY0" fmla="*/ 1632631 h 1780851"/>
              <a:gd name="connsiteX1" fmla="*/ 3283 w 3945509"/>
              <a:gd name="connsiteY1" fmla="*/ 114742 h 1780851"/>
              <a:gd name="connsiteX2" fmla="*/ 90780 w 3945509"/>
              <a:gd name="connsiteY2" fmla="*/ 107478 h 1780851"/>
              <a:gd name="connsiteX3" fmla="*/ 3861460 w 3945509"/>
              <a:gd name="connsiteY3" fmla="*/ 107478 h 1780851"/>
              <a:gd name="connsiteX4" fmla="*/ 3945509 w 3945509"/>
              <a:gd name="connsiteY4" fmla="*/ 191527 h 1780851"/>
              <a:gd name="connsiteX5" fmla="*/ 3945509 w 3945509"/>
              <a:gd name="connsiteY5" fmla="*/ 1632631 h 1780851"/>
              <a:gd name="connsiteX6" fmla="*/ 3861460 w 3945509"/>
              <a:gd name="connsiteY6" fmla="*/ 1716680 h 1780851"/>
              <a:gd name="connsiteX7" fmla="*/ 90780 w 3945509"/>
              <a:gd name="connsiteY7" fmla="*/ 1716680 h 1780851"/>
              <a:gd name="connsiteX8" fmla="*/ 6731 w 3945509"/>
              <a:gd name="connsiteY8" fmla="*/ 1632631 h 1780851"/>
              <a:gd name="connsiteX0" fmla="*/ 5635 w 3944413"/>
              <a:gd name="connsiteY0" fmla="*/ 1632631 h 1730124"/>
              <a:gd name="connsiteX1" fmla="*/ 2187 w 3944413"/>
              <a:gd name="connsiteY1" fmla="*/ 114742 h 1730124"/>
              <a:gd name="connsiteX2" fmla="*/ 89684 w 3944413"/>
              <a:gd name="connsiteY2" fmla="*/ 107478 h 1730124"/>
              <a:gd name="connsiteX3" fmla="*/ 3860364 w 3944413"/>
              <a:gd name="connsiteY3" fmla="*/ 107478 h 1730124"/>
              <a:gd name="connsiteX4" fmla="*/ 3944413 w 3944413"/>
              <a:gd name="connsiteY4" fmla="*/ 191527 h 1730124"/>
              <a:gd name="connsiteX5" fmla="*/ 3944413 w 3944413"/>
              <a:gd name="connsiteY5" fmla="*/ 1632631 h 1730124"/>
              <a:gd name="connsiteX6" fmla="*/ 3860364 w 3944413"/>
              <a:gd name="connsiteY6" fmla="*/ 1716680 h 1730124"/>
              <a:gd name="connsiteX7" fmla="*/ 89684 w 3944413"/>
              <a:gd name="connsiteY7" fmla="*/ 1716680 h 1730124"/>
              <a:gd name="connsiteX8" fmla="*/ 5635 w 3944413"/>
              <a:gd name="connsiteY8" fmla="*/ 1632631 h 1730124"/>
              <a:gd name="connsiteX0" fmla="*/ 6730 w 3945508"/>
              <a:gd name="connsiteY0" fmla="*/ 1632631 h 1718001"/>
              <a:gd name="connsiteX1" fmla="*/ 3282 w 3945508"/>
              <a:gd name="connsiteY1" fmla="*/ 114742 h 1718001"/>
              <a:gd name="connsiteX2" fmla="*/ 90779 w 3945508"/>
              <a:gd name="connsiteY2" fmla="*/ 107478 h 1718001"/>
              <a:gd name="connsiteX3" fmla="*/ 3861459 w 3945508"/>
              <a:gd name="connsiteY3" fmla="*/ 107478 h 1718001"/>
              <a:gd name="connsiteX4" fmla="*/ 3945508 w 3945508"/>
              <a:gd name="connsiteY4" fmla="*/ 191527 h 1718001"/>
              <a:gd name="connsiteX5" fmla="*/ 3945508 w 3945508"/>
              <a:gd name="connsiteY5" fmla="*/ 1632631 h 1718001"/>
              <a:gd name="connsiteX6" fmla="*/ 3861459 w 3945508"/>
              <a:gd name="connsiteY6" fmla="*/ 1716680 h 1718001"/>
              <a:gd name="connsiteX7" fmla="*/ 90779 w 3945508"/>
              <a:gd name="connsiteY7" fmla="*/ 1716680 h 1718001"/>
              <a:gd name="connsiteX8" fmla="*/ 6730 w 3945508"/>
              <a:gd name="connsiteY8" fmla="*/ 1632631 h 1718001"/>
              <a:gd name="connsiteX0" fmla="*/ 5541 w 3944319"/>
              <a:gd name="connsiteY0" fmla="*/ 1632631 h 1716680"/>
              <a:gd name="connsiteX1" fmla="*/ 2093 w 3944319"/>
              <a:gd name="connsiteY1" fmla="*/ 114742 h 1716680"/>
              <a:gd name="connsiteX2" fmla="*/ 89590 w 3944319"/>
              <a:gd name="connsiteY2" fmla="*/ 107478 h 1716680"/>
              <a:gd name="connsiteX3" fmla="*/ 3860270 w 3944319"/>
              <a:gd name="connsiteY3" fmla="*/ 107478 h 1716680"/>
              <a:gd name="connsiteX4" fmla="*/ 3944319 w 3944319"/>
              <a:gd name="connsiteY4" fmla="*/ 191527 h 1716680"/>
              <a:gd name="connsiteX5" fmla="*/ 3944319 w 3944319"/>
              <a:gd name="connsiteY5" fmla="*/ 1632631 h 1716680"/>
              <a:gd name="connsiteX6" fmla="*/ 3860270 w 3944319"/>
              <a:gd name="connsiteY6" fmla="*/ 1716680 h 1716680"/>
              <a:gd name="connsiteX7" fmla="*/ 89590 w 3944319"/>
              <a:gd name="connsiteY7" fmla="*/ 1716680 h 1716680"/>
              <a:gd name="connsiteX8" fmla="*/ 5541 w 3944319"/>
              <a:gd name="connsiteY8" fmla="*/ 1632631 h 1716680"/>
              <a:gd name="connsiteX0" fmla="*/ 4066 w 3942844"/>
              <a:gd name="connsiteY0" fmla="*/ 1541301 h 1625350"/>
              <a:gd name="connsiteX1" fmla="*/ 618 w 3942844"/>
              <a:gd name="connsiteY1" fmla="*/ 23412 h 1625350"/>
              <a:gd name="connsiteX2" fmla="*/ 88115 w 3942844"/>
              <a:gd name="connsiteY2" fmla="*/ 16148 h 1625350"/>
              <a:gd name="connsiteX3" fmla="*/ 3858795 w 3942844"/>
              <a:gd name="connsiteY3" fmla="*/ 16148 h 1625350"/>
              <a:gd name="connsiteX4" fmla="*/ 3942844 w 3942844"/>
              <a:gd name="connsiteY4" fmla="*/ 100197 h 1625350"/>
              <a:gd name="connsiteX5" fmla="*/ 3942844 w 3942844"/>
              <a:gd name="connsiteY5" fmla="*/ 1541301 h 1625350"/>
              <a:gd name="connsiteX6" fmla="*/ 3858795 w 3942844"/>
              <a:gd name="connsiteY6" fmla="*/ 1625350 h 1625350"/>
              <a:gd name="connsiteX7" fmla="*/ 88115 w 3942844"/>
              <a:gd name="connsiteY7" fmla="*/ 1625350 h 1625350"/>
              <a:gd name="connsiteX8" fmla="*/ 4066 w 3942844"/>
              <a:gd name="connsiteY8" fmla="*/ 1541301 h 1625350"/>
              <a:gd name="connsiteX0" fmla="*/ 4276 w 3943054"/>
              <a:gd name="connsiteY0" fmla="*/ 1541301 h 1625350"/>
              <a:gd name="connsiteX1" fmla="*/ 828 w 3943054"/>
              <a:gd name="connsiteY1" fmla="*/ 23412 h 1625350"/>
              <a:gd name="connsiteX2" fmla="*/ 88325 w 3943054"/>
              <a:gd name="connsiteY2" fmla="*/ 16148 h 1625350"/>
              <a:gd name="connsiteX3" fmla="*/ 3859005 w 3943054"/>
              <a:gd name="connsiteY3" fmla="*/ 16148 h 1625350"/>
              <a:gd name="connsiteX4" fmla="*/ 3943054 w 3943054"/>
              <a:gd name="connsiteY4" fmla="*/ 100197 h 1625350"/>
              <a:gd name="connsiteX5" fmla="*/ 3943054 w 3943054"/>
              <a:gd name="connsiteY5" fmla="*/ 1541301 h 1625350"/>
              <a:gd name="connsiteX6" fmla="*/ 3859005 w 3943054"/>
              <a:gd name="connsiteY6" fmla="*/ 1625350 h 1625350"/>
              <a:gd name="connsiteX7" fmla="*/ 88325 w 3943054"/>
              <a:gd name="connsiteY7" fmla="*/ 1625350 h 1625350"/>
              <a:gd name="connsiteX8" fmla="*/ 4276 w 3943054"/>
              <a:gd name="connsiteY8" fmla="*/ 1541301 h 1625350"/>
              <a:gd name="connsiteX0" fmla="*/ 3584 w 3942362"/>
              <a:gd name="connsiteY0" fmla="*/ 1541301 h 1625350"/>
              <a:gd name="connsiteX1" fmla="*/ 136 w 3942362"/>
              <a:gd name="connsiteY1" fmla="*/ 23412 h 1625350"/>
              <a:gd name="connsiteX2" fmla="*/ 87633 w 3942362"/>
              <a:gd name="connsiteY2" fmla="*/ 16148 h 1625350"/>
              <a:gd name="connsiteX3" fmla="*/ 3858313 w 3942362"/>
              <a:gd name="connsiteY3" fmla="*/ 16148 h 1625350"/>
              <a:gd name="connsiteX4" fmla="*/ 3942362 w 3942362"/>
              <a:gd name="connsiteY4" fmla="*/ 100197 h 1625350"/>
              <a:gd name="connsiteX5" fmla="*/ 3942362 w 3942362"/>
              <a:gd name="connsiteY5" fmla="*/ 1541301 h 1625350"/>
              <a:gd name="connsiteX6" fmla="*/ 3858313 w 3942362"/>
              <a:gd name="connsiteY6" fmla="*/ 1625350 h 1625350"/>
              <a:gd name="connsiteX7" fmla="*/ 87633 w 3942362"/>
              <a:gd name="connsiteY7" fmla="*/ 1625350 h 1625350"/>
              <a:gd name="connsiteX8" fmla="*/ 3584 w 3942362"/>
              <a:gd name="connsiteY8" fmla="*/ 1541301 h 1625350"/>
              <a:gd name="connsiteX0" fmla="*/ 4276 w 3943054"/>
              <a:gd name="connsiteY0" fmla="*/ 1525692 h 1609741"/>
              <a:gd name="connsiteX1" fmla="*/ 828 w 3943054"/>
              <a:gd name="connsiteY1" fmla="*/ 7803 h 1609741"/>
              <a:gd name="connsiteX2" fmla="*/ 88325 w 3943054"/>
              <a:gd name="connsiteY2" fmla="*/ 539 h 1609741"/>
              <a:gd name="connsiteX3" fmla="*/ 3859005 w 3943054"/>
              <a:gd name="connsiteY3" fmla="*/ 539 h 1609741"/>
              <a:gd name="connsiteX4" fmla="*/ 3943054 w 3943054"/>
              <a:gd name="connsiteY4" fmla="*/ 84588 h 1609741"/>
              <a:gd name="connsiteX5" fmla="*/ 3943054 w 3943054"/>
              <a:gd name="connsiteY5" fmla="*/ 1525692 h 1609741"/>
              <a:gd name="connsiteX6" fmla="*/ 3859005 w 3943054"/>
              <a:gd name="connsiteY6" fmla="*/ 1609741 h 1609741"/>
              <a:gd name="connsiteX7" fmla="*/ 88325 w 3943054"/>
              <a:gd name="connsiteY7" fmla="*/ 1609741 h 1609741"/>
              <a:gd name="connsiteX8" fmla="*/ 4276 w 3943054"/>
              <a:gd name="connsiteY8" fmla="*/ 1525692 h 1609741"/>
              <a:gd name="connsiteX0" fmla="*/ 3584 w 3942362"/>
              <a:gd name="connsiteY0" fmla="*/ 1525692 h 1609741"/>
              <a:gd name="connsiteX1" fmla="*/ 136 w 3942362"/>
              <a:gd name="connsiteY1" fmla="*/ 7803 h 1609741"/>
              <a:gd name="connsiteX2" fmla="*/ 87633 w 3942362"/>
              <a:gd name="connsiteY2" fmla="*/ 539 h 1609741"/>
              <a:gd name="connsiteX3" fmla="*/ 3858313 w 3942362"/>
              <a:gd name="connsiteY3" fmla="*/ 539 h 1609741"/>
              <a:gd name="connsiteX4" fmla="*/ 3942362 w 3942362"/>
              <a:gd name="connsiteY4" fmla="*/ 84588 h 1609741"/>
              <a:gd name="connsiteX5" fmla="*/ 3942362 w 3942362"/>
              <a:gd name="connsiteY5" fmla="*/ 1525692 h 1609741"/>
              <a:gd name="connsiteX6" fmla="*/ 3858313 w 3942362"/>
              <a:gd name="connsiteY6" fmla="*/ 1609741 h 1609741"/>
              <a:gd name="connsiteX7" fmla="*/ 87633 w 3942362"/>
              <a:gd name="connsiteY7" fmla="*/ 1609741 h 1609741"/>
              <a:gd name="connsiteX8" fmla="*/ 3584 w 3942362"/>
              <a:gd name="connsiteY8" fmla="*/ 1525692 h 1609741"/>
              <a:gd name="connsiteX0" fmla="*/ 3644 w 3942422"/>
              <a:gd name="connsiteY0" fmla="*/ 1525692 h 1609741"/>
              <a:gd name="connsiteX1" fmla="*/ 196 w 3942422"/>
              <a:gd name="connsiteY1" fmla="*/ 7803 h 1609741"/>
              <a:gd name="connsiteX2" fmla="*/ 87693 w 3942422"/>
              <a:gd name="connsiteY2" fmla="*/ 539 h 1609741"/>
              <a:gd name="connsiteX3" fmla="*/ 3858373 w 3942422"/>
              <a:gd name="connsiteY3" fmla="*/ 539 h 1609741"/>
              <a:gd name="connsiteX4" fmla="*/ 3942422 w 3942422"/>
              <a:gd name="connsiteY4" fmla="*/ 84588 h 1609741"/>
              <a:gd name="connsiteX5" fmla="*/ 3942422 w 3942422"/>
              <a:gd name="connsiteY5" fmla="*/ 1525692 h 1609741"/>
              <a:gd name="connsiteX6" fmla="*/ 3858373 w 3942422"/>
              <a:gd name="connsiteY6" fmla="*/ 1609741 h 1609741"/>
              <a:gd name="connsiteX7" fmla="*/ 87693 w 3942422"/>
              <a:gd name="connsiteY7" fmla="*/ 1609741 h 1609741"/>
              <a:gd name="connsiteX8" fmla="*/ 3644 w 3942422"/>
              <a:gd name="connsiteY8" fmla="*/ 1525692 h 1609741"/>
              <a:gd name="connsiteX0" fmla="*/ 225140 w 4163918"/>
              <a:gd name="connsiteY0" fmla="*/ 1528731 h 1674428"/>
              <a:gd name="connsiteX1" fmla="*/ 224074 w 4163918"/>
              <a:gd name="connsiteY1" fmla="*/ 3699 h 1674428"/>
              <a:gd name="connsiteX2" fmla="*/ 309189 w 4163918"/>
              <a:gd name="connsiteY2" fmla="*/ 3578 h 1674428"/>
              <a:gd name="connsiteX3" fmla="*/ 4079869 w 4163918"/>
              <a:gd name="connsiteY3" fmla="*/ 3578 h 1674428"/>
              <a:gd name="connsiteX4" fmla="*/ 4163918 w 4163918"/>
              <a:gd name="connsiteY4" fmla="*/ 87627 h 1674428"/>
              <a:gd name="connsiteX5" fmla="*/ 4163918 w 4163918"/>
              <a:gd name="connsiteY5" fmla="*/ 1528731 h 1674428"/>
              <a:gd name="connsiteX6" fmla="*/ 4079869 w 4163918"/>
              <a:gd name="connsiteY6" fmla="*/ 1612780 h 1674428"/>
              <a:gd name="connsiteX7" fmla="*/ 309189 w 4163918"/>
              <a:gd name="connsiteY7" fmla="*/ 1612780 h 1674428"/>
              <a:gd name="connsiteX8" fmla="*/ 225140 w 4163918"/>
              <a:gd name="connsiteY8" fmla="*/ 1528731 h 1674428"/>
              <a:gd name="connsiteX0" fmla="*/ 6880 w 3945658"/>
              <a:gd name="connsiteY0" fmla="*/ 1528731 h 1674428"/>
              <a:gd name="connsiteX1" fmla="*/ 5814 w 3945658"/>
              <a:gd name="connsiteY1" fmla="*/ 3699 h 1674428"/>
              <a:gd name="connsiteX2" fmla="*/ 90929 w 3945658"/>
              <a:gd name="connsiteY2" fmla="*/ 3578 h 1674428"/>
              <a:gd name="connsiteX3" fmla="*/ 3861609 w 3945658"/>
              <a:gd name="connsiteY3" fmla="*/ 3578 h 1674428"/>
              <a:gd name="connsiteX4" fmla="*/ 3945658 w 3945658"/>
              <a:gd name="connsiteY4" fmla="*/ 87627 h 1674428"/>
              <a:gd name="connsiteX5" fmla="*/ 3945658 w 3945658"/>
              <a:gd name="connsiteY5" fmla="*/ 1528731 h 1674428"/>
              <a:gd name="connsiteX6" fmla="*/ 3861609 w 3945658"/>
              <a:gd name="connsiteY6" fmla="*/ 1612780 h 1674428"/>
              <a:gd name="connsiteX7" fmla="*/ 90929 w 3945658"/>
              <a:gd name="connsiteY7" fmla="*/ 1612780 h 1674428"/>
              <a:gd name="connsiteX8" fmla="*/ 6880 w 3945658"/>
              <a:gd name="connsiteY8" fmla="*/ 1528731 h 1674428"/>
              <a:gd name="connsiteX0" fmla="*/ 225140 w 4163918"/>
              <a:gd name="connsiteY0" fmla="*/ 1526452 h 1671925"/>
              <a:gd name="connsiteX1" fmla="*/ 224074 w 4163918"/>
              <a:gd name="connsiteY1" fmla="*/ 4595 h 1671925"/>
              <a:gd name="connsiteX2" fmla="*/ 309189 w 4163918"/>
              <a:gd name="connsiteY2" fmla="*/ 1299 h 1671925"/>
              <a:gd name="connsiteX3" fmla="*/ 4079869 w 4163918"/>
              <a:gd name="connsiteY3" fmla="*/ 1299 h 1671925"/>
              <a:gd name="connsiteX4" fmla="*/ 4163918 w 4163918"/>
              <a:gd name="connsiteY4" fmla="*/ 85348 h 1671925"/>
              <a:gd name="connsiteX5" fmla="*/ 4163918 w 4163918"/>
              <a:gd name="connsiteY5" fmla="*/ 1526452 h 1671925"/>
              <a:gd name="connsiteX6" fmla="*/ 4079869 w 4163918"/>
              <a:gd name="connsiteY6" fmla="*/ 1610501 h 1671925"/>
              <a:gd name="connsiteX7" fmla="*/ 309189 w 4163918"/>
              <a:gd name="connsiteY7" fmla="*/ 1610501 h 1671925"/>
              <a:gd name="connsiteX8" fmla="*/ 225140 w 4163918"/>
              <a:gd name="connsiteY8" fmla="*/ 1526452 h 1671925"/>
              <a:gd name="connsiteX0" fmla="*/ 6880 w 3945658"/>
              <a:gd name="connsiteY0" fmla="*/ 1527596 h 1673069"/>
              <a:gd name="connsiteX1" fmla="*/ 5814 w 3945658"/>
              <a:gd name="connsiteY1" fmla="*/ 5739 h 1673069"/>
              <a:gd name="connsiteX2" fmla="*/ 90929 w 3945658"/>
              <a:gd name="connsiteY2" fmla="*/ 2443 h 1673069"/>
              <a:gd name="connsiteX3" fmla="*/ 3861609 w 3945658"/>
              <a:gd name="connsiteY3" fmla="*/ 2443 h 1673069"/>
              <a:gd name="connsiteX4" fmla="*/ 3945658 w 3945658"/>
              <a:gd name="connsiteY4" fmla="*/ 86492 h 1673069"/>
              <a:gd name="connsiteX5" fmla="*/ 3945658 w 3945658"/>
              <a:gd name="connsiteY5" fmla="*/ 1527596 h 1673069"/>
              <a:gd name="connsiteX6" fmla="*/ 3861609 w 3945658"/>
              <a:gd name="connsiteY6" fmla="*/ 1611645 h 1673069"/>
              <a:gd name="connsiteX7" fmla="*/ 90929 w 3945658"/>
              <a:gd name="connsiteY7" fmla="*/ 1611645 h 1673069"/>
              <a:gd name="connsiteX8" fmla="*/ 6880 w 3945658"/>
              <a:gd name="connsiteY8" fmla="*/ 1527596 h 1673069"/>
              <a:gd name="connsiteX0" fmla="*/ 4095 w 3942873"/>
              <a:gd name="connsiteY0" fmla="*/ 1527596 h 1611653"/>
              <a:gd name="connsiteX1" fmla="*/ 3029 w 3942873"/>
              <a:gd name="connsiteY1" fmla="*/ 5739 h 1611653"/>
              <a:gd name="connsiteX2" fmla="*/ 88144 w 3942873"/>
              <a:gd name="connsiteY2" fmla="*/ 2443 h 1611653"/>
              <a:gd name="connsiteX3" fmla="*/ 3858824 w 3942873"/>
              <a:gd name="connsiteY3" fmla="*/ 2443 h 1611653"/>
              <a:gd name="connsiteX4" fmla="*/ 3942873 w 3942873"/>
              <a:gd name="connsiteY4" fmla="*/ 86492 h 1611653"/>
              <a:gd name="connsiteX5" fmla="*/ 3942873 w 3942873"/>
              <a:gd name="connsiteY5" fmla="*/ 1527596 h 1611653"/>
              <a:gd name="connsiteX6" fmla="*/ 3858824 w 3942873"/>
              <a:gd name="connsiteY6" fmla="*/ 1611645 h 1611653"/>
              <a:gd name="connsiteX7" fmla="*/ 88144 w 3942873"/>
              <a:gd name="connsiteY7" fmla="*/ 1611645 h 1611653"/>
              <a:gd name="connsiteX8" fmla="*/ 4095 w 3942873"/>
              <a:gd name="connsiteY8" fmla="*/ 1527596 h 1611653"/>
              <a:gd name="connsiteX0" fmla="*/ 9512 w 3948290"/>
              <a:gd name="connsiteY0" fmla="*/ 1527596 h 1673069"/>
              <a:gd name="connsiteX1" fmla="*/ 8446 w 3948290"/>
              <a:gd name="connsiteY1" fmla="*/ 5739 h 1673069"/>
              <a:gd name="connsiteX2" fmla="*/ 93561 w 3948290"/>
              <a:gd name="connsiteY2" fmla="*/ 2443 h 1673069"/>
              <a:gd name="connsiteX3" fmla="*/ 3864241 w 3948290"/>
              <a:gd name="connsiteY3" fmla="*/ 2443 h 1673069"/>
              <a:gd name="connsiteX4" fmla="*/ 3948290 w 3948290"/>
              <a:gd name="connsiteY4" fmla="*/ 86492 h 1673069"/>
              <a:gd name="connsiteX5" fmla="*/ 3948290 w 3948290"/>
              <a:gd name="connsiteY5" fmla="*/ 1527596 h 1673069"/>
              <a:gd name="connsiteX6" fmla="*/ 3864241 w 3948290"/>
              <a:gd name="connsiteY6" fmla="*/ 1611645 h 1673069"/>
              <a:gd name="connsiteX7" fmla="*/ 129280 w 3948290"/>
              <a:gd name="connsiteY7" fmla="*/ 1611645 h 1673069"/>
              <a:gd name="connsiteX8" fmla="*/ 9512 w 3948290"/>
              <a:gd name="connsiteY8" fmla="*/ 1527596 h 1673069"/>
              <a:gd name="connsiteX0" fmla="*/ 3242 w 3942020"/>
              <a:gd name="connsiteY0" fmla="*/ 1527596 h 1614938"/>
              <a:gd name="connsiteX1" fmla="*/ 2176 w 3942020"/>
              <a:gd name="connsiteY1" fmla="*/ 5739 h 1614938"/>
              <a:gd name="connsiteX2" fmla="*/ 87291 w 3942020"/>
              <a:gd name="connsiteY2" fmla="*/ 2443 h 1614938"/>
              <a:gd name="connsiteX3" fmla="*/ 3857971 w 3942020"/>
              <a:gd name="connsiteY3" fmla="*/ 2443 h 1614938"/>
              <a:gd name="connsiteX4" fmla="*/ 3942020 w 3942020"/>
              <a:gd name="connsiteY4" fmla="*/ 86492 h 1614938"/>
              <a:gd name="connsiteX5" fmla="*/ 3942020 w 3942020"/>
              <a:gd name="connsiteY5" fmla="*/ 1527596 h 1614938"/>
              <a:gd name="connsiteX6" fmla="*/ 3857971 w 3942020"/>
              <a:gd name="connsiteY6" fmla="*/ 1611645 h 1614938"/>
              <a:gd name="connsiteX7" fmla="*/ 123010 w 3942020"/>
              <a:gd name="connsiteY7" fmla="*/ 1611645 h 1614938"/>
              <a:gd name="connsiteX8" fmla="*/ 3242 w 3942020"/>
              <a:gd name="connsiteY8" fmla="*/ 1527596 h 1614938"/>
              <a:gd name="connsiteX0" fmla="*/ 1552 w 3940330"/>
              <a:gd name="connsiteY0" fmla="*/ 1527596 h 1612398"/>
              <a:gd name="connsiteX1" fmla="*/ 486 w 3940330"/>
              <a:gd name="connsiteY1" fmla="*/ 5739 h 1612398"/>
              <a:gd name="connsiteX2" fmla="*/ 85601 w 3940330"/>
              <a:gd name="connsiteY2" fmla="*/ 2443 h 1612398"/>
              <a:gd name="connsiteX3" fmla="*/ 3856281 w 3940330"/>
              <a:gd name="connsiteY3" fmla="*/ 2443 h 1612398"/>
              <a:gd name="connsiteX4" fmla="*/ 3940330 w 3940330"/>
              <a:gd name="connsiteY4" fmla="*/ 86492 h 1612398"/>
              <a:gd name="connsiteX5" fmla="*/ 3940330 w 3940330"/>
              <a:gd name="connsiteY5" fmla="*/ 1527596 h 1612398"/>
              <a:gd name="connsiteX6" fmla="*/ 3856281 w 3940330"/>
              <a:gd name="connsiteY6" fmla="*/ 1611645 h 1612398"/>
              <a:gd name="connsiteX7" fmla="*/ 121320 w 3940330"/>
              <a:gd name="connsiteY7" fmla="*/ 1611645 h 1612398"/>
              <a:gd name="connsiteX8" fmla="*/ 1552 w 3940330"/>
              <a:gd name="connsiteY8" fmla="*/ 1527596 h 1612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40330" h="1612398">
                <a:moveTo>
                  <a:pt x="1552" y="1527596"/>
                </a:moveTo>
                <a:cubicBezTo>
                  <a:pt x="463" y="1429014"/>
                  <a:pt x="-671" y="14002"/>
                  <a:pt x="486" y="5739"/>
                </a:cubicBezTo>
                <a:cubicBezTo>
                  <a:pt x="1643" y="-2524"/>
                  <a:pt x="8119" y="-183"/>
                  <a:pt x="85601" y="2443"/>
                </a:cubicBezTo>
                <a:cubicBezTo>
                  <a:pt x="163083" y="5069"/>
                  <a:pt x="2599388" y="2443"/>
                  <a:pt x="3856281" y="2443"/>
                </a:cubicBezTo>
                <a:cubicBezTo>
                  <a:pt x="3902700" y="2443"/>
                  <a:pt x="3940330" y="40073"/>
                  <a:pt x="3940330" y="86492"/>
                </a:cubicBezTo>
                <a:lnTo>
                  <a:pt x="3940330" y="1527596"/>
                </a:lnTo>
                <a:cubicBezTo>
                  <a:pt x="3940330" y="1574015"/>
                  <a:pt x="3902700" y="1611645"/>
                  <a:pt x="3856281" y="1611645"/>
                </a:cubicBezTo>
                <a:lnTo>
                  <a:pt x="121320" y="1611645"/>
                </a:lnTo>
                <a:cubicBezTo>
                  <a:pt x="74901" y="1611645"/>
                  <a:pt x="2641" y="1626178"/>
                  <a:pt x="1552" y="1527596"/>
                </a:cubicBezTo>
                <a:close/>
              </a:path>
            </a:pathLst>
          </a:custGeom>
          <a:solidFill>
            <a:schemeClr val="bg2">
              <a:alpha val="85000"/>
            </a:schemeClr>
          </a:solidFill>
        </p:spPr>
        <p:txBody>
          <a:bodyPr vert="horz" lIns="360000" tIns="288000" rIns="360000" bIns="360000" rtlCol="0">
            <a:noAutofit/>
          </a:bodyPr>
          <a:lstStyle>
            <a:lvl1pPr>
              <a:lnSpc>
                <a:spcPct val="70000"/>
              </a:lnSpc>
              <a:defRPr lang="nl-NL" dirty="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70000"/>
              </a:lnSpc>
              <a:defRPr lang="nl-NL" dirty="0">
                <a:solidFill>
                  <a:schemeClr val="bg1"/>
                </a:solidFill>
                <a:latin typeface="+mj-lt"/>
              </a:defRPr>
            </a:lvl2pPr>
            <a:lvl3pPr>
              <a:lnSpc>
                <a:spcPct val="70000"/>
              </a:lnSpc>
              <a:defRPr lang="nl-NL" dirty="0">
                <a:solidFill>
                  <a:schemeClr val="bg1"/>
                </a:solidFill>
                <a:latin typeface="+mj-lt"/>
              </a:defRPr>
            </a:lvl3pPr>
            <a:lvl4pPr>
              <a:lnSpc>
                <a:spcPct val="70000"/>
              </a:lnSpc>
              <a:defRPr lang="nl-NL" sz="8419" dirty="0">
                <a:solidFill>
                  <a:schemeClr val="bg1"/>
                </a:solidFill>
                <a:latin typeface="+mj-lt"/>
              </a:defRPr>
            </a:lvl4pPr>
            <a:lvl5pPr>
              <a:lnSpc>
                <a:spcPct val="70000"/>
              </a:lnSpc>
              <a:defRPr lang="nl-NL" b="0" dirty="0">
                <a:solidFill>
                  <a:schemeClr val="bg1"/>
                </a:solidFill>
              </a:defRPr>
            </a:lvl5pPr>
            <a:lvl6pPr>
              <a:lnSpc>
                <a:spcPct val="70000"/>
              </a:lnSpc>
              <a:defRPr lang="nl-NL" dirty="0"/>
            </a:lvl6pPr>
          </a:lstStyle>
          <a:p>
            <a:pPr lvl="0">
              <a:lnSpc>
                <a:spcPct val="100000"/>
              </a:lnSpc>
            </a:pPr>
            <a:r>
              <a:rPr lang="nl-NL"/>
              <a:t>Tekststijl van het model bewerken</a:t>
            </a:r>
          </a:p>
          <a:p>
            <a:pPr lvl="1">
              <a:lnSpc>
                <a:spcPct val="100000"/>
              </a:lnSpc>
            </a:pPr>
            <a:r>
              <a:rPr lang="nl-NL"/>
              <a:t>Tweede niveau</a:t>
            </a:r>
          </a:p>
          <a:p>
            <a:pPr lvl="2">
              <a:lnSpc>
                <a:spcPct val="100000"/>
              </a:lnSpc>
            </a:pPr>
            <a:r>
              <a:rPr lang="nl-NL"/>
              <a:t>Derde niveau</a:t>
            </a:r>
          </a:p>
          <a:p>
            <a:pPr lvl="3">
              <a:lnSpc>
                <a:spcPct val="100000"/>
              </a:lnSpc>
            </a:pPr>
            <a:r>
              <a:rPr lang="nl-NL"/>
              <a:t>Vierde niveau</a:t>
            </a:r>
          </a:p>
          <a:p>
            <a:pPr lvl="4">
              <a:lnSpc>
                <a:spcPct val="100000"/>
              </a:lnSpc>
            </a:pPr>
            <a:r>
              <a:rPr lang="nl-NL"/>
              <a:t>Vijfde niveau</a:t>
            </a:r>
          </a:p>
          <a:p>
            <a:pPr lvl="5"/>
            <a:r>
              <a:rPr lang="nl-NL"/>
              <a:t>Zesde niveau</a:t>
            </a:r>
          </a:p>
        </p:txBody>
      </p:sp>
    </p:spTree>
    <p:extLst>
      <p:ext uri="{BB962C8B-B14F-4D97-AF65-F5344CB8AC3E}">
        <p14:creationId xmlns:p14="http://schemas.microsoft.com/office/powerpoint/2010/main" val="4027445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4250" fill="hold"/>
                                        <p:tgtEl>
                                          <p:spTgt spid="10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6" grpId="0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ande afbeelding met tekst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7429" y="9353"/>
          <a:ext cx="7423" cy="93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429" y="9353"/>
                        <a:ext cx="7423" cy="93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/>
              <a:t>Datum</a:t>
            </a:r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Titel van de presentatie</a:t>
            </a: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36286-4DC8-46DE-9269-8F728FBC0641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6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0609101" y="5721300"/>
            <a:ext cx="17258438" cy="20660250"/>
          </a:xfr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spcAft>
                <a:spcPts val="4676"/>
              </a:spcAft>
              <a:defRPr/>
            </a:lvl1pPr>
            <a:lvl2pPr>
              <a:lnSpc>
                <a:spcPct val="110000"/>
              </a:lnSpc>
              <a:spcAft>
                <a:spcPts val="4676"/>
              </a:spcAft>
              <a:defRPr/>
            </a:lvl2pPr>
            <a:lvl3pPr>
              <a:lnSpc>
                <a:spcPct val="110000"/>
              </a:lnSpc>
              <a:spcAft>
                <a:spcPts val="4676"/>
              </a:spcAft>
              <a:defRPr/>
            </a:lvl3pPr>
            <a:lvl4pPr>
              <a:lnSpc>
                <a:spcPct val="110000"/>
              </a:lnSpc>
              <a:spcAft>
                <a:spcPts val="4676"/>
              </a:spcAft>
              <a:defRPr/>
            </a:lvl4pPr>
            <a:lvl5pPr>
              <a:lnSpc>
                <a:spcPct val="110000"/>
              </a:lnSpc>
              <a:spcAft>
                <a:spcPts val="4676"/>
              </a:spcAft>
              <a:defRPr/>
            </a:lvl5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9" name="Tijdelijke aanduiding voor afbeelding 2"/>
          <p:cNvSpPr>
            <a:spLocks noGrp="1"/>
          </p:cNvSpPr>
          <p:nvPr>
            <p:ph type="pic" idx="13"/>
          </p:nvPr>
        </p:nvSpPr>
        <p:spPr>
          <a:xfrm>
            <a:off x="2508787" y="5721300"/>
            <a:ext cx="17258438" cy="20342400"/>
          </a:xfrm>
        </p:spPr>
        <p:txBody>
          <a:bodyPr/>
          <a:lstStyle>
            <a:lvl1pPr marL="0" indent="0">
              <a:buNone/>
              <a:defRPr sz="8885"/>
            </a:lvl1pPr>
            <a:lvl2pPr marL="2138273" indent="0">
              <a:buNone/>
              <a:defRPr sz="13096"/>
            </a:lvl2pPr>
            <a:lvl3pPr marL="4276548" indent="0">
              <a:buNone/>
              <a:defRPr sz="11225"/>
            </a:lvl3pPr>
            <a:lvl4pPr marL="6414815" indent="0">
              <a:buNone/>
              <a:defRPr sz="9355"/>
            </a:lvl4pPr>
            <a:lvl5pPr marL="8553090" indent="0">
              <a:buNone/>
              <a:defRPr sz="9355"/>
            </a:lvl5pPr>
            <a:lvl6pPr marL="10691363" indent="0">
              <a:buNone/>
              <a:defRPr sz="9355"/>
            </a:lvl6pPr>
            <a:lvl7pPr marL="12829637" indent="0">
              <a:buNone/>
              <a:defRPr sz="9355"/>
            </a:lvl7pPr>
            <a:lvl8pPr marL="14967907" indent="0">
              <a:buNone/>
              <a:defRPr sz="9355"/>
            </a:lvl8pPr>
            <a:lvl9pPr marL="17106180" indent="0">
              <a:buNone/>
              <a:defRPr sz="9355"/>
            </a:lvl9pPr>
          </a:lstStyle>
          <a:p>
            <a:r>
              <a:rPr lang="nl-NL"/>
              <a:t>Klik op het pictogram als u een afbeelding wilt toevoegen</a:t>
            </a:r>
          </a:p>
        </p:txBody>
      </p:sp>
    </p:spTree>
    <p:extLst>
      <p:ext uri="{BB962C8B-B14F-4D97-AF65-F5344CB8AC3E}">
        <p14:creationId xmlns:p14="http://schemas.microsoft.com/office/powerpoint/2010/main" val="2076274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rnpunten + Tekstvlak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jdelijke aanduiding voor afbeelding 35">
            <a:extLst>
              <a:ext uri="{FF2B5EF4-FFF2-40B4-BE49-F238E27FC236}">
                <a16:creationId xmlns:a16="http://schemas.microsoft.com/office/drawing/2014/main" id="{DDF59742-AC42-4AAA-9941-6163D1AD1558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1742388" y="8813282"/>
            <a:ext cx="12350593" cy="12648665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881" h="2865200">
                <a:moveTo>
                  <a:pt x="1036" y="89"/>
                </a:moveTo>
                <a:lnTo>
                  <a:pt x="3319663" y="6217"/>
                </a:lnTo>
                <a:cubicBezTo>
                  <a:pt x="3430792" y="6217"/>
                  <a:pt x="3520881" y="73784"/>
                  <a:pt x="3520881" y="157131"/>
                </a:cubicBezTo>
                <a:lnTo>
                  <a:pt x="3520881" y="2714286"/>
                </a:lnTo>
                <a:cubicBezTo>
                  <a:pt x="3520881" y="2797633"/>
                  <a:pt x="3430792" y="2865200"/>
                  <a:pt x="3319663" y="2865200"/>
                </a:cubicBezTo>
                <a:lnTo>
                  <a:pt x="201219" y="2865200"/>
                </a:lnTo>
                <a:cubicBezTo>
                  <a:pt x="90089" y="2865200"/>
                  <a:pt x="0" y="2797633"/>
                  <a:pt x="0" y="2714286"/>
                </a:cubicBezTo>
                <a:lnTo>
                  <a:pt x="0" y="157131"/>
                </a:lnTo>
                <a:cubicBezTo>
                  <a:pt x="0" y="73784"/>
                  <a:pt x="211" y="-2975"/>
                  <a:pt x="1036" y="8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188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677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7" name="Tijdelijke aanduiding voor afbeelding 36">
            <a:extLst>
              <a:ext uri="{FF2B5EF4-FFF2-40B4-BE49-F238E27FC236}">
                <a16:creationId xmlns:a16="http://schemas.microsoft.com/office/drawing/2014/main" id="{74727CE5-EDB8-480E-B745-73C1373713EB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15265726" y="8813282"/>
            <a:ext cx="12350593" cy="12648665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881" h="2865200">
                <a:moveTo>
                  <a:pt x="1036" y="89"/>
                </a:moveTo>
                <a:lnTo>
                  <a:pt x="3319663" y="6217"/>
                </a:lnTo>
                <a:cubicBezTo>
                  <a:pt x="3430792" y="6217"/>
                  <a:pt x="3520881" y="73784"/>
                  <a:pt x="3520881" y="157131"/>
                </a:cubicBezTo>
                <a:lnTo>
                  <a:pt x="3520881" y="2714286"/>
                </a:lnTo>
                <a:cubicBezTo>
                  <a:pt x="3520881" y="2797633"/>
                  <a:pt x="3430792" y="2865200"/>
                  <a:pt x="3319663" y="2865200"/>
                </a:cubicBezTo>
                <a:lnTo>
                  <a:pt x="201219" y="2865200"/>
                </a:lnTo>
                <a:cubicBezTo>
                  <a:pt x="90089" y="2865200"/>
                  <a:pt x="0" y="2797633"/>
                  <a:pt x="0" y="2714286"/>
                </a:cubicBezTo>
                <a:lnTo>
                  <a:pt x="0" y="157131"/>
                </a:lnTo>
                <a:cubicBezTo>
                  <a:pt x="0" y="73784"/>
                  <a:pt x="211" y="-2975"/>
                  <a:pt x="1036" y="8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188000" anchor="ctr">
            <a:noAutofit/>
          </a:bodyPr>
          <a:lstStyle>
            <a:lvl1pPr marL="0" indent="0" algn="ctr">
              <a:buNone/>
              <a:defRPr lang="nl-NL" sz="1677" b="0" i="1" kern="1200" noProof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8" name="Tijdelijke aanduiding voor afbeelding 37">
            <a:extLst>
              <a:ext uri="{FF2B5EF4-FFF2-40B4-BE49-F238E27FC236}">
                <a16:creationId xmlns:a16="http://schemas.microsoft.com/office/drawing/2014/main" id="{B4DAE761-2905-4370-925B-2CBA8CDD4757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28808933" y="8813282"/>
            <a:ext cx="12350593" cy="12648665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881" h="2865200">
                <a:moveTo>
                  <a:pt x="1036" y="89"/>
                </a:moveTo>
                <a:lnTo>
                  <a:pt x="3319663" y="6217"/>
                </a:lnTo>
                <a:cubicBezTo>
                  <a:pt x="3430792" y="6217"/>
                  <a:pt x="3520881" y="73784"/>
                  <a:pt x="3520881" y="157131"/>
                </a:cubicBezTo>
                <a:lnTo>
                  <a:pt x="3520881" y="2714286"/>
                </a:lnTo>
                <a:cubicBezTo>
                  <a:pt x="3520881" y="2797633"/>
                  <a:pt x="3430792" y="2865200"/>
                  <a:pt x="3319663" y="2865200"/>
                </a:cubicBezTo>
                <a:lnTo>
                  <a:pt x="201219" y="2865200"/>
                </a:lnTo>
                <a:cubicBezTo>
                  <a:pt x="90089" y="2865200"/>
                  <a:pt x="0" y="2797633"/>
                  <a:pt x="0" y="2714286"/>
                </a:cubicBezTo>
                <a:lnTo>
                  <a:pt x="0" y="157131"/>
                </a:lnTo>
                <a:cubicBezTo>
                  <a:pt x="0" y="73784"/>
                  <a:pt x="211" y="-2975"/>
                  <a:pt x="1036" y="8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188000" anchor="ctr">
            <a:noAutofit/>
          </a:bodyPr>
          <a:lstStyle>
            <a:lvl1pPr marL="0" indent="0" algn="ctr">
              <a:buNone/>
              <a:defRPr sz="1677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5" name="Tijdelijke aanduiding voor tekst 5">
            <a:extLst>
              <a:ext uri="{FF2B5EF4-FFF2-40B4-BE49-F238E27FC236}">
                <a16:creationId xmlns:a16="http://schemas.microsoft.com/office/drawing/2014/main" id="{7581CA50-F401-4352-B20E-C61DC891A3E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740474" y="22013646"/>
            <a:ext cx="12352500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235" b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6" name="Tijdelijke aanduiding voor tekst 5">
            <a:extLst>
              <a:ext uri="{FF2B5EF4-FFF2-40B4-BE49-F238E27FC236}">
                <a16:creationId xmlns:a16="http://schemas.microsoft.com/office/drawing/2014/main" id="{EE7615E9-55F0-4367-ADAF-BF9E9F9AFF0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265722" y="22013646"/>
            <a:ext cx="12352500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235" b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32" name="Tijdelijke aanduiding voor tekst 5">
            <a:extLst>
              <a:ext uri="{FF2B5EF4-FFF2-40B4-BE49-F238E27FC236}">
                <a16:creationId xmlns:a16="http://schemas.microsoft.com/office/drawing/2014/main" id="{1F90D83A-4F8A-4644-B6AA-08EAF0B98A5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8807968" y="22013646"/>
            <a:ext cx="12352500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235" b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42378" y="1766065"/>
            <a:ext cx="32281087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6644E39-2AF2-4EA0-9C3F-28C89D5A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7" y="27329717"/>
            <a:ext cx="758216" cy="101640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55B2A88A-B7BD-41B1-9FCB-9BE633251ACA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7" name="Tijdelijke aanduiding voor tekst 14">
            <a:extLst>
              <a:ext uri="{FF2B5EF4-FFF2-40B4-BE49-F238E27FC236}">
                <a16:creationId xmlns:a16="http://schemas.microsoft.com/office/drawing/2014/main" id="{A6BF4B27-7FC5-4896-80CE-3BA6119B83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78" y="3469430"/>
            <a:ext cx="32281087" cy="1195424"/>
          </a:xfrm>
        </p:spPr>
        <p:txBody>
          <a:bodyPr>
            <a:noAutofit/>
          </a:bodyPr>
          <a:lstStyle>
            <a:lvl1pPr marL="0" marR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794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sp>
        <p:nvSpPr>
          <p:cNvPr id="33" name="Tijdelijke aanduiding voor voettekst 4">
            <a:extLst>
              <a:ext uri="{FF2B5EF4-FFF2-40B4-BE49-F238E27FC236}">
                <a16:creationId xmlns:a16="http://schemas.microsoft.com/office/drawing/2014/main" id="{3C7CF4CB-CF25-44A3-95AE-206B86BFD6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7" y="27345278"/>
            <a:ext cx="18027561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29" name="Tijdelijke aanduiding voor datum 3">
            <a:extLst>
              <a:ext uri="{FF2B5EF4-FFF2-40B4-BE49-F238E27FC236}">
                <a16:creationId xmlns:a16="http://schemas.microsoft.com/office/drawing/2014/main" id="{53600F14-A3DB-4812-872D-DFA76F4B6A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503"/>
            <a:ext cx="9622631" cy="1000848"/>
          </a:xfrm>
        </p:spPr>
        <p:txBody>
          <a:bodyPr/>
          <a:lstStyle/>
          <a:p>
            <a:fld id="{2937E998-9E7B-429D-9513-ADEE2CA512AF}" type="datetime1">
              <a:rPr lang="nl-NL" noProof="0" smtClean="0"/>
              <a:t>26-6-2023</a:t>
            </a:fld>
            <a:endParaRPr lang="nl-NL" noProof="0"/>
          </a:p>
        </p:txBody>
      </p:sp>
      <p:pic>
        <p:nvPicPr>
          <p:cNvPr id="67" name="Afbeelding 66">
            <a:extLst>
              <a:ext uri="{FF2B5EF4-FFF2-40B4-BE49-F238E27FC236}">
                <a16:creationId xmlns:a16="http://schemas.microsoft.com/office/drawing/2014/main" id="{ABF56545-77FC-49FE-B0DB-389C796A74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5" y="831727"/>
            <a:ext cx="9249575" cy="4281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344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rnpunten + Tekstvlakke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jdelijke aanduiding voor afbeelding 35">
            <a:extLst>
              <a:ext uri="{FF2B5EF4-FFF2-40B4-BE49-F238E27FC236}">
                <a16:creationId xmlns:a16="http://schemas.microsoft.com/office/drawing/2014/main" id="{DDF59742-AC42-4AAA-9941-6163D1AD1558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1742390" y="10288812"/>
            <a:ext cx="8792735" cy="9004941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881" h="2865200">
                <a:moveTo>
                  <a:pt x="1036" y="89"/>
                </a:moveTo>
                <a:lnTo>
                  <a:pt x="3319663" y="6217"/>
                </a:lnTo>
                <a:cubicBezTo>
                  <a:pt x="3430792" y="6217"/>
                  <a:pt x="3520881" y="73784"/>
                  <a:pt x="3520881" y="157131"/>
                </a:cubicBezTo>
                <a:lnTo>
                  <a:pt x="3520881" y="2714286"/>
                </a:lnTo>
                <a:cubicBezTo>
                  <a:pt x="3520881" y="2797633"/>
                  <a:pt x="3430792" y="2865200"/>
                  <a:pt x="3319663" y="2865200"/>
                </a:cubicBezTo>
                <a:lnTo>
                  <a:pt x="201219" y="2865200"/>
                </a:lnTo>
                <a:cubicBezTo>
                  <a:pt x="90089" y="2865200"/>
                  <a:pt x="0" y="2797633"/>
                  <a:pt x="0" y="2714286"/>
                </a:cubicBezTo>
                <a:lnTo>
                  <a:pt x="0" y="157131"/>
                </a:lnTo>
                <a:cubicBezTo>
                  <a:pt x="0" y="73784"/>
                  <a:pt x="211" y="-2975"/>
                  <a:pt x="1036" y="8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188000" anchor="ctr">
            <a:noAutofit/>
          </a:bodyPr>
          <a:lstStyle>
            <a:lvl1pPr marL="0" indent="0" algn="ctr">
              <a:buNone/>
              <a:defRPr sz="1677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7" name="Tijdelijke aanduiding voor afbeelding 36">
            <a:extLst>
              <a:ext uri="{FF2B5EF4-FFF2-40B4-BE49-F238E27FC236}">
                <a16:creationId xmlns:a16="http://schemas.microsoft.com/office/drawing/2014/main" id="{74727CE5-EDB8-480E-B745-73C1373713EB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11892111" y="10288812"/>
            <a:ext cx="8792735" cy="9004941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881" h="2865200">
                <a:moveTo>
                  <a:pt x="1036" y="89"/>
                </a:moveTo>
                <a:lnTo>
                  <a:pt x="3319663" y="6217"/>
                </a:lnTo>
                <a:cubicBezTo>
                  <a:pt x="3430792" y="6217"/>
                  <a:pt x="3520881" y="73784"/>
                  <a:pt x="3520881" y="157131"/>
                </a:cubicBezTo>
                <a:lnTo>
                  <a:pt x="3520881" y="2714286"/>
                </a:lnTo>
                <a:cubicBezTo>
                  <a:pt x="3520881" y="2797633"/>
                  <a:pt x="3430792" y="2865200"/>
                  <a:pt x="3319663" y="2865200"/>
                </a:cubicBezTo>
                <a:lnTo>
                  <a:pt x="201219" y="2865200"/>
                </a:lnTo>
                <a:cubicBezTo>
                  <a:pt x="90089" y="2865200"/>
                  <a:pt x="0" y="2797633"/>
                  <a:pt x="0" y="2714286"/>
                </a:cubicBezTo>
                <a:lnTo>
                  <a:pt x="0" y="157131"/>
                </a:lnTo>
                <a:cubicBezTo>
                  <a:pt x="0" y="73784"/>
                  <a:pt x="211" y="-2975"/>
                  <a:pt x="1036" y="8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188000" anchor="ctr">
            <a:noAutofit/>
          </a:bodyPr>
          <a:lstStyle>
            <a:lvl1pPr marL="0" indent="0" algn="ctr">
              <a:buNone/>
              <a:defRPr sz="1677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8" name="Tijdelijke aanduiding voor afbeelding 37">
            <a:extLst>
              <a:ext uri="{FF2B5EF4-FFF2-40B4-BE49-F238E27FC236}">
                <a16:creationId xmlns:a16="http://schemas.microsoft.com/office/drawing/2014/main" id="{B4DAE761-2905-4370-925B-2CBA8CDD4757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22041822" y="10288812"/>
            <a:ext cx="8792735" cy="9004941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881" h="2865200">
                <a:moveTo>
                  <a:pt x="1036" y="89"/>
                </a:moveTo>
                <a:lnTo>
                  <a:pt x="3319663" y="6217"/>
                </a:lnTo>
                <a:cubicBezTo>
                  <a:pt x="3430792" y="6217"/>
                  <a:pt x="3520881" y="73784"/>
                  <a:pt x="3520881" y="157131"/>
                </a:cubicBezTo>
                <a:lnTo>
                  <a:pt x="3520881" y="2714286"/>
                </a:lnTo>
                <a:cubicBezTo>
                  <a:pt x="3520881" y="2797633"/>
                  <a:pt x="3430792" y="2865200"/>
                  <a:pt x="3319663" y="2865200"/>
                </a:cubicBezTo>
                <a:lnTo>
                  <a:pt x="201219" y="2865200"/>
                </a:lnTo>
                <a:cubicBezTo>
                  <a:pt x="90089" y="2865200"/>
                  <a:pt x="0" y="2797633"/>
                  <a:pt x="0" y="2714286"/>
                </a:cubicBezTo>
                <a:lnTo>
                  <a:pt x="0" y="157131"/>
                </a:lnTo>
                <a:cubicBezTo>
                  <a:pt x="0" y="73784"/>
                  <a:pt x="211" y="-2975"/>
                  <a:pt x="1036" y="8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188000" anchor="ctr">
            <a:noAutofit/>
          </a:bodyPr>
          <a:lstStyle>
            <a:lvl1pPr marL="0" indent="0" algn="ctr">
              <a:buNone/>
              <a:defRPr sz="1677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5" name="Tijdelijke aanduiding voor tekst 5">
            <a:extLst>
              <a:ext uri="{FF2B5EF4-FFF2-40B4-BE49-F238E27FC236}">
                <a16:creationId xmlns:a16="http://schemas.microsoft.com/office/drawing/2014/main" id="{7581CA50-F401-4352-B20E-C61DC891A3E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740480" y="19884613"/>
            <a:ext cx="8792735" cy="1515884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235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6" name="Tijdelijke aanduiding voor tekst 5">
            <a:extLst>
              <a:ext uri="{FF2B5EF4-FFF2-40B4-BE49-F238E27FC236}">
                <a16:creationId xmlns:a16="http://schemas.microsoft.com/office/drawing/2014/main" id="{EE7615E9-55F0-4367-ADAF-BF9E9F9AFF0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1892111" y="19884613"/>
            <a:ext cx="8792735" cy="1515884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235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32" name="Tijdelijke aanduiding voor tekst 5">
            <a:extLst>
              <a:ext uri="{FF2B5EF4-FFF2-40B4-BE49-F238E27FC236}">
                <a16:creationId xmlns:a16="http://schemas.microsoft.com/office/drawing/2014/main" id="{1F90D83A-4F8A-4644-B6AA-08EAF0B98A5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2041822" y="19884613"/>
            <a:ext cx="8792735" cy="1515884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235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42378" y="1766065"/>
            <a:ext cx="32281087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grpSp>
        <p:nvGrpSpPr>
          <p:cNvPr id="19" name="GRID" hidden="1"/>
          <p:cNvGrpSpPr/>
          <p:nvPr userDrawn="1"/>
        </p:nvGrpSpPr>
        <p:grpSpPr>
          <a:xfrm>
            <a:off x="4" y="0"/>
            <a:ext cx="42767263" cy="30275213"/>
            <a:chOff x="0" y="0"/>
            <a:chExt cx="12192003" cy="6858000"/>
          </a:xfrm>
        </p:grpSpPr>
        <p:sp>
          <p:nvSpPr>
            <p:cNvPr id="20" name="Rechthoek 19"/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21" name="Rechthoek 20"/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22" name="Rechthoek 21"/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24" name="Rechthoek 23"/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28" name="Rechthoek 27">
              <a:extLst>
                <a:ext uri="{FF2B5EF4-FFF2-40B4-BE49-F238E27FC236}">
                  <a16:creationId xmlns:a16="http://schemas.microsoft.com/office/drawing/2014/main" id="{6BC69531-4B5F-447E-B7A9-2951B17E6FC2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</p:grp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6644E39-2AF2-4EA0-9C3F-28C89D5A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4" y="27329717"/>
            <a:ext cx="707320" cy="101640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7" name="Tijdelijke aanduiding voor tekst 14">
            <a:extLst>
              <a:ext uri="{FF2B5EF4-FFF2-40B4-BE49-F238E27FC236}">
                <a16:creationId xmlns:a16="http://schemas.microsoft.com/office/drawing/2014/main" id="{A6BF4B27-7FC5-4896-80CE-3BA6119B83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78" y="3469430"/>
            <a:ext cx="32281087" cy="1195424"/>
          </a:xfrm>
        </p:spPr>
        <p:txBody>
          <a:bodyPr>
            <a:noAutofit/>
          </a:bodyPr>
          <a:lstStyle>
            <a:lvl1pPr marL="0" marR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794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sp>
        <p:nvSpPr>
          <p:cNvPr id="33" name="Tijdelijke aanduiding voor voettekst 4">
            <a:extLst>
              <a:ext uri="{FF2B5EF4-FFF2-40B4-BE49-F238E27FC236}">
                <a16:creationId xmlns:a16="http://schemas.microsoft.com/office/drawing/2014/main" id="{3C7CF4CB-CF25-44A3-95AE-206B86BFD6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7" y="27345278"/>
            <a:ext cx="18027561" cy="1000848"/>
          </a:xfrm>
        </p:spPr>
        <p:txBody>
          <a:bodyPr/>
          <a:lstStyle>
            <a:lvl1pPr>
              <a:defRPr/>
            </a:lvl1pPr>
          </a:lstStyle>
          <a:p>
            <a:endParaRPr lang="nl-NL" noProof="0"/>
          </a:p>
        </p:txBody>
      </p:sp>
      <p:sp>
        <p:nvSpPr>
          <p:cNvPr id="29" name="Tijdelijke aanduiding voor datum 3">
            <a:extLst>
              <a:ext uri="{FF2B5EF4-FFF2-40B4-BE49-F238E27FC236}">
                <a16:creationId xmlns:a16="http://schemas.microsoft.com/office/drawing/2014/main" id="{53600F14-A3DB-4812-872D-DFA76F4B6A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503"/>
            <a:ext cx="9622631" cy="1000848"/>
          </a:xfrm>
        </p:spPr>
        <p:txBody>
          <a:bodyPr/>
          <a:lstStyle/>
          <a:p>
            <a:endParaRPr lang="nl-NL" noProof="0"/>
          </a:p>
        </p:txBody>
      </p:sp>
      <p:sp>
        <p:nvSpPr>
          <p:cNvPr id="155" name="Tijdelijke aanduiding voor afbeelding 37">
            <a:extLst>
              <a:ext uri="{FF2B5EF4-FFF2-40B4-BE49-F238E27FC236}">
                <a16:creationId xmlns:a16="http://schemas.microsoft.com/office/drawing/2014/main" id="{4B086C57-3BEE-4549-87B3-7562F8DF0AE6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2191538" y="10288812"/>
            <a:ext cx="8792735" cy="9004941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881" h="2865200">
                <a:moveTo>
                  <a:pt x="1036" y="89"/>
                </a:moveTo>
                <a:lnTo>
                  <a:pt x="3319663" y="6217"/>
                </a:lnTo>
                <a:cubicBezTo>
                  <a:pt x="3430792" y="6217"/>
                  <a:pt x="3520881" y="73784"/>
                  <a:pt x="3520881" y="157131"/>
                </a:cubicBezTo>
                <a:lnTo>
                  <a:pt x="3520881" y="2714286"/>
                </a:lnTo>
                <a:cubicBezTo>
                  <a:pt x="3520881" y="2797633"/>
                  <a:pt x="3430792" y="2865200"/>
                  <a:pt x="3319663" y="2865200"/>
                </a:cubicBezTo>
                <a:lnTo>
                  <a:pt x="201219" y="2865200"/>
                </a:lnTo>
                <a:cubicBezTo>
                  <a:pt x="90089" y="2865200"/>
                  <a:pt x="0" y="2797633"/>
                  <a:pt x="0" y="2714286"/>
                </a:cubicBezTo>
                <a:lnTo>
                  <a:pt x="0" y="157131"/>
                </a:lnTo>
                <a:cubicBezTo>
                  <a:pt x="0" y="73784"/>
                  <a:pt x="211" y="-2975"/>
                  <a:pt x="1036" y="8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188000" anchor="ctr">
            <a:noAutofit/>
          </a:bodyPr>
          <a:lstStyle>
            <a:lvl1pPr marL="0" indent="0" algn="ctr">
              <a:buNone/>
              <a:defRPr sz="1677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156" name="Tijdelijke aanduiding voor tekst 5">
            <a:extLst>
              <a:ext uri="{FF2B5EF4-FFF2-40B4-BE49-F238E27FC236}">
                <a16:creationId xmlns:a16="http://schemas.microsoft.com/office/drawing/2014/main" id="{9E15389D-5806-474F-9FEF-A9CFC8A7F10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191538" y="19884613"/>
            <a:ext cx="8792735" cy="1515884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235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pic>
        <p:nvPicPr>
          <p:cNvPr id="80" name="Afbeelding 79">
            <a:extLst>
              <a:ext uri="{FF2B5EF4-FFF2-40B4-BE49-F238E27FC236}">
                <a16:creationId xmlns:a16="http://schemas.microsoft.com/office/drawing/2014/main" id="{6639F2A8-E8F6-4DE3-9FA2-A221B750E3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5" y="831727"/>
            <a:ext cx="9249575" cy="4281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313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100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10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10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7" grpId="0" animBg="1"/>
      <p:bldP spid="38" grpId="0" animBg="1"/>
      <p:bldP spid="25" grpId="0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2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2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" grpId="0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2" grpId="0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3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3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5" grpId="0" animBg="1"/>
      <p:bldP spid="156" grpId="0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5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5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rnpunten + Tekstvlakke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jdelijke aanduiding voor afbeelding 35">
            <a:extLst>
              <a:ext uri="{FF2B5EF4-FFF2-40B4-BE49-F238E27FC236}">
                <a16:creationId xmlns:a16="http://schemas.microsoft.com/office/drawing/2014/main" id="{DDF59742-AC42-4AAA-9941-6163D1AD1558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1742381" y="5815918"/>
            <a:ext cx="12350717" cy="6929699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958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82707"/>
              <a:gd name="connsiteX1" fmla="*/ 3386338 w 3520881"/>
              <a:gd name="connsiteY1" fmla="*/ 6216 h 2882707"/>
              <a:gd name="connsiteX2" fmla="*/ 3520881 w 3520881"/>
              <a:gd name="connsiteY2" fmla="*/ 157131 h 2882707"/>
              <a:gd name="connsiteX3" fmla="*/ 3520881 w 3520881"/>
              <a:gd name="connsiteY3" fmla="*/ 2714286 h 2882707"/>
              <a:gd name="connsiteX4" fmla="*/ 3395863 w 3520881"/>
              <a:gd name="connsiteY4" fmla="*/ 2865200 h 2882707"/>
              <a:gd name="connsiteX5" fmla="*/ 125019 w 3520881"/>
              <a:gd name="connsiteY5" fmla="*/ 2882707 h 2882707"/>
              <a:gd name="connsiteX6" fmla="*/ 0 w 3520881"/>
              <a:gd name="connsiteY6" fmla="*/ 2714286 h 2882707"/>
              <a:gd name="connsiteX7" fmla="*/ 0 w 3520881"/>
              <a:gd name="connsiteY7" fmla="*/ 157131 h 2882707"/>
              <a:gd name="connsiteX8" fmla="*/ 1036 w 3520881"/>
              <a:gd name="connsiteY8" fmla="*/ 89 h 2882707"/>
              <a:gd name="connsiteX0" fmla="*/ 1036 w 3522188"/>
              <a:gd name="connsiteY0" fmla="*/ 2627 h 2885245"/>
              <a:gd name="connsiteX1" fmla="*/ 3429201 w 3522188"/>
              <a:gd name="connsiteY1" fmla="*/ 0 h 2885245"/>
              <a:gd name="connsiteX2" fmla="*/ 3520881 w 3522188"/>
              <a:gd name="connsiteY2" fmla="*/ 159669 h 2885245"/>
              <a:gd name="connsiteX3" fmla="*/ 3520881 w 3522188"/>
              <a:gd name="connsiteY3" fmla="*/ 2716824 h 2885245"/>
              <a:gd name="connsiteX4" fmla="*/ 3395863 w 3522188"/>
              <a:gd name="connsiteY4" fmla="*/ 2867738 h 2885245"/>
              <a:gd name="connsiteX5" fmla="*/ 125019 w 3522188"/>
              <a:gd name="connsiteY5" fmla="*/ 2885245 h 2885245"/>
              <a:gd name="connsiteX6" fmla="*/ 0 w 3522188"/>
              <a:gd name="connsiteY6" fmla="*/ 2716824 h 2885245"/>
              <a:gd name="connsiteX7" fmla="*/ 0 w 3522188"/>
              <a:gd name="connsiteY7" fmla="*/ 159669 h 2885245"/>
              <a:gd name="connsiteX8" fmla="*/ 1036 w 3522188"/>
              <a:gd name="connsiteY8" fmla="*/ 2627 h 2885245"/>
              <a:gd name="connsiteX0" fmla="*/ 1036 w 3520918"/>
              <a:gd name="connsiteY0" fmla="*/ 2627 h 2885245"/>
              <a:gd name="connsiteX1" fmla="*/ 3414913 w 3520918"/>
              <a:gd name="connsiteY1" fmla="*/ 0 h 2885245"/>
              <a:gd name="connsiteX2" fmla="*/ 3520881 w 3520918"/>
              <a:gd name="connsiteY2" fmla="*/ 159669 h 2885245"/>
              <a:gd name="connsiteX3" fmla="*/ 3520881 w 3520918"/>
              <a:gd name="connsiteY3" fmla="*/ 2716824 h 2885245"/>
              <a:gd name="connsiteX4" fmla="*/ 3395863 w 3520918"/>
              <a:gd name="connsiteY4" fmla="*/ 2867738 h 2885245"/>
              <a:gd name="connsiteX5" fmla="*/ 125019 w 3520918"/>
              <a:gd name="connsiteY5" fmla="*/ 2885245 h 2885245"/>
              <a:gd name="connsiteX6" fmla="*/ 0 w 3520918"/>
              <a:gd name="connsiteY6" fmla="*/ 2716824 h 2885245"/>
              <a:gd name="connsiteX7" fmla="*/ 0 w 3520918"/>
              <a:gd name="connsiteY7" fmla="*/ 159669 h 2885245"/>
              <a:gd name="connsiteX8" fmla="*/ 1036 w 3520918"/>
              <a:gd name="connsiteY8" fmla="*/ 2627 h 2885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918" h="2885245">
                <a:moveTo>
                  <a:pt x="1036" y="2627"/>
                </a:moveTo>
                <a:lnTo>
                  <a:pt x="3414913" y="0"/>
                </a:lnTo>
                <a:cubicBezTo>
                  <a:pt x="3526042" y="0"/>
                  <a:pt x="3520881" y="76322"/>
                  <a:pt x="3520881" y="159669"/>
                </a:cubicBezTo>
                <a:lnTo>
                  <a:pt x="3520881" y="2716824"/>
                </a:lnTo>
                <a:cubicBezTo>
                  <a:pt x="3520881" y="2800171"/>
                  <a:pt x="3506992" y="2867738"/>
                  <a:pt x="3395863" y="2867738"/>
                </a:cubicBezTo>
                <a:lnTo>
                  <a:pt x="125019" y="2885245"/>
                </a:lnTo>
                <a:cubicBezTo>
                  <a:pt x="13889" y="2885245"/>
                  <a:pt x="0" y="2800171"/>
                  <a:pt x="0" y="2716824"/>
                </a:cubicBezTo>
                <a:lnTo>
                  <a:pt x="0" y="159669"/>
                </a:lnTo>
                <a:cubicBezTo>
                  <a:pt x="0" y="76322"/>
                  <a:pt x="211" y="-437"/>
                  <a:pt x="1036" y="262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972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677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5" name="Tijdelijke aanduiding voor tekst 5">
            <a:extLst>
              <a:ext uri="{FF2B5EF4-FFF2-40B4-BE49-F238E27FC236}">
                <a16:creationId xmlns:a16="http://schemas.microsoft.com/office/drawing/2014/main" id="{7581CA50-F401-4352-B20E-C61DC891A3E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740474" y="13257591"/>
            <a:ext cx="12352500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235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6" name="Tijdelijke aanduiding voor tekst 5">
            <a:extLst>
              <a:ext uri="{FF2B5EF4-FFF2-40B4-BE49-F238E27FC236}">
                <a16:creationId xmlns:a16="http://schemas.microsoft.com/office/drawing/2014/main" id="{EE7615E9-55F0-4367-ADAF-BF9E9F9AFF0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265722" y="13257591"/>
            <a:ext cx="12352500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235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32" name="Tijdelijke aanduiding voor tekst 5">
            <a:extLst>
              <a:ext uri="{FF2B5EF4-FFF2-40B4-BE49-F238E27FC236}">
                <a16:creationId xmlns:a16="http://schemas.microsoft.com/office/drawing/2014/main" id="{1F90D83A-4F8A-4644-B6AA-08EAF0B98A5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8807968" y="13257591"/>
            <a:ext cx="12352500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235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42378" y="1766065"/>
            <a:ext cx="32281087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grpSp>
        <p:nvGrpSpPr>
          <p:cNvPr id="19" name="GRID" hidden="1"/>
          <p:cNvGrpSpPr/>
          <p:nvPr userDrawn="1"/>
        </p:nvGrpSpPr>
        <p:grpSpPr>
          <a:xfrm>
            <a:off x="4" y="0"/>
            <a:ext cx="42767263" cy="30275213"/>
            <a:chOff x="0" y="0"/>
            <a:chExt cx="12192003" cy="6858000"/>
          </a:xfrm>
        </p:grpSpPr>
        <p:sp>
          <p:nvSpPr>
            <p:cNvPr id="20" name="Rechthoek 19"/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21" name="Rechthoek 20"/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22" name="Rechthoek 21"/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24" name="Rechthoek 23"/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28" name="Rechthoek 27">
              <a:extLst>
                <a:ext uri="{FF2B5EF4-FFF2-40B4-BE49-F238E27FC236}">
                  <a16:creationId xmlns:a16="http://schemas.microsoft.com/office/drawing/2014/main" id="{6BC69531-4B5F-447E-B7A9-2951B17E6FC2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</p:grp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6644E39-2AF2-4EA0-9C3F-28C89D5A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4" y="27329717"/>
            <a:ext cx="707320" cy="101640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7" name="Tijdelijke aanduiding voor tekst 14">
            <a:extLst>
              <a:ext uri="{FF2B5EF4-FFF2-40B4-BE49-F238E27FC236}">
                <a16:creationId xmlns:a16="http://schemas.microsoft.com/office/drawing/2014/main" id="{A6BF4B27-7FC5-4896-80CE-3BA6119B83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78" y="3469430"/>
            <a:ext cx="32281087" cy="1195424"/>
          </a:xfrm>
        </p:spPr>
        <p:txBody>
          <a:bodyPr>
            <a:noAutofit/>
          </a:bodyPr>
          <a:lstStyle>
            <a:lvl1pPr marL="0" marR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794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sp>
        <p:nvSpPr>
          <p:cNvPr id="33" name="Tijdelijke aanduiding voor voettekst 4">
            <a:extLst>
              <a:ext uri="{FF2B5EF4-FFF2-40B4-BE49-F238E27FC236}">
                <a16:creationId xmlns:a16="http://schemas.microsoft.com/office/drawing/2014/main" id="{3C7CF4CB-CF25-44A3-95AE-206B86BFD6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7" y="27345278"/>
            <a:ext cx="18027561" cy="1000848"/>
          </a:xfrm>
        </p:spPr>
        <p:txBody>
          <a:bodyPr/>
          <a:lstStyle>
            <a:lvl1pPr>
              <a:defRPr/>
            </a:lvl1pPr>
          </a:lstStyle>
          <a:p>
            <a:endParaRPr lang="nl-NL" noProof="0"/>
          </a:p>
        </p:txBody>
      </p:sp>
      <p:sp>
        <p:nvSpPr>
          <p:cNvPr id="29" name="Tijdelijke aanduiding voor datum 3">
            <a:extLst>
              <a:ext uri="{FF2B5EF4-FFF2-40B4-BE49-F238E27FC236}">
                <a16:creationId xmlns:a16="http://schemas.microsoft.com/office/drawing/2014/main" id="{53600F14-A3DB-4812-872D-DFA76F4B6A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503"/>
            <a:ext cx="9622631" cy="1000848"/>
          </a:xfrm>
        </p:spPr>
        <p:txBody>
          <a:bodyPr/>
          <a:lstStyle/>
          <a:p>
            <a:endParaRPr lang="nl-NL" noProof="0"/>
          </a:p>
        </p:txBody>
      </p:sp>
      <p:sp>
        <p:nvSpPr>
          <p:cNvPr id="170" name="Tijdelijke aanduiding voor tekst 5">
            <a:extLst>
              <a:ext uri="{FF2B5EF4-FFF2-40B4-BE49-F238E27FC236}">
                <a16:creationId xmlns:a16="http://schemas.microsoft.com/office/drawing/2014/main" id="{3F0188AC-8892-4C7B-8E2B-B715F4DDB33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740474" y="24130217"/>
            <a:ext cx="12352500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235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71" name="Tijdelijke aanduiding voor tekst 5">
            <a:extLst>
              <a:ext uri="{FF2B5EF4-FFF2-40B4-BE49-F238E27FC236}">
                <a16:creationId xmlns:a16="http://schemas.microsoft.com/office/drawing/2014/main" id="{BCD28633-05C1-4036-ACD0-8B909BE0A8A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5265722" y="24130217"/>
            <a:ext cx="12352500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235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72" name="Tijdelijke aanduiding voor tekst 5">
            <a:extLst>
              <a:ext uri="{FF2B5EF4-FFF2-40B4-BE49-F238E27FC236}">
                <a16:creationId xmlns:a16="http://schemas.microsoft.com/office/drawing/2014/main" id="{FFCDB378-C3AB-408C-9AD4-E299B638AF03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8807968" y="24130217"/>
            <a:ext cx="12352500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235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73" name="Tijdelijke aanduiding voor afbeelding 35">
            <a:extLst>
              <a:ext uri="{FF2B5EF4-FFF2-40B4-BE49-F238E27FC236}">
                <a16:creationId xmlns:a16="http://schemas.microsoft.com/office/drawing/2014/main" id="{CEF46CD6-D59A-4DA6-83B8-A8A76F0275F7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5267498" y="5815918"/>
            <a:ext cx="12350717" cy="6929699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958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82707"/>
              <a:gd name="connsiteX1" fmla="*/ 3386338 w 3520881"/>
              <a:gd name="connsiteY1" fmla="*/ 6216 h 2882707"/>
              <a:gd name="connsiteX2" fmla="*/ 3520881 w 3520881"/>
              <a:gd name="connsiteY2" fmla="*/ 157131 h 2882707"/>
              <a:gd name="connsiteX3" fmla="*/ 3520881 w 3520881"/>
              <a:gd name="connsiteY3" fmla="*/ 2714286 h 2882707"/>
              <a:gd name="connsiteX4" fmla="*/ 3395863 w 3520881"/>
              <a:gd name="connsiteY4" fmla="*/ 2865200 h 2882707"/>
              <a:gd name="connsiteX5" fmla="*/ 125019 w 3520881"/>
              <a:gd name="connsiteY5" fmla="*/ 2882707 h 2882707"/>
              <a:gd name="connsiteX6" fmla="*/ 0 w 3520881"/>
              <a:gd name="connsiteY6" fmla="*/ 2714286 h 2882707"/>
              <a:gd name="connsiteX7" fmla="*/ 0 w 3520881"/>
              <a:gd name="connsiteY7" fmla="*/ 157131 h 2882707"/>
              <a:gd name="connsiteX8" fmla="*/ 1036 w 3520881"/>
              <a:gd name="connsiteY8" fmla="*/ 89 h 2882707"/>
              <a:gd name="connsiteX0" fmla="*/ 1036 w 3522188"/>
              <a:gd name="connsiteY0" fmla="*/ 2627 h 2885245"/>
              <a:gd name="connsiteX1" fmla="*/ 3429201 w 3522188"/>
              <a:gd name="connsiteY1" fmla="*/ 0 h 2885245"/>
              <a:gd name="connsiteX2" fmla="*/ 3520881 w 3522188"/>
              <a:gd name="connsiteY2" fmla="*/ 159669 h 2885245"/>
              <a:gd name="connsiteX3" fmla="*/ 3520881 w 3522188"/>
              <a:gd name="connsiteY3" fmla="*/ 2716824 h 2885245"/>
              <a:gd name="connsiteX4" fmla="*/ 3395863 w 3522188"/>
              <a:gd name="connsiteY4" fmla="*/ 2867738 h 2885245"/>
              <a:gd name="connsiteX5" fmla="*/ 125019 w 3522188"/>
              <a:gd name="connsiteY5" fmla="*/ 2885245 h 2885245"/>
              <a:gd name="connsiteX6" fmla="*/ 0 w 3522188"/>
              <a:gd name="connsiteY6" fmla="*/ 2716824 h 2885245"/>
              <a:gd name="connsiteX7" fmla="*/ 0 w 3522188"/>
              <a:gd name="connsiteY7" fmla="*/ 159669 h 2885245"/>
              <a:gd name="connsiteX8" fmla="*/ 1036 w 3522188"/>
              <a:gd name="connsiteY8" fmla="*/ 2627 h 2885245"/>
              <a:gd name="connsiteX0" fmla="*/ 1036 w 3520918"/>
              <a:gd name="connsiteY0" fmla="*/ 2627 h 2885245"/>
              <a:gd name="connsiteX1" fmla="*/ 3414913 w 3520918"/>
              <a:gd name="connsiteY1" fmla="*/ 0 h 2885245"/>
              <a:gd name="connsiteX2" fmla="*/ 3520881 w 3520918"/>
              <a:gd name="connsiteY2" fmla="*/ 159669 h 2885245"/>
              <a:gd name="connsiteX3" fmla="*/ 3520881 w 3520918"/>
              <a:gd name="connsiteY3" fmla="*/ 2716824 h 2885245"/>
              <a:gd name="connsiteX4" fmla="*/ 3395863 w 3520918"/>
              <a:gd name="connsiteY4" fmla="*/ 2867738 h 2885245"/>
              <a:gd name="connsiteX5" fmla="*/ 125019 w 3520918"/>
              <a:gd name="connsiteY5" fmla="*/ 2885245 h 2885245"/>
              <a:gd name="connsiteX6" fmla="*/ 0 w 3520918"/>
              <a:gd name="connsiteY6" fmla="*/ 2716824 h 2885245"/>
              <a:gd name="connsiteX7" fmla="*/ 0 w 3520918"/>
              <a:gd name="connsiteY7" fmla="*/ 159669 h 2885245"/>
              <a:gd name="connsiteX8" fmla="*/ 1036 w 3520918"/>
              <a:gd name="connsiteY8" fmla="*/ 2627 h 2885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918" h="2885245">
                <a:moveTo>
                  <a:pt x="1036" y="2627"/>
                </a:moveTo>
                <a:lnTo>
                  <a:pt x="3414913" y="0"/>
                </a:lnTo>
                <a:cubicBezTo>
                  <a:pt x="3526042" y="0"/>
                  <a:pt x="3520881" y="76322"/>
                  <a:pt x="3520881" y="159669"/>
                </a:cubicBezTo>
                <a:lnTo>
                  <a:pt x="3520881" y="2716824"/>
                </a:lnTo>
                <a:cubicBezTo>
                  <a:pt x="3520881" y="2800171"/>
                  <a:pt x="3506992" y="2867738"/>
                  <a:pt x="3395863" y="2867738"/>
                </a:cubicBezTo>
                <a:lnTo>
                  <a:pt x="125019" y="2885245"/>
                </a:lnTo>
                <a:cubicBezTo>
                  <a:pt x="13889" y="2885245"/>
                  <a:pt x="0" y="2800171"/>
                  <a:pt x="0" y="2716824"/>
                </a:cubicBezTo>
                <a:lnTo>
                  <a:pt x="0" y="159669"/>
                </a:lnTo>
                <a:cubicBezTo>
                  <a:pt x="0" y="76322"/>
                  <a:pt x="211" y="-437"/>
                  <a:pt x="1036" y="262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972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677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174" name="Tijdelijke aanduiding voor afbeelding 35">
            <a:extLst>
              <a:ext uri="{FF2B5EF4-FFF2-40B4-BE49-F238E27FC236}">
                <a16:creationId xmlns:a16="http://schemas.microsoft.com/office/drawing/2014/main" id="{F620ACD4-13AF-4B66-AAF5-56B1F26AF5D4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28809749" y="5815918"/>
            <a:ext cx="12350717" cy="6929699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958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82707"/>
              <a:gd name="connsiteX1" fmla="*/ 3386338 w 3520881"/>
              <a:gd name="connsiteY1" fmla="*/ 6216 h 2882707"/>
              <a:gd name="connsiteX2" fmla="*/ 3520881 w 3520881"/>
              <a:gd name="connsiteY2" fmla="*/ 157131 h 2882707"/>
              <a:gd name="connsiteX3" fmla="*/ 3520881 w 3520881"/>
              <a:gd name="connsiteY3" fmla="*/ 2714286 h 2882707"/>
              <a:gd name="connsiteX4" fmla="*/ 3395863 w 3520881"/>
              <a:gd name="connsiteY4" fmla="*/ 2865200 h 2882707"/>
              <a:gd name="connsiteX5" fmla="*/ 125019 w 3520881"/>
              <a:gd name="connsiteY5" fmla="*/ 2882707 h 2882707"/>
              <a:gd name="connsiteX6" fmla="*/ 0 w 3520881"/>
              <a:gd name="connsiteY6" fmla="*/ 2714286 h 2882707"/>
              <a:gd name="connsiteX7" fmla="*/ 0 w 3520881"/>
              <a:gd name="connsiteY7" fmla="*/ 157131 h 2882707"/>
              <a:gd name="connsiteX8" fmla="*/ 1036 w 3520881"/>
              <a:gd name="connsiteY8" fmla="*/ 89 h 2882707"/>
              <a:gd name="connsiteX0" fmla="*/ 1036 w 3522188"/>
              <a:gd name="connsiteY0" fmla="*/ 2627 h 2885245"/>
              <a:gd name="connsiteX1" fmla="*/ 3429201 w 3522188"/>
              <a:gd name="connsiteY1" fmla="*/ 0 h 2885245"/>
              <a:gd name="connsiteX2" fmla="*/ 3520881 w 3522188"/>
              <a:gd name="connsiteY2" fmla="*/ 159669 h 2885245"/>
              <a:gd name="connsiteX3" fmla="*/ 3520881 w 3522188"/>
              <a:gd name="connsiteY3" fmla="*/ 2716824 h 2885245"/>
              <a:gd name="connsiteX4" fmla="*/ 3395863 w 3522188"/>
              <a:gd name="connsiteY4" fmla="*/ 2867738 h 2885245"/>
              <a:gd name="connsiteX5" fmla="*/ 125019 w 3522188"/>
              <a:gd name="connsiteY5" fmla="*/ 2885245 h 2885245"/>
              <a:gd name="connsiteX6" fmla="*/ 0 w 3522188"/>
              <a:gd name="connsiteY6" fmla="*/ 2716824 h 2885245"/>
              <a:gd name="connsiteX7" fmla="*/ 0 w 3522188"/>
              <a:gd name="connsiteY7" fmla="*/ 159669 h 2885245"/>
              <a:gd name="connsiteX8" fmla="*/ 1036 w 3522188"/>
              <a:gd name="connsiteY8" fmla="*/ 2627 h 2885245"/>
              <a:gd name="connsiteX0" fmla="*/ 1036 w 3520918"/>
              <a:gd name="connsiteY0" fmla="*/ 2627 h 2885245"/>
              <a:gd name="connsiteX1" fmla="*/ 3414913 w 3520918"/>
              <a:gd name="connsiteY1" fmla="*/ 0 h 2885245"/>
              <a:gd name="connsiteX2" fmla="*/ 3520881 w 3520918"/>
              <a:gd name="connsiteY2" fmla="*/ 159669 h 2885245"/>
              <a:gd name="connsiteX3" fmla="*/ 3520881 w 3520918"/>
              <a:gd name="connsiteY3" fmla="*/ 2716824 h 2885245"/>
              <a:gd name="connsiteX4" fmla="*/ 3395863 w 3520918"/>
              <a:gd name="connsiteY4" fmla="*/ 2867738 h 2885245"/>
              <a:gd name="connsiteX5" fmla="*/ 125019 w 3520918"/>
              <a:gd name="connsiteY5" fmla="*/ 2885245 h 2885245"/>
              <a:gd name="connsiteX6" fmla="*/ 0 w 3520918"/>
              <a:gd name="connsiteY6" fmla="*/ 2716824 h 2885245"/>
              <a:gd name="connsiteX7" fmla="*/ 0 w 3520918"/>
              <a:gd name="connsiteY7" fmla="*/ 159669 h 2885245"/>
              <a:gd name="connsiteX8" fmla="*/ 1036 w 3520918"/>
              <a:gd name="connsiteY8" fmla="*/ 2627 h 2885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918" h="2885245">
                <a:moveTo>
                  <a:pt x="1036" y="2627"/>
                </a:moveTo>
                <a:lnTo>
                  <a:pt x="3414913" y="0"/>
                </a:lnTo>
                <a:cubicBezTo>
                  <a:pt x="3526042" y="0"/>
                  <a:pt x="3520881" y="76322"/>
                  <a:pt x="3520881" y="159669"/>
                </a:cubicBezTo>
                <a:lnTo>
                  <a:pt x="3520881" y="2716824"/>
                </a:lnTo>
                <a:cubicBezTo>
                  <a:pt x="3520881" y="2800171"/>
                  <a:pt x="3506992" y="2867738"/>
                  <a:pt x="3395863" y="2867738"/>
                </a:cubicBezTo>
                <a:lnTo>
                  <a:pt x="125019" y="2885245"/>
                </a:lnTo>
                <a:cubicBezTo>
                  <a:pt x="13889" y="2885245"/>
                  <a:pt x="0" y="2800171"/>
                  <a:pt x="0" y="2716824"/>
                </a:cubicBezTo>
                <a:lnTo>
                  <a:pt x="0" y="159669"/>
                </a:lnTo>
                <a:cubicBezTo>
                  <a:pt x="0" y="76322"/>
                  <a:pt x="211" y="-437"/>
                  <a:pt x="1036" y="262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972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677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175" name="Tijdelijke aanduiding voor afbeelding 35">
            <a:extLst>
              <a:ext uri="{FF2B5EF4-FFF2-40B4-BE49-F238E27FC236}">
                <a16:creationId xmlns:a16="http://schemas.microsoft.com/office/drawing/2014/main" id="{D24E1274-C596-458A-AA45-713DA34AEAEF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1742381" y="16696717"/>
            <a:ext cx="12350717" cy="6929699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958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82707"/>
              <a:gd name="connsiteX1" fmla="*/ 3386338 w 3520881"/>
              <a:gd name="connsiteY1" fmla="*/ 6216 h 2882707"/>
              <a:gd name="connsiteX2" fmla="*/ 3520881 w 3520881"/>
              <a:gd name="connsiteY2" fmla="*/ 157131 h 2882707"/>
              <a:gd name="connsiteX3" fmla="*/ 3520881 w 3520881"/>
              <a:gd name="connsiteY3" fmla="*/ 2714286 h 2882707"/>
              <a:gd name="connsiteX4" fmla="*/ 3395863 w 3520881"/>
              <a:gd name="connsiteY4" fmla="*/ 2865200 h 2882707"/>
              <a:gd name="connsiteX5" fmla="*/ 125019 w 3520881"/>
              <a:gd name="connsiteY5" fmla="*/ 2882707 h 2882707"/>
              <a:gd name="connsiteX6" fmla="*/ 0 w 3520881"/>
              <a:gd name="connsiteY6" fmla="*/ 2714286 h 2882707"/>
              <a:gd name="connsiteX7" fmla="*/ 0 w 3520881"/>
              <a:gd name="connsiteY7" fmla="*/ 157131 h 2882707"/>
              <a:gd name="connsiteX8" fmla="*/ 1036 w 3520881"/>
              <a:gd name="connsiteY8" fmla="*/ 89 h 2882707"/>
              <a:gd name="connsiteX0" fmla="*/ 1036 w 3522188"/>
              <a:gd name="connsiteY0" fmla="*/ 2627 h 2885245"/>
              <a:gd name="connsiteX1" fmla="*/ 3429201 w 3522188"/>
              <a:gd name="connsiteY1" fmla="*/ 0 h 2885245"/>
              <a:gd name="connsiteX2" fmla="*/ 3520881 w 3522188"/>
              <a:gd name="connsiteY2" fmla="*/ 159669 h 2885245"/>
              <a:gd name="connsiteX3" fmla="*/ 3520881 w 3522188"/>
              <a:gd name="connsiteY3" fmla="*/ 2716824 h 2885245"/>
              <a:gd name="connsiteX4" fmla="*/ 3395863 w 3522188"/>
              <a:gd name="connsiteY4" fmla="*/ 2867738 h 2885245"/>
              <a:gd name="connsiteX5" fmla="*/ 125019 w 3522188"/>
              <a:gd name="connsiteY5" fmla="*/ 2885245 h 2885245"/>
              <a:gd name="connsiteX6" fmla="*/ 0 w 3522188"/>
              <a:gd name="connsiteY6" fmla="*/ 2716824 h 2885245"/>
              <a:gd name="connsiteX7" fmla="*/ 0 w 3522188"/>
              <a:gd name="connsiteY7" fmla="*/ 159669 h 2885245"/>
              <a:gd name="connsiteX8" fmla="*/ 1036 w 3522188"/>
              <a:gd name="connsiteY8" fmla="*/ 2627 h 2885245"/>
              <a:gd name="connsiteX0" fmla="*/ 1036 w 3520918"/>
              <a:gd name="connsiteY0" fmla="*/ 2627 h 2885245"/>
              <a:gd name="connsiteX1" fmla="*/ 3414913 w 3520918"/>
              <a:gd name="connsiteY1" fmla="*/ 0 h 2885245"/>
              <a:gd name="connsiteX2" fmla="*/ 3520881 w 3520918"/>
              <a:gd name="connsiteY2" fmla="*/ 159669 h 2885245"/>
              <a:gd name="connsiteX3" fmla="*/ 3520881 w 3520918"/>
              <a:gd name="connsiteY3" fmla="*/ 2716824 h 2885245"/>
              <a:gd name="connsiteX4" fmla="*/ 3395863 w 3520918"/>
              <a:gd name="connsiteY4" fmla="*/ 2867738 h 2885245"/>
              <a:gd name="connsiteX5" fmla="*/ 125019 w 3520918"/>
              <a:gd name="connsiteY5" fmla="*/ 2885245 h 2885245"/>
              <a:gd name="connsiteX6" fmla="*/ 0 w 3520918"/>
              <a:gd name="connsiteY6" fmla="*/ 2716824 h 2885245"/>
              <a:gd name="connsiteX7" fmla="*/ 0 w 3520918"/>
              <a:gd name="connsiteY7" fmla="*/ 159669 h 2885245"/>
              <a:gd name="connsiteX8" fmla="*/ 1036 w 3520918"/>
              <a:gd name="connsiteY8" fmla="*/ 2627 h 2885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918" h="2885245">
                <a:moveTo>
                  <a:pt x="1036" y="2627"/>
                </a:moveTo>
                <a:lnTo>
                  <a:pt x="3414913" y="0"/>
                </a:lnTo>
                <a:cubicBezTo>
                  <a:pt x="3526042" y="0"/>
                  <a:pt x="3520881" y="76322"/>
                  <a:pt x="3520881" y="159669"/>
                </a:cubicBezTo>
                <a:lnTo>
                  <a:pt x="3520881" y="2716824"/>
                </a:lnTo>
                <a:cubicBezTo>
                  <a:pt x="3520881" y="2800171"/>
                  <a:pt x="3506992" y="2867738"/>
                  <a:pt x="3395863" y="2867738"/>
                </a:cubicBezTo>
                <a:lnTo>
                  <a:pt x="125019" y="2885245"/>
                </a:lnTo>
                <a:cubicBezTo>
                  <a:pt x="13889" y="2885245"/>
                  <a:pt x="0" y="2800171"/>
                  <a:pt x="0" y="2716824"/>
                </a:cubicBezTo>
                <a:lnTo>
                  <a:pt x="0" y="159669"/>
                </a:lnTo>
                <a:cubicBezTo>
                  <a:pt x="0" y="76322"/>
                  <a:pt x="211" y="-437"/>
                  <a:pt x="1036" y="262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972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677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176" name="Tijdelijke aanduiding voor afbeelding 35">
            <a:extLst>
              <a:ext uri="{FF2B5EF4-FFF2-40B4-BE49-F238E27FC236}">
                <a16:creationId xmlns:a16="http://schemas.microsoft.com/office/drawing/2014/main" id="{936A94BE-D794-43E5-987F-0D0A37508FAA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15267498" y="16696717"/>
            <a:ext cx="12350717" cy="6929699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958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82707"/>
              <a:gd name="connsiteX1" fmla="*/ 3386338 w 3520881"/>
              <a:gd name="connsiteY1" fmla="*/ 6216 h 2882707"/>
              <a:gd name="connsiteX2" fmla="*/ 3520881 w 3520881"/>
              <a:gd name="connsiteY2" fmla="*/ 157131 h 2882707"/>
              <a:gd name="connsiteX3" fmla="*/ 3520881 w 3520881"/>
              <a:gd name="connsiteY3" fmla="*/ 2714286 h 2882707"/>
              <a:gd name="connsiteX4" fmla="*/ 3395863 w 3520881"/>
              <a:gd name="connsiteY4" fmla="*/ 2865200 h 2882707"/>
              <a:gd name="connsiteX5" fmla="*/ 125019 w 3520881"/>
              <a:gd name="connsiteY5" fmla="*/ 2882707 h 2882707"/>
              <a:gd name="connsiteX6" fmla="*/ 0 w 3520881"/>
              <a:gd name="connsiteY6" fmla="*/ 2714286 h 2882707"/>
              <a:gd name="connsiteX7" fmla="*/ 0 w 3520881"/>
              <a:gd name="connsiteY7" fmla="*/ 157131 h 2882707"/>
              <a:gd name="connsiteX8" fmla="*/ 1036 w 3520881"/>
              <a:gd name="connsiteY8" fmla="*/ 89 h 2882707"/>
              <a:gd name="connsiteX0" fmla="*/ 1036 w 3522188"/>
              <a:gd name="connsiteY0" fmla="*/ 2627 h 2885245"/>
              <a:gd name="connsiteX1" fmla="*/ 3429201 w 3522188"/>
              <a:gd name="connsiteY1" fmla="*/ 0 h 2885245"/>
              <a:gd name="connsiteX2" fmla="*/ 3520881 w 3522188"/>
              <a:gd name="connsiteY2" fmla="*/ 159669 h 2885245"/>
              <a:gd name="connsiteX3" fmla="*/ 3520881 w 3522188"/>
              <a:gd name="connsiteY3" fmla="*/ 2716824 h 2885245"/>
              <a:gd name="connsiteX4" fmla="*/ 3395863 w 3522188"/>
              <a:gd name="connsiteY4" fmla="*/ 2867738 h 2885245"/>
              <a:gd name="connsiteX5" fmla="*/ 125019 w 3522188"/>
              <a:gd name="connsiteY5" fmla="*/ 2885245 h 2885245"/>
              <a:gd name="connsiteX6" fmla="*/ 0 w 3522188"/>
              <a:gd name="connsiteY6" fmla="*/ 2716824 h 2885245"/>
              <a:gd name="connsiteX7" fmla="*/ 0 w 3522188"/>
              <a:gd name="connsiteY7" fmla="*/ 159669 h 2885245"/>
              <a:gd name="connsiteX8" fmla="*/ 1036 w 3522188"/>
              <a:gd name="connsiteY8" fmla="*/ 2627 h 2885245"/>
              <a:gd name="connsiteX0" fmla="*/ 1036 w 3520918"/>
              <a:gd name="connsiteY0" fmla="*/ 2627 h 2885245"/>
              <a:gd name="connsiteX1" fmla="*/ 3414913 w 3520918"/>
              <a:gd name="connsiteY1" fmla="*/ 0 h 2885245"/>
              <a:gd name="connsiteX2" fmla="*/ 3520881 w 3520918"/>
              <a:gd name="connsiteY2" fmla="*/ 159669 h 2885245"/>
              <a:gd name="connsiteX3" fmla="*/ 3520881 w 3520918"/>
              <a:gd name="connsiteY3" fmla="*/ 2716824 h 2885245"/>
              <a:gd name="connsiteX4" fmla="*/ 3395863 w 3520918"/>
              <a:gd name="connsiteY4" fmla="*/ 2867738 h 2885245"/>
              <a:gd name="connsiteX5" fmla="*/ 125019 w 3520918"/>
              <a:gd name="connsiteY5" fmla="*/ 2885245 h 2885245"/>
              <a:gd name="connsiteX6" fmla="*/ 0 w 3520918"/>
              <a:gd name="connsiteY6" fmla="*/ 2716824 h 2885245"/>
              <a:gd name="connsiteX7" fmla="*/ 0 w 3520918"/>
              <a:gd name="connsiteY7" fmla="*/ 159669 h 2885245"/>
              <a:gd name="connsiteX8" fmla="*/ 1036 w 3520918"/>
              <a:gd name="connsiteY8" fmla="*/ 2627 h 2885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918" h="2885245">
                <a:moveTo>
                  <a:pt x="1036" y="2627"/>
                </a:moveTo>
                <a:lnTo>
                  <a:pt x="3414913" y="0"/>
                </a:lnTo>
                <a:cubicBezTo>
                  <a:pt x="3526042" y="0"/>
                  <a:pt x="3520881" y="76322"/>
                  <a:pt x="3520881" y="159669"/>
                </a:cubicBezTo>
                <a:lnTo>
                  <a:pt x="3520881" y="2716824"/>
                </a:lnTo>
                <a:cubicBezTo>
                  <a:pt x="3520881" y="2800171"/>
                  <a:pt x="3506992" y="2867738"/>
                  <a:pt x="3395863" y="2867738"/>
                </a:cubicBezTo>
                <a:lnTo>
                  <a:pt x="125019" y="2885245"/>
                </a:lnTo>
                <a:cubicBezTo>
                  <a:pt x="13889" y="2885245"/>
                  <a:pt x="0" y="2800171"/>
                  <a:pt x="0" y="2716824"/>
                </a:cubicBezTo>
                <a:lnTo>
                  <a:pt x="0" y="159669"/>
                </a:lnTo>
                <a:cubicBezTo>
                  <a:pt x="0" y="76322"/>
                  <a:pt x="211" y="-437"/>
                  <a:pt x="1036" y="262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972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677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177" name="Tijdelijke aanduiding voor afbeelding 35">
            <a:extLst>
              <a:ext uri="{FF2B5EF4-FFF2-40B4-BE49-F238E27FC236}">
                <a16:creationId xmlns:a16="http://schemas.microsoft.com/office/drawing/2014/main" id="{E5BA7F73-6327-420C-A063-660A2696DB9E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28809749" y="16696717"/>
            <a:ext cx="12350717" cy="6929699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958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82707"/>
              <a:gd name="connsiteX1" fmla="*/ 3386338 w 3520881"/>
              <a:gd name="connsiteY1" fmla="*/ 6216 h 2882707"/>
              <a:gd name="connsiteX2" fmla="*/ 3520881 w 3520881"/>
              <a:gd name="connsiteY2" fmla="*/ 157131 h 2882707"/>
              <a:gd name="connsiteX3" fmla="*/ 3520881 w 3520881"/>
              <a:gd name="connsiteY3" fmla="*/ 2714286 h 2882707"/>
              <a:gd name="connsiteX4" fmla="*/ 3395863 w 3520881"/>
              <a:gd name="connsiteY4" fmla="*/ 2865200 h 2882707"/>
              <a:gd name="connsiteX5" fmla="*/ 125019 w 3520881"/>
              <a:gd name="connsiteY5" fmla="*/ 2882707 h 2882707"/>
              <a:gd name="connsiteX6" fmla="*/ 0 w 3520881"/>
              <a:gd name="connsiteY6" fmla="*/ 2714286 h 2882707"/>
              <a:gd name="connsiteX7" fmla="*/ 0 w 3520881"/>
              <a:gd name="connsiteY7" fmla="*/ 157131 h 2882707"/>
              <a:gd name="connsiteX8" fmla="*/ 1036 w 3520881"/>
              <a:gd name="connsiteY8" fmla="*/ 89 h 2882707"/>
              <a:gd name="connsiteX0" fmla="*/ 1036 w 3522188"/>
              <a:gd name="connsiteY0" fmla="*/ 2627 h 2885245"/>
              <a:gd name="connsiteX1" fmla="*/ 3429201 w 3522188"/>
              <a:gd name="connsiteY1" fmla="*/ 0 h 2885245"/>
              <a:gd name="connsiteX2" fmla="*/ 3520881 w 3522188"/>
              <a:gd name="connsiteY2" fmla="*/ 159669 h 2885245"/>
              <a:gd name="connsiteX3" fmla="*/ 3520881 w 3522188"/>
              <a:gd name="connsiteY3" fmla="*/ 2716824 h 2885245"/>
              <a:gd name="connsiteX4" fmla="*/ 3395863 w 3522188"/>
              <a:gd name="connsiteY4" fmla="*/ 2867738 h 2885245"/>
              <a:gd name="connsiteX5" fmla="*/ 125019 w 3522188"/>
              <a:gd name="connsiteY5" fmla="*/ 2885245 h 2885245"/>
              <a:gd name="connsiteX6" fmla="*/ 0 w 3522188"/>
              <a:gd name="connsiteY6" fmla="*/ 2716824 h 2885245"/>
              <a:gd name="connsiteX7" fmla="*/ 0 w 3522188"/>
              <a:gd name="connsiteY7" fmla="*/ 159669 h 2885245"/>
              <a:gd name="connsiteX8" fmla="*/ 1036 w 3522188"/>
              <a:gd name="connsiteY8" fmla="*/ 2627 h 2885245"/>
              <a:gd name="connsiteX0" fmla="*/ 1036 w 3520918"/>
              <a:gd name="connsiteY0" fmla="*/ 2627 h 2885245"/>
              <a:gd name="connsiteX1" fmla="*/ 3414913 w 3520918"/>
              <a:gd name="connsiteY1" fmla="*/ 0 h 2885245"/>
              <a:gd name="connsiteX2" fmla="*/ 3520881 w 3520918"/>
              <a:gd name="connsiteY2" fmla="*/ 159669 h 2885245"/>
              <a:gd name="connsiteX3" fmla="*/ 3520881 w 3520918"/>
              <a:gd name="connsiteY3" fmla="*/ 2716824 h 2885245"/>
              <a:gd name="connsiteX4" fmla="*/ 3395863 w 3520918"/>
              <a:gd name="connsiteY4" fmla="*/ 2867738 h 2885245"/>
              <a:gd name="connsiteX5" fmla="*/ 125019 w 3520918"/>
              <a:gd name="connsiteY5" fmla="*/ 2885245 h 2885245"/>
              <a:gd name="connsiteX6" fmla="*/ 0 w 3520918"/>
              <a:gd name="connsiteY6" fmla="*/ 2716824 h 2885245"/>
              <a:gd name="connsiteX7" fmla="*/ 0 w 3520918"/>
              <a:gd name="connsiteY7" fmla="*/ 159669 h 2885245"/>
              <a:gd name="connsiteX8" fmla="*/ 1036 w 3520918"/>
              <a:gd name="connsiteY8" fmla="*/ 2627 h 2885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918" h="2885245">
                <a:moveTo>
                  <a:pt x="1036" y="2627"/>
                </a:moveTo>
                <a:lnTo>
                  <a:pt x="3414913" y="0"/>
                </a:lnTo>
                <a:cubicBezTo>
                  <a:pt x="3526042" y="0"/>
                  <a:pt x="3520881" y="76322"/>
                  <a:pt x="3520881" y="159669"/>
                </a:cubicBezTo>
                <a:lnTo>
                  <a:pt x="3520881" y="2716824"/>
                </a:lnTo>
                <a:cubicBezTo>
                  <a:pt x="3520881" y="2800171"/>
                  <a:pt x="3506992" y="2867738"/>
                  <a:pt x="3395863" y="2867738"/>
                </a:cubicBezTo>
                <a:lnTo>
                  <a:pt x="125019" y="2885245"/>
                </a:lnTo>
                <a:cubicBezTo>
                  <a:pt x="13889" y="2885245"/>
                  <a:pt x="0" y="2800171"/>
                  <a:pt x="0" y="2716824"/>
                </a:cubicBezTo>
                <a:lnTo>
                  <a:pt x="0" y="159669"/>
                </a:lnTo>
                <a:cubicBezTo>
                  <a:pt x="0" y="76322"/>
                  <a:pt x="211" y="-437"/>
                  <a:pt x="1036" y="262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972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677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pic>
        <p:nvPicPr>
          <p:cNvPr id="79" name="Afbeelding 78">
            <a:extLst>
              <a:ext uri="{FF2B5EF4-FFF2-40B4-BE49-F238E27FC236}">
                <a16:creationId xmlns:a16="http://schemas.microsoft.com/office/drawing/2014/main" id="{FFEF7835-07BB-4DA8-AB27-DB859E6A8D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5" y="831727"/>
            <a:ext cx="9249575" cy="4281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7103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25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2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0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1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2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3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3" grpId="0" animBg="1"/>
      <p:bldP spid="174" grpId="0" animBg="1"/>
      <p:bldP spid="175" grpId="0" animBg="1"/>
      <p:bldP spid="176" grpId="0" animBg="1"/>
      <p:bldP spid="177" grpId="0" animBg="1"/>
    </p:bld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rnpunten + Ico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78" y="1766065"/>
            <a:ext cx="32281087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78" y="3469430"/>
            <a:ext cx="32281087" cy="1195424"/>
          </a:xfrm>
        </p:spPr>
        <p:txBody>
          <a:bodyPr>
            <a:noAutofit/>
          </a:bodyPr>
          <a:lstStyle>
            <a:lvl1pPr marL="0" marR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794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503"/>
            <a:ext cx="9622631" cy="1000848"/>
          </a:xfrm>
        </p:spPr>
        <p:txBody>
          <a:bodyPr/>
          <a:lstStyle/>
          <a:p>
            <a:fld id="{5B16B44F-53F8-4476-BF86-4B2D1AD65ECB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7" y="27345278"/>
            <a:ext cx="18027561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7" y="27329717"/>
            <a:ext cx="834511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9B18BDE9-18FD-4C97-9F64-E73C2C770EF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57137" y="10897682"/>
            <a:ext cx="11802764" cy="13168315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087536" y="0"/>
                </a:lnTo>
                <a:cubicBezTo>
                  <a:pt x="32406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240614" y="2982912"/>
                  <a:pt x="3087536" y="2982912"/>
                </a:cubicBezTo>
                <a:lnTo>
                  <a:pt x="281143" y="2982912"/>
                </a:lnTo>
                <a:cubicBezTo>
                  <a:pt x="12806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>
              <a:defRPr sz="1957">
                <a:solidFill>
                  <a:schemeClr val="bg1"/>
                </a:solidFill>
              </a:defRPr>
            </a:lvl1pPr>
            <a:lvl2pPr>
              <a:defRPr sz="1957">
                <a:solidFill>
                  <a:schemeClr val="bg1"/>
                </a:solidFill>
              </a:defRPr>
            </a:lvl2pPr>
            <a:lvl3pPr>
              <a:defRPr sz="1957">
                <a:solidFill>
                  <a:schemeClr val="bg1"/>
                </a:solidFill>
              </a:defRPr>
            </a:lvl3pPr>
            <a:lvl4pPr>
              <a:defRPr sz="1957">
                <a:solidFill>
                  <a:schemeClr val="bg1"/>
                </a:solidFill>
              </a:defRPr>
            </a:lvl4pPr>
            <a:lvl5pPr>
              <a:defRPr sz="2235"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21" name="Tijdelijke aanduiding voor tekst 3">
            <a:extLst>
              <a:ext uri="{FF2B5EF4-FFF2-40B4-BE49-F238E27FC236}">
                <a16:creationId xmlns:a16="http://schemas.microsoft.com/office/drawing/2014/main" id="{548B21C5-7247-47FE-96DC-CDF5B1CD27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482248" y="10897682"/>
            <a:ext cx="11802764" cy="13168315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087536" y="0"/>
                </a:lnTo>
                <a:cubicBezTo>
                  <a:pt x="32406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240614" y="2982912"/>
                  <a:pt x="3087536" y="2982912"/>
                </a:cubicBezTo>
                <a:lnTo>
                  <a:pt x="281143" y="2982912"/>
                </a:lnTo>
                <a:cubicBezTo>
                  <a:pt x="12806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>
              <a:defRPr sz="1957">
                <a:solidFill>
                  <a:schemeClr val="bg1"/>
                </a:solidFill>
              </a:defRPr>
            </a:lvl1pPr>
            <a:lvl2pPr>
              <a:defRPr sz="1957">
                <a:solidFill>
                  <a:schemeClr val="bg1"/>
                </a:solidFill>
              </a:defRPr>
            </a:lvl2pPr>
            <a:lvl3pPr>
              <a:defRPr sz="1957">
                <a:solidFill>
                  <a:schemeClr val="bg1"/>
                </a:solidFill>
              </a:defRPr>
            </a:lvl3pPr>
            <a:lvl4pPr>
              <a:defRPr sz="1957">
                <a:solidFill>
                  <a:schemeClr val="bg1"/>
                </a:solidFill>
              </a:defRPr>
            </a:lvl4pPr>
            <a:lvl5pPr>
              <a:defRPr sz="2235"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24" name="Tijdelijke aanduiding voor tekst 3">
            <a:extLst>
              <a:ext uri="{FF2B5EF4-FFF2-40B4-BE49-F238E27FC236}">
                <a16:creationId xmlns:a16="http://schemas.microsoft.com/office/drawing/2014/main" id="{DDC7D301-B09D-45A2-84F5-FAC25F143C2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207352" y="10897682"/>
            <a:ext cx="11802764" cy="13168315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087536" y="0"/>
                </a:lnTo>
                <a:cubicBezTo>
                  <a:pt x="32406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240614" y="2982912"/>
                  <a:pt x="3087536" y="2982912"/>
                </a:cubicBezTo>
                <a:lnTo>
                  <a:pt x="281143" y="2982912"/>
                </a:lnTo>
                <a:cubicBezTo>
                  <a:pt x="12806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>
              <a:defRPr sz="1957">
                <a:solidFill>
                  <a:schemeClr val="bg1"/>
                </a:solidFill>
              </a:defRPr>
            </a:lvl1pPr>
            <a:lvl2pPr>
              <a:defRPr sz="1957">
                <a:solidFill>
                  <a:schemeClr val="bg1"/>
                </a:solidFill>
              </a:defRPr>
            </a:lvl2pPr>
            <a:lvl3pPr>
              <a:defRPr sz="1957">
                <a:solidFill>
                  <a:schemeClr val="bg1"/>
                </a:solidFill>
              </a:defRPr>
            </a:lvl3pPr>
            <a:lvl4pPr>
              <a:defRPr sz="1957">
                <a:solidFill>
                  <a:schemeClr val="bg1"/>
                </a:solidFill>
              </a:defRPr>
            </a:lvl4pPr>
            <a:lvl5pPr>
              <a:defRPr sz="2235"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id="{3B2874ED-CC7F-4F0C-BB1D-75A9CC43DC3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9699113" y="8777716"/>
            <a:ext cx="3369034" cy="423993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 sz="248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nl-NL" noProof="0"/>
          </a:p>
        </p:txBody>
      </p:sp>
      <p:sp>
        <p:nvSpPr>
          <p:cNvPr id="48" name="Tijdelijke aanduiding voor tekst 14">
            <a:extLst>
              <a:ext uri="{FF2B5EF4-FFF2-40B4-BE49-F238E27FC236}">
                <a16:creationId xmlns:a16="http://schemas.microsoft.com/office/drawing/2014/main" id="{F1653C5F-83B0-4357-9779-FCA8C005D7E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974002" y="8777716"/>
            <a:ext cx="3369034" cy="423993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 sz="248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nl-NL" noProof="0"/>
          </a:p>
        </p:txBody>
      </p:sp>
      <p:sp>
        <p:nvSpPr>
          <p:cNvPr id="50" name="Tijdelijke aanduiding voor tekst 14">
            <a:extLst>
              <a:ext uri="{FF2B5EF4-FFF2-40B4-BE49-F238E27FC236}">
                <a16:creationId xmlns:a16="http://schemas.microsoft.com/office/drawing/2014/main" id="{3AA2D7D9-83DC-4599-894C-1EA7D9983FA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424217" y="8777716"/>
            <a:ext cx="3369034" cy="423993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 sz="248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nl-NL" noProof="0"/>
          </a:p>
        </p:txBody>
      </p:sp>
      <p:pic>
        <p:nvPicPr>
          <p:cNvPr id="285" name="Afbeelding 284">
            <a:extLst>
              <a:ext uri="{FF2B5EF4-FFF2-40B4-BE49-F238E27FC236}">
                <a16:creationId xmlns:a16="http://schemas.microsoft.com/office/drawing/2014/main" id="{3BD56D34-C124-47A1-AAB3-51268E6794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5" y="831727"/>
            <a:ext cx="9249575" cy="4281474"/>
          </a:xfrm>
          <a:prstGeom prst="rect">
            <a:avLst/>
          </a:prstGeom>
        </p:spPr>
      </p:pic>
      <p:grpSp>
        <p:nvGrpSpPr>
          <p:cNvPr id="297" name="Meer informatie">
            <a:extLst>
              <a:ext uri="{FF2B5EF4-FFF2-40B4-BE49-F238E27FC236}">
                <a16:creationId xmlns:a16="http://schemas.microsoft.com/office/drawing/2014/main" id="{69FCEAEE-2275-42B9-AB43-7996341B291E}"/>
              </a:ext>
            </a:extLst>
          </p:cNvPr>
          <p:cNvGrpSpPr/>
          <p:nvPr userDrawn="1"/>
        </p:nvGrpSpPr>
        <p:grpSpPr>
          <a:xfrm>
            <a:off x="43487270" y="1774577"/>
            <a:ext cx="11147890" cy="3644433"/>
            <a:chOff x="-3740989" y="3458473"/>
            <a:chExt cx="3178018" cy="825544"/>
          </a:xfrm>
        </p:grpSpPr>
        <p:sp>
          <p:nvSpPr>
            <p:cNvPr id="298" name="Rechthoek 297">
              <a:extLst>
                <a:ext uri="{FF2B5EF4-FFF2-40B4-BE49-F238E27FC236}">
                  <a16:creationId xmlns:a16="http://schemas.microsoft.com/office/drawing/2014/main" id="{B25CB412-679D-4563-95CD-4519C627EF32}"/>
                </a:ext>
              </a:extLst>
            </p:cNvPr>
            <p:cNvSpPr/>
            <p:nvPr userDrawn="1"/>
          </p:nvSpPr>
          <p:spPr>
            <a:xfrm>
              <a:off x="-3740989" y="3458473"/>
              <a:ext cx="2863716" cy="5921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1277217" eaLnBrk="1" fontAlgn="auto" latinLnBrk="0" hangingPunct="1">
                <a:lnSpc>
                  <a:spcPct val="90000"/>
                </a:lnSpc>
                <a:spcBef>
                  <a:spcPts val="839"/>
                </a:spcBef>
                <a:spcAft>
                  <a:spcPts val="839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conen vind je in de slide bibliotheek. </a:t>
              </a:r>
              <a:b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opieer (Ctrl-c) de icoon uit de bibliotheek en plak (Ctrl-v) deze op de gewenste plek. Iconen zijn aanpasbaar qua kleur en formaat.</a:t>
              </a:r>
            </a:p>
          </p:txBody>
        </p:sp>
        <p:cxnSp>
          <p:nvCxnSpPr>
            <p:cNvPr id="299" name="Rechte verbindingslijn 298">
              <a:extLst>
                <a:ext uri="{FF2B5EF4-FFF2-40B4-BE49-F238E27FC236}">
                  <a16:creationId xmlns:a16="http://schemas.microsoft.com/office/drawing/2014/main" id="{3C6B4A04-D8DF-4CA5-AC7B-2CDF9800DE4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740987" y="4284017"/>
              <a:ext cx="3178016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300" name="Rechthoek 299">
            <a:extLst>
              <a:ext uri="{FF2B5EF4-FFF2-40B4-BE49-F238E27FC236}">
                <a16:creationId xmlns:a16="http://schemas.microsoft.com/office/drawing/2014/main" id="{F89205DE-C3DD-4906-977D-F5869FC3C688}"/>
              </a:ext>
            </a:extLst>
          </p:cNvPr>
          <p:cNvSpPr/>
          <p:nvPr userDrawn="1"/>
        </p:nvSpPr>
        <p:spPr>
          <a:xfrm>
            <a:off x="43487275" y="5"/>
            <a:ext cx="11147885" cy="84588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defTabSz="127721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957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rPr>
              <a:t>ICOON invoegen / veranderen</a:t>
            </a:r>
          </a:p>
        </p:txBody>
      </p:sp>
      <p:cxnSp>
        <p:nvCxnSpPr>
          <p:cNvPr id="301" name="Rechte verbindingslijn 300">
            <a:extLst>
              <a:ext uri="{FF2B5EF4-FFF2-40B4-BE49-F238E27FC236}">
                <a16:creationId xmlns:a16="http://schemas.microsoft.com/office/drawing/2014/main" id="{CF5A1158-976E-4157-B03D-2FF7CBCE5D0D}"/>
              </a:ext>
            </a:extLst>
          </p:cNvPr>
          <p:cNvCxnSpPr>
            <a:cxnSpLocks/>
          </p:cNvCxnSpPr>
          <p:nvPr userDrawn="1"/>
        </p:nvCxnSpPr>
        <p:spPr>
          <a:xfrm>
            <a:off x="43487270" y="1066717"/>
            <a:ext cx="11147890" cy="0"/>
          </a:xfrm>
          <a:prstGeom prst="line">
            <a:avLst/>
          </a:prstGeom>
          <a:noFill/>
          <a:ln w="3175" cap="flat" cmpd="sng" algn="ctr">
            <a:solidFill>
              <a:schemeClr val="accent1"/>
            </a:solidFill>
            <a:prstDash val="solid"/>
          </a:ln>
          <a:effectLst/>
        </p:spPr>
      </p:cxnSp>
      <p:grpSp>
        <p:nvGrpSpPr>
          <p:cNvPr id="302" name="Instructie">
            <a:extLst>
              <a:ext uri="{FF2B5EF4-FFF2-40B4-BE49-F238E27FC236}">
                <a16:creationId xmlns:a16="http://schemas.microsoft.com/office/drawing/2014/main" id="{152CEB51-48C8-4B7C-B7C9-39A86C65F4D2}"/>
              </a:ext>
            </a:extLst>
          </p:cNvPr>
          <p:cNvGrpSpPr/>
          <p:nvPr userDrawn="1"/>
        </p:nvGrpSpPr>
        <p:grpSpPr>
          <a:xfrm>
            <a:off x="43506534" y="6474547"/>
            <a:ext cx="11164510" cy="11743958"/>
            <a:chOff x="-3426088" y="4512342"/>
            <a:chExt cx="3182755" cy="2660264"/>
          </a:xfrm>
        </p:grpSpPr>
        <p:sp>
          <p:nvSpPr>
            <p:cNvPr id="303" name="Rechthoek 127">
              <a:extLst>
                <a:ext uri="{FF2B5EF4-FFF2-40B4-BE49-F238E27FC236}">
                  <a16:creationId xmlns:a16="http://schemas.microsoft.com/office/drawing/2014/main" id="{76F2455F-F82D-4E88-8010-21D7723C32A2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1277217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957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304" name="Rechte verbindingslijn 128">
              <a:extLst>
                <a:ext uri="{FF2B5EF4-FFF2-40B4-BE49-F238E27FC236}">
                  <a16:creationId xmlns:a16="http://schemas.microsoft.com/office/drawing/2014/main" id="{0B3E4862-C4AA-407C-966A-E8EBDE30B35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05" name="Rechthoek 130">
              <a:extLst>
                <a:ext uri="{FF2B5EF4-FFF2-40B4-BE49-F238E27FC236}">
                  <a16:creationId xmlns:a16="http://schemas.microsoft.com/office/drawing/2014/main" id="{591A4179-76F7-41B9-9617-1E08CC4C4B60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1277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306" name="Rechthoek 133">
              <a:extLst>
                <a:ext uri="{FF2B5EF4-FFF2-40B4-BE49-F238E27FC236}">
                  <a16:creationId xmlns:a16="http://schemas.microsoft.com/office/drawing/2014/main" id="{1A70AE91-902A-4C2E-B515-48E694909317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239479" marR="0" lvl="0" indent="-239479" algn="l" defTabSz="1277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1537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307" name="Rechthoek 136">
              <a:extLst>
                <a:ext uri="{FF2B5EF4-FFF2-40B4-BE49-F238E27FC236}">
                  <a16:creationId xmlns:a16="http://schemas.microsoft.com/office/drawing/2014/main" id="{5925F747-3FA0-47E9-93E3-A81C74A4898E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239479" marR="0" lvl="0" indent="-239479" algn="l" defTabSz="1277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1537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308" name="Rechthoek 139">
              <a:extLst>
                <a:ext uri="{FF2B5EF4-FFF2-40B4-BE49-F238E27FC236}">
                  <a16:creationId xmlns:a16="http://schemas.microsoft.com/office/drawing/2014/main" id="{97BA09BA-A822-4E82-9039-7A968C36BB47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239479" marR="0" lvl="0" indent="-239479" algn="l" defTabSz="1277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537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309" name="Rechte verbindingslijn 140">
              <a:extLst>
                <a:ext uri="{FF2B5EF4-FFF2-40B4-BE49-F238E27FC236}">
                  <a16:creationId xmlns:a16="http://schemas.microsoft.com/office/drawing/2014/main" id="{0DA6D147-A7F8-4D34-8B2A-2524551C85E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310" name="Groep 101">
            <a:extLst>
              <a:ext uri="{FF2B5EF4-FFF2-40B4-BE49-F238E27FC236}">
                <a16:creationId xmlns:a16="http://schemas.microsoft.com/office/drawing/2014/main" id="{82885683-4B8E-4B6E-8614-5197C14275A8}"/>
              </a:ext>
            </a:extLst>
          </p:cNvPr>
          <p:cNvGrpSpPr/>
          <p:nvPr userDrawn="1"/>
        </p:nvGrpSpPr>
        <p:grpSpPr>
          <a:xfrm>
            <a:off x="-12058269" y="6335"/>
            <a:ext cx="11229652" cy="26966673"/>
            <a:chOff x="-3437547" y="1434"/>
            <a:chExt cx="3201327" cy="6108543"/>
          </a:xfrm>
        </p:grpSpPr>
        <p:sp>
          <p:nvSpPr>
            <p:cNvPr id="311" name="Rechthoek 102">
              <a:extLst>
                <a:ext uri="{FF2B5EF4-FFF2-40B4-BE49-F238E27FC236}">
                  <a16:creationId xmlns:a16="http://schemas.microsoft.com/office/drawing/2014/main" id="{13495BBB-F6EA-4A12-B089-66752A7E72AC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1277217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957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1957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1957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312" name="Ovaal 103">
              <a:extLst>
                <a:ext uri="{FF2B5EF4-FFF2-40B4-BE49-F238E27FC236}">
                  <a16:creationId xmlns:a16="http://schemas.microsoft.com/office/drawing/2014/main" id="{DF8731A8-AC67-456D-BB6D-C9FE5C2A4B5C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13" name="Rechte verbindingslijn 104">
              <a:extLst>
                <a:ext uri="{FF2B5EF4-FFF2-40B4-BE49-F238E27FC236}">
                  <a16:creationId xmlns:a16="http://schemas.microsoft.com/office/drawing/2014/main" id="{E9A5108C-BE33-4E02-BC2E-A2F400E2CCD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14" name="Groep 105">
              <a:extLst>
                <a:ext uri="{FF2B5EF4-FFF2-40B4-BE49-F238E27FC236}">
                  <a16:creationId xmlns:a16="http://schemas.microsoft.com/office/drawing/2014/main" id="{83496DC3-8D19-4D2D-BC64-CD3AFF0DC24B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339" name="Rechthoek 130">
                <a:extLst>
                  <a:ext uri="{FF2B5EF4-FFF2-40B4-BE49-F238E27FC236}">
                    <a16:creationId xmlns:a16="http://schemas.microsoft.com/office/drawing/2014/main" id="{9B5B1577-32F2-415E-A250-E59240C4B612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1117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40" name="Rechte verbindingslijn 131">
                <a:extLst>
                  <a:ext uri="{FF2B5EF4-FFF2-40B4-BE49-F238E27FC236}">
                    <a16:creationId xmlns:a16="http://schemas.microsoft.com/office/drawing/2014/main" id="{5FC98B63-D584-44C1-B07C-B7875B3BB8F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1" name="Rechte verbindingslijn 132">
                <a:extLst>
                  <a:ext uri="{FF2B5EF4-FFF2-40B4-BE49-F238E27FC236}">
                    <a16:creationId xmlns:a16="http://schemas.microsoft.com/office/drawing/2014/main" id="{D7C39E6E-E41B-4B78-AEA4-AD388ABFDE6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42" name="Rechthoek 133">
                <a:extLst>
                  <a:ext uri="{FF2B5EF4-FFF2-40B4-BE49-F238E27FC236}">
                    <a16:creationId xmlns:a16="http://schemas.microsoft.com/office/drawing/2014/main" id="{C3B8BE2A-65A8-41EB-B679-E21300F57730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398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43" name="Groep 134">
                <a:extLst>
                  <a:ext uri="{FF2B5EF4-FFF2-40B4-BE49-F238E27FC236}">
                    <a16:creationId xmlns:a16="http://schemas.microsoft.com/office/drawing/2014/main" id="{7467A5F6-1915-4F14-9025-28B4BD8C052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87" name="Groep 175">
                  <a:extLst>
                    <a:ext uri="{FF2B5EF4-FFF2-40B4-BE49-F238E27FC236}">
                      <a16:creationId xmlns:a16="http://schemas.microsoft.com/office/drawing/2014/main" id="{20AE23E3-37FE-48F2-A6FE-39DFEBFAF80F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91" name="Rechte verbindingslijn 179">
                    <a:extLst>
                      <a:ext uri="{FF2B5EF4-FFF2-40B4-BE49-F238E27FC236}">
                        <a16:creationId xmlns:a16="http://schemas.microsoft.com/office/drawing/2014/main" id="{7FD0C23E-7659-46A0-B1C8-31A7BA78D82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92" name="Rechte verbindingslijn 180">
                    <a:extLst>
                      <a:ext uri="{FF2B5EF4-FFF2-40B4-BE49-F238E27FC236}">
                        <a16:creationId xmlns:a16="http://schemas.microsoft.com/office/drawing/2014/main" id="{2D599BE0-9EDE-4963-943E-12D2D456607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93" name="Rechte verbindingslijn 181">
                    <a:extLst>
                      <a:ext uri="{FF2B5EF4-FFF2-40B4-BE49-F238E27FC236}">
                        <a16:creationId xmlns:a16="http://schemas.microsoft.com/office/drawing/2014/main" id="{86228B0B-E5C7-4418-AD1D-A4011339B3A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94" name="Rechte verbindingslijn 182">
                    <a:extLst>
                      <a:ext uri="{FF2B5EF4-FFF2-40B4-BE49-F238E27FC236}">
                        <a16:creationId xmlns:a16="http://schemas.microsoft.com/office/drawing/2014/main" id="{14180E14-59B9-42D9-B950-6ECD4B0AB2B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95" name="Rechte verbindingslijn 183">
                    <a:extLst>
                      <a:ext uri="{FF2B5EF4-FFF2-40B4-BE49-F238E27FC236}">
                        <a16:creationId xmlns:a16="http://schemas.microsoft.com/office/drawing/2014/main" id="{448D9DB9-BF2F-4212-B26A-E2C6220445F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88" name="Groep 176">
                  <a:extLst>
                    <a:ext uri="{FF2B5EF4-FFF2-40B4-BE49-F238E27FC236}">
                      <a16:creationId xmlns:a16="http://schemas.microsoft.com/office/drawing/2014/main" id="{DDE9B3B2-5058-41A6-830F-1EF9EF7A4DB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89" name="Rechthoek 177">
                    <a:extLst>
                      <a:ext uri="{FF2B5EF4-FFF2-40B4-BE49-F238E27FC236}">
                        <a16:creationId xmlns:a16="http://schemas.microsoft.com/office/drawing/2014/main" id="{01F2A6EC-B4FE-4CEE-840D-A89666751A0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398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90" name="Pijl: punthaak 178">
                    <a:extLst>
                      <a:ext uri="{FF2B5EF4-FFF2-40B4-BE49-F238E27FC236}">
                        <a16:creationId xmlns:a16="http://schemas.microsoft.com/office/drawing/2014/main" id="{0336D1B9-6624-4126-8B63-022272C3102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398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344" name="Groep 135">
                <a:extLst>
                  <a:ext uri="{FF2B5EF4-FFF2-40B4-BE49-F238E27FC236}">
                    <a16:creationId xmlns:a16="http://schemas.microsoft.com/office/drawing/2014/main" id="{0579ABEE-C712-44AA-93AA-A3A9DEC4EAF5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373" name="Groep 166">
                  <a:extLst>
                    <a:ext uri="{FF2B5EF4-FFF2-40B4-BE49-F238E27FC236}">
                      <a16:creationId xmlns:a16="http://schemas.microsoft.com/office/drawing/2014/main" id="{392C42FB-0217-4AF3-A038-DAEE71F9EDBF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382" name="Rechte verbindingslijn 170">
                    <a:extLst>
                      <a:ext uri="{FF2B5EF4-FFF2-40B4-BE49-F238E27FC236}">
                        <a16:creationId xmlns:a16="http://schemas.microsoft.com/office/drawing/2014/main" id="{9A82879A-93C2-4D1F-A4B5-6215FE77103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83" name="Rechte verbindingslijn 171">
                    <a:extLst>
                      <a:ext uri="{FF2B5EF4-FFF2-40B4-BE49-F238E27FC236}">
                        <a16:creationId xmlns:a16="http://schemas.microsoft.com/office/drawing/2014/main" id="{3B6A35FD-E776-444C-A7DE-7E47D9AC1AF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84" name="Rechte verbindingslijn 172">
                    <a:extLst>
                      <a:ext uri="{FF2B5EF4-FFF2-40B4-BE49-F238E27FC236}">
                        <a16:creationId xmlns:a16="http://schemas.microsoft.com/office/drawing/2014/main" id="{6711B7D0-526D-4A88-8315-698DA291D98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85" name="Rechte verbindingslijn 173">
                    <a:extLst>
                      <a:ext uri="{FF2B5EF4-FFF2-40B4-BE49-F238E27FC236}">
                        <a16:creationId xmlns:a16="http://schemas.microsoft.com/office/drawing/2014/main" id="{D153E1BC-F0D9-4763-8D1A-7F8F1665FA5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86" name="Rechte verbindingslijn 174">
                    <a:extLst>
                      <a:ext uri="{FF2B5EF4-FFF2-40B4-BE49-F238E27FC236}">
                        <a16:creationId xmlns:a16="http://schemas.microsoft.com/office/drawing/2014/main" id="{CED8E919-6FC7-4417-A11C-703F5702F25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74" name="Groep 167">
                  <a:extLst>
                    <a:ext uri="{FF2B5EF4-FFF2-40B4-BE49-F238E27FC236}">
                      <a16:creationId xmlns:a16="http://schemas.microsoft.com/office/drawing/2014/main" id="{CC39733F-2CE8-406C-8375-67A606BEA4B3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75" name="Rechthoek 168">
                    <a:extLst>
                      <a:ext uri="{FF2B5EF4-FFF2-40B4-BE49-F238E27FC236}">
                        <a16:creationId xmlns:a16="http://schemas.microsoft.com/office/drawing/2014/main" id="{135F9509-2EEE-4D69-936B-E319B13157D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398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81" name="Pijl: punthaak 169">
                    <a:extLst>
                      <a:ext uri="{FF2B5EF4-FFF2-40B4-BE49-F238E27FC236}">
                        <a16:creationId xmlns:a16="http://schemas.microsoft.com/office/drawing/2014/main" id="{F6E38C57-07CC-449D-A8A7-110544A16D39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398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345" name="Rechte verbindingslijn 136">
                <a:extLst>
                  <a:ext uri="{FF2B5EF4-FFF2-40B4-BE49-F238E27FC236}">
                    <a16:creationId xmlns:a16="http://schemas.microsoft.com/office/drawing/2014/main" id="{F5B3EBAF-2C40-4835-9329-88153F4F6F7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346" name="Rechte verbindingslijn 137">
                <a:extLst>
                  <a:ext uri="{FF2B5EF4-FFF2-40B4-BE49-F238E27FC236}">
                    <a16:creationId xmlns:a16="http://schemas.microsoft.com/office/drawing/2014/main" id="{5C2E5B54-BE5C-4A72-9503-6EAFC4536A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347" name="Groep 138">
                <a:extLst>
                  <a:ext uri="{FF2B5EF4-FFF2-40B4-BE49-F238E27FC236}">
                    <a16:creationId xmlns:a16="http://schemas.microsoft.com/office/drawing/2014/main" id="{EFA61254-F7CC-4512-89AD-6CBC10CB6E2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362" name="Rechthoek 155">
                  <a:extLst>
                    <a:ext uri="{FF2B5EF4-FFF2-40B4-BE49-F238E27FC236}">
                      <a16:creationId xmlns:a16="http://schemas.microsoft.com/office/drawing/2014/main" id="{E34292FF-3A72-4B91-AC6A-5C3B9BE7228D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468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63" name="Groep 156">
                  <a:extLst>
                    <a:ext uri="{FF2B5EF4-FFF2-40B4-BE49-F238E27FC236}">
                      <a16:creationId xmlns:a16="http://schemas.microsoft.com/office/drawing/2014/main" id="{F137E10A-FCBB-42BB-9713-B6AF60D49E8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364" name="Groep 157">
                    <a:extLst>
                      <a:ext uri="{FF2B5EF4-FFF2-40B4-BE49-F238E27FC236}">
                        <a16:creationId xmlns:a16="http://schemas.microsoft.com/office/drawing/2014/main" id="{F2231DD6-4081-4C4D-9F2E-2AB9F33213C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368" name="Rechte verbindingslijn 161">
                      <a:extLst>
                        <a:ext uri="{FF2B5EF4-FFF2-40B4-BE49-F238E27FC236}">
                          <a16:creationId xmlns:a16="http://schemas.microsoft.com/office/drawing/2014/main" id="{AA35EB10-5C19-457E-937F-3C3141D9B73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69" name="Rechte verbindingslijn 162">
                      <a:extLst>
                        <a:ext uri="{FF2B5EF4-FFF2-40B4-BE49-F238E27FC236}">
                          <a16:creationId xmlns:a16="http://schemas.microsoft.com/office/drawing/2014/main" id="{6E0FDC50-140D-4A0C-B7DC-372A0038B59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70" name="Rechte verbindingslijn 163">
                      <a:extLst>
                        <a:ext uri="{FF2B5EF4-FFF2-40B4-BE49-F238E27FC236}">
                          <a16:creationId xmlns:a16="http://schemas.microsoft.com/office/drawing/2014/main" id="{62CB0A80-717C-4653-BFAF-4E27C3A833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71" name="Rechte verbindingslijn 164">
                      <a:extLst>
                        <a:ext uri="{FF2B5EF4-FFF2-40B4-BE49-F238E27FC236}">
                          <a16:creationId xmlns:a16="http://schemas.microsoft.com/office/drawing/2014/main" id="{704F4B05-02BC-4170-9482-760B768CF3A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72" name="Rechte verbindingslijn 165">
                      <a:extLst>
                        <a:ext uri="{FF2B5EF4-FFF2-40B4-BE49-F238E27FC236}">
                          <a16:creationId xmlns:a16="http://schemas.microsoft.com/office/drawing/2014/main" id="{80747397-F595-462C-AEE3-0CB2A846827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65" name="Groep 158">
                    <a:extLst>
                      <a:ext uri="{FF2B5EF4-FFF2-40B4-BE49-F238E27FC236}">
                        <a16:creationId xmlns:a16="http://schemas.microsoft.com/office/drawing/2014/main" id="{15DA2067-931A-4FDE-803B-F8B11ED97E4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66" name="Rechthoek 159">
                      <a:extLst>
                        <a:ext uri="{FF2B5EF4-FFF2-40B4-BE49-F238E27FC236}">
                          <a16:creationId xmlns:a16="http://schemas.microsoft.com/office/drawing/2014/main" id="{A73FBEFB-AE93-4F05-A734-05EE56DA761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398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67" name="Pijl: punthaak 160">
                      <a:extLst>
                        <a:ext uri="{FF2B5EF4-FFF2-40B4-BE49-F238E27FC236}">
                          <a16:creationId xmlns:a16="http://schemas.microsoft.com/office/drawing/2014/main" id="{C704214C-F2EB-4B40-B7C3-C51CAB485871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398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348" name="Groep 139">
                <a:extLst>
                  <a:ext uri="{FF2B5EF4-FFF2-40B4-BE49-F238E27FC236}">
                    <a16:creationId xmlns:a16="http://schemas.microsoft.com/office/drawing/2014/main" id="{94FF3B3A-06AF-4AA3-888E-F302476FDB93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351" name="Rechthoek 142">
                  <a:extLst>
                    <a:ext uri="{FF2B5EF4-FFF2-40B4-BE49-F238E27FC236}">
                      <a16:creationId xmlns:a16="http://schemas.microsoft.com/office/drawing/2014/main" id="{EB8A0F31-DD84-49C4-9939-6C11D18CEDF7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468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52" name="Groep 143">
                  <a:extLst>
                    <a:ext uri="{FF2B5EF4-FFF2-40B4-BE49-F238E27FC236}">
                      <a16:creationId xmlns:a16="http://schemas.microsoft.com/office/drawing/2014/main" id="{5FD3D869-DEB8-447D-816C-4CB16C887356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353" name="Groep 144">
                    <a:extLst>
                      <a:ext uri="{FF2B5EF4-FFF2-40B4-BE49-F238E27FC236}">
                        <a16:creationId xmlns:a16="http://schemas.microsoft.com/office/drawing/2014/main" id="{4F263D9E-1DBA-41BA-B7DD-30DC8435AA8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357" name="Rechte verbindingslijn 150">
                      <a:extLst>
                        <a:ext uri="{FF2B5EF4-FFF2-40B4-BE49-F238E27FC236}">
                          <a16:creationId xmlns:a16="http://schemas.microsoft.com/office/drawing/2014/main" id="{ED657FC2-B3A0-42C6-A3AD-C53E5E50C67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58" name="Rechte verbindingslijn 151">
                      <a:extLst>
                        <a:ext uri="{FF2B5EF4-FFF2-40B4-BE49-F238E27FC236}">
                          <a16:creationId xmlns:a16="http://schemas.microsoft.com/office/drawing/2014/main" id="{68CCE9A7-EA2A-4FC5-9D9B-71D1AD4CF1F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59" name="Rechte verbindingslijn 152">
                      <a:extLst>
                        <a:ext uri="{FF2B5EF4-FFF2-40B4-BE49-F238E27FC236}">
                          <a16:creationId xmlns:a16="http://schemas.microsoft.com/office/drawing/2014/main" id="{ABFB228D-07ED-4CAB-9276-8F4F754E65A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60" name="Rechte verbindingslijn 153">
                      <a:extLst>
                        <a:ext uri="{FF2B5EF4-FFF2-40B4-BE49-F238E27FC236}">
                          <a16:creationId xmlns:a16="http://schemas.microsoft.com/office/drawing/2014/main" id="{F2D4D4C7-97A0-4CCF-8287-93BA6175539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61" name="Rechte verbindingslijn 154">
                      <a:extLst>
                        <a:ext uri="{FF2B5EF4-FFF2-40B4-BE49-F238E27FC236}">
                          <a16:creationId xmlns:a16="http://schemas.microsoft.com/office/drawing/2014/main" id="{5DB8E6E3-7B06-49F9-80F1-BFFF487E72E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54" name="Groep 147">
                    <a:extLst>
                      <a:ext uri="{FF2B5EF4-FFF2-40B4-BE49-F238E27FC236}">
                        <a16:creationId xmlns:a16="http://schemas.microsoft.com/office/drawing/2014/main" id="{FC9F8231-7E98-465E-A499-071987F35586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55" name="Rechthoek 148">
                      <a:extLst>
                        <a:ext uri="{FF2B5EF4-FFF2-40B4-BE49-F238E27FC236}">
                          <a16:creationId xmlns:a16="http://schemas.microsoft.com/office/drawing/2014/main" id="{F9D9A11E-87B6-434C-BF89-4A7B9700FA7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398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56" name="Pijl: punthaak 149">
                      <a:extLst>
                        <a:ext uri="{FF2B5EF4-FFF2-40B4-BE49-F238E27FC236}">
                          <a16:creationId xmlns:a16="http://schemas.microsoft.com/office/drawing/2014/main" id="{2B1449D1-322F-4006-A49A-ADA3CF359FC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398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349" name="Rechthoek 140">
                <a:extLst>
                  <a:ext uri="{FF2B5EF4-FFF2-40B4-BE49-F238E27FC236}">
                    <a16:creationId xmlns:a16="http://schemas.microsoft.com/office/drawing/2014/main" id="{C9A42063-5C60-49C1-AFFA-621DC38E572C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1277217" eaLnBrk="1" fontAlgn="auto" latinLnBrk="0" hangingPunct="1">
                  <a:lnSpc>
                    <a:spcPct val="90000"/>
                  </a:lnSpc>
                  <a:spcBef>
                    <a:spcPts val="839"/>
                  </a:spcBef>
                  <a:spcAft>
                    <a:spcPts val="839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537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350" name="Rechthoek 141">
                <a:extLst>
                  <a:ext uri="{FF2B5EF4-FFF2-40B4-BE49-F238E27FC236}">
                    <a16:creationId xmlns:a16="http://schemas.microsoft.com/office/drawing/2014/main" id="{DAF1A558-D03B-44EC-A586-2E02800A5DE1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1277217" eaLnBrk="1" fontAlgn="auto" latinLnBrk="0" hangingPunct="1">
                  <a:lnSpc>
                    <a:spcPct val="90000"/>
                  </a:lnSpc>
                  <a:spcBef>
                    <a:spcPts val="839"/>
                  </a:spcBef>
                  <a:spcAft>
                    <a:spcPts val="839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537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315" name="Rechte verbindingslijn 106">
              <a:extLst>
                <a:ext uri="{FF2B5EF4-FFF2-40B4-BE49-F238E27FC236}">
                  <a16:creationId xmlns:a16="http://schemas.microsoft.com/office/drawing/2014/main" id="{B0D03FFD-EC8E-42D1-95DD-67F6C8E23B4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16" name="Rechthoek 107">
              <a:extLst>
                <a:ext uri="{FF2B5EF4-FFF2-40B4-BE49-F238E27FC236}">
                  <a16:creationId xmlns:a16="http://schemas.microsoft.com/office/drawing/2014/main" id="{52B2A17A-BCB9-4E4B-A6EC-A716B4BB55C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1537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317" name="Ovaal 108">
              <a:extLst>
                <a:ext uri="{FF2B5EF4-FFF2-40B4-BE49-F238E27FC236}">
                  <a16:creationId xmlns:a16="http://schemas.microsoft.com/office/drawing/2014/main" id="{4F6CA278-408C-42D6-A391-AE3CA9CA5FAF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18" name="Rechthoek 109">
              <a:extLst>
                <a:ext uri="{FF2B5EF4-FFF2-40B4-BE49-F238E27FC236}">
                  <a16:creationId xmlns:a16="http://schemas.microsoft.com/office/drawing/2014/main" id="{919C7443-9933-4217-8F5F-C2C7F94B6E96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1277217" rtl="0" eaLnBrk="1" fontAlgn="auto" latinLnBrk="0" hangingPunct="1">
                <a:lnSpc>
                  <a:spcPct val="90000"/>
                </a:lnSpc>
                <a:spcBef>
                  <a:spcPts val="839"/>
                </a:spcBef>
                <a:spcAft>
                  <a:spcPts val="839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319" name="Ovaal 110">
              <a:extLst>
                <a:ext uri="{FF2B5EF4-FFF2-40B4-BE49-F238E27FC236}">
                  <a16:creationId xmlns:a16="http://schemas.microsoft.com/office/drawing/2014/main" id="{0DCA9EF9-2EA7-4367-BB9E-A06D615AFAF0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20" name="Rechthoek 111">
              <a:extLst>
                <a:ext uri="{FF2B5EF4-FFF2-40B4-BE49-F238E27FC236}">
                  <a16:creationId xmlns:a16="http://schemas.microsoft.com/office/drawing/2014/main" id="{5543933C-DE48-4B34-9A15-A18E4CB6B3C5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252781" marR="0" lvl="0" indent="-252781" defTabSz="1277217" eaLnBrk="1" fontAlgn="auto" latinLnBrk="0" hangingPunct="1">
                <a:lnSpc>
                  <a:spcPct val="90000"/>
                </a:lnSpc>
                <a:spcBef>
                  <a:spcPts val="839"/>
                </a:spcBef>
                <a:spcAft>
                  <a:spcPts val="839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1537" noProof="0"/>
                <a:t>Derde Niveau</a:t>
              </a:r>
              <a:endParaRPr kumimoji="0" lang="nl-NL" sz="153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21" name="Ovaal 112">
              <a:extLst>
                <a:ext uri="{FF2B5EF4-FFF2-40B4-BE49-F238E27FC236}">
                  <a16:creationId xmlns:a16="http://schemas.microsoft.com/office/drawing/2014/main" id="{47A3080B-B3A1-4747-BB7D-67B62ACAB0A4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322" name="Rechthoek 113">
              <a:extLst>
                <a:ext uri="{FF2B5EF4-FFF2-40B4-BE49-F238E27FC236}">
                  <a16:creationId xmlns:a16="http://schemas.microsoft.com/office/drawing/2014/main" id="{98CFCBEE-F625-4557-BB5D-D0B725392755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239479" marR="0" lvl="0" indent="-239479" defTabSz="1277217" eaLnBrk="1" fontAlgn="auto" latinLnBrk="0" hangingPunct="1">
                <a:lnSpc>
                  <a:spcPct val="90000"/>
                </a:lnSpc>
                <a:spcBef>
                  <a:spcPts val="839"/>
                </a:spcBef>
                <a:spcAft>
                  <a:spcPts val="839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323" name="Ovaal 114">
              <a:extLst>
                <a:ext uri="{FF2B5EF4-FFF2-40B4-BE49-F238E27FC236}">
                  <a16:creationId xmlns:a16="http://schemas.microsoft.com/office/drawing/2014/main" id="{A4972FA8-4EB2-42AC-A32C-6FA0479B9F57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324" name="Rechthoek 115">
              <a:extLst>
                <a:ext uri="{FF2B5EF4-FFF2-40B4-BE49-F238E27FC236}">
                  <a16:creationId xmlns:a16="http://schemas.microsoft.com/office/drawing/2014/main" id="{E405107A-B042-4158-9E71-197A3D586166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19306" marR="0" lvl="0" indent="-319306" defTabSz="1277217" eaLnBrk="1" fontAlgn="auto" latinLnBrk="0" hangingPunct="1">
                <a:lnSpc>
                  <a:spcPct val="90000"/>
                </a:lnSpc>
                <a:spcBef>
                  <a:spcPts val="839"/>
                </a:spcBef>
                <a:spcAft>
                  <a:spcPts val="839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1677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325" name="Rechte verbindingslijn 116">
              <a:extLst>
                <a:ext uri="{FF2B5EF4-FFF2-40B4-BE49-F238E27FC236}">
                  <a16:creationId xmlns:a16="http://schemas.microsoft.com/office/drawing/2014/main" id="{C5FEBCCD-36F1-44C7-8F49-4C3F22F95DD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26" name="Meer informatie">
              <a:extLst>
                <a:ext uri="{FF2B5EF4-FFF2-40B4-BE49-F238E27FC236}">
                  <a16:creationId xmlns:a16="http://schemas.microsoft.com/office/drawing/2014/main" id="{F1B2E75A-50A7-41BE-B464-0BC56D3A8C0B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336" name="Freeform 101">
                <a:extLst>
                  <a:ext uri="{FF2B5EF4-FFF2-40B4-BE49-F238E27FC236}">
                    <a16:creationId xmlns:a16="http://schemas.microsoft.com/office/drawing/2014/main" id="{563307BD-E073-4F2C-A48B-8F6364F765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537" noProof="0"/>
              </a:p>
            </p:txBody>
          </p:sp>
          <p:sp>
            <p:nvSpPr>
              <p:cNvPr id="337" name="Rechthoek 128">
                <a:extLst>
                  <a:ext uri="{FF2B5EF4-FFF2-40B4-BE49-F238E27FC236}">
                    <a16:creationId xmlns:a16="http://schemas.microsoft.com/office/drawing/2014/main" id="{2CD41DAC-BD0A-41BB-89AC-112D7951CA55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1277217" eaLnBrk="1" fontAlgn="auto" latinLnBrk="0" hangingPunct="1">
                  <a:lnSpc>
                    <a:spcPct val="90000"/>
                  </a:lnSpc>
                  <a:spcBef>
                    <a:spcPts val="839"/>
                  </a:spcBef>
                  <a:spcAft>
                    <a:spcPts val="839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537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537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537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537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1537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38" name="Rechte verbindingslijn 129">
                <a:extLst>
                  <a:ext uri="{FF2B5EF4-FFF2-40B4-BE49-F238E27FC236}">
                    <a16:creationId xmlns:a16="http://schemas.microsoft.com/office/drawing/2014/main" id="{586B4E8A-76DA-4300-87F7-C26443339D4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27" name="Rechthoek 118">
              <a:extLst>
                <a:ext uri="{FF2B5EF4-FFF2-40B4-BE49-F238E27FC236}">
                  <a16:creationId xmlns:a16="http://schemas.microsoft.com/office/drawing/2014/main" id="{71A0633D-A3B1-4F12-B39D-FCBDCF33B6EC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1277217" eaLnBrk="1" fontAlgn="auto" latinLnBrk="0" hangingPunct="1">
                <a:lnSpc>
                  <a:spcPct val="90000"/>
                </a:lnSpc>
                <a:spcBef>
                  <a:spcPts val="839"/>
                </a:spcBef>
                <a:spcAft>
                  <a:spcPts val="839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328" name="Ovaal 119">
              <a:extLst>
                <a:ext uri="{FF2B5EF4-FFF2-40B4-BE49-F238E27FC236}">
                  <a16:creationId xmlns:a16="http://schemas.microsoft.com/office/drawing/2014/main" id="{FC368FAE-A5A9-4EFC-80D9-619EA4BA7432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329" name="Rechthoek 120">
              <a:extLst>
                <a:ext uri="{FF2B5EF4-FFF2-40B4-BE49-F238E27FC236}">
                  <a16:creationId xmlns:a16="http://schemas.microsoft.com/office/drawing/2014/main" id="{84410A19-B9B6-4BBF-9B8B-6DF659F1AE29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498913" marR="0" lvl="0" indent="-252781" algn="l" defTabSz="1277217" rtl="0" eaLnBrk="1" fontAlgn="auto" latinLnBrk="0" hangingPunct="1">
                <a:lnSpc>
                  <a:spcPct val="90000"/>
                </a:lnSpc>
                <a:spcBef>
                  <a:spcPts val="839"/>
                </a:spcBef>
                <a:spcAft>
                  <a:spcPts val="839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537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1537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330" name="Ovaal 121">
              <a:extLst>
                <a:ext uri="{FF2B5EF4-FFF2-40B4-BE49-F238E27FC236}">
                  <a16:creationId xmlns:a16="http://schemas.microsoft.com/office/drawing/2014/main" id="{8F7B5A33-26BC-436A-8A53-D1D272A6DE29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331" name="Rechthoek 122">
              <a:extLst>
                <a:ext uri="{FF2B5EF4-FFF2-40B4-BE49-F238E27FC236}">
                  <a16:creationId xmlns:a16="http://schemas.microsoft.com/office/drawing/2014/main" id="{6CDF8D89-AA1A-4F80-A5E0-A4C8492DC6A4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756132" marR="0" lvl="7" indent="-503347" algn="l" defTabSz="1277217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1677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1468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332" name="Ovaal 123">
              <a:extLst>
                <a:ext uri="{FF2B5EF4-FFF2-40B4-BE49-F238E27FC236}">
                  <a16:creationId xmlns:a16="http://schemas.microsoft.com/office/drawing/2014/main" id="{775AA4EE-9A81-4146-92AC-7A705BAA7813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333" name="Rechthoek 124">
              <a:extLst>
                <a:ext uri="{FF2B5EF4-FFF2-40B4-BE49-F238E27FC236}">
                  <a16:creationId xmlns:a16="http://schemas.microsoft.com/office/drawing/2014/main" id="{E6474284-C655-44E5-A56B-45B27193E44C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1277217" rtl="0" eaLnBrk="1" fontAlgn="auto" latinLnBrk="0" hangingPunct="1">
                <a:lnSpc>
                  <a:spcPct val="90000"/>
                </a:lnSpc>
                <a:spcBef>
                  <a:spcPts val="839"/>
                </a:spcBef>
                <a:spcAft>
                  <a:spcPts val="839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537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1537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334" name="Rechthoek 125">
              <a:extLst>
                <a:ext uri="{FF2B5EF4-FFF2-40B4-BE49-F238E27FC236}">
                  <a16:creationId xmlns:a16="http://schemas.microsoft.com/office/drawing/2014/main" id="{0B41130A-DA03-4915-8C3C-DB2912DEAB5C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1277217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1677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2235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335" name="Ovaal 126">
              <a:extLst>
                <a:ext uri="{FF2B5EF4-FFF2-40B4-BE49-F238E27FC236}">
                  <a16:creationId xmlns:a16="http://schemas.microsoft.com/office/drawing/2014/main" id="{D5373442-6EF1-4D97-9202-485DB24F9960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34422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rnpunten + Iconen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78" y="1766065"/>
            <a:ext cx="32281087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err="1"/>
              <a:t>Koptitel</a:t>
            </a:r>
            <a:endParaRPr lang="en-US" noProof="0"/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78" y="3469430"/>
            <a:ext cx="32281087" cy="1195424"/>
          </a:xfrm>
        </p:spPr>
        <p:txBody>
          <a:bodyPr>
            <a:noAutofit/>
          </a:bodyPr>
          <a:lstStyle>
            <a:lvl1pPr marL="0" indent="0">
              <a:buNone/>
              <a:defRPr sz="2794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err="1"/>
              <a:t>Ondertitel</a:t>
            </a:r>
            <a:endParaRPr lang="en-US"/>
          </a:p>
        </p:txBody>
      </p:sp>
      <p:grpSp>
        <p:nvGrpSpPr>
          <p:cNvPr id="38" name="GRID" hidden="1">
            <a:extLst>
              <a:ext uri="{FF2B5EF4-FFF2-40B4-BE49-F238E27FC236}">
                <a16:creationId xmlns:a16="http://schemas.microsoft.com/office/drawing/2014/main" id="{51D5F7E8-69F8-47AD-81F5-1645C97607C1}"/>
              </a:ext>
            </a:extLst>
          </p:cNvPr>
          <p:cNvGrpSpPr/>
          <p:nvPr userDrawn="1"/>
        </p:nvGrpSpPr>
        <p:grpSpPr>
          <a:xfrm>
            <a:off x="4" y="0"/>
            <a:ext cx="42767263" cy="30275213"/>
            <a:chOff x="0" y="0"/>
            <a:chExt cx="12192003" cy="6858000"/>
          </a:xfrm>
        </p:grpSpPr>
        <p:sp>
          <p:nvSpPr>
            <p:cNvPr id="39" name="Rechthoek 38">
              <a:extLst>
                <a:ext uri="{FF2B5EF4-FFF2-40B4-BE49-F238E27FC236}">
                  <a16:creationId xmlns:a16="http://schemas.microsoft.com/office/drawing/2014/main" id="{71DB2C92-E6A8-4532-98F6-C917E7F5CD17}"/>
                </a:ext>
              </a:extLst>
            </p:cNvPr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40" name="Rechthoek 39">
              <a:extLst>
                <a:ext uri="{FF2B5EF4-FFF2-40B4-BE49-F238E27FC236}">
                  <a16:creationId xmlns:a16="http://schemas.microsoft.com/office/drawing/2014/main" id="{1283F161-5F8A-45E1-A9F2-F823FC1CB0A5}"/>
                </a:ext>
              </a:extLst>
            </p:cNvPr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41" name="Rechthoek 40">
              <a:extLst>
                <a:ext uri="{FF2B5EF4-FFF2-40B4-BE49-F238E27FC236}">
                  <a16:creationId xmlns:a16="http://schemas.microsoft.com/office/drawing/2014/main" id="{E25AE021-76F4-4113-9019-FB3CB3351AD2}"/>
                </a:ext>
              </a:extLst>
            </p:cNvPr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42" name="Rechthoek 41">
              <a:extLst>
                <a:ext uri="{FF2B5EF4-FFF2-40B4-BE49-F238E27FC236}">
                  <a16:creationId xmlns:a16="http://schemas.microsoft.com/office/drawing/2014/main" id="{4F56F574-960D-4395-B98C-5F49ED9EF418}"/>
                </a:ext>
              </a:extLst>
            </p:cNvPr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34E307D0-CCA0-4BDF-BC5F-E19838E9F7DA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44" name="Rechthoek 43">
              <a:extLst>
                <a:ext uri="{FF2B5EF4-FFF2-40B4-BE49-F238E27FC236}">
                  <a16:creationId xmlns:a16="http://schemas.microsoft.com/office/drawing/2014/main" id="{2AEE0B25-FBCC-4048-A2C0-6D97C3E7FEB7}"/>
                </a:ext>
              </a:extLst>
            </p:cNvPr>
            <p:cNvSpPr/>
            <p:nvPr userDrawn="1"/>
          </p:nvSpPr>
          <p:spPr>
            <a:xfrm rot="5400000">
              <a:off x="5895976" y="-108104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</p:grp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503"/>
            <a:ext cx="9622631" cy="1000848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7" y="27345278"/>
            <a:ext cx="18027561" cy="1000848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4" y="27329717"/>
            <a:ext cx="707320" cy="1016405"/>
          </a:xfrm>
        </p:spPr>
        <p:txBody>
          <a:bodyPr/>
          <a:lstStyle/>
          <a:p>
            <a:fld id="{55B2A88A-B7BD-41B1-9FCB-9BE633251ACA}" type="slidenum">
              <a:rPr lang="en-US" noProof="0" smtClean="0"/>
              <a:t>‹nr.›</a:t>
            </a:fld>
            <a:endParaRPr lang="en-US" noProof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9B18BDE9-18FD-4C97-9F64-E73C2C770EF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57147" y="10288808"/>
            <a:ext cx="8777981" cy="9793572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087536" y="0"/>
                </a:lnTo>
                <a:cubicBezTo>
                  <a:pt x="32406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240614" y="2982912"/>
                  <a:pt x="3087536" y="2982912"/>
                </a:cubicBezTo>
                <a:lnTo>
                  <a:pt x="281143" y="2982912"/>
                </a:lnTo>
                <a:cubicBezTo>
                  <a:pt x="12806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1957" b="1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1677">
                <a:solidFill>
                  <a:schemeClr val="bg1"/>
                </a:solidFill>
              </a:defRPr>
            </a:lvl2pPr>
            <a:lvl3pPr>
              <a:defRPr sz="1677">
                <a:solidFill>
                  <a:schemeClr val="bg1"/>
                </a:solidFill>
              </a:defRPr>
            </a:lvl3pPr>
            <a:lvl4pPr>
              <a:defRPr sz="1677">
                <a:solidFill>
                  <a:schemeClr val="bg1"/>
                </a:solidFill>
              </a:defRPr>
            </a:lvl4pPr>
            <a:lvl5pPr>
              <a:defRPr sz="1677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48" name="Tijdelijke aanduiding voor tekst 14">
            <a:extLst>
              <a:ext uri="{FF2B5EF4-FFF2-40B4-BE49-F238E27FC236}">
                <a16:creationId xmlns:a16="http://schemas.microsoft.com/office/drawing/2014/main" id="{F1653C5F-83B0-4357-9779-FCA8C005D7E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61607" y="8083430"/>
            <a:ext cx="3369034" cy="423993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0" name="Tijdelijke aanduiding voor tekst 3">
            <a:extLst>
              <a:ext uri="{FF2B5EF4-FFF2-40B4-BE49-F238E27FC236}">
                <a16:creationId xmlns:a16="http://schemas.microsoft.com/office/drawing/2014/main" id="{2CDDE61D-7900-4D30-8C50-19D730DC4B3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176304" y="10288808"/>
            <a:ext cx="8777981" cy="9793572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087536" y="0"/>
                </a:lnTo>
                <a:cubicBezTo>
                  <a:pt x="32406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240614" y="2982912"/>
                  <a:pt x="3087536" y="2982912"/>
                </a:cubicBezTo>
                <a:lnTo>
                  <a:pt x="281143" y="2982912"/>
                </a:lnTo>
                <a:cubicBezTo>
                  <a:pt x="12806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1957" b="1">
                <a:solidFill>
                  <a:schemeClr val="bg1"/>
                </a:solidFill>
              </a:defRPr>
            </a:lvl1pPr>
            <a:lvl2pPr marL="0" indent="0">
              <a:buNone/>
              <a:defRPr sz="1677">
                <a:solidFill>
                  <a:schemeClr val="bg1"/>
                </a:solidFill>
              </a:defRPr>
            </a:lvl2pPr>
            <a:lvl3pPr>
              <a:defRPr sz="1677">
                <a:solidFill>
                  <a:schemeClr val="bg1"/>
                </a:solidFill>
              </a:defRPr>
            </a:lvl3pPr>
            <a:lvl4pPr>
              <a:defRPr sz="1677">
                <a:solidFill>
                  <a:schemeClr val="bg1"/>
                </a:solidFill>
              </a:defRPr>
            </a:lvl4pPr>
            <a:lvl5pPr>
              <a:defRPr sz="1677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31" name="Tijdelijke aanduiding voor tekst 14">
            <a:extLst>
              <a:ext uri="{FF2B5EF4-FFF2-40B4-BE49-F238E27FC236}">
                <a16:creationId xmlns:a16="http://schemas.microsoft.com/office/drawing/2014/main" id="{7BCA5047-285E-4616-AF7C-30C41FBE50D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4880768" y="8083430"/>
            <a:ext cx="3369034" cy="423993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3" name="Tijdelijke aanduiding voor tekst 3">
            <a:extLst>
              <a:ext uri="{FF2B5EF4-FFF2-40B4-BE49-F238E27FC236}">
                <a16:creationId xmlns:a16="http://schemas.microsoft.com/office/drawing/2014/main" id="{33196E6E-959A-406E-A275-32D18E41825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896871" y="10288808"/>
            <a:ext cx="8777981" cy="9793572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087536" y="0"/>
                </a:lnTo>
                <a:cubicBezTo>
                  <a:pt x="32406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240614" y="2982912"/>
                  <a:pt x="3087536" y="2982912"/>
                </a:cubicBezTo>
                <a:lnTo>
                  <a:pt x="281143" y="2982912"/>
                </a:lnTo>
                <a:cubicBezTo>
                  <a:pt x="12806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1957" b="1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1677">
                <a:solidFill>
                  <a:schemeClr val="bg1"/>
                </a:solidFill>
              </a:defRPr>
            </a:lvl2pPr>
            <a:lvl3pPr>
              <a:defRPr sz="1677">
                <a:solidFill>
                  <a:schemeClr val="bg1"/>
                </a:solidFill>
              </a:defRPr>
            </a:lvl3pPr>
            <a:lvl4pPr>
              <a:defRPr sz="1677">
                <a:solidFill>
                  <a:schemeClr val="bg1"/>
                </a:solidFill>
              </a:defRPr>
            </a:lvl4pPr>
            <a:lvl5pPr>
              <a:defRPr sz="1677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34" name="Tijdelijke aanduiding voor tekst 14">
            <a:extLst>
              <a:ext uri="{FF2B5EF4-FFF2-40B4-BE49-F238E27FC236}">
                <a16:creationId xmlns:a16="http://schemas.microsoft.com/office/drawing/2014/main" id="{2BC9E580-784A-425F-A45F-E9BAE702C3A4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4601329" y="8083430"/>
            <a:ext cx="3369034" cy="423993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7" name="Tijdelijke aanduiding voor tekst 3">
            <a:extLst>
              <a:ext uri="{FF2B5EF4-FFF2-40B4-BE49-F238E27FC236}">
                <a16:creationId xmlns:a16="http://schemas.microsoft.com/office/drawing/2014/main" id="{20A32965-12AC-4768-9A3A-36933D48FA46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2036587" y="10288808"/>
            <a:ext cx="8777981" cy="9793572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087536" y="0"/>
                </a:lnTo>
                <a:cubicBezTo>
                  <a:pt x="32406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240614" y="2982912"/>
                  <a:pt x="3087536" y="2982912"/>
                </a:cubicBezTo>
                <a:lnTo>
                  <a:pt x="281143" y="2982912"/>
                </a:lnTo>
                <a:cubicBezTo>
                  <a:pt x="12806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1957" b="1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1677">
                <a:solidFill>
                  <a:schemeClr val="bg1"/>
                </a:solidFill>
              </a:defRPr>
            </a:lvl2pPr>
            <a:lvl3pPr>
              <a:defRPr sz="1677">
                <a:solidFill>
                  <a:schemeClr val="bg1"/>
                </a:solidFill>
              </a:defRPr>
            </a:lvl3pPr>
            <a:lvl4pPr>
              <a:defRPr sz="1677">
                <a:solidFill>
                  <a:schemeClr val="bg1"/>
                </a:solidFill>
              </a:defRPr>
            </a:lvl4pPr>
            <a:lvl5pPr>
              <a:defRPr sz="1677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52" name="Tijdelijke aanduiding voor tekst 14">
            <a:extLst>
              <a:ext uri="{FF2B5EF4-FFF2-40B4-BE49-F238E27FC236}">
                <a16:creationId xmlns:a16="http://schemas.microsoft.com/office/drawing/2014/main" id="{64B43F51-91B8-44C7-88A8-99F45ADD7CB4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24741051" y="8083430"/>
            <a:ext cx="3369034" cy="423993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pic>
        <p:nvPicPr>
          <p:cNvPr id="24" name="Afbeelding 23">
            <a:extLst>
              <a:ext uri="{FF2B5EF4-FFF2-40B4-BE49-F238E27FC236}">
                <a16:creationId xmlns:a16="http://schemas.microsoft.com/office/drawing/2014/main" id="{9808A347-7021-4A95-A1A8-D23F88DBAE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5" y="831727"/>
            <a:ext cx="9249575" cy="4281474"/>
          </a:xfrm>
          <a:prstGeom prst="rect">
            <a:avLst/>
          </a:prstGeom>
        </p:spPr>
      </p:pic>
      <p:grpSp>
        <p:nvGrpSpPr>
          <p:cNvPr id="25" name="Meer informatie">
            <a:extLst>
              <a:ext uri="{FF2B5EF4-FFF2-40B4-BE49-F238E27FC236}">
                <a16:creationId xmlns:a16="http://schemas.microsoft.com/office/drawing/2014/main" id="{690213C6-0742-45BA-8B4E-4C0A92C3C5FD}"/>
              </a:ext>
            </a:extLst>
          </p:cNvPr>
          <p:cNvGrpSpPr/>
          <p:nvPr userDrawn="1"/>
        </p:nvGrpSpPr>
        <p:grpSpPr>
          <a:xfrm>
            <a:off x="43487270" y="1774577"/>
            <a:ext cx="11147890" cy="3644433"/>
            <a:chOff x="-3740989" y="3458473"/>
            <a:chExt cx="3178018" cy="825544"/>
          </a:xfrm>
        </p:grpSpPr>
        <p:sp>
          <p:nvSpPr>
            <p:cNvPr id="26" name="Rechthoek 25">
              <a:extLst>
                <a:ext uri="{FF2B5EF4-FFF2-40B4-BE49-F238E27FC236}">
                  <a16:creationId xmlns:a16="http://schemas.microsoft.com/office/drawing/2014/main" id="{3BE197EF-126A-4B46-9B26-8400360B7CBF}"/>
                </a:ext>
              </a:extLst>
            </p:cNvPr>
            <p:cNvSpPr/>
            <p:nvPr userDrawn="1"/>
          </p:nvSpPr>
          <p:spPr>
            <a:xfrm>
              <a:off x="-3740989" y="3458473"/>
              <a:ext cx="2863716" cy="5921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1277217" eaLnBrk="1" fontAlgn="auto" latinLnBrk="0" hangingPunct="1">
                <a:lnSpc>
                  <a:spcPct val="90000"/>
                </a:lnSpc>
                <a:spcBef>
                  <a:spcPts val="839"/>
                </a:spcBef>
                <a:spcAft>
                  <a:spcPts val="839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conen vind je in de slide bibliotheek. </a:t>
              </a:r>
              <a:b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opieer (Ctrl-c) de icoon uit de bibliotheek en plak (Ctrl-v) deze op de gewenste plek. Iconen zijn aanpasbaar qua kleur en formaat.</a:t>
              </a:r>
            </a:p>
          </p:txBody>
        </p:sp>
        <p:cxnSp>
          <p:nvCxnSpPr>
            <p:cNvPr id="27" name="Rechte verbindingslijn 26">
              <a:extLst>
                <a:ext uri="{FF2B5EF4-FFF2-40B4-BE49-F238E27FC236}">
                  <a16:creationId xmlns:a16="http://schemas.microsoft.com/office/drawing/2014/main" id="{33F136FD-3FEC-49F3-8795-9972066703F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740987" y="4284017"/>
              <a:ext cx="3178016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8" name="Rechthoek 27">
            <a:extLst>
              <a:ext uri="{FF2B5EF4-FFF2-40B4-BE49-F238E27FC236}">
                <a16:creationId xmlns:a16="http://schemas.microsoft.com/office/drawing/2014/main" id="{8F8FF5C8-DEE6-4FE5-99DF-FA8EA5753A2D}"/>
              </a:ext>
            </a:extLst>
          </p:cNvPr>
          <p:cNvSpPr/>
          <p:nvPr userDrawn="1"/>
        </p:nvSpPr>
        <p:spPr>
          <a:xfrm>
            <a:off x="43487275" y="5"/>
            <a:ext cx="11147885" cy="84588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defTabSz="127721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957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rPr>
              <a:t>ICOON invoegen / veranderen</a:t>
            </a:r>
          </a:p>
        </p:txBody>
      </p:sp>
      <p:cxnSp>
        <p:nvCxnSpPr>
          <p:cNvPr id="32" name="Rechte verbindingslijn 31">
            <a:extLst>
              <a:ext uri="{FF2B5EF4-FFF2-40B4-BE49-F238E27FC236}">
                <a16:creationId xmlns:a16="http://schemas.microsoft.com/office/drawing/2014/main" id="{3860E628-0CFC-43D4-998E-60ECE6AFFA74}"/>
              </a:ext>
            </a:extLst>
          </p:cNvPr>
          <p:cNvCxnSpPr>
            <a:cxnSpLocks/>
          </p:cNvCxnSpPr>
          <p:nvPr userDrawn="1"/>
        </p:nvCxnSpPr>
        <p:spPr>
          <a:xfrm>
            <a:off x="43487270" y="1066717"/>
            <a:ext cx="11147890" cy="0"/>
          </a:xfrm>
          <a:prstGeom prst="line">
            <a:avLst/>
          </a:prstGeom>
          <a:noFill/>
          <a:ln w="3175" cap="flat" cmpd="sng" algn="ctr">
            <a:solidFill>
              <a:schemeClr val="accent1"/>
            </a:solidFill>
            <a:prstDash val="solid"/>
          </a:ln>
          <a:effectLst/>
        </p:spPr>
      </p:cxnSp>
      <p:grpSp>
        <p:nvGrpSpPr>
          <p:cNvPr id="35" name="Instructie">
            <a:extLst>
              <a:ext uri="{FF2B5EF4-FFF2-40B4-BE49-F238E27FC236}">
                <a16:creationId xmlns:a16="http://schemas.microsoft.com/office/drawing/2014/main" id="{FADC590A-80D0-4F8E-AB42-3D1236AFE0BF}"/>
              </a:ext>
            </a:extLst>
          </p:cNvPr>
          <p:cNvGrpSpPr/>
          <p:nvPr userDrawn="1"/>
        </p:nvGrpSpPr>
        <p:grpSpPr>
          <a:xfrm>
            <a:off x="43506534" y="6474547"/>
            <a:ext cx="11164510" cy="11743958"/>
            <a:chOff x="-3426088" y="4512342"/>
            <a:chExt cx="3182755" cy="2660264"/>
          </a:xfrm>
        </p:grpSpPr>
        <p:sp>
          <p:nvSpPr>
            <p:cNvPr id="36" name="Rechthoek 127">
              <a:extLst>
                <a:ext uri="{FF2B5EF4-FFF2-40B4-BE49-F238E27FC236}">
                  <a16:creationId xmlns:a16="http://schemas.microsoft.com/office/drawing/2014/main" id="{45F1DBA5-C73D-47EC-ADFF-A0F5C04EEAD4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1277217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957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49" name="Rechte verbindingslijn 128">
              <a:extLst>
                <a:ext uri="{FF2B5EF4-FFF2-40B4-BE49-F238E27FC236}">
                  <a16:creationId xmlns:a16="http://schemas.microsoft.com/office/drawing/2014/main" id="{77783C23-AFCD-49BD-A92D-5F7D4448FD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50" name="Rechthoek 130">
              <a:extLst>
                <a:ext uri="{FF2B5EF4-FFF2-40B4-BE49-F238E27FC236}">
                  <a16:creationId xmlns:a16="http://schemas.microsoft.com/office/drawing/2014/main" id="{42C611A4-79B2-4229-8F2A-1E8AC3A31A20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1277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51" name="Rechthoek 133">
              <a:extLst>
                <a:ext uri="{FF2B5EF4-FFF2-40B4-BE49-F238E27FC236}">
                  <a16:creationId xmlns:a16="http://schemas.microsoft.com/office/drawing/2014/main" id="{6440ACFB-64B8-408A-B4F1-1B6AD802422F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239479" marR="0" lvl="0" indent="-239479" algn="l" defTabSz="1277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1537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53" name="Rechthoek 136">
              <a:extLst>
                <a:ext uri="{FF2B5EF4-FFF2-40B4-BE49-F238E27FC236}">
                  <a16:creationId xmlns:a16="http://schemas.microsoft.com/office/drawing/2014/main" id="{EF5C14F0-DB8F-444D-9146-49F9485E0E0D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239479" marR="0" lvl="0" indent="-239479" algn="l" defTabSz="1277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1537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54" name="Rechthoek 139">
              <a:extLst>
                <a:ext uri="{FF2B5EF4-FFF2-40B4-BE49-F238E27FC236}">
                  <a16:creationId xmlns:a16="http://schemas.microsoft.com/office/drawing/2014/main" id="{AEB7FAB6-F4A9-4846-B64C-DD3D29A78C76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239479" marR="0" lvl="0" indent="-239479" algn="l" defTabSz="1277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537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55" name="Rechte verbindingslijn 140">
              <a:extLst>
                <a:ext uri="{FF2B5EF4-FFF2-40B4-BE49-F238E27FC236}">
                  <a16:creationId xmlns:a16="http://schemas.microsoft.com/office/drawing/2014/main" id="{A372F14B-991C-4BFB-9008-D41A0C5D7D6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56" name="Groep 101">
            <a:extLst>
              <a:ext uri="{FF2B5EF4-FFF2-40B4-BE49-F238E27FC236}">
                <a16:creationId xmlns:a16="http://schemas.microsoft.com/office/drawing/2014/main" id="{F32B50C5-F5DF-40DC-9D58-EECC0E8BAB16}"/>
              </a:ext>
            </a:extLst>
          </p:cNvPr>
          <p:cNvGrpSpPr/>
          <p:nvPr userDrawn="1"/>
        </p:nvGrpSpPr>
        <p:grpSpPr>
          <a:xfrm>
            <a:off x="-12058269" y="6335"/>
            <a:ext cx="11229652" cy="26966673"/>
            <a:chOff x="-3437547" y="1434"/>
            <a:chExt cx="3201327" cy="6108543"/>
          </a:xfrm>
        </p:grpSpPr>
        <p:sp>
          <p:nvSpPr>
            <p:cNvPr id="57" name="Rechthoek 102">
              <a:extLst>
                <a:ext uri="{FF2B5EF4-FFF2-40B4-BE49-F238E27FC236}">
                  <a16:creationId xmlns:a16="http://schemas.microsoft.com/office/drawing/2014/main" id="{CBDF2DBA-2D25-4165-91FC-6142F217B2B3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1277217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957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1957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1957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58" name="Ovaal 103">
              <a:extLst>
                <a:ext uri="{FF2B5EF4-FFF2-40B4-BE49-F238E27FC236}">
                  <a16:creationId xmlns:a16="http://schemas.microsoft.com/office/drawing/2014/main" id="{D29A10E2-9C95-40AE-89E2-B52D5740CB0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59" name="Rechte verbindingslijn 104">
              <a:extLst>
                <a:ext uri="{FF2B5EF4-FFF2-40B4-BE49-F238E27FC236}">
                  <a16:creationId xmlns:a16="http://schemas.microsoft.com/office/drawing/2014/main" id="{97E88656-A2DF-433D-9E92-D5FFBDBC3B1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60" name="Groep 105">
              <a:extLst>
                <a:ext uri="{FF2B5EF4-FFF2-40B4-BE49-F238E27FC236}">
                  <a16:creationId xmlns:a16="http://schemas.microsoft.com/office/drawing/2014/main" id="{EB18F6F1-E75A-4350-BBCE-10C44D6D53B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85" name="Rechthoek 130">
                <a:extLst>
                  <a:ext uri="{FF2B5EF4-FFF2-40B4-BE49-F238E27FC236}">
                    <a16:creationId xmlns:a16="http://schemas.microsoft.com/office/drawing/2014/main" id="{DE9CD6B4-5F8A-48A0-AB14-32D4B8055E08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1117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86" name="Rechte verbindingslijn 131">
                <a:extLst>
                  <a:ext uri="{FF2B5EF4-FFF2-40B4-BE49-F238E27FC236}">
                    <a16:creationId xmlns:a16="http://schemas.microsoft.com/office/drawing/2014/main" id="{E0EEF84F-9952-4683-9FE0-946C1D2FF74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Rechte verbindingslijn 132">
                <a:extLst>
                  <a:ext uri="{FF2B5EF4-FFF2-40B4-BE49-F238E27FC236}">
                    <a16:creationId xmlns:a16="http://schemas.microsoft.com/office/drawing/2014/main" id="{5D75A59A-D3EA-43ED-BB28-A0DCF4FFC69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8" name="Rechthoek 133">
                <a:extLst>
                  <a:ext uri="{FF2B5EF4-FFF2-40B4-BE49-F238E27FC236}">
                    <a16:creationId xmlns:a16="http://schemas.microsoft.com/office/drawing/2014/main" id="{5C18C196-60F5-408F-B1D7-0FE87AF2C820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398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89" name="Groep 134">
                <a:extLst>
                  <a:ext uri="{FF2B5EF4-FFF2-40B4-BE49-F238E27FC236}">
                    <a16:creationId xmlns:a16="http://schemas.microsoft.com/office/drawing/2014/main" id="{19940C93-7077-4061-997B-B9764262BFC3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28" name="Groep 175">
                  <a:extLst>
                    <a:ext uri="{FF2B5EF4-FFF2-40B4-BE49-F238E27FC236}">
                      <a16:creationId xmlns:a16="http://schemas.microsoft.com/office/drawing/2014/main" id="{6F673296-7E0C-45FA-8B6C-5AD450A6B2F6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32" name="Rechte verbindingslijn 179">
                    <a:extLst>
                      <a:ext uri="{FF2B5EF4-FFF2-40B4-BE49-F238E27FC236}">
                        <a16:creationId xmlns:a16="http://schemas.microsoft.com/office/drawing/2014/main" id="{BD7C17A5-AF6B-4DA9-817C-CA9F0CC4DA3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33" name="Rechte verbindingslijn 180">
                    <a:extLst>
                      <a:ext uri="{FF2B5EF4-FFF2-40B4-BE49-F238E27FC236}">
                        <a16:creationId xmlns:a16="http://schemas.microsoft.com/office/drawing/2014/main" id="{19BC700F-4443-4FF9-A02F-0B5AF41D159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34" name="Rechte verbindingslijn 181">
                    <a:extLst>
                      <a:ext uri="{FF2B5EF4-FFF2-40B4-BE49-F238E27FC236}">
                        <a16:creationId xmlns:a16="http://schemas.microsoft.com/office/drawing/2014/main" id="{DBEE842F-D90D-492F-BAFD-C74D0E885AC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35" name="Rechte verbindingslijn 182">
                    <a:extLst>
                      <a:ext uri="{FF2B5EF4-FFF2-40B4-BE49-F238E27FC236}">
                        <a16:creationId xmlns:a16="http://schemas.microsoft.com/office/drawing/2014/main" id="{EBCB2C7B-9D3E-4486-92F4-FF162407DF6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36" name="Rechte verbindingslijn 183">
                    <a:extLst>
                      <a:ext uri="{FF2B5EF4-FFF2-40B4-BE49-F238E27FC236}">
                        <a16:creationId xmlns:a16="http://schemas.microsoft.com/office/drawing/2014/main" id="{A114EA34-F6AA-4148-AEC2-89F096140E9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29" name="Groep 176">
                  <a:extLst>
                    <a:ext uri="{FF2B5EF4-FFF2-40B4-BE49-F238E27FC236}">
                      <a16:creationId xmlns:a16="http://schemas.microsoft.com/office/drawing/2014/main" id="{092CE0FA-4384-4F8C-AAC6-ACA9FDCD7CBA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30" name="Rechthoek 177">
                    <a:extLst>
                      <a:ext uri="{FF2B5EF4-FFF2-40B4-BE49-F238E27FC236}">
                        <a16:creationId xmlns:a16="http://schemas.microsoft.com/office/drawing/2014/main" id="{6FD58914-CDDA-4DD2-8396-637426CA28F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398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1" name="Pijl: punthaak 178">
                    <a:extLst>
                      <a:ext uri="{FF2B5EF4-FFF2-40B4-BE49-F238E27FC236}">
                        <a16:creationId xmlns:a16="http://schemas.microsoft.com/office/drawing/2014/main" id="{957093B8-0EEC-4A99-814E-A4CB94DD16F0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398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90" name="Groep 135">
                <a:extLst>
                  <a:ext uri="{FF2B5EF4-FFF2-40B4-BE49-F238E27FC236}">
                    <a16:creationId xmlns:a16="http://schemas.microsoft.com/office/drawing/2014/main" id="{CD1001C2-E5EE-420E-8536-85CD39EA1C77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19" name="Groep 166">
                  <a:extLst>
                    <a:ext uri="{FF2B5EF4-FFF2-40B4-BE49-F238E27FC236}">
                      <a16:creationId xmlns:a16="http://schemas.microsoft.com/office/drawing/2014/main" id="{DE132F0C-0A9F-4EC9-891C-E9F9B68D8E1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23" name="Rechte verbindingslijn 170">
                    <a:extLst>
                      <a:ext uri="{FF2B5EF4-FFF2-40B4-BE49-F238E27FC236}">
                        <a16:creationId xmlns:a16="http://schemas.microsoft.com/office/drawing/2014/main" id="{55DCCA61-D15C-4390-8DFC-78785E15B69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24" name="Rechte verbindingslijn 171">
                    <a:extLst>
                      <a:ext uri="{FF2B5EF4-FFF2-40B4-BE49-F238E27FC236}">
                        <a16:creationId xmlns:a16="http://schemas.microsoft.com/office/drawing/2014/main" id="{87498E5D-7C35-4D4D-B5C5-774175558A5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25" name="Rechte verbindingslijn 172">
                    <a:extLst>
                      <a:ext uri="{FF2B5EF4-FFF2-40B4-BE49-F238E27FC236}">
                        <a16:creationId xmlns:a16="http://schemas.microsoft.com/office/drawing/2014/main" id="{A528AA5A-9228-4951-A983-E27FB75A76D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26" name="Rechte verbindingslijn 173">
                    <a:extLst>
                      <a:ext uri="{FF2B5EF4-FFF2-40B4-BE49-F238E27FC236}">
                        <a16:creationId xmlns:a16="http://schemas.microsoft.com/office/drawing/2014/main" id="{A5307FF5-A085-439D-BF7E-6AFA877379B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27" name="Rechte verbindingslijn 174">
                    <a:extLst>
                      <a:ext uri="{FF2B5EF4-FFF2-40B4-BE49-F238E27FC236}">
                        <a16:creationId xmlns:a16="http://schemas.microsoft.com/office/drawing/2014/main" id="{C2B4688C-BDE5-42D1-8B89-4A2301AC8CB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20" name="Groep 167">
                  <a:extLst>
                    <a:ext uri="{FF2B5EF4-FFF2-40B4-BE49-F238E27FC236}">
                      <a16:creationId xmlns:a16="http://schemas.microsoft.com/office/drawing/2014/main" id="{D52C410B-8B34-4FA6-BF77-63EB359B0C38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21" name="Rechthoek 168">
                    <a:extLst>
                      <a:ext uri="{FF2B5EF4-FFF2-40B4-BE49-F238E27FC236}">
                        <a16:creationId xmlns:a16="http://schemas.microsoft.com/office/drawing/2014/main" id="{D36549A7-0C35-4226-A84B-01396765238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398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22" name="Pijl: punthaak 169">
                    <a:extLst>
                      <a:ext uri="{FF2B5EF4-FFF2-40B4-BE49-F238E27FC236}">
                        <a16:creationId xmlns:a16="http://schemas.microsoft.com/office/drawing/2014/main" id="{A14BBA7E-5CFD-4DF3-BF01-3E874BB67F9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398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91" name="Rechte verbindingslijn 136">
                <a:extLst>
                  <a:ext uri="{FF2B5EF4-FFF2-40B4-BE49-F238E27FC236}">
                    <a16:creationId xmlns:a16="http://schemas.microsoft.com/office/drawing/2014/main" id="{4B1B2E33-BF7F-4EEC-B96B-0E17879752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92" name="Rechte verbindingslijn 137">
                <a:extLst>
                  <a:ext uri="{FF2B5EF4-FFF2-40B4-BE49-F238E27FC236}">
                    <a16:creationId xmlns:a16="http://schemas.microsoft.com/office/drawing/2014/main" id="{0D92B8CF-B343-45CD-89D3-5D51D0F2446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93" name="Groep 138">
                <a:extLst>
                  <a:ext uri="{FF2B5EF4-FFF2-40B4-BE49-F238E27FC236}">
                    <a16:creationId xmlns:a16="http://schemas.microsoft.com/office/drawing/2014/main" id="{74D5AAE5-B6F5-4376-A410-133105F88F82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08" name="Rechthoek 155">
                  <a:extLst>
                    <a:ext uri="{FF2B5EF4-FFF2-40B4-BE49-F238E27FC236}">
                      <a16:creationId xmlns:a16="http://schemas.microsoft.com/office/drawing/2014/main" id="{2D36C82B-4D15-41ED-BBC2-2A6364E2A10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468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09" name="Groep 156">
                  <a:extLst>
                    <a:ext uri="{FF2B5EF4-FFF2-40B4-BE49-F238E27FC236}">
                      <a16:creationId xmlns:a16="http://schemas.microsoft.com/office/drawing/2014/main" id="{3D1C3FFD-BFEF-4D75-A980-D84DCF889C0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10" name="Groep 157">
                    <a:extLst>
                      <a:ext uri="{FF2B5EF4-FFF2-40B4-BE49-F238E27FC236}">
                        <a16:creationId xmlns:a16="http://schemas.microsoft.com/office/drawing/2014/main" id="{7DCA84F5-3106-409F-903D-F0A920BB85C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14" name="Rechte verbindingslijn 161">
                      <a:extLst>
                        <a:ext uri="{FF2B5EF4-FFF2-40B4-BE49-F238E27FC236}">
                          <a16:creationId xmlns:a16="http://schemas.microsoft.com/office/drawing/2014/main" id="{504B250A-971C-4E4D-8870-73794C3093F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15" name="Rechte verbindingslijn 162">
                      <a:extLst>
                        <a:ext uri="{FF2B5EF4-FFF2-40B4-BE49-F238E27FC236}">
                          <a16:creationId xmlns:a16="http://schemas.microsoft.com/office/drawing/2014/main" id="{D81D121E-61BB-43EF-8463-86E1B47ED6E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16" name="Rechte verbindingslijn 163">
                      <a:extLst>
                        <a:ext uri="{FF2B5EF4-FFF2-40B4-BE49-F238E27FC236}">
                          <a16:creationId xmlns:a16="http://schemas.microsoft.com/office/drawing/2014/main" id="{D570ABC2-7B44-45A9-97DD-BA0996A9EAB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17" name="Rechte verbindingslijn 164">
                      <a:extLst>
                        <a:ext uri="{FF2B5EF4-FFF2-40B4-BE49-F238E27FC236}">
                          <a16:creationId xmlns:a16="http://schemas.microsoft.com/office/drawing/2014/main" id="{F34E07C9-EA9F-4D6A-9E85-7AA72F6ED4F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18" name="Rechte verbindingslijn 165">
                      <a:extLst>
                        <a:ext uri="{FF2B5EF4-FFF2-40B4-BE49-F238E27FC236}">
                          <a16:creationId xmlns:a16="http://schemas.microsoft.com/office/drawing/2014/main" id="{D273A663-9681-4A43-90E1-73BBE6FCC34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11" name="Groep 158">
                    <a:extLst>
                      <a:ext uri="{FF2B5EF4-FFF2-40B4-BE49-F238E27FC236}">
                        <a16:creationId xmlns:a16="http://schemas.microsoft.com/office/drawing/2014/main" id="{7EE673A5-2FC3-4498-9B5B-4CE47F62CA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12" name="Rechthoek 159">
                      <a:extLst>
                        <a:ext uri="{FF2B5EF4-FFF2-40B4-BE49-F238E27FC236}">
                          <a16:creationId xmlns:a16="http://schemas.microsoft.com/office/drawing/2014/main" id="{6E328675-3F18-45C1-ACEB-51CB6C5583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398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13" name="Pijl: punthaak 160">
                      <a:extLst>
                        <a:ext uri="{FF2B5EF4-FFF2-40B4-BE49-F238E27FC236}">
                          <a16:creationId xmlns:a16="http://schemas.microsoft.com/office/drawing/2014/main" id="{39C8C05C-D314-4B55-B63B-73FEA3BA398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398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94" name="Groep 139">
                <a:extLst>
                  <a:ext uri="{FF2B5EF4-FFF2-40B4-BE49-F238E27FC236}">
                    <a16:creationId xmlns:a16="http://schemas.microsoft.com/office/drawing/2014/main" id="{ACE6E3A3-7D2D-40D7-82A9-A99F5F52FD61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97" name="Rechthoek 142">
                  <a:extLst>
                    <a:ext uri="{FF2B5EF4-FFF2-40B4-BE49-F238E27FC236}">
                      <a16:creationId xmlns:a16="http://schemas.microsoft.com/office/drawing/2014/main" id="{6865F25F-7BC9-49F3-A5BF-19EEAF178EE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468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98" name="Groep 143">
                  <a:extLst>
                    <a:ext uri="{FF2B5EF4-FFF2-40B4-BE49-F238E27FC236}">
                      <a16:creationId xmlns:a16="http://schemas.microsoft.com/office/drawing/2014/main" id="{B03AEB2F-8C18-4473-A080-67CF8665523B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99" name="Groep 144">
                    <a:extLst>
                      <a:ext uri="{FF2B5EF4-FFF2-40B4-BE49-F238E27FC236}">
                        <a16:creationId xmlns:a16="http://schemas.microsoft.com/office/drawing/2014/main" id="{800277B1-44E7-44AA-B7A5-1E56A45968B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03" name="Rechte verbindingslijn 150">
                      <a:extLst>
                        <a:ext uri="{FF2B5EF4-FFF2-40B4-BE49-F238E27FC236}">
                          <a16:creationId xmlns:a16="http://schemas.microsoft.com/office/drawing/2014/main" id="{23496289-7EAF-413D-89FC-B83F32DAB1E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4" name="Rechte verbindingslijn 151">
                      <a:extLst>
                        <a:ext uri="{FF2B5EF4-FFF2-40B4-BE49-F238E27FC236}">
                          <a16:creationId xmlns:a16="http://schemas.microsoft.com/office/drawing/2014/main" id="{1389E0CD-2D67-4F2F-B340-3E596BCF048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5" name="Rechte verbindingslijn 152">
                      <a:extLst>
                        <a:ext uri="{FF2B5EF4-FFF2-40B4-BE49-F238E27FC236}">
                          <a16:creationId xmlns:a16="http://schemas.microsoft.com/office/drawing/2014/main" id="{CD7D94CC-9D52-40FB-B902-642E41391D2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6" name="Rechte verbindingslijn 153">
                      <a:extLst>
                        <a:ext uri="{FF2B5EF4-FFF2-40B4-BE49-F238E27FC236}">
                          <a16:creationId xmlns:a16="http://schemas.microsoft.com/office/drawing/2014/main" id="{2C919970-1422-40B1-B7EC-0761913B368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7" name="Rechte verbindingslijn 154">
                      <a:extLst>
                        <a:ext uri="{FF2B5EF4-FFF2-40B4-BE49-F238E27FC236}">
                          <a16:creationId xmlns:a16="http://schemas.microsoft.com/office/drawing/2014/main" id="{A297A80B-847C-4411-AF8B-D8CB7AB1C80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00" name="Groep 147">
                    <a:extLst>
                      <a:ext uri="{FF2B5EF4-FFF2-40B4-BE49-F238E27FC236}">
                        <a16:creationId xmlns:a16="http://schemas.microsoft.com/office/drawing/2014/main" id="{0534B01F-59A0-4609-BE61-E17E7F6B01A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01" name="Rechthoek 148">
                      <a:extLst>
                        <a:ext uri="{FF2B5EF4-FFF2-40B4-BE49-F238E27FC236}">
                          <a16:creationId xmlns:a16="http://schemas.microsoft.com/office/drawing/2014/main" id="{8A826474-1F20-453B-ACCF-31C11B7DFAA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398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2" name="Pijl: punthaak 149">
                      <a:extLst>
                        <a:ext uri="{FF2B5EF4-FFF2-40B4-BE49-F238E27FC236}">
                          <a16:creationId xmlns:a16="http://schemas.microsoft.com/office/drawing/2014/main" id="{B6F09AC9-9599-4102-9C26-104E31B18398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398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95" name="Rechthoek 140">
                <a:extLst>
                  <a:ext uri="{FF2B5EF4-FFF2-40B4-BE49-F238E27FC236}">
                    <a16:creationId xmlns:a16="http://schemas.microsoft.com/office/drawing/2014/main" id="{4471D6F0-E944-4471-9D6B-287F00F1422A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1277217" eaLnBrk="1" fontAlgn="auto" latinLnBrk="0" hangingPunct="1">
                  <a:lnSpc>
                    <a:spcPct val="90000"/>
                  </a:lnSpc>
                  <a:spcBef>
                    <a:spcPts val="839"/>
                  </a:spcBef>
                  <a:spcAft>
                    <a:spcPts val="839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537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96" name="Rechthoek 141">
                <a:extLst>
                  <a:ext uri="{FF2B5EF4-FFF2-40B4-BE49-F238E27FC236}">
                    <a16:creationId xmlns:a16="http://schemas.microsoft.com/office/drawing/2014/main" id="{DE151E76-5636-4227-8FA2-A1A570A6E735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1277217" eaLnBrk="1" fontAlgn="auto" latinLnBrk="0" hangingPunct="1">
                  <a:lnSpc>
                    <a:spcPct val="90000"/>
                  </a:lnSpc>
                  <a:spcBef>
                    <a:spcPts val="839"/>
                  </a:spcBef>
                  <a:spcAft>
                    <a:spcPts val="839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537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61" name="Rechte verbindingslijn 106">
              <a:extLst>
                <a:ext uri="{FF2B5EF4-FFF2-40B4-BE49-F238E27FC236}">
                  <a16:creationId xmlns:a16="http://schemas.microsoft.com/office/drawing/2014/main" id="{508F624B-421E-4D3D-9896-1F9D83DBC91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62" name="Rechthoek 107">
              <a:extLst>
                <a:ext uri="{FF2B5EF4-FFF2-40B4-BE49-F238E27FC236}">
                  <a16:creationId xmlns:a16="http://schemas.microsoft.com/office/drawing/2014/main" id="{BC36AB0E-7EE0-4671-A263-301FC979D0EC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1537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63" name="Ovaal 108">
              <a:extLst>
                <a:ext uri="{FF2B5EF4-FFF2-40B4-BE49-F238E27FC236}">
                  <a16:creationId xmlns:a16="http://schemas.microsoft.com/office/drawing/2014/main" id="{5B98D948-9ABC-4964-81CA-9A17AA10B300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64" name="Rechthoek 109">
              <a:extLst>
                <a:ext uri="{FF2B5EF4-FFF2-40B4-BE49-F238E27FC236}">
                  <a16:creationId xmlns:a16="http://schemas.microsoft.com/office/drawing/2014/main" id="{577D5868-7C9B-4E25-B1D7-EA6FEF97EBE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1277217" rtl="0" eaLnBrk="1" fontAlgn="auto" latinLnBrk="0" hangingPunct="1">
                <a:lnSpc>
                  <a:spcPct val="90000"/>
                </a:lnSpc>
                <a:spcBef>
                  <a:spcPts val="839"/>
                </a:spcBef>
                <a:spcAft>
                  <a:spcPts val="839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65" name="Ovaal 110">
              <a:extLst>
                <a:ext uri="{FF2B5EF4-FFF2-40B4-BE49-F238E27FC236}">
                  <a16:creationId xmlns:a16="http://schemas.microsoft.com/office/drawing/2014/main" id="{CD9CFDF3-365E-44E2-BE31-A4460983B826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66" name="Rechthoek 111">
              <a:extLst>
                <a:ext uri="{FF2B5EF4-FFF2-40B4-BE49-F238E27FC236}">
                  <a16:creationId xmlns:a16="http://schemas.microsoft.com/office/drawing/2014/main" id="{0ED96630-D614-4315-ADE6-74ACF1BC149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252781" marR="0" lvl="0" indent="-252781" defTabSz="1277217" eaLnBrk="1" fontAlgn="auto" latinLnBrk="0" hangingPunct="1">
                <a:lnSpc>
                  <a:spcPct val="90000"/>
                </a:lnSpc>
                <a:spcBef>
                  <a:spcPts val="839"/>
                </a:spcBef>
                <a:spcAft>
                  <a:spcPts val="839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1537" noProof="0"/>
                <a:t>Derde Niveau</a:t>
              </a:r>
              <a:endParaRPr kumimoji="0" lang="nl-NL" sz="153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67" name="Ovaal 112">
              <a:extLst>
                <a:ext uri="{FF2B5EF4-FFF2-40B4-BE49-F238E27FC236}">
                  <a16:creationId xmlns:a16="http://schemas.microsoft.com/office/drawing/2014/main" id="{AEBEFB1B-DBFD-4B2F-9F55-60ABEBACF993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68" name="Rechthoek 113">
              <a:extLst>
                <a:ext uri="{FF2B5EF4-FFF2-40B4-BE49-F238E27FC236}">
                  <a16:creationId xmlns:a16="http://schemas.microsoft.com/office/drawing/2014/main" id="{B1756332-2CB5-4FEB-B69E-ED3F3B748909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239479" marR="0" lvl="0" indent="-239479" defTabSz="1277217" eaLnBrk="1" fontAlgn="auto" latinLnBrk="0" hangingPunct="1">
                <a:lnSpc>
                  <a:spcPct val="90000"/>
                </a:lnSpc>
                <a:spcBef>
                  <a:spcPts val="839"/>
                </a:spcBef>
                <a:spcAft>
                  <a:spcPts val="839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69" name="Ovaal 114">
              <a:extLst>
                <a:ext uri="{FF2B5EF4-FFF2-40B4-BE49-F238E27FC236}">
                  <a16:creationId xmlns:a16="http://schemas.microsoft.com/office/drawing/2014/main" id="{682E0D15-6D5E-42B9-BDAE-C1FA036D02D0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70" name="Rechthoek 115">
              <a:extLst>
                <a:ext uri="{FF2B5EF4-FFF2-40B4-BE49-F238E27FC236}">
                  <a16:creationId xmlns:a16="http://schemas.microsoft.com/office/drawing/2014/main" id="{E6702AD8-7BA1-4B14-91A3-A6097EC40CC3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19306" marR="0" lvl="0" indent="-319306" defTabSz="1277217" eaLnBrk="1" fontAlgn="auto" latinLnBrk="0" hangingPunct="1">
                <a:lnSpc>
                  <a:spcPct val="90000"/>
                </a:lnSpc>
                <a:spcBef>
                  <a:spcPts val="839"/>
                </a:spcBef>
                <a:spcAft>
                  <a:spcPts val="839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1677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71" name="Rechte verbindingslijn 116">
              <a:extLst>
                <a:ext uri="{FF2B5EF4-FFF2-40B4-BE49-F238E27FC236}">
                  <a16:creationId xmlns:a16="http://schemas.microsoft.com/office/drawing/2014/main" id="{8F2B8678-6E3C-4988-B2F0-3F9A81ED0B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72" name="Meer informatie">
              <a:extLst>
                <a:ext uri="{FF2B5EF4-FFF2-40B4-BE49-F238E27FC236}">
                  <a16:creationId xmlns:a16="http://schemas.microsoft.com/office/drawing/2014/main" id="{22415663-4564-4CAA-9C80-25A86A0FA9F6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82" name="Freeform 101">
                <a:extLst>
                  <a:ext uri="{FF2B5EF4-FFF2-40B4-BE49-F238E27FC236}">
                    <a16:creationId xmlns:a16="http://schemas.microsoft.com/office/drawing/2014/main" id="{86CBE978-7A27-4139-927B-2196A01054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537" noProof="0"/>
              </a:p>
            </p:txBody>
          </p:sp>
          <p:sp>
            <p:nvSpPr>
              <p:cNvPr id="83" name="Rechthoek 128">
                <a:extLst>
                  <a:ext uri="{FF2B5EF4-FFF2-40B4-BE49-F238E27FC236}">
                    <a16:creationId xmlns:a16="http://schemas.microsoft.com/office/drawing/2014/main" id="{00D54B3E-70D6-4045-9366-81395E5FC684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1277217" eaLnBrk="1" fontAlgn="auto" latinLnBrk="0" hangingPunct="1">
                  <a:lnSpc>
                    <a:spcPct val="90000"/>
                  </a:lnSpc>
                  <a:spcBef>
                    <a:spcPts val="839"/>
                  </a:spcBef>
                  <a:spcAft>
                    <a:spcPts val="839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537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537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537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537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1537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84" name="Rechte verbindingslijn 129">
                <a:extLst>
                  <a:ext uri="{FF2B5EF4-FFF2-40B4-BE49-F238E27FC236}">
                    <a16:creationId xmlns:a16="http://schemas.microsoft.com/office/drawing/2014/main" id="{67E8CD67-AFDA-4DE3-91A6-686326BB4AD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73" name="Rechthoek 118">
              <a:extLst>
                <a:ext uri="{FF2B5EF4-FFF2-40B4-BE49-F238E27FC236}">
                  <a16:creationId xmlns:a16="http://schemas.microsoft.com/office/drawing/2014/main" id="{B24C4619-CB64-40EC-AB2A-9286FAE49061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1277217" eaLnBrk="1" fontAlgn="auto" latinLnBrk="0" hangingPunct="1">
                <a:lnSpc>
                  <a:spcPct val="90000"/>
                </a:lnSpc>
                <a:spcBef>
                  <a:spcPts val="839"/>
                </a:spcBef>
                <a:spcAft>
                  <a:spcPts val="839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74" name="Ovaal 119">
              <a:extLst>
                <a:ext uri="{FF2B5EF4-FFF2-40B4-BE49-F238E27FC236}">
                  <a16:creationId xmlns:a16="http://schemas.microsoft.com/office/drawing/2014/main" id="{529B5E54-B1C8-40AA-8F75-8BE43203321B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75" name="Rechthoek 120">
              <a:extLst>
                <a:ext uri="{FF2B5EF4-FFF2-40B4-BE49-F238E27FC236}">
                  <a16:creationId xmlns:a16="http://schemas.microsoft.com/office/drawing/2014/main" id="{F1A27840-C9C1-46EC-A99D-D2655C5E5074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498913" marR="0" lvl="0" indent="-252781" algn="l" defTabSz="1277217" rtl="0" eaLnBrk="1" fontAlgn="auto" latinLnBrk="0" hangingPunct="1">
                <a:lnSpc>
                  <a:spcPct val="90000"/>
                </a:lnSpc>
                <a:spcBef>
                  <a:spcPts val="839"/>
                </a:spcBef>
                <a:spcAft>
                  <a:spcPts val="839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537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1537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76" name="Ovaal 121">
              <a:extLst>
                <a:ext uri="{FF2B5EF4-FFF2-40B4-BE49-F238E27FC236}">
                  <a16:creationId xmlns:a16="http://schemas.microsoft.com/office/drawing/2014/main" id="{7CF30C22-57E4-40FA-B7E9-35CE66C5CC7E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77" name="Rechthoek 122">
              <a:extLst>
                <a:ext uri="{FF2B5EF4-FFF2-40B4-BE49-F238E27FC236}">
                  <a16:creationId xmlns:a16="http://schemas.microsoft.com/office/drawing/2014/main" id="{76BBA366-5089-4662-94BD-6333C8A43CB9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756132" marR="0" lvl="7" indent="-503347" algn="l" defTabSz="1277217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1677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1468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78" name="Ovaal 123">
              <a:extLst>
                <a:ext uri="{FF2B5EF4-FFF2-40B4-BE49-F238E27FC236}">
                  <a16:creationId xmlns:a16="http://schemas.microsoft.com/office/drawing/2014/main" id="{7209C35B-1477-433B-8787-AC8C65833602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79" name="Rechthoek 124">
              <a:extLst>
                <a:ext uri="{FF2B5EF4-FFF2-40B4-BE49-F238E27FC236}">
                  <a16:creationId xmlns:a16="http://schemas.microsoft.com/office/drawing/2014/main" id="{7E11705F-BE32-40EE-807B-EE55642F1BED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1277217" rtl="0" eaLnBrk="1" fontAlgn="auto" latinLnBrk="0" hangingPunct="1">
                <a:lnSpc>
                  <a:spcPct val="90000"/>
                </a:lnSpc>
                <a:spcBef>
                  <a:spcPts val="839"/>
                </a:spcBef>
                <a:spcAft>
                  <a:spcPts val="839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537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1537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0" name="Rechthoek 125">
              <a:extLst>
                <a:ext uri="{FF2B5EF4-FFF2-40B4-BE49-F238E27FC236}">
                  <a16:creationId xmlns:a16="http://schemas.microsoft.com/office/drawing/2014/main" id="{43C05CBA-CAC3-4EF0-97AA-DDE2A2C06CB1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1277217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1677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2235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81" name="Ovaal 126">
              <a:extLst>
                <a:ext uri="{FF2B5EF4-FFF2-40B4-BE49-F238E27FC236}">
                  <a16:creationId xmlns:a16="http://schemas.microsoft.com/office/drawing/2014/main" id="{72AB5AB0-4EB7-4D44-8A18-BB13EE6E97B7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53854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rnpunten + Iconen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Tijdelijke aanduiding voor tekst 3">
            <a:extLst>
              <a:ext uri="{FF2B5EF4-FFF2-40B4-BE49-F238E27FC236}">
                <a16:creationId xmlns:a16="http://schemas.microsoft.com/office/drawing/2014/main" id="{60C96555-1A50-4EF0-87CB-9ACB58C9E0F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9207352" y="18619117"/>
            <a:ext cx="11802764" cy="7631867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18278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17319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176436" y="0"/>
                </a:lnTo>
                <a:cubicBezTo>
                  <a:pt x="33295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354914" y="2982912"/>
                  <a:pt x="3201836" y="2982912"/>
                </a:cubicBezTo>
                <a:lnTo>
                  <a:pt x="173193" y="2982912"/>
                </a:lnTo>
                <a:cubicBezTo>
                  <a:pt x="2011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>
              <a:spcAft>
                <a:spcPts val="0"/>
              </a:spcAft>
              <a:defRPr sz="1957" b="1">
                <a:solidFill>
                  <a:schemeClr val="bg1"/>
                </a:solidFill>
              </a:defRPr>
            </a:lvl1pPr>
            <a:lvl2pPr marL="0" indent="0">
              <a:buNone/>
              <a:defRPr sz="1677">
                <a:solidFill>
                  <a:schemeClr val="bg1"/>
                </a:solidFill>
              </a:defRPr>
            </a:lvl2pPr>
            <a:lvl3pPr marL="0" indent="0">
              <a:defRPr sz="1677">
                <a:solidFill>
                  <a:schemeClr val="bg1"/>
                </a:solidFill>
              </a:defRPr>
            </a:lvl3pPr>
            <a:lvl4pPr>
              <a:defRPr sz="1677">
                <a:solidFill>
                  <a:schemeClr val="bg1"/>
                </a:solidFill>
              </a:defRPr>
            </a:lvl4pPr>
            <a:lvl5pPr>
              <a:defRPr sz="1677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54" name="Tijdelijke aanduiding voor tekst 3">
            <a:extLst>
              <a:ext uri="{FF2B5EF4-FFF2-40B4-BE49-F238E27FC236}">
                <a16:creationId xmlns:a16="http://schemas.microsoft.com/office/drawing/2014/main" id="{B8B199D0-5FCA-4521-BEA6-F6144A03151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5482248" y="18619117"/>
            <a:ext cx="11802764" cy="7631867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18278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17319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176436" y="0"/>
                </a:lnTo>
                <a:cubicBezTo>
                  <a:pt x="33295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354914" y="2982912"/>
                  <a:pt x="3201836" y="2982912"/>
                </a:cubicBezTo>
                <a:lnTo>
                  <a:pt x="173193" y="2982912"/>
                </a:lnTo>
                <a:cubicBezTo>
                  <a:pt x="2011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1957" b="1">
                <a:solidFill>
                  <a:schemeClr val="bg1"/>
                </a:solidFill>
              </a:defRPr>
            </a:lvl1pPr>
            <a:lvl2pPr marL="0" indent="0">
              <a:buNone/>
              <a:defRPr sz="1677">
                <a:solidFill>
                  <a:schemeClr val="bg1"/>
                </a:solidFill>
              </a:defRPr>
            </a:lvl2pPr>
            <a:lvl3pPr>
              <a:defRPr sz="1677">
                <a:solidFill>
                  <a:schemeClr val="bg1"/>
                </a:solidFill>
              </a:defRPr>
            </a:lvl3pPr>
            <a:lvl4pPr>
              <a:defRPr sz="1677">
                <a:solidFill>
                  <a:schemeClr val="bg1"/>
                </a:solidFill>
              </a:defRPr>
            </a:lvl4pPr>
            <a:lvl5pPr>
              <a:defRPr sz="1677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53" name="Tijdelijke aanduiding voor tekst 3">
            <a:extLst>
              <a:ext uri="{FF2B5EF4-FFF2-40B4-BE49-F238E27FC236}">
                <a16:creationId xmlns:a16="http://schemas.microsoft.com/office/drawing/2014/main" id="{BC18145F-6353-4193-8C5D-F21499B241C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757137" y="18619117"/>
            <a:ext cx="11802764" cy="7631867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18278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17319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176436" y="0"/>
                </a:lnTo>
                <a:cubicBezTo>
                  <a:pt x="33295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354914" y="2982912"/>
                  <a:pt x="3201836" y="2982912"/>
                </a:cubicBezTo>
                <a:lnTo>
                  <a:pt x="173193" y="2982912"/>
                </a:lnTo>
                <a:cubicBezTo>
                  <a:pt x="2011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1957" b="1">
                <a:solidFill>
                  <a:schemeClr val="bg1"/>
                </a:solidFill>
              </a:defRPr>
            </a:lvl1pPr>
            <a:lvl2pPr marL="0" indent="0">
              <a:buNone/>
              <a:defRPr sz="1677">
                <a:solidFill>
                  <a:schemeClr val="bg1"/>
                </a:solidFill>
              </a:defRPr>
            </a:lvl2pPr>
            <a:lvl3pPr>
              <a:defRPr sz="1677">
                <a:solidFill>
                  <a:schemeClr val="bg1"/>
                </a:solidFill>
              </a:defRPr>
            </a:lvl3pPr>
            <a:lvl4pPr>
              <a:defRPr sz="1677">
                <a:solidFill>
                  <a:schemeClr val="bg1"/>
                </a:solidFill>
              </a:defRPr>
            </a:lvl4pPr>
            <a:lvl5pPr>
              <a:defRPr sz="1677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52" name="Tijdelijke aanduiding voor tekst 3">
            <a:extLst>
              <a:ext uri="{FF2B5EF4-FFF2-40B4-BE49-F238E27FC236}">
                <a16:creationId xmlns:a16="http://schemas.microsoft.com/office/drawing/2014/main" id="{74701542-138A-4340-8C2F-BB14933495A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9207352" y="7970566"/>
            <a:ext cx="11802764" cy="7631867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18278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17319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176436" y="0"/>
                </a:lnTo>
                <a:cubicBezTo>
                  <a:pt x="33295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354914" y="2982912"/>
                  <a:pt x="3201836" y="2982912"/>
                </a:cubicBezTo>
                <a:lnTo>
                  <a:pt x="173193" y="2982912"/>
                </a:lnTo>
                <a:cubicBezTo>
                  <a:pt x="2011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1957" b="1">
                <a:solidFill>
                  <a:schemeClr val="bg1"/>
                </a:solidFill>
              </a:defRPr>
            </a:lvl1pPr>
            <a:lvl2pPr marL="0" indent="0">
              <a:buNone/>
              <a:defRPr sz="1677">
                <a:solidFill>
                  <a:schemeClr val="bg1"/>
                </a:solidFill>
              </a:defRPr>
            </a:lvl2pPr>
            <a:lvl3pPr>
              <a:defRPr sz="1677">
                <a:solidFill>
                  <a:schemeClr val="bg1"/>
                </a:solidFill>
              </a:defRPr>
            </a:lvl3pPr>
            <a:lvl4pPr>
              <a:defRPr sz="1677">
                <a:solidFill>
                  <a:schemeClr val="bg1"/>
                </a:solidFill>
              </a:defRPr>
            </a:lvl4pPr>
            <a:lvl5pPr>
              <a:defRPr sz="1677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37" name="Tijdelijke aanduiding voor tekst 3">
            <a:extLst>
              <a:ext uri="{FF2B5EF4-FFF2-40B4-BE49-F238E27FC236}">
                <a16:creationId xmlns:a16="http://schemas.microsoft.com/office/drawing/2014/main" id="{392E85A5-D697-48B7-A85B-E3E96885C72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5482248" y="7970566"/>
            <a:ext cx="11802764" cy="7631867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18278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17319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176436" y="0"/>
                </a:lnTo>
                <a:cubicBezTo>
                  <a:pt x="33295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354914" y="2982912"/>
                  <a:pt x="3201836" y="2982912"/>
                </a:cubicBezTo>
                <a:lnTo>
                  <a:pt x="173193" y="2982912"/>
                </a:lnTo>
                <a:cubicBezTo>
                  <a:pt x="2011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1957" b="1">
                <a:solidFill>
                  <a:schemeClr val="bg1"/>
                </a:solidFill>
              </a:defRPr>
            </a:lvl1pPr>
            <a:lvl2pPr marL="0" indent="0">
              <a:buNone/>
              <a:defRPr sz="1677">
                <a:solidFill>
                  <a:schemeClr val="bg1"/>
                </a:solidFill>
              </a:defRPr>
            </a:lvl2pPr>
            <a:lvl3pPr>
              <a:defRPr sz="1677">
                <a:solidFill>
                  <a:schemeClr val="bg1"/>
                </a:solidFill>
              </a:defRPr>
            </a:lvl3pPr>
            <a:lvl4pPr>
              <a:defRPr sz="1677">
                <a:solidFill>
                  <a:schemeClr val="bg1"/>
                </a:solidFill>
              </a:defRPr>
            </a:lvl4pPr>
            <a:lvl5pPr>
              <a:defRPr sz="1677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78" y="1766065"/>
            <a:ext cx="32281087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err="1"/>
              <a:t>Koptitel</a:t>
            </a:r>
            <a:endParaRPr lang="en-US" noProof="0"/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78" y="3469430"/>
            <a:ext cx="32281087" cy="1195424"/>
          </a:xfrm>
        </p:spPr>
        <p:txBody>
          <a:bodyPr>
            <a:noAutofit/>
          </a:bodyPr>
          <a:lstStyle>
            <a:lvl1pPr marL="0" indent="0">
              <a:buNone/>
              <a:defRPr sz="2794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err="1"/>
              <a:t>Ondertitel</a:t>
            </a:r>
            <a:endParaRPr lang="en-US"/>
          </a:p>
        </p:txBody>
      </p:sp>
      <p:grpSp>
        <p:nvGrpSpPr>
          <p:cNvPr id="38" name="GRID" hidden="1">
            <a:extLst>
              <a:ext uri="{FF2B5EF4-FFF2-40B4-BE49-F238E27FC236}">
                <a16:creationId xmlns:a16="http://schemas.microsoft.com/office/drawing/2014/main" id="{51D5F7E8-69F8-47AD-81F5-1645C97607C1}"/>
              </a:ext>
            </a:extLst>
          </p:cNvPr>
          <p:cNvGrpSpPr/>
          <p:nvPr userDrawn="1"/>
        </p:nvGrpSpPr>
        <p:grpSpPr>
          <a:xfrm>
            <a:off x="4" y="0"/>
            <a:ext cx="42767263" cy="30275213"/>
            <a:chOff x="0" y="0"/>
            <a:chExt cx="12192003" cy="6858000"/>
          </a:xfrm>
        </p:grpSpPr>
        <p:sp>
          <p:nvSpPr>
            <p:cNvPr id="39" name="Rechthoek 38">
              <a:extLst>
                <a:ext uri="{FF2B5EF4-FFF2-40B4-BE49-F238E27FC236}">
                  <a16:creationId xmlns:a16="http://schemas.microsoft.com/office/drawing/2014/main" id="{71DB2C92-E6A8-4532-98F6-C917E7F5CD17}"/>
                </a:ext>
              </a:extLst>
            </p:cNvPr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40" name="Rechthoek 39">
              <a:extLst>
                <a:ext uri="{FF2B5EF4-FFF2-40B4-BE49-F238E27FC236}">
                  <a16:creationId xmlns:a16="http://schemas.microsoft.com/office/drawing/2014/main" id="{1283F161-5F8A-45E1-A9F2-F823FC1CB0A5}"/>
                </a:ext>
              </a:extLst>
            </p:cNvPr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41" name="Rechthoek 40">
              <a:extLst>
                <a:ext uri="{FF2B5EF4-FFF2-40B4-BE49-F238E27FC236}">
                  <a16:creationId xmlns:a16="http://schemas.microsoft.com/office/drawing/2014/main" id="{E25AE021-76F4-4113-9019-FB3CB3351AD2}"/>
                </a:ext>
              </a:extLst>
            </p:cNvPr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42" name="Rechthoek 41">
              <a:extLst>
                <a:ext uri="{FF2B5EF4-FFF2-40B4-BE49-F238E27FC236}">
                  <a16:creationId xmlns:a16="http://schemas.microsoft.com/office/drawing/2014/main" id="{4F56F574-960D-4395-B98C-5F49ED9EF418}"/>
                </a:ext>
              </a:extLst>
            </p:cNvPr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34E307D0-CCA0-4BDF-BC5F-E19838E9F7DA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44" name="Rechthoek 43">
              <a:extLst>
                <a:ext uri="{FF2B5EF4-FFF2-40B4-BE49-F238E27FC236}">
                  <a16:creationId xmlns:a16="http://schemas.microsoft.com/office/drawing/2014/main" id="{2AEE0B25-FBCC-4048-A2C0-6D97C3E7FEB7}"/>
                </a:ext>
              </a:extLst>
            </p:cNvPr>
            <p:cNvSpPr/>
            <p:nvPr userDrawn="1"/>
          </p:nvSpPr>
          <p:spPr>
            <a:xfrm rot="5400000">
              <a:off x="5895976" y="-108104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</p:grp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503"/>
            <a:ext cx="9622631" cy="1000848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7" y="27345278"/>
            <a:ext cx="18027561" cy="1000848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4" y="27329717"/>
            <a:ext cx="707320" cy="1016405"/>
          </a:xfrm>
        </p:spPr>
        <p:txBody>
          <a:bodyPr/>
          <a:lstStyle/>
          <a:p>
            <a:fld id="{55B2A88A-B7BD-41B1-9FCB-9BE633251ACA}" type="slidenum">
              <a:rPr lang="en-US" noProof="0" smtClean="0"/>
              <a:t>‹nr.›</a:t>
            </a:fld>
            <a:endParaRPr lang="en-US" noProof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9B18BDE9-18FD-4C97-9F64-E73C2C770EF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57137" y="7970566"/>
            <a:ext cx="11802764" cy="7631867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18278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17319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176436" y="0"/>
                </a:lnTo>
                <a:cubicBezTo>
                  <a:pt x="33295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354914" y="2982912"/>
                  <a:pt x="3201836" y="2982912"/>
                </a:cubicBezTo>
                <a:lnTo>
                  <a:pt x="173193" y="2982912"/>
                </a:lnTo>
                <a:cubicBezTo>
                  <a:pt x="2011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1957" b="1">
                <a:solidFill>
                  <a:schemeClr val="bg1"/>
                </a:solidFill>
              </a:defRPr>
            </a:lvl1pPr>
            <a:lvl2pPr marL="0" indent="0">
              <a:buNone/>
              <a:defRPr sz="1677" b="0">
                <a:solidFill>
                  <a:schemeClr val="bg1"/>
                </a:solidFill>
              </a:defRPr>
            </a:lvl2pPr>
            <a:lvl3pPr>
              <a:defRPr sz="1677">
                <a:solidFill>
                  <a:schemeClr val="bg1"/>
                </a:solidFill>
              </a:defRPr>
            </a:lvl3pPr>
            <a:lvl4pPr>
              <a:defRPr sz="1677">
                <a:solidFill>
                  <a:schemeClr val="bg1"/>
                </a:solidFill>
              </a:defRPr>
            </a:lvl4pPr>
            <a:lvl5pPr>
              <a:defRPr sz="1677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id="{3B2874ED-CC7F-4F0C-BB1D-75A9CC43DC3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9699113" y="5850601"/>
            <a:ext cx="3369034" cy="423993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48" name="Tijdelijke aanduiding voor tekst 14">
            <a:extLst>
              <a:ext uri="{FF2B5EF4-FFF2-40B4-BE49-F238E27FC236}">
                <a16:creationId xmlns:a16="http://schemas.microsoft.com/office/drawing/2014/main" id="{F1653C5F-83B0-4357-9779-FCA8C005D7E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974002" y="5850601"/>
            <a:ext cx="3369034" cy="423993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50" name="Tijdelijke aanduiding voor tekst 14">
            <a:extLst>
              <a:ext uri="{FF2B5EF4-FFF2-40B4-BE49-F238E27FC236}">
                <a16:creationId xmlns:a16="http://schemas.microsoft.com/office/drawing/2014/main" id="{3AA2D7D9-83DC-4599-894C-1EA7D9983FA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424217" y="5850601"/>
            <a:ext cx="3369034" cy="423993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0" name="Tijdelijke aanduiding voor tekst 14">
            <a:extLst>
              <a:ext uri="{FF2B5EF4-FFF2-40B4-BE49-F238E27FC236}">
                <a16:creationId xmlns:a16="http://schemas.microsoft.com/office/drawing/2014/main" id="{5F6EF29C-6547-44C1-BD48-1D3581117F6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9699113" y="16499154"/>
            <a:ext cx="3369034" cy="423993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2" name="Tijdelijke aanduiding voor tekst 14">
            <a:extLst>
              <a:ext uri="{FF2B5EF4-FFF2-40B4-BE49-F238E27FC236}">
                <a16:creationId xmlns:a16="http://schemas.microsoft.com/office/drawing/2014/main" id="{1A143C27-038F-4761-B827-CC3711286E6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974002" y="16499154"/>
            <a:ext cx="3369034" cy="423993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4" name="Tijdelijke aanduiding voor tekst 14">
            <a:extLst>
              <a:ext uri="{FF2B5EF4-FFF2-40B4-BE49-F238E27FC236}">
                <a16:creationId xmlns:a16="http://schemas.microsoft.com/office/drawing/2014/main" id="{0069A324-1E9A-44F6-A036-D73045802C0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424217" y="16499154"/>
            <a:ext cx="3369034" cy="423993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pic>
        <p:nvPicPr>
          <p:cNvPr id="27" name="Afbeelding 26">
            <a:extLst>
              <a:ext uri="{FF2B5EF4-FFF2-40B4-BE49-F238E27FC236}">
                <a16:creationId xmlns:a16="http://schemas.microsoft.com/office/drawing/2014/main" id="{25B00D5A-DF64-4D2B-976E-01DD75975A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5" y="831727"/>
            <a:ext cx="9249575" cy="4281474"/>
          </a:xfrm>
          <a:prstGeom prst="rect">
            <a:avLst/>
          </a:prstGeom>
        </p:spPr>
      </p:pic>
      <p:grpSp>
        <p:nvGrpSpPr>
          <p:cNvPr id="28" name="Meer informatie">
            <a:extLst>
              <a:ext uri="{FF2B5EF4-FFF2-40B4-BE49-F238E27FC236}">
                <a16:creationId xmlns:a16="http://schemas.microsoft.com/office/drawing/2014/main" id="{B211D095-6E04-4B6C-8256-FAB55971D7FF}"/>
              </a:ext>
            </a:extLst>
          </p:cNvPr>
          <p:cNvGrpSpPr/>
          <p:nvPr userDrawn="1"/>
        </p:nvGrpSpPr>
        <p:grpSpPr>
          <a:xfrm>
            <a:off x="43487270" y="1774577"/>
            <a:ext cx="11147890" cy="3644433"/>
            <a:chOff x="-3740989" y="3458473"/>
            <a:chExt cx="3178018" cy="825544"/>
          </a:xfrm>
        </p:grpSpPr>
        <p:sp>
          <p:nvSpPr>
            <p:cNvPr id="31" name="Rechthoek 30">
              <a:extLst>
                <a:ext uri="{FF2B5EF4-FFF2-40B4-BE49-F238E27FC236}">
                  <a16:creationId xmlns:a16="http://schemas.microsoft.com/office/drawing/2014/main" id="{60072D39-BEE6-4966-87E8-9075C139E9A2}"/>
                </a:ext>
              </a:extLst>
            </p:cNvPr>
            <p:cNvSpPr/>
            <p:nvPr userDrawn="1"/>
          </p:nvSpPr>
          <p:spPr>
            <a:xfrm>
              <a:off x="-3740989" y="3458473"/>
              <a:ext cx="2863716" cy="5921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1277217" eaLnBrk="1" fontAlgn="auto" latinLnBrk="0" hangingPunct="1">
                <a:lnSpc>
                  <a:spcPct val="90000"/>
                </a:lnSpc>
                <a:spcBef>
                  <a:spcPts val="839"/>
                </a:spcBef>
                <a:spcAft>
                  <a:spcPts val="839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conen vind je in de slide bibliotheek. </a:t>
              </a:r>
              <a:b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opieer (Ctrl-c) de icoon uit de bibliotheek en plak (Ctrl-v) deze op de gewenste plek. Iconen zijn aanpasbaar qua kleur en formaat.</a:t>
              </a:r>
            </a:p>
          </p:txBody>
        </p:sp>
        <p:cxnSp>
          <p:nvCxnSpPr>
            <p:cNvPr id="33" name="Rechte verbindingslijn 32">
              <a:extLst>
                <a:ext uri="{FF2B5EF4-FFF2-40B4-BE49-F238E27FC236}">
                  <a16:creationId xmlns:a16="http://schemas.microsoft.com/office/drawing/2014/main" id="{98F35C15-FA78-4FD2-BE90-5C642C2EC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740987" y="4284017"/>
              <a:ext cx="3178016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35" name="Rechthoek 34">
            <a:extLst>
              <a:ext uri="{FF2B5EF4-FFF2-40B4-BE49-F238E27FC236}">
                <a16:creationId xmlns:a16="http://schemas.microsoft.com/office/drawing/2014/main" id="{080C5F42-8A3D-43B3-9E23-117B0328BB36}"/>
              </a:ext>
            </a:extLst>
          </p:cNvPr>
          <p:cNvSpPr/>
          <p:nvPr userDrawn="1"/>
        </p:nvSpPr>
        <p:spPr>
          <a:xfrm>
            <a:off x="43487275" y="5"/>
            <a:ext cx="11147885" cy="84588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defTabSz="127721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957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rPr>
              <a:t>ICOON invoegen / veranderen</a:t>
            </a:r>
          </a:p>
        </p:txBody>
      </p:sp>
      <p:cxnSp>
        <p:nvCxnSpPr>
          <p:cNvPr id="36" name="Rechte verbindingslijn 35">
            <a:extLst>
              <a:ext uri="{FF2B5EF4-FFF2-40B4-BE49-F238E27FC236}">
                <a16:creationId xmlns:a16="http://schemas.microsoft.com/office/drawing/2014/main" id="{7C23CC42-5404-4D76-B4D6-55351E684119}"/>
              </a:ext>
            </a:extLst>
          </p:cNvPr>
          <p:cNvCxnSpPr>
            <a:cxnSpLocks/>
          </p:cNvCxnSpPr>
          <p:nvPr userDrawn="1"/>
        </p:nvCxnSpPr>
        <p:spPr>
          <a:xfrm>
            <a:off x="43487270" y="1066717"/>
            <a:ext cx="11147890" cy="0"/>
          </a:xfrm>
          <a:prstGeom prst="line">
            <a:avLst/>
          </a:prstGeom>
          <a:noFill/>
          <a:ln w="3175" cap="flat" cmpd="sng" algn="ctr">
            <a:solidFill>
              <a:schemeClr val="accent1"/>
            </a:solidFill>
            <a:prstDash val="solid"/>
          </a:ln>
          <a:effectLst/>
        </p:spPr>
      </p:cxnSp>
      <p:grpSp>
        <p:nvGrpSpPr>
          <p:cNvPr id="49" name="Instructie">
            <a:extLst>
              <a:ext uri="{FF2B5EF4-FFF2-40B4-BE49-F238E27FC236}">
                <a16:creationId xmlns:a16="http://schemas.microsoft.com/office/drawing/2014/main" id="{84C45357-DFCF-4F76-BC41-34F926A3A9A7}"/>
              </a:ext>
            </a:extLst>
          </p:cNvPr>
          <p:cNvGrpSpPr/>
          <p:nvPr userDrawn="1"/>
        </p:nvGrpSpPr>
        <p:grpSpPr>
          <a:xfrm>
            <a:off x="43506534" y="6474547"/>
            <a:ext cx="11164510" cy="11743958"/>
            <a:chOff x="-3426088" y="4512342"/>
            <a:chExt cx="3182755" cy="2660264"/>
          </a:xfrm>
        </p:grpSpPr>
        <p:sp>
          <p:nvSpPr>
            <p:cNvPr id="51" name="Rechthoek 127">
              <a:extLst>
                <a:ext uri="{FF2B5EF4-FFF2-40B4-BE49-F238E27FC236}">
                  <a16:creationId xmlns:a16="http://schemas.microsoft.com/office/drawing/2014/main" id="{D2E6B0D1-F979-42BF-BC6B-61CB1231C0BB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1277217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957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56" name="Rechte verbindingslijn 128">
              <a:extLst>
                <a:ext uri="{FF2B5EF4-FFF2-40B4-BE49-F238E27FC236}">
                  <a16:creationId xmlns:a16="http://schemas.microsoft.com/office/drawing/2014/main" id="{BAF7CF6F-CE8F-40FE-9458-7A849629B6B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57" name="Rechthoek 130">
              <a:extLst>
                <a:ext uri="{FF2B5EF4-FFF2-40B4-BE49-F238E27FC236}">
                  <a16:creationId xmlns:a16="http://schemas.microsoft.com/office/drawing/2014/main" id="{06FD592A-2FF6-46E0-942B-4D5C5D18D17B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1277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58" name="Rechthoek 133">
              <a:extLst>
                <a:ext uri="{FF2B5EF4-FFF2-40B4-BE49-F238E27FC236}">
                  <a16:creationId xmlns:a16="http://schemas.microsoft.com/office/drawing/2014/main" id="{2511FE0C-7A37-475E-B962-4A6E8F0FFAF3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239479" marR="0" lvl="0" indent="-239479" algn="l" defTabSz="1277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1537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59" name="Rechthoek 136">
              <a:extLst>
                <a:ext uri="{FF2B5EF4-FFF2-40B4-BE49-F238E27FC236}">
                  <a16:creationId xmlns:a16="http://schemas.microsoft.com/office/drawing/2014/main" id="{47FFBC3C-B880-4FF4-97EB-3A1E9C5B6563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239479" marR="0" lvl="0" indent="-239479" algn="l" defTabSz="1277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1537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60" name="Rechthoek 139">
              <a:extLst>
                <a:ext uri="{FF2B5EF4-FFF2-40B4-BE49-F238E27FC236}">
                  <a16:creationId xmlns:a16="http://schemas.microsoft.com/office/drawing/2014/main" id="{50B90ADC-79FE-46AE-9866-25A58D743D68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239479" marR="0" lvl="0" indent="-239479" algn="l" defTabSz="1277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537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61" name="Rechte verbindingslijn 140">
              <a:extLst>
                <a:ext uri="{FF2B5EF4-FFF2-40B4-BE49-F238E27FC236}">
                  <a16:creationId xmlns:a16="http://schemas.microsoft.com/office/drawing/2014/main" id="{9D160473-0A2C-48FE-B32A-923B4897C68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62" name="Groep 101">
            <a:extLst>
              <a:ext uri="{FF2B5EF4-FFF2-40B4-BE49-F238E27FC236}">
                <a16:creationId xmlns:a16="http://schemas.microsoft.com/office/drawing/2014/main" id="{B1F7A270-671C-4267-BBDA-0035FFBCA6AC}"/>
              </a:ext>
            </a:extLst>
          </p:cNvPr>
          <p:cNvGrpSpPr/>
          <p:nvPr userDrawn="1"/>
        </p:nvGrpSpPr>
        <p:grpSpPr>
          <a:xfrm>
            <a:off x="-12058269" y="6335"/>
            <a:ext cx="11229652" cy="26966673"/>
            <a:chOff x="-3437547" y="1434"/>
            <a:chExt cx="3201327" cy="6108543"/>
          </a:xfrm>
        </p:grpSpPr>
        <p:sp>
          <p:nvSpPr>
            <p:cNvPr id="63" name="Rechthoek 102">
              <a:extLst>
                <a:ext uri="{FF2B5EF4-FFF2-40B4-BE49-F238E27FC236}">
                  <a16:creationId xmlns:a16="http://schemas.microsoft.com/office/drawing/2014/main" id="{D9180A54-5B43-490E-A53A-653C88885B2B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1277217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957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1957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1957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64" name="Ovaal 103">
              <a:extLst>
                <a:ext uri="{FF2B5EF4-FFF2-40B4-BE49-F238E27FC236}">
                  <a16:creationId xmlns:a16="http://schemas.microsoft.com/office/drawing/2014/main" id="{996DE116-E9C4-4404-B963-906BF309C28A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65" name="Rechte verbindingslijn 104">
              <a:extLst>
                <a:ext uri="{FF2B5EF4-FFF2-40B4-BE49-F238E27FC236}">
                  <a16:creationId xmlns:a16="http://schemas.microsoft.com/office/drawing/2014/main" id="{4903706A-252E-4D8B-9568-4A2FAA703A8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66" name="Groep 105">
              <a:extLst>
                <a:ext uri="{FF2B5EF4-FFF2-40B4-BE49-F238E27FC236}">
                  <a16:creationId xmlns:a16="http://schemas.microsoft.com/office/drawing/2014/main" id="{35C796B2-FF99-4DAE-BA18-C0082B6F453F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91" name="Rechthoek 130">
                <a:extLst>
                  <a:ext uri="{FF2B5EF4-FFF2-40B4-BE49-F238E27FC236}">
                    <a16:creationId xmlns:a16="http://schemas.microsoft.com/office/drawing/2014/main" id="{E1C77F3A-7187-4291-809D-7DA097DC42A8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1117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92" name="Rechte verbindingslijn 131">
                <a:extLst>
                  <a:ext uri="{FF2B5EF4-FFF2-40B4-BE49-F238E27FC236}">
                    <a16:creationId xmlns:a16="http://schemas.microsoft.com/office/drawing/2014/main" id="{D0B95EA4-D908-430B-B7E1-4E0E5963BFB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Rechte verbindingslijn 132">
                <a:extLst>
                  <a:ext uri="{FF2B5EF4-FFF2-40B4-BE49-F238E27FC236}">
                    <a16:creationId xmlns:a16="http://schemas.microsoft.com/office/drawing/2014/main" id="{757CCB11-4D5E-41DD-AA87-AA628B64CFE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4" name="Rechthoek 133">
                <a:extLst>
                  <a:ext uri="{FF2B5EF4-FFF2-40B4-BE49-F238E27FC236}">
                    <a16:creationId xmlns:a16="http://schemas.microsoft.com/office/drawing/2014/main" id="{DF9DB130-3285-4F68-A573-3AFEDB708E0A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398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95" name="Groep 134">
                <a:extLst>
                  <a:ext uri="{FF2B5EF4-FFF2-40B4-BE49-F238E27FC236}">
                    <a16:creationId xmlns:a16="http://schemas.microsoft.com/office/drawing/2014/main" id="{CCE4BC02-DCE2-41D7-81FF-9C63014D89B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34" name="Groep 175">
                  <a:extLst>
                    <a:ext uri="{FF2B5EF4-FFF2-40B4-BE49-F238E27FC236}">
                      <a16:creationId xmlns:a16="http://schemas.microsoft.com/office/drawing/2014/main" id="{3DEB43C1-EE4B-4FE2-8EAB-85DBC10AB6AF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38" name="Rechte verbindingslijn 179">
                    <a:extLst>
                      <a:ext uri="{FF2B5EF4-FFF2-40B4-BE49-F238E27FC236}">
                        <a16:creationId xmlns:a16="http://schemas.microsoft.com/office/drawing/2014/main" id="{5B859433-CB36-45B6-9AA6-CA3923B1838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39" name="Rechte verbindingslijn 180">
                    <a:extLst>
                      <a:ext uri="{FF2B5EF4-FFF2-40B4-BE49-F238E27FC236}">
                        <a16:creationId xmlns:a16="http://schemas.microsoft.com/office/drawing/2014/main" id="{C5C9F23F-FBC3-4A08-93CB-C2DE0AE1E96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40" name="Rechte verbindingslijn 181">
                    <a:extLst>
                      <a:ext uri="{FF2B5EF4-FFF2-40B4-BE49-F238E27FC236}">
                        <a16:creationId xmlns:a16="http://schemas.microsoft.com/office/drawing/2014/main" id="{46393340-2F27-43C8-8C71-58478D6277B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41" name="Rechte verbindingslijn 182">
                    <a:extLst>
                      <a:ext uri="{FF2B5EF4-FFF2-40B4-BE49-F238E27FC236}">
                        <a16:creationId xmlns:a16="http://schemas.microsoft.com/office/drawing/2014/main" id="{922840FB-823D-428B-8FB4-22C980D555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42" name="Rechte verbindingslijn 183">
                    <a:extLst>
                      <a:ext uri="{FF2B5EF4-FFF2-40B4-BE49-F238E27FC236}">
                        <a16:creationId xmlns:a16="http://schemas.microsoft.com/office/drawing/2014/main" id="{534C9287-6A81-477F-BFB7-44B914D012B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35" name="Groep 176">
                  <a:extLst>
                    <a:ext uri="{FF2B5EF4-FFF2-40B4-BE49-F238E27FC236}">
                      <a16:creationId xmlns:a16="http://schemas.microsoft.com/office/drawing/2014/main" id="{6B9A8CB6-A532-43EC-B4F6-4F6BA72D4D7A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36" name="Rechthoek 177">
                    <a:extLst>
                      <a:ext uri="{FF2B5EF4-FFF2-40B4-BE49-F238E27FC236}">
                        <a16:creationId xmlns:a16="http://schemas.microsoft.com/office/drawing/2014/main" id="{FC67B8D5-72EF-4F49-978F-84478A0AB0E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398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7" name="Pijl: punthaak 178">
                    <a:extLst>
                      <a:ext uri="{FF2B5EF4-FFF2-40B4-BE49-F238E27FC236}">
                        <a16:creationId xmlns:a16="http://schemas.microsoft.com/office/drawing/2014/main" id="{2944A143-0FC8-4FAA-885E-3BC67042ECA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398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96" name="Groep 135">
                <a:extLst>
                  <a:ext uri="{FF2B5EF4-FFF2-40B4-BE49-F238E27FC236}">
                    <a16:creationId xmlns:a16="http://schemas.microsoft.com/office/drawing/2014/main" id="{7C01E7F2-7723-4236-8FAF-10018B34049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25" name="Groep 166">
                  <a:extLst>
                    <a:ext uri="{FF2B5EF4-FFF2-40B4-BE49-F238E27FC236}">
                      <a16:creationId xmlns:a16="http://schemas.microsoft.com/office/drawing/2014/main" id="{7C355541-9AB8-4A38-B5B4-A863BAB71FC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29" name="Rechte verbindingslijn 170">
                    <a:extLst>
                      <a:ext uri="{FF2B5EF4-FFF2-40B4-BE49-F238E27FC236}">
                        <a16:creationId xmlns:a16="http://schemas.microsoft.com/office/drawing/2014/main" id="{0C7B1BE3-B446-4866-8BC5-75FEF4B415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30" name="Rechte verbindingslijn 171">
                    <a:extLst>
                      <a:ext uri="{FF2B5EF4-FFF2-40B4-BE49-F238E27FC236}">
                        <a16:creationId xmlns:a16="http://schemas.microsoft.com/office/drawing/2014/main" id="{65F5DBED-5D29-4DA8-A5FE-9BB3648B02A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31" name="Rechte verbindingslijn 172">
                    <a:extLst>
                      <a:ext uri="{FF2B5EF4-FFF2-40B4-BE49-F238E27FC236}">
                        <a16:creationId xmlns:a16="http://schemas.microsoft.com/office/drawing/2014/main" id="{8CD5840A-4D92-4551-BFF3-7ABEBD473FA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32" name="Rechte verbindingslijn 173">
                    <a:extLst>
                      <a:ext uri="{FF2B5EF4-FFF2-40B4-BE49-F238E27FC236}">
                        <a16:creationId xmlns:a16="http://schemas.microsoft.com/office/drawing/2014/main" id="{32B12BA8-973D-4396-853F-25D1CFD9091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33" name="Rechte verbindingslijn 174">
                    <a:extLst>
                      <a:ext uri="{FF2B5EF4-FFF2-40B4-BE49-F238E27FC236}">
                        <a16:creationId xmlns:a16="http://schemas.microsoft.com/office/drawing/2014/main" id="{3E0635CB-B06B-4FFC-8EBE-F97AF5F9E44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26" name="Groep 167">
                  <a:extLst>
                    <a:ext uri="{FF2B5EF4-FFF2-40B4-BE49-F238E27FC236}">
                      <a16:creationId xmlns:a16="http://schemas.microsoft.com/office/drawing/2014/main" id="{86BC2F15-6B53-4276-8112-49005BFBE176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27" name="Rechthoek 168">
                    <a:extLst>
                      <a:ext uri="{FF2B5EF4-FFF2-40B4-BE49-F238E27FC236}">
                        <a16:creationId xmlns:a16="http://schemas.microsoft.com/office/drawing/2014/main" id="{8882A2EB-8BF7-453C-A553-33A113F153D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398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28" name="Pijl: punthaak 169">
                    <a:extLst>
                      <a:ext uri="{FF2B5EF4-FFF2-40B4-BE49-F238E27FC236}">
                        <a16:creationId xmlns:a16="http://schemas.microsoft.com/office/drawing/2014/main" id="{30942C0B-8409-477B-A2D7-E9B50D96439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398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97" name="Rechte verbindingslijn 136">
                <a:extLst>
                  <a:ext uri="{FF2B5EF4-FFF2-40B4-BE49-F238E27FC236}">
                    <a16:creationId xmlns:a16="http://schemas.microsoft.com/office/drawing/2014/main" id="{F3CEAC1C-B495-4DC3-9915-3BD63B71DF4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98" name="Rechte verbindingslijn 137">
                <a:extLst>
                  <a:ext uri="{FF2B5EF4-FFF2-40B4-BE49-F238E27FC236}">
                    <a16:creationId xmlns:a16="http://schemas.microsoft.com/office/drawing/2014/main" id="{0BE711FA-B4EE-4A63-99BD-4D945C6AFAC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99" name="Groep 138">
                <a:extLst>
                  <a:ext uri="{FF2B5EF4-FFF2-40B4-BE49-F238E27FC236}">
                    <a16:creationId xmlns:a16="http://schemas.microsoft.com/office/drawing/2014/main" id="{A529A53A-5AE1-452F-BF03-561B5448F93D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14" name="Rechthoek 155">
                  <a:extLst>
                    <a:ext uri="{FF2B5EF4-FFF2-40B4-BE49-F238E27FC236}">
                      <a16:creationId xmlns:a16="http://schemas.microsoft.com/office/drawing/2014/main" id="{A1FE5C75-52AB-4C2E-818A-A663492DBD28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468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15" name="Groep 156">
                  <a:extLst>
                    <a:ext uri="{FF2B5EF4-FFF2-40B4-BE49-F238E27FC236}">
                      <a16:creationId xmlns:a16="http://schemas.microsoft.com/office/drawing/2014/main" id="{B53C4B73-119F-45DA-9253-5F3D0E4C1E97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16" name="Groep 157">
                    <a:extLst>
                      <a:ext uri="{FF2B5EF4-FFF2-40B4-BE49-F238E27FC236}">
                        <a16:creationId xmlns:a16="http://schemas.microsoft.com/office/drawing/2014/main" id="{1E243FBA-E698-4B70-A74B-9D9AF05C415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20" name="Rechte verbindingslijn 161">
                      <a:extLst>
                        <a:ext uri="{FF2B5EF4-FFF2-40B4-BE49-F238E27FC236}">
                          <a16:creationId xmlns:a16="http://schemas.microsoft.com/office/drawing/2014/main" id="{FCDD65F6-4686-42A6-94C4-B808A5A5AB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21" name="Rechte verbindingslijn 162">
                      <a:extLst>
                        <a:ext uri="{FF2B5EF4-FFF2-40B4-BE49-F238E27FC236}">
                          <a16:creationId xmlns:a16="http://schemas.microsoft.com/office/drawing/2014/main" id="{7663C596-279A-4139-86FD-DD13027EA4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22" name="Rechte verbindingslijn 163">
                      <a:extLst>
                        <a:ext uri="{FF2B5EF4-FFF2-40B4-BE49-F238E27FC236}">
                          <a16:creationId xmlns:a16="http://schemas.microsoft.com/office/drawing/2014/main" id="{B8E03594-A6D4-4D77-9F8F-D4BF9ED1596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23" name="Rechte verbindingslijn 164">
                      <a:extLst>
                        <a:ext uri="{FF2B5EF4-FFF2-40B4-BE49-F238E27FC236}">
                          <a16:creationId xmlns:a16="http://schemas.microsoft.com/office/drawing/2014/main" id="{10290EA1-5471-4579-9BB5-000E69A0D27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24" name="Rechte verbindingslijn 165">
                      <a:extLst>
                        <a:ext uri="{FF2B5EF4-FFF2-40B4-BE49-F238E27FC236}">
                          <a16:creationId xmlns:a16="http://schemas.microsoft.com/office/drawing/2014/main" id="{474814A8-B6FA-4BAA-8C05-04420C8735A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17" name="Groep 158">
                    <a:extLst>
                      <a:ext uri="{FF2B5EF4-FFF2-40B4-BE49-F238E27FC236}">
                        <a16:creationId xmlns:a16="http://schemas.microsoft.com/office/drawing/2014/main" id="{BFA7D0FB-BD64-45E6-BDBD-127F4E48720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18" name="Rechthoek 159">
                      <a:extLst>
                        <a:ext uri="{FF2B5EF4-FFF2-40B4-BE49-F238E27FC236}">
                          <a16:creationId xmlns:a16="http://schemas.microsoft.com/office/drawing/2014/main" id="{56611162-5336-484A-AF94-3C75704062E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398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19" name="Pijl: punthaak 160">
                      <a:extLst>
                        <a:ext uri="{FF2B5EF4-FFF2-40B4-BE49-F238E27FC236}">
                          <a16:creationId xmlns:a16="http://schemas.microsoft.com/office/drawing/2014/main" id="{B4157AE8-3542-4949-8D48-20D7261AC23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398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00" name="Groep 139">
                <a:extLst>
                  <a:ext uri="{FF2B5EF4-FFF2-40B4-BE49-F238E27FC236}">
                    <a16:creationId xmlns:a16="http://schemas.microsoft.com/office/drawing/2014/main" id="{78D254F3-BAC7-4C79-8701-744566242F4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03" name="Rechthoek 142">
                  <a:extLst>
                    <a:ext uri="{FF2B5EF4-FFF2-40B4-BE49-F238E27FC236}">
                      <a16:creationId xmlns:a16="http://schemas.microsoft.com/office/drawing/2014/main" id="{9BCC1D21-36C9-4F0D-818F-8D0FDCA59D06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1468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04" name="Groep 143">
                  <a:extLst>
                    <a:ext uri="{FF2B5EF4-FFF2-40B4-BE49-F238E27FC236}">
                      <a16:creationId xmlns:a16="http://schemas.microsoft.com/office/drawing/2014/main" id="{17803CF1-43CF-42CC-BBCC-280BEBF4B306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05" name="Groep 144">
                    <a:extLst>
                      <a:ext uri="{FF2B5EF4-FFF2-40B4-BE49-F238E27FC236}">
                        <a16:creationId xmlns:a16="http://schemas.microsoft.com/office/drawing/2014/main" id="{72A26BDF-A9A8-4AC5-BBA5-01A4BF7AF52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09" name="Rechte verbindingslijn 150">
                      <a:extLst>
                        <a:ext uri="{FF2B5EF4-FFF2-40B4-BE49-F238E27FC236}">
                          <a16:creationId xmlns:a16="http://schemas.microsoft.com/office/drawing/2014/main" id="{D6487E92-BDD5-4B32-B766-66DE1CD2A27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10" name="Rechte verbindingslijn 151">
                      <a:extLst>
                        <a:ext uri="{FF2B5EF4-FFF2-40B4-BE49-F238E27FC236}">
                          <a16:creationId xmlns:a16="http://schemas.microsoft.com/office/drawing/2014/main" id="{21C6834E-B46E-42FE-99B0-37C6B62CA4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11" name="Rechte verbindingslijn 152">
                      <a:extLst>
                        <a:ext uri="{FF2B5EF4-FFF2-40B4-BE49-F238E27FC236}">
                          <a16:creationId xmlns:a16="http://schemas.microsoft.com/office/drawing/2014/main" id="{81E69DF8-8971-40FB-94F4-019A72680E4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12" name="Rechte verbindingslijn 153">
                      <a:extLst>
                        <a:ext uri="{FF2B5EF4-FFF2-40B4-BE49-F238E27FC236}">
                          <a16:creationId xmlns:a16="http://schemas.microsoft.com/office/drawing/2014/main" id="{7D5677A4-6CD9-407A-B890-AF7C464768A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13" name="Rechte verbindingslijn 154">
                      <a:extLst>
                        <a:ext uri="{FF2B5EF4-FFF2-40B4-BE49-F238E27FC236}">
                          <a16:creationId xmlns:a16="http://schemas.microsoft.com/office/drawing/2014/main" id="{2419D456-8B72-48E4-BA64-C525022CB92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06" name="Groep 147">
                    <a:extLst>
                      <a:ext uri="{FF2B5EF4-FFF2-40B4-BE49-F238E27FC236}">
                        <a16:creationId xmlns:a16="http://schemas.microsoft.com/office/drawing/2014/main" id="{A16B9D23-C565-4012-9866-765010E7FF36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07" name="Rechthoek 148">
                      <a:extLst>
                        <a:ext uri="{FF2B5EF4-FFF2-40B4-BE49-F238E27FC236}">
                          <a16:creationId xmlns:a16="http://schemas.microsoft.com/office/drawing/2014/main" id="{512EC848-259E-432E-AEC3-7C7F8DAE08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398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8" name="Pijl: punthaak 149">
                      <a:extLst>
                        <a:ext uri="{FF2B5EF4-FFF2-40B4-BE49-F238E27FC236}">
                          <a16:creationId xmlns:a16="http://schemas.microsoft.com/office/drawing/2014/main" id="{78FB5E6E-E4AC-443D-BA8B-7EE108EDBC2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398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01" name="Rechthoek 140">
                <a:extLst>
                  <a:ext uri="{FF2B5EF4-FFF2-40B4-BE49-F238E27FC236}">
                    <a16:creationId xmlns:a16="http://schemas.microsoft.com/office/drawing/2014/main" id="{1E8D725B-1F5C-4FAC-B91D-E8B14A8C9B05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1277217" eaLnBrk="1" fontAlgn="auto" latinLnBrk="0" hangingPunct="1">
                  <a:lnSpc>
                    <a:spcPct val="90000"/>
                  </a:lnSpc>
                  <a:spcBef>
                    <a:spcPts val="839"/>
                  </a:spcBef>
                  <a:spcAft>
                    <a:spcPts val="839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537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102" name="Rechthoek 141">
                <a:extLst>
                  <a:ext uri="{FF2B5EF4-FFF2-40B4-BE49-F238E27FC236}">
                    <a16:creationId xmlns:a16="http://schemas.microsoft.com/office/drawing/2014/main" id="{F76808FA-F419-4AD2-BCF1-EE67337B8A96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1277217" eaLnBrk="1" fontAlgn="auto" latinLnBrk="0" hangingPunct="1">
                  <a:lnSpc>
                    <a:spcPct val="90000"/>
                  </a:lnSpc>
                  <a:spcBef>
                    <a:spcPts val="839"/>
                  </a:spcBef>
                  <a:spcAft>
                    <a:spcPts val="839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537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67" name="Rechte verbindingslijn 106">
              <a:extLst>
                <a:ext uri="{FF2B5EF4-FFF2-40B4-BE49-F238E27FC236}">
                  <a16:creationId xmlns:a16="http://schemas.microsoft.com/office/drawing/2014/main" id="{6E448821-8776-473C-B784-40DBCCB172C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68" name="Rechthoek 107">
              <a:extLst>
                <a:ext uri="{FF2B5EF4-FFF2-40B4-BE49-F238E27FC236}">
                  <a16:creationId xmlns:a16="http://schemas.microsoft.com/office/drawing/2014/main" id="{E548EE63-F8F7-4E1A-A0B2-F37F12F8175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1537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69" name="Ovaal 108">
              <a:extLst>
                <a:ext uri="{FF2B5EF4-FFF2-40B4-BE49-F238E27FC236}">
                  <a16:creationId xmlns:a16="http://schemas.microsoft.com/office/drawing/2014/main" id="{E60FA7F1-5B5F-4AF5-BE27-2A5C184C3105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70" name="Rechthoek 109">
              <a:extLst>
                <a:ext uri="{FF2B5EF4-FFF2-40B4-BE49-F238E27FC236}">
                  <a16:creationId xmlns:a16="http://schemas.microsoft.com/office/drawing/2014/main" id="{04E28943-68C6-471F-9583-950F5B8C7D0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1277217" rtl="0" eaLnBrk="1" fontAlgn="auto" latinLnBrk="0" hangingPunct="1">
                <a:lnSpc>
                  <a:spcPct val="90000"/>
                </a:lnSpc>
                <a:spcBef>
                  <a:spcPts val="839"/>
                </a:spcBef>
                <a:spcAft>
                  <a:spcPts val="839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71" name="Ovaal 110">
              <a:extLst>
                <a:ext uri="{FF2B5EF4-FFF2-40B4-BE49-F238E27FC236}">
                  <a16:creationId xmlns:a16="http://schemas.microsoft.com/office/drawing/2014/main" id="{9CB1A87A-1C59-4795-BCBB-45CBFCCD6536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72" name="Rechthoek 111">
              <a:extLst>
                <a:ext uri="{FF2B5EF4-FFF2-40B4-BE49-F238E27FC236}">
                  <a16:creationId xmlns:a16="http://schemas.microsoft.com/office/drawing/2014/main" id="{A2E4D557-0D13-4A75-A8D5-CAB14ED38053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252781" marR="0" lvl="0" indent="-252781" defTabSz="1277217" eaLnBrk="1" fontAlgn="auto" latinLnBrk="0" hangingPunct="1">
                <a:lnSpc>
                  <a:spcPct val="90000"/>
                </a:lnSpc>
                <a:spcBef>
                  <a:spcPts val="839"/>
                </a:spcBef>
                <a:spcAft>
                  <a:spcPts val="839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1537" noProof="0"/>
                <a:t>Derde Niveau</a:t>
              </a:r>
              <a:endParaRPr kumimoji="0" lang="nl-NL" sz="153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73" name="Ovaal 112">
              <a:extLst>
                <a:ext uri="{FF2B5EF4-FFF2-40B4-BE49-F238E27FC236}">
                  <a16:creationId xmlns:a16="http://schemas.microsoft.com/office/drawing/2014/main" id="{47E0E0FC-FA8E-443E-BC07-8ED6F0641D36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74" name="Rechthoek 113">
              <a:extLst>
                <a:ext uri="{FF2B5EF4-FFF2-40B4-BE49-F238E27FC236}">
                  <a16:creationId xmlns:a16="http://schemas.microsoft.com/office/drawing/2014/main" id="{7664C5CD-C658-446B-910F-F3A1E2BDA7F5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239479" marR="0" lvl="0" indent="-239479" defTabSz="1277217" eaLnBrk="1" fontAlgn="auto" latinLnBrk="0" hangingPunct="1">
                <a:lnSpc>
                  <a:spcPct val="90000"/>
                </a:lnSpc>
                <a:spcBef>
                  <a:spcPts val="839"/>
                </a:spcBef>
                <a:spcAft>
                  <a:spcPts val="839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75" name="Ovaal 114">
              <a:extLst>
                <a:ext uri="{FF2B5EF4-FFF2-40B4-BE49-F238E27FC236}">
                  <a16:creationId xmlns:a16="http://schemas.microsoft.com/office/drawing/2014/main" id="{A726B91C-933E-4287-9C06-8F842872C82E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76" name="Rechthoek 115">
              <a:extLst>
                <a:ext uri="{FF2B5EF4-FFF2-40B4-BE49-F238E27FC236}">
                  <a16:creationId xmlns:a16="http://schemas.microsoft.com/office/drawing/2014/main" id="{F19BA1D4-5360-4E5D-8BA7-DCB270E9C2CD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19306" marR="0" lvl="0" indent="-319306" defTabSz="1277217" eaLnBrk="1" fontAlgn="auto" latinLnBrk="0" hangingPunct="1">
                <a:lnSpc>
                  <a:spcPct val="90000"/>
                </a:lnSpc>
                <a:spcBef>
                  <a:spcPts val="839"/>
                </a:spcBef>
                <a:spcAft>
                  <a:spcPts val="839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1677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77" name="Rechte verbindingslijn 116">
              <a:extLst>
                <a:ext uri="{FF2B5EF4-FFF2-40B4-BE49-F238E27FC236}">
                  <a16:creationId xmlns:a16="http://schemas.microsoft.com/office/drawing/2014/main" id="{A53103BC-831E-4FD4-880F-4EF5B4F48DB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78" name="Meer informatie">
              <a:extLst>
                <a:ext uri="{FF2B5EF4-FFF2-40B4-BE49-F238E27FC236}">
                  <a16:creationId xmlns:a16="http://schemas.microsoft.com/office/drawing/2014/main" id="{C5505D44-F076-4C35-91C2-321564EBA043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88" name="Freeform 101">
                <a:extLst>
                  <a:ext uri="{FF2B5EF4-FFF2-40B4-BE49-F238E27FC236}">
                    <a16:creationId xmlns:a16="http://schemas.microsoft.com/office/drawing/2014/main" id="{4E903E40-675E-4F9D-ABB6-715A6FF455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537" noProof="0"/>
              </a:p>
            </p:txBody>
          </p:sp>
          <p:sp>
            <p:nvSpPr>
              <p:cNvPr id="89" name="Rechthoek 128">
                <a:extLst>
                  <a:ext uri="{FF2B5EF4-FFF2-40B4-BE49-F238E27FC236}">
                    <a16:creationId xmlns:a16="http://schemas.microsoft.com/office/drawing/2014/main" id="{4BD03939-6BA1-4CFB-A6EC-B872929174D9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1277217" eaLnBrk="1" fontAlgn="auto" latinLnBrk="0" hangingPunct="1">
                  <a:lnSpc>
                    <a:spcPct val="90000"/>
                  </a:lnSpc>
                  <a:spcBef>
                    <a:spcPts val="839"/>
                  </a:spcBef>
                  <a:spcAft>
                    <a:spcPts val="839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537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537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537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537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1537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90" name="Rechte verbindingslijn 129">
                <a:extLst>
                  <a:ext uri="{FF2B5EF4-FFF2-40B4-BE49-F238E27FC236}">
                    <a16:creationId xmlns:a16="http://schemas.microsoft.com/office/drawing/2014/main" id="{0D0C5345-52E2-4E26-B090-E7194BED5D3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79" name="Rechthoek 118">
              <a:extLst>
                <a:ext uri="{FF2B5EF4-FFF2-40B4-BE49-F238E27FC236}">
                  <a16:creationId xmlns:a16="http://schemas.microsoft.com/office/drawing/2014/main" id="{A5FBB76B-617E-4D3A-B69D-5441B1134AE6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1277217" eaLnBrk="1" fontAlgn="auto" latinLnBrk="0" hangingPunct="1">
                <a:lnSpc>
                  <a:spcPct val="90000"/>
                </a:lnSpc>
                <a:spcBef>
                  <a:spcPts val="839"/>
                </a:spcBef>
                <a:spcAft>
                  <a:spcPts val="839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80" name="Ovaal 119">
              <a:extLst>
                <a:ext uri="{FF2B5EF4-FFF2-40B4-BE49-F238E27FC236}">
                  <a16:creationId xmlns:a16="http://schemas.microsoft.com/office/drawing/2014/main" id="{6ADEC0F5-9D22-4F14-93DC-42DF1E9E4364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81" name="Rechthoek 120">
              <a:extLst>
                <a:ext uri="{FF2B5EF4-FFF2-40B4-BE49-F238E27FC236}">
                  <a16:creationId xmlns:a16="http://schemas.microsoft.com/office/drawing/2014/main" id="{C668D701-BE8B-4D56-AD79-BAA165406F95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498913" marR="0" lvl="0" indent="-252781" algn="l" defTabSz="1277217" rtl="0" eaLnBrk="1" fontAlgn="auto" latinLnBrk="0" hangingPunct="1">
                <a:lnSpc>
                  <a:spcPct val="90000"/>
                </a:lnSpc>
                <a:spcBef>
                  <a:spcPts val="839"/>
                </a:spcBef>
                <a:spcAft>
                  <a:spcPts val="839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537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1537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2" name="Ovaal 121">
              <a:extLst>
                <a:ext uri="{FF2B5EF4-FFF2-40B4-BE49-F238E27FC236}">
                  <a16:creationId xmlns:a16="http://schemas.microsoft.com/office/drawing/2014/main" id="{C68D0364-BA2C-40E8-974B-1626C7992103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83" name="Rechthoek 122">
              <a:extLst>
                <a:ext uri="{FF2B5EF4-FFF2-40B4-BE49-F238E27FC236}">
                  <a16:creationId xmlns:a16="http://schemas.microsoft.com/office/drawing/2014/main" id="{5A0781F7-177E-4959-B0BC-5F64CD098837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756132" marR="0" lvl="7" indent="-503347" algn="l" defTabSz="1277217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1677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1468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84" name="Ovaal 123">
              <a:extLst>
                <a:ext uri="{FF2B5EF4-FFF2-40B4-BE49-F238E27FC236}">
                  <a16:creationId xmlns:a16="http://schemas.microsoft.com/office/drawing/2014/main" id="{F392F83F-F78D-4921-93A1-22545A285E2D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85" name="Rechthoek 124">
              <a:extLst>
                <a:ext uri="{FF2B5EF4-FFF2-40B4-BE49-F238E27FC236}">
                  <a16:creationId xmlns:a16="http://schemas.microsoft.com/office/drawing/2014/main" id="{56151DAF-F0EA-427A-A749-F6CE092BB98B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1277217" rtl="0" eaLnBrk="1" fontAlgn="auto" latinLnBrk="0" hangingPunct="1">
                <a:lnSpc>
                  <a:spcPct val="90000"/>
                </a:lnSpc>
                <a:spcBef>
                  <a:spcPts val="839"/>
                </a:spcBef>
                <a:spcAft>
                  <a:spcPts val="839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537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1537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6" name="Rechthoek 125">
              <a:extLst>
                <a:ext uri="{FF2B5EF4-FFF2-40B4-BE49-F238E27FC236}">
                  <a16:creationId xmlns:a16="http://schemas.microsoft.com/office/drawing/2014/main" id="{04F862D1-33F7-4D3B-B638-70020878F0FC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1277217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1677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2235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87" name="Ovaal 126">
              <a:extLst>
                <a:ext uri="{FF2B5EF4-FFF2-40B4-BE49-F238E27FC236}">
                  <a16:creationId xmlns:a16="http://schemas.microsoft.com/office/drawing/2014/main" id="{77C613CF-21BA-413A-B914-EB4F245DABD8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66763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kaders + Uitleg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78" y="1766065"/>
            <a:ext cx="32281087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78" y="3469430"/>
            <a:ext cx="32281087" cy="1195424"/>
          </a:xfrm>
        </p:spPr>
        <p:txBody>
          <a:bodyPr>
            <a:noAutofit/>
          </a:bodyPr>
          <a:lstStyle>
            <a:lvl1pPr marL="0" marR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794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grpSp>
        <p:nvGrpSpPr>
          <p:cNvPr id="38" name="GRID" hidden="1">
            <a:extLst>
              <a:ext uri="{FF2B5EF4-FFF2-40B4-BE49-F238E27FC236}">
                <a16:creationId xmlns:a16="http://schemas.microsoft.com/office/drawing/2014/main" id="{51D5F7E8-69F8-47AD-81F5-1645C97607C1}"/>
              </a:ext>
            </a:extLst>
          </p:cNvPr>
          <p:cNvGrpSpPr/>
          <p:nvPr userDrawn="1"/>
        </p:nvGrpSpPr>
        <p:grpSpPr>
          <a:xfrm>
            <a:off x="4" y="0"/>
            <a:ext cx="42767263" cy="30275213"/>
            <a:chOff x="0" y="0"/>
            <a:chExt cx="12192003" cy="6858000"/>
          </a:xfrm>
        </p:grpSpPr>
        <p:sp>
          <p:nvSpPr>
            <p:cNvPr id="39" name="Rechthoek 38">
              <a:extLst>
                <a:ext uri="{FF2B5EF4-FFF2-40B4-BE49-F238E27FC236}">
                  <a16:creationId xmlns:a16="http://schemas.microsoft.com/office/drawing/2014/main" id="{71DB2C92-E6A8-4532-98F6-C917E7F5CD17}"/>
                </a:ext>
              </a:extLst>
            </p:cNvPr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40" name="Rechthoek 39">
              <a:extLst>
                <a:ext uri="{FF2B5EF4-FFF2-40B4-BE49-F238E27FC236}">
                  <a16:creationId xmlns:a16="http://schemas.microsoft.com/office/drawing/2014/main" id="{1283F161-5F8A-45E1-A9F2-F823FC1CB0A5}"/>
                </a:ext>
              </a:extLst>
            </p:cNvPr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41" name="Rechthoek 40">
              <a:extLst>
                <a:ext uri="{FF2B5EF4-FFF2-40B4-BE49-F238E27FC236}">
                  <a16:creationId xmlns:a16="http://schemas.microsoft.com/office/drawing/2014/main" id="{E25AE021-76F4-4113-9019-FB3CB3351AD2}"/>
                </a:ext>
              </a:extLst>
            </p:cNvPr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42" name="Rechthoek 41">
              <a:extLst>
                <a:ext uri="{FF2B5EF4-FFF2-40B4-BE49-F238E27FC236}">
                  <a16:creationId xmlns:a16="http://schemas.microsoft.com/office/drawing/2014/main" id="{4F56F574-960D-4395-B98C-5F49ED9EF418}"/>
                </a:ext>
              </a:extLst>
            </p:cNvPr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34E307D0-CCA0-4BDF-BC5F-E19838E9F7DA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44" name="Rechthoek 43">
              <a:extLst>
                <a:ext uri="{FF2B5EF4-FFF2-40B4-BE49-F238E27FC236}">
                  <a16:creationId xmlns:a16="http://schemas.microsoft.com/office/drawing/2014/main" id="{2AEE0B25-FBCC-4048-A2C0-6D97C3E7FEB7}"/>
                </a:ext>
              </a:extLst>
            </p:cNvPr>
            <p:cNvSpPr/>
            <p:nvPr userDrawn="1"/>
          </p:nvSpPr>
          <p:spPr>
            <a:xfrm rot="5400000">
              <a:off x="5895976" y="-108104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</p:grp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503"/>
            <a:ext cx="9622631" cy="1000848"/>
          </a:xfrm>
        </p:spPr>
        <p:txBody>
          <a:bodyPr/>
          <a:lstStyle/>
          <a:p>
            <a:fld id="{FF4C18EE-AB1E-4734-B490-93DC11E51DED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7" y="27345278"/>
            <a:ext cx="18027561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Voettekst</a:t>
            </a:r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7" y="27329717"/>
            <a:ext cx="834511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0D7B9878-B8FD-4C53-84A0-30824F06295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33803" y="6316510"/>
            <a:ext cx="25627522" cy="5476873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089185" y="2382"/>
                </a:lnTo>
                <a:cubicBezTo>
                  <a:pt x="7208841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08841" y="1240632"/>
                  <a:pt x="7089185" y="1240632"/>
                </a:cubicBezTo>
                <a:lnTo>
                  <a:pt x="216824" y="1240632"/>
                </a:lnTo>
                <a:cubicBezTo>
                  <a:pt x="9716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127721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77" b="1">
                <a:solidFill>
                  <a:schemeClr val="bg2"/>
                </a:solidFill>
              </a:defRPr>
            </a:lvl1pPr>
            <a:lvl2pPr>
              <a:spcAft>
                <a:spcPts val="0"/>
              </a:spcAft>
              <a:defRPr sz="1677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677"/>
            </a:lvl3pPr>
            <a:lvl4pPr>
              <a:defRPr sz="1677"/>
            </a:lvl4pPr>
            <a:lvl5pPr>
              <a:defRPr sz="1677">
                <a:solidFill>
                  <a:schemeClr val="bg2"/>
                </a:solidFill>
              </a:defRPr>
            </a:lvl5pPr>
          </a:lstStyle>
          <a:p>
            <a:pPr marL="0" marR="0" lvl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7F82B2D1-AD00-49E7-AE45-05F1D50B110A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696825" y="6310560"/>
            <a:ext cx="5345251" cy="5474264"/>
          </a:xfrm>
          <a:custGeom>
            <a:avLst/>
            <a:gdLst>
              <a:gd name="connsiteX0" fmla="*/ 0 w 1525587"/>
              <a:gd name="connsiteY0" fmla="*/ 161658 h 1241425"/>
              <a:gd name="connsiteX1" fmla="*/ 161658 w 1525587"/>
              <a:gd name="connsiteY1" fmla="*/ 0 h 1241425"/>
              <a:gd name="connsiteX2" fmla="*/ 1363929 w 1525587"/>
              <a:gd name="connsiteY2" fmla="*/ 0 h 1241425"/>
              <a:gd name="connsiteX3" fmla="*/ 1525587 w 1525587"/>
              <a:gd name="connsiteY3" fmla="*/ 161658 h 1241425"/>
              <a:gd name="connsiteX4" fmla="*/ 1525587 w 1525587"/>
              <a:gd name="connsiteY4" fmla="*/ 1079767 h 1241425"/>
              <a:gd name="connsiteX5" fmla="*/ 1363929 w 1525587"/>
              <a:gd name="connsiteY5" fmla="*/ 1241425 h 1241425"/>
              <a:gd name="connsiteX6" fmla="*/ 161658 w 1525587"/>
              <a:gd name="connsiteY6" fmla="*/ 1241425 h 1241425"/>
              <a:gd name="connsiteX7" fmla="*/ 0 w 1525587"/>
              <a:gd name="connsiteY7" fmla="*/ 1079767 h 1241425"/>
              <a:gd name="connsiteX8" fmla="*/ 0 w 1525587"/>
              <a:gd name="connsiteY8" fmla="*/ 161658 h 1241425"/>
              <a:gd name="connsiteX0" fmla="*/ 0 w 1525587"/>
              <a:gd name="connsiteY0" fmla="*/ 161658 h 1241425"/>
              <a:gd name="connsiteX1" fmla="*/ 42862 w 1525587"/>
              <a:gd name="connsiteY1" fmla="*/ 48418 h 1241425"/>
              <a:gd name="connsiteX2" fmla="*/ 161658 w 1525587"/>
              <a:gd name="connsiteY2" fmla="*/ 0 h 1241425"/>
              <a:gd name="connsiteX3" fmla="*/ 1363929 w 1525587"/>
              <a:gd name="connsiteY3" fmla="*/ 0 h 1241425"/>
              <a:gd name="connsiteX4" fmla="*/ 1525587 w 1525587"/>
              <a:gd name="connsiteY4" fmla="*/ 161658 h 1241425"/>
              <a:gd name="connsiteX5" fmla="*/ 1525587 w 1525587"/>
              <a:gd name="connsiteY5" fmla="*/ 1079767 h 1241425"/>
              <a:gd name="connsiteX6" fmla="*/ 1363929 w 1525587"/>
              <a:gd name="connsiteY6" fmla="*/ 1241425 h 1241425"/>
              <a:gd name="connsiteX7" fmla="*/ 161658 w 1525587"/>
              <a:gd name="connsiteY7" fmla="*/ 1241425 h 1241425"/>
              <a:gd name="connsiteX8" fmla="*/ 0 w 1525587"/>
              <a:gd name="connsiteY8" fmla="*/ 1079767 h 1241425"/>
              <a:gd name="connsiteX9" fmla="*/ 0 w 1525587"/>
              <a:gd name="connsiteY9" fmla="*/ 161658 h 1241425"/>
              <a:gd name="connsiteX0" fmla="*/ 8672 w 1534259"/>
              <a:gd name="connsiteY0" fmla="*/ 165982 h 1245749"/>
              <a:gd name="connsiteX1" fmla="*/ 11053 w 1534259"/>
              <a:gd name="connsiteY1" fmla="*/ 12261 h 1245749"/>
              <a:gd name="connsiteX2" fmla="*/ 170330 w 1534259"/>
              <a:gd name="connsiteY2" fmla="*/ 4324 h 1245749"/>
              <a:gd name="connsiteX3" fmla="*/ 1372601 w 1534259"/>
              <a:gd name="connsiteY3" fmla="*/ 4324 h 1245749"/>
              <a:gd name="connsiteX4" fmla="*/ 1534259 w 1534259"/>
              <a:gd name="connsiteY4" fmla="*/ 165982 h 1245749"/>
              <a:gd name="connsiteX5" fmla="*/ 1534259 w 1534259"/>
              <a:gd name="connsiteY5" fmla="*/ 1084091 h 1245749"/>
              <a:gd name="connsiteX6" fmla="*/ 1372601 w 1534259"/>
              <a:gd name="connsiteY6" fmla="*/ 1245749 h 1245749"/>
              <a:gd name="connsiteX7" fmla="*/ 170330 w 1534259"/>
              <a:gd name="connsiteY7" fmla="*/ 1245749 h 1245749"/>
              <a:gd name="connsiteX8" fmla="*/ 8672 w 1534259"/>
              <a:gd name="connsiteY8" fmla="*/ 1084091 h 1245749"/>
              <a:gd name="connsiteX9" fmla="*/ 8672 w 1534259"/>
              <a:gd name="connsiteY9" fmla="*/ 165982 h 1245749"/>
              <a:gd name="connsiteX0" fmla="*/ 8672 w 1534259"/>
              <a:gd name="connsiteY0" fmla="*/ 167890 h 1247657"/>
              <a:gd name="connsiteX1" fmla="*/ 11053 w 1534259"/>
              <a:gd name="connsiteY1" fmla="*/ 14169 h 1247657"/>
              <a:gd name="connsiteX2" fmla="*/ 170330 w 1534259"/>
              <a:gd name="connsiteY2" fmla="*/ 6232 h 1247657"/>
              <a:gd name="connsiteX3" fmla="*/ 1372601 w 1534259"/>
              <a:gd name="connsiteY3" fmla="*/ 6232 h 1247657"/>
              <a:gd name="connsiteX4" fmla="*/ 1534259 w 1534259"/>
              <a:gd name="connsiteY4" fmla="*/ 167890 h 1247657"/>
              <a:gd name="connsiteX5" fmla="*/ 1534259 w 1534259"/>
              <a:gd name="connsiteY5" fmla="*/ 1085999 h 1247657"/>
              <a:gd name="connsiteX6" fmla="*/ 1372601 w 1534259"/>
              <a:gd name="connsiteY6" fmla="*/ 1247657 h 1247657"/>
              <a:gd name="connsiteX7" fmla="*/ 170330 w 1534259"/>
              <a:gd name="connsiteY7" fmla="*/ 1247657 h 1247657"/>
              <a:gd name="connsiteX8" fmla="*/ 8672 w 1534259"/>
              <a:gd name="connsiteY8" fmla="*/ 1085999 h 1247657"/>
              <a:gd name="connsiteX9" fmla="*/ 8672 w 1534259"/>
              <a:gd name="connsiteY9" fmla="*/ 167890 h 1247657"/>
              <a:gd name="connsiteX0" fmla="*/ 8672 w 1534259"/>
              <a:gd name="connsiteY0" fmla="*/ 161658 h 1241425"/>
              <a:gd name="connsiteX1" fmla="*/ 11053 w 1534259"/>
              <a:gd name="connsiteY1" fmla="*/ 7937 h 1241425"/>
              <a:gd name="connsiteX2" fmla="*/ 170330 w 1534259"/>
              <a:gd name="connsiteY2" fmla="*/ 0 h 1241425"/>
              <a:gd name="connsiteX3" fmla="*/ 1372601 w 1534259"/>
              <a:gd name="connsiteY3" fmla="*/ 0 h 1241425"/>
              <a:gd name="connsiteX4" fmla="*/ 1534259 w 1534259"/>
              <a:gd name="connsiteY4" fmla="*/ 161658 h 1241425"/>
              <a:gd name="connsiteX5" fmla="*/ 1534259 w 1534259"/>
              <a:gd name="connsiteY5" fmla="*/ 1079767 h 1241425"/>
              <a:gd name="connsiteX6" fmla="*/ 1372601 w 1534259"/>
              <a:gd name="connsiteY6" fmla="*/ 1241425 h 1241425"/>
              <a:gd name="connsiteX7" fmla="*/ 170330 w 1534259"/>
              <a:gd name="connsiteY7" fmla="*/ 1241425 h 1241425"/>
              <a:gd name="connsiteX8" fmla="*/ 8672 w 1534259"/>
              <a:gd name="connsiteY8" fmla="*/ 1079767 h 1241425"/>
              <a:gd name="connsiteX9" fmla="*/ 8672 w 1534259"/>
              <a:gd name="connsiteY9" fmla="*/ 161658 h 124142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3668 h 1243435"/>
              <a:gd name="connsiteX1" fmla="*/ 10644 w 1535715"/>
              <a:gd name="connsiteY1" fmla="*/ 0 h 1243435"/>
              <a:gd name="connsiteX2" fmla="*/ 171786 w 1535715"/>
              <a:gd name="connsiteY2" fmla="*/ 2010 h 1243435"/>
              <a:gd name="connsiteX3" fmla="*/ 1374057 w 1535715"/>
              <a:gd name="connsiteY3" fmla="*/ 2010 h 1243435"/>
              <a:gd name="connsiteX4" fmla="*/ 1535715 w 1535715"/>
              <a:gd name="connsiteY4" fmla="*/ 163668 h 1243435"/>
              <a:gd name="connsiteX5" fmla="*/ 1535715 w 1535715"/>
              <a:gd name="connsiteY5" fmla="*/ 1081777 h 1243435"/>
              <a:gd name="connsiteX6" fmla="*/ 1374057 w 1535715"/>
              <a:gd name="connsiteY6" fmla="*/ 1243435 h 1243435"/>
              <a:gd name="connsiteX7" fmla="*/ 171786 w 1535715"/>
              <a:gd name="connsiteY7" fmla="*/ 1243435 h 1243435"/>
              <a:gd name="connsiteX8" fmla="*/ 10128 w 1535715"/>
              <a:gd name="connsiteY8" fmla="*/ 1081777 h 1243435"/>
              <a:gd name="connsiteX9" fmla="*/ 10128 w 1535715"/>
              <a:gd name="connsiteY9" fmla="*/ 163668 h 124343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1808 w 1537395"/>
              <a:gd name="connsiteY0" fmla="*/ 161803 h 1241570"/>
              <a:gd name="connsiteX1" fmla="*/ 12324 w 1537395"/>
              <a:gd name="connsiteY1" fmla="*/ 0 h 1241570"/>
              <a:gd name="connsiteX2" fmla="*/ 173466 w 1537395"/>
              <a:gd name="connsiteY2" fmla="*/ 145 h 1241570"/>
              <a:gd name="connsiteX3" fmla="*/ 1375737 w 1537395"/>
              <a:gd name="connsiteY3" fmla="*/ 145 h 1241570"/>
              <a:gd name="connsiteX4" fmla="*/ 1537395 w 1537395"/>
              <a:gd name="connsiteY4" fmla="*/ 161803 h 1241570"/>
              <a:gd name="connsiteX5" fmla="*/ 1537395 w 1537395"/>
              <a:gd name="connsiteY5" fmla="*/ 1079912 h 1241570"/>
              <a:gd name="connsiteX6" fmla="*/ 1375737 w 1537395"/>
              <a:gd name="connsiteY6" fmla="*/ 1241570 h 1241570"/>
              <a:gd name="connsiteX7" fmla="*/ 173466 w 1537395"/>
              <a:gd name="connsiteY7" fmla="*/ 1241570 h 1241570"/>
              <a:gd name="connsiteX8" fmla="*/ 11808 w 1537395"/>
              <a:gd name="connsiteY8" fmla="*/ 1079912 h 1241570"/>
              <a:gd name="connsiteX9" fmla="*/ 11808 w 1537395"/>
              <a:gd name="connsiteY9" fmla="*/ 161803 h 1241570"/>
              <a:gd name="connsiteX0" fmla="*/ 346 w 1525933"/>
              <a:gd name="connsiteY0" fmla="*/ 161803 h 1241570"/>
              <a:gd name="connsiteX1" fmla="*/ 862 w 1525933"/>
              <a:gd name="connsiteY1" fmla="*/ 0 h 1241570"/>
              <a:gd name="connsiteX2" fmla="*/ 162004 w 1525933"/>
              <a:gd name="connsiteY2" fmla="*/ 145 h 1241570"/>
              <a:gd name="connsiteX3" fmla="*/ 1364275 w 1525933"/>
              <a:gd name="connsiteY3" fmla="*/ 145 h 1241570"/>
              <a:gd name="connsiteX4" fmla="*/ 1525933 w 1525933"/>
              <a:gd name="connsiteY4" fmla="*/ 161803 h 1241570"/>
              <a:gd name="connsiteX5" fmla="*/ 1525933 w 1525933"/>
              <a:gd name="connsiteY5" fmla="*/ 1079912 h 1241570"/>
              <a:gd name="connsiteX6" fmla="*/ 1364275 w 1525933"/>
              <a:gd name="connsiteY6" fmla="*/ 1241570 h 1241570"/>
              <a:gd name="connsiteX7" fmla="*/ 162004 w 1525933"/>
              <a:gd name="connsiteY7" fmla="*/ 1241570 h 1241570"/>
              <a:gd name="connsiteX8" fmla="*/ 346 w 1525933"/>
              <a:gd name="connsiteY8" fmla="*/ 1079912 h 1241570"/>
              <a:gd name="connsiteX9" fmla="*/ 346 w 1525933"/>
              <a:gd name="connsiteY9" fmla="*/ 161803 h 1241570"/>
              <a:gd name="connsiteX0" fmla="*/ 872 w 1526459"/>
              <a:gd name="connsiteY0" fmla="*/ 161803 h 1241570"/>
              <a:gd name="connsiteX1" fmla="*/ 1388 w 1526459"/>
              <a:gd name="connsiteY1" fmla="*/ 0 h 1241570"/>
              <a:gd name="connsiteX2" fmla="*/ 162530 w 1526459"/>
              <a:gd name="connsiteY2" fmla="*/ 145 h 1241570"/>
              <a:gd name="connsiteX3" fmla="*/ 1364801 w 1526459"/>
              <a:gd name="connsiteY3" fmla="*/ 145 h 1241570"/>
              <a:gd name="connsiteX4" fmla="*/ 1526459 w 1526459"/>
              <a:gd name="connsiteY4" fmla="*/ 161803 h 1241570"/>
              <a:gd name="connsiteX5" fmla="*/ 1526459 w 1526459"/>
              <a:gd name="connsiteY5" fmla="*/ 1079912 h 1241570"/>
              <a:gd name="connsiteX6" fmla="*/ 1364801 w 1526459"/>
              <a:gd name="connsiteY6" fmla="*/ 1241570 h 1241570"/>
              <a:gd name="connsiteX7" fmla="*/ 162530 w 1526459"/>
              <a:gd name="connsiteY7" fmla="*/ 1241570 h 1241570"/>
              <a:gd name="connsiteX8" fmla="*/ 872 w 1526459"/>
              <a:gd name="connsiteY8" fmla="*/ 1079912 h 1241570"/>
              <a:gd name="connsiteX9" fmla="*/ 872 w 1526459"/>
              <a:gd name="connsiteY9" fmla="*/ 161803 h 1241570"/>
              <a:gd name="connsiteX0" fmla="*/ 470 w 1526057"/>
              <a:gd name="connsiteY0" fmla="*/ 161803 h 1241570"/>
              <a:gd name="connsiteX1" fmla="*/ 986 w 1526057"/>
              <a:gd name="connsiteY1" fmla="*/ 0 h 1241570"/>
              <a:gd name="connsiteX2" fmla="*/ 162128 w 1526057"/>
              <a:gd name="connsiteY2" fmla="*/ 145 h 1241570"/>
              <a:gd name="connsiteX3" fmla="*/ 1364399 w 1526057"/>
              <a:gd name="connsiteY3" fmla="*/ 145 h 1241570"/>
              <a:gd name="connsiteX4" fmla="*/ 1526057 w 1526057"/>
              <a:gd name="connsiteY4" fmla="*/ 161803 h 1241570"/>
              <a:gd name="connsiteX5" fmla="*/ 1526057 w 1526057"/>
              <a:gd name="connsiteY5" fmla="*/ 1079912 h 1241570"/>
              <a:gd name="connsiteX6" fmla="*/ 1364399 w 1526057"/>
              <a:gd name="connsiteY6" fmla="*/ 1241570 h 1241570"/>
              <a:gd name="connsiteX7" fmla="*/ 162128 w 1526057"/>
              <a:gd name="connsiteY7" fmla="*/ 1241570 h 1241570"/>
              <a:gd name="connsiteX8" fmla="*/ 470 w 1526057"/>
              <a:gd name="connsiteY8" fmla="*/ 1079912 h 1241570"/>
              <a:gd name="connsiteX9" fmla="*/ 470 w 1526057"/>
              <a:gd name="connsiteY9" fmla="*/ 161803 h 1241570"/>
              <a:gd name="connsiteX0" fmla="*/ 649 w 1526236"/>
              <a:gd name="connsiteY0" fmla="*/ 161803 h 1241570"/>
              <a:gd name="connsiteX1" fmla="*/ 1165 w 1526236"/>
              <a:gd name="connsiteY1" fmla="*/ 0 h 1241570"/>
              <a:gd name="connsiteX2" fmla="*/ 162307 w 1526236"/>
              <a:gd name="connsiteY2" fmla="*/ 145 h 1241570"/>
              <a:gd name="connsiteX3" fmla="*/ 1364578 w 1526236"/>
              <a:gd name="connsiteY3" fmla="*/ 145 h 1241570"/>
              <a:gd name="connsiteX4" fmla="*/ 1526236 w 1526236"/>
              <a:gd name="connsiteY4" fmla="*/ 161803 h 1241570"/>
              <a:gd name="connsiteX5" fmla="*/ 1526236 w 1526236"/>
              <a:gd name="connsiteY5" fmla="*/ 1079912 h 1241570"/>
              <a:gd name="connsiteX6" fmla="*/ 1364578 w 1526236"/>
              <a:gd name="connsiteY6" fmla="*/ 1241570 h 1241570"/>
              <a:gd name="connsiteX7" fmla="*/ 162307 w 1526236"/>
              <a:gd name="connsiteY7" fmla="*/ 1241570 h 1241570"/>
              <a:gd name="connsiteX8" fmla="*/ 649 w 1526236"/>
              <a:gd name="connsiteY8" fmla="*/ 1079912 h 1241570"/>
              <a:gd name="connsiteX9" fmla="*/ 649 w 1526236"/>
              <a:gd name="connsiteY9" fmla="*/ 161803 h 1241570"/>
              <a:gd name="connsiteX0" fmla="*/ 268 w 1525855"/>
              <a:gd name="connsiteY0" fmla="*/ 161803 h 1241570"/>
              <a:gd name="connsiteX1" fmla="*/ 784 w 1525855"/>
              <a:gd name="connsiteY1" fmla="*/ 0 h 1241570"/>
              <a:gd name="connsiteX2" fmla="*/ 161926 w 1525855"/>
              <a:gd name="connsiteY2" fmla="*/ 145 h 1241570"/>
              <a:gd name="connsiteX3" fmla="*/ 1364197 w 1525855"/>
              <a:gd name="connsiteY3" fmla="*/ 145 h 1241570"/>
              <a:gd name="connsiteX4" fmla="*/ 1525855 w 1525855"/>
              <a:gd name="connsiteY4" fmla="*/ 161803 h 1241570"/>
              <a:gd name="connsiteX5" fmla="*/ 1525855 w 1525855"/>
              <a:gd name="connsiteY5" fmla="*/ 1079912 h 1241570"/>
              <a:gd name="connsiteX6" fmla="*/ 1364197 w 1525855"/>
              <a:gd name="connsiteY6" fmla="*/ 1241570 h 1241570"/>
              <a:gd name="connsiteX7" fmla="*/ 161926 w 1525855"/>
              <a:gd name="connsiteY7" fmla="*/ 1241570 h 1241570"/>
              <a:gd name="connsiteX8" fmla="*/ 268 w 1525855"/>
              <a:gd name="connsiteY8" fmla="*/ 1079912 h 1241570"/>
              <a:gd name="connsiteX9" fmla="*/ 268 w 1525855"/>
              <a:gd name="connsiteY9" fmla="*/ 161803 h 1241570"/>
              <a:gd name="connsiteX0" fmla="*/ 359 w 1525946"/>
              <a:gd name="connsiteY0" fmla="*/ 161803 h 1241570"/>
              <a:gd name="connsiteX1" fmla="*/ 253 w 1525946"/>
              <a:gd name="connsiteY1" fmla="*/ 0 h 1241570"/>
              <a:gd name="connsiteX2" fmla="*/ 162017 w 1525946"/>
              <a:gd name="connsiteY2" fmla="*/ 145 h 1241570"/>
              <a:gd name="connsiteX3" fmla="*/ 1364288 w 1525946"/>
              <a:gd name="connsiteY3" fmla="*/ 145 h 1241570"/>
              <a:gd name="connsiteX4" fmla="*/ 1525946 w 1525946"/>
              <a:gd name="connsiteY4" fmla="*/ 161803 h 1241570"/>
              <a:gd name="connsiteX5" fmla="*/ 1525946 w 1525946"/>
              <a:gd name="connsiteY5" fmla="*/ 1079912 h 1241570"/>
              <a:gd name="connsiteX6" fmla="*/ 1364288 w 1525946"/>
              <a:gd name="connsiteY6" fmla="*/ 1241570 h 1241570"/>
              <a:gd name="connsiteX7" fmla="*/ 162017 w 1525946"/>
              <a:gd name="connsiteY7" fmla="*/ 1241570 h 1241570"/>
              <a:gd name="connsiteX8" fmla="*/ 359 w 1525946"/>
              <a:gd name="connsiteY8" fmla="*/ 1079912 h 1241570"/>
              <a:gd name="connsiteX9" fmla="*/ 359 w 1525946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364035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25693" h="1241570">
                <a:moveTo>
                  <a:pt x="106" y="161803"/>
                </a:moveTo>
                <a:cubicBezTo>
                  <a:pt x="-210" y="159620"/>
                  <a:pt x="409" y="7672"/>
                  <a:pt x="0" y="0"/>
                </a:cubicBezTo>
                <a:cubicBezTo>
                  <a:pt x="6219" y="388"/>
                  <a:pt x="110655" y="450"/>
                  <a:pt x="161764" y="145"/>
                </a:cubicBezTo>
                <a:lnTo>
                  <a:pt x="1364035" y="145"/>
                </a:lnTo>
                <a:cubicBezTo>
                  <a:pt x="1453316" y="145"/>
                  <a:pt x="1525693" y="72522"/>
                  <a:pt x="1525693" y="161803"/>
                </a:cubicBezTo>
                <a:lnTo>
                  <a:pt x="1525693" y="1079912"/>
                </a:lnTo>
                <a:cubicBezTo>
                  <a:pt x="1525693" y="1169193"/>
                  <a:pt x="1453316" y="1241570"/>
                  <a:pt x="1364035" y="1241570"/>
                </a:cubicBezTo>
                <a:lnTo>
                  <a:pt x="161764" y="1241570"/>
                </a:lnTo>
                <a:cubicBezTo>
                  <a:pt x="72483" y="1241570"/>
                  <a:pt x="106" y="1169193"/>
                  <a:pt x="106" y="1079912"/>
                </a:cubicBezTo>
                <a:lnTo>
                  <a:pt x="106" y="1618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tIns="0" bIns="252000" anchor="b"/>
          <a:lstStyle>
            <a:lvl1pPr marL="0" indent="0" algn="ctr">
              <a:buNone/>
              <a:defRPr sz="1117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nl-NL" noProof="0"/>
          </a:p>
        </p:txBody>
      </p:sp>
      <p:sp>
        <p:nvSpPr>
          <p:cNvPr id="30" name="Tijdelijke aanduiding voor tekst 2">
            <a:extLst>
              <a:ext uri="{FF2B5EF4-FFF2-40B4-BE49-F238E27FC236}">
                <a16:creationId xmlns:a16="http://schemas.microsoft.com/office/drawing/2014/main" id="{9D2AC618-ACAD-484E-BBCB-91B7EBF7B70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533803" y="13275428"/>
            <a:ext cx="25627522" cy="5476873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089185" y="2382"/>
                </a:lnTo>
                <a:cubicBezTo>
                  <a:pt x="7208841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08841" y="1240632"/>
                  <a:pt x="7089185" y="1240632"/>
                </a:cubicBezTo>
                <a:lnTo>
                  <a:pt x="216824" y="1240632"/>
                </a:lnTo>
                <a:cubicBezTo>
                  <a:pt x="9716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127721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77" b="1">
                <a:solidFill>
                  <a:schemeClr val="bg2"/>
                </a:solidFill>
              </a:defRPr>
            </a:lvl1pPr>
            <a:lvl2pPr>
              <a:spcAft>
                <a:spcPts val="0"/>
              </a:spcAft>
              <a:defRPr sz="1677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677"/>
            </a:lvl3pPr>
            <a:lvl4pPr>
              <a:defRPr sz="1677"/>
            </a:lvl4pPr>
            <a:lvl5pPr>
              <a:defRPr sz="1677">
                <a:solidFill>
                  <a:schemeClr val="bg2"/>
                </a:solidFill>
              </a:defRPr>
            </a:lvl5pPr>
          </a:lstStyle>
          <a:p>
            <a:pPr marL="0" marR="0" lvl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31" name="Tijdelijke aanduiding voor afbeelding 6">
            <a:extLst>
              <a:ext uri="{FF2B5EF4-FFF2-40B4-BE49-F238E27FC236}">
                <a16:creationId xmlns:a16="http://schemas.microsoft.com/office/drawing/2014/main" id="{6EAA7FFB-E40E-4744-8AF0-0E4BEE5C22A0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1696825" y="13269471"/>
            <a:ext cx="5345251" cy="5474264"/>
          </a:xfrm>
          <a:custGeom>
            <a:avLst/>
            <a:gdLst>
              <a:gd name="connsiteX0" fmla="*/ 0 w 1525587"/>
              <a:gd name="connsiteY0" fmla="*/ 161658 h 1241425"/>
              <a:gd name="connsiteX1" fmla="*/ 161658 w 1525587"/>
              <a:gd name="connsiteY1" fmla="*/ 0 h 1241425"/>
              <a:gd name="connsiteX2" fmla="*/ 1363929 w 1525587"/>
              <a:gd name="connsiteY2" fmla="*/ 0 h 1241425"/>
              <a:gd name="connsiteX3" fmla="*/ 1525587 w 1525587"/>
              <a:gd name="connsiteY3" fmla="*/ 161658 h 1241425"/>
              <a:gd name="connsiteX4" fmla="*/ 1525587 w 1525587"/>
              <a:gd name="connsiteY4" fmla="*/ 1079767 h 1241425"/>
              <a:gd name="connsiteX5" fmla="*/ 1363929 w 1525587"/>
              <a:gd name="connsiteY5" fmla="*/ 1241425 h 1241425"/>
              <a:gd name="connsiteX6" fmla="*/ 161658 w 1525587"/>
              <a:gd name="connsiteY6" fmla="*/ 1241425 h 1241425"/>
              <a:gd name="connsiteX7" fmla="*/ 0 w 1525587"/>
              <a:gd name="connsiteY7" fmla="*/ 1079767 h 1241425"/>
              <a:gd name="connsiteX8" fmla="*/ 0 w 1525587"/>
              <a:gd name="connsiteY8" fmla="*/ 161658 h 1241425"/>
              <a:gd name="connsiteX0" fmla="*/ 0 w 1525587"/>
              <a:gd name="connsiteY0" fmla="*/ 161658 h 1241425"/>
              <a:gd name="connsiteX1" fmla="*/ 42862 w 1525587"/>
              <a:gd name="connsiteY1" fmla="*/ 48418 h 1241425"/>
              <a:gd name="connsiteX2" fmla="*/ 161658 w 1525587"/>
              <a:gd name="connsiteY2" fmla="*/ 0 h 1241425"/>
              <a:gd name="connsiteX3" fmla="*/ 1363929 w 1525587"/>
              <a:gd name="connsiteY3" fmla="*/ 0 h 1241425"/>
              <a:gd name="connsiteX4" fmla="*/ 1525587 w 1525587"/>
              <a:gd name="connsiteY4" fmla="*/ 161658 h 1241425"/>
              <a:gd name="connsiteX5" fmla="*/ 1525587 w 1525587"/>
              <a:gd name="connsiteY5" fmla="*/ 1079767 h 1241425"/>
              <a:gd name="connsiteX6" fmla="*/ 1363929 w 1525587"/>
              <a:gd name="connsiteY6" fmla="*/ 1241425 h 1241425"/>
              <a:gd name="connsiteX7" fmla="*/ 161658 w 1525587"/>
              <a:gd name="connsiteY7" fmla="*/ 1241425 h 1241425"/>
              <a:gd name="connsiteX8" fmla="*/ 0 w 1525587"/>
              <a:gd name="connsiteY8" fmla="*/ 1079767 h 1241425"/>
              <a:gd name="connsiteX9" fmla="*/ 0 w 1525587"/>
              <a:gd name="connsiteY9" fmla="*/ 161658 h 1241425"/>
              <a:gd name="connsiteX0" fmla="*/ 8672 w 1534259"/>
              <a:gd name="connsiteY0" fmla="*/ 165982 h 1245749"/>
              <a:gd name="connsiteX1" fmla="*/ 11053 w 1534259"/>
              <a:gd name="connsiteY1" fmla="*/ 12261 h 1245749"/>
              <a:gd name="connsiteX2" fmla="*/ 170330 w 1534259"/>
              <a:gd name="connsiteY2" fmla="*/ 4324 h 1245749"/>
              <a:gd name="connsiteX3" fmla="*/ 1372601 w 1534259"/>
              <a:gd name="connsiteY3" fmla="*/ 4324 h 1245749"/>
              <a:gd name="connsiteX4" fmla="*/ 1534259 w 1534259"/>
              <a:gd name="connsiteY4" fmla="*/ 165982 h 1245749"/>
              <a:gd name="connsiteX5" fmla="*/ 1534259 w 1534259"/>
              <a:gd name="connsiteY5" fmla="*/ 1084091 h 1245749"/>
              <a:gd name="connsiteX6" fmla="*/ 1372601 w 1534259"/>
              <a:gd name="connsiteY6" fmla="*/ 1245749 h 1245749"/>
              <a:gd name="connsiteX7" fmla="*/ 170330 w 1534259"/>
              <a:gd name="connsiteY7" fmla="*/ 1245749 h 1245749"/>
              <a:gd name="connsiteX8" fmla="*/ 8672 w 1534259"/>
              <a:gd name="connsiteY8" fmla="*/ 1084091 h 1245749"/>
              <a:gd name="connsiteX9" fmla="*/ 8672 w 1534259"/>
              <a:gd name="connsiteY9" fmla="*/ 165982 h 1245749"/>
              <a:gd name="connsiteX0" fmla="*/ 8672 w 1534259"/>
              <a:gd name="connsiteY0" fmla="*/ 167890 h 1247657"/>
              <a:gd name="connsiteX1" fmla="*/ 11053 w 1534259"/>
              <a:gd name="connsiteY1" fmla="*/ 14169 h 1247657"/>
              <a:gd name="connsiteX2" fmla="*/ 170330 w 1534259"/>
              <a:gd name="connsiteY2" fmla="*/ 6232 h 1247657"/>
              <a:gd name="connsiteX3" fmla="*/ 1372601 w 1534259"/>
              <a:gd name="connsiteY3" fmla="*/ 6232 h 1247657"/>
              <a:gd name="connsiteX4" fmla="*/ 1534259 w 1534259"/>
              <a:gd name="connsiteY4" fmla="*/ 167890 h 1247657"/>
              <a:gd name="connsiteX5" fmla="*/ 1534259 w 1534259"/>
              <a:gd name="connsiteY5" fmla="*/ 1085999 h 1247657"/>
              <a:gd name="connsiteX6" fmla="*/ 1372601 w 1534259"/>
              <a:gd name="connsiteY6" fmla="*/ 1247657 h 1247657"/>
              <a:gd name="connsiteX7" fmla="*/ 170330 w 1534259"/>
              <a:gd name="connsiteY7" fmla="*/ 1247657 h 1247657"/>
              <a:gd name="connsiteX8" fmla="*/ 8672 w 1534259"/>
              <a:gd name="connsiteY8" fmla="*/ 1085999 h 1247657"/>
              <a:gd name="connsiteX9" fmla="*/ 8672 w 1534259"/>
              <a:gd name="connsiteY9" fmla="*/ 167890 h 1247657"/>
              <a:gd name="connsiteX0" fmla="*/ 8672 w 1534259"/>
              <a:gd name="connsiteY0" fmla="*/ 161658 h 1241425"/>
              <a:gd name="connsiteX1" fmla="*/ 11053 w 1534259"/>
              <a:gd name="connsiteY1" fmla="*/ 7937 h 1241425"/>
              <a:gd name="connsiteX2" fmla="*/ 170330 w 1534259"/>
              <a:gd name="connsiteY2" fmla="*/ 0 h 1241425"/>
              <a:gd name="connsiteX3" fmla="*/ 1372601 w 1534259"/>
              <a:gd name="connsiteY3" fmla="*/ 0 h 1241425"/>
              <a:gd name="connsiteX4" fmla="*/ 1534259 w 1534259"/>
              <a:gd name="connsiteY4" fmla="*/ 161658 h 1241425"/>
              <a:gd name="connsiteX5" fmla="*/ 1534259 w 1534259"/>
              <a:gd name="connsiteY5" fmla="*/ 1079767 h 1241425"/>
              <a:gd name="connsiteX6" fmla="*/ 1372601 w 1534259"/>
              <a:gd name="connsiteY6" fmla="*/ 1241425 h 1241425"/>
              <a:gd name="connsiteX7" fmla="*/ 170330 w 1534259"/>
              <a:gd name="connsiteY7" fmla="*/ 1241425 h 1241425"/>
              <a:gd name="connsiteX8" fmla="*/ 8672 w 1534259"/>
              <a:gd name="connsiteY8" fmla="*/ 1079767 h 1241425"/>
              <a:gd name="connsiteX9" fmla="*/ 8672 w 1534259"/>
              <a:gd name="connsiteY9" fmla="*/ 161658 h 124142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3668 h 1243435"/>
              <a:gd name="connsiteX1" fmla="*/ 10644 w 1535715"/>
              <a:gd name="connsiteY1" fmla="*/ 0 h 1243435"/>
              <a:gd name="connsiteX2" fmla="*/ 171786 w 1535715"/>
              <a:gd name="connsiteY2" fmla="*/ 2010 h 1243435"/>
              <a:gd name="connsiteX3" fmla="*/ 1374057 w 1535715"/>
              <a:gd name="connsiteY3" fmla="*/ 2010 h 1243435"/>
              <a:gd name="connsiteX4" fmla="*/ 1535715 w 1535715"/>
              <a:gd name="connsiteY4" fmla="*/ 163668 h 1243435"/>
              <a:gd name="connsiteX5" fmla="*/ 1535715 w 1535715"/>
              <a:gd name="connsiteY5" fmla="*/ 1081777 h 1243435"/>
              <a:gd name="connsiteX6" fmla="*/ 1374057 w 1535715"/>
              <a:gd name="connsiteY6" fmla="*/ 1243435 h 1243435"/>
              <a:gd name="connsiteX7" fmla="*/ 171786 w 1535715"/>
              <a:gd name="connsiteY7" fmla="*/ 1243435 h 1243435"/>
              <a:gd name="connsiteX8" fmla="*/ 10128 w 1535715"/>
              <a:gd name="connsiteY8" fmla="*/ 1081777 h 1243435"/>
              <a:gd name="connsiteX9" fmla="*/ 10128 w 1535715"/>
              <a:gd name="connsiteY9" fmla="*/ 163668 h 124343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1808 w 1537395"/>
              <a:gd name="connsiteY0" fmla="*/ 161803 h 1241570"/>
              <a:gd name="connsiteX1" fmla="*/ 12324 w 1537395"/>
              <a:gd name="connsiteY1" fmla="*/ 0 h 1241570"/>
              <a:gd name="connsiteX2" fmla="*/ 173466 w 1537395"/>
              <a:gd name="connsiteY2" fmla="*/ 145 h 1241570"/>
              <a:gd name="connsiteX3" fmla="*/ 1375737 w 1537395"/>
              <a:gd name="connsiteY3" fmla="*/ 145 h 1241570"/>
              <a:gd name="connsiteX4" fmla="*/ 1537395 w 1537395"/>
              <a:gd name="connsiteY4" fmla="*/ 161803 h 1241570"/>
              <a:gd name="connsiteX5" fmla="*/ 1537395 w 1537395"/>
              <a:gd name="connsiteY5" fmla="*/ 1079912 h 1241570"/>
              <a:gd name="connsiteX6" fmla="*/ 1375737 w 1537395"/>
              <a:gd name="connsiteY6" fmla="*/ 1241570 h 1241570"/>
              <a:gd name="connsiteX7" fmla="*/ 173466 w 1537395"/>
              <a:gd name="connsiteY7" fmla="*/ 1241570 h 1241570"/>
              <a:gd name="connsiteX8" fmla="*/ 11808 w 1537395"/>
              <a:gd name="connsiteY8" fmla="*/ 1079912 h 1241570"/>
              <a:gd name="connsiteX9" fmla="*/ 11808 w 1537395"/>
              <a:gd name="connsiteY9" fmla="*/ 161803 h 1241570"/>
              <a:gd name="connsiteX0" fmla="*/ 346 w 1525933"/>
              <a:gd name="connsiteY0" fmla="*/ 161803 h 1241570"/>
              <a:gd name="connsiteX1" fmla="*/ 862 w 1525933"/>
              <a:gd name="connsiteY1" fmla="*/ 0 h 1241570"/>
              <a:gd name="connsiteX2" fmla="*/ 162004 w 1525933"/>
              <a:gd name="connsiteY2" fmla="*/ 145 h 1241570"/>
              <a:gd name="connsiteX3" fmla="*/ 1364275 w 1525933"/>
              <a:gd name="connsiteY3" fmla="*/ 145 h 1241570"/>
              <a:gd name="connsiteX4" fmla="*/ 1525933 w 1525933"/>
              <a:gd name="connsiteY4" fmla="*/ 161803 h 1241570"/>
              <a:gd name="connsiteX5" fmla="*/ 1525933 w 1525933"/>
              <a:gd name="connsiteY5" fmla="*/ 1079912 h 1241570"/>
              <a:gd name="connsiteX6" fmla="*/ 1364275 w 1525933"/>
              <a:gd name="connsiteY6" fmla="*/ 1241570 h 1241570"/>
              <a:gd name="connsiteX7" fmla="*/ 162004 w 1525933"/>
              <a:gd name="connsiteY7" fmla="*/ 1241570 h 1241570"/>
              <a:gd name="connsiteX8" fmla="*/ 346 w 1525933"/>
              <a:gd name="connsiteY8" fmla="*/ 1079912 h 1241570"/>
              <a:gd name="connsiteX9" fmla="*/ 346 w 1525933"/>
              <a:gd name="connsiteY9" fmla="*/ 161803 h 1241570"/>
              <a:gd name="connsiteX0" fmla="*/ 872 w 1526459"/>
              <a:gd name="connsiteY0" fmla="*/ 161803 h 1241570"/>
              <a:gd name="connsiteX1" fmla="*/ 1388 w 1526459"/>
              <a:gd name="connsiteY1" fmla="*/ 0 h 1241570"/>
              <a:gd name="connsiteX2" fmla="*/ 162530 w 1526459"/>
              <a:gd name="connsiteY2" fmla="*/ 145 h 1241570"/>
              <a:gd name="connsiteX3" fmla="*/ 1364801 w 1526459"/>
              <a:gd name="connsiteY3" fmla="*/ 145 h 1241570"/>
              <a:gd name="connsiteX4" fmla="*/ 1526459 w 1526459"/>
              <a:gd name="connsiteY4" fmla="*/ 161803 h 1241570"/>
              <a:gd name="connsiteX5" fmla="*/ 1526459 w 1526459"/>
              <a:gd name="connsiteY5" fmla="*/ 1079912 h 1241570"/>
              <a:gd name="connsiteX6" fmla="*/ 1364801 w 1526459"/>
              <a:gd name="connsiteY6" fmla="*/ 1241570 h 1241570"/>
              <a:gd name="connsiteX7" fmla="*/ 162530 w 1526459"/>
              <a:gd name="connsiteY7" fmla="*/ 1241570 h 1241570"/>
              <a:gd name="connsiteX8" fmla="*/ 872 w 1526459"/>
              <a:gd name="connsiteY8" fmla="*/ 1079912 h 1241570"/>
              <a:gd name="connsiteX9" fmla="*/ 872 w 1526459"/>
              <a:gd name="connsiteY9" fmla="*/ 161803 h 1241570"/>
              <a:gd name="connsiteX0" fmla="*/ 470 w 1526057"/>
              <a:gd name="connsiteY0" fmla="*/ 161803 h 1241570"/>
              <a:gd name="connsiteX1" fmla="*/ 986 w 1526057"/>
              <a:gd name="connsiteY1" fmla="*/ 0 h 1241570"/>
              <a:gd name="connsiteX2" fmla="*/ 162128 w 1526057"/>
              <a:gd name="connsiteY2" fmla="*/ 145 h 1241570"/>
              <a:gd name="connsiteX3" fmla="*/ 1364399 w 1526057"/>
              <a:gd name="connsiteY3" fmla="*/ 145 h 1241570"/>
              <a:gd name="connsiteX4" fmla="*/ 1526057 w 1526057"/>
              <a:gd name="connsiteY4" fmla="*/ 161803 h 1241570"/>
              <a:gd name="connsiteX5" fmla="*/ 1526057 w 1526057"/>
              <a:gd name="connsiteY5" fmla="*/ 1079912 h 1241570"/>
              <a:gd name="connsiteX6" fmla="*/ 1364399 w 1526057"/>
              <a:gd name="connsiteY6" fmla="*/ 1241570 h 1241570"/>
              <a:gd name="connsiteX7" fmla="*/ 162128 w 1526057"/>
              <a:gd name="connsiteY7" fmla="*/ 1241570 h 1241570"/>
              <a:gd name="connsiteX8" fmla="*/ 470 w 1526057"/>
              <a:gd name="connsiteY8" fmla="*/ 1079912 h 1241570"/>
              <a:gd name="connsiteX9" fmla="*/ 470 w 1526057"/>
              <a:gd name="connsiteY9" fmla="*/ 161803 h 1241570"/>
              <a:gd name="connsiteX0" fmla="*/ 649 w 1526236"/>
              <a:gd name="connsiteY0" fmla="*/ 161803 h 1241570"/>
              <a:gd name="connsiteX1" fmla="*/ 1165 w 1526236"/>
              <a:gd name="connsiteY1" fmla="*/ 0 h 1241570"/>
              <a:gd name="connsiteX2" fmla="*/ 162307 w 1526236"/>
              <a:gd name="connsiteY2" fmla="*/ 145 h 1241570"/>
              <a:gd name="connsiteX3" fmla="*/ 1364578 w 1526236"/>
              <a:gd name="connsiteY3" fmla="*/ 145 h 1241570"/>
              <a:gd name="connsiteX4" fmla="*/ 1526236 w 1526236"/>
              <a:gd name="connsiteY4" fmla="*/ 161803 h 1241570"/>
              <a:gd name="connsiteX5" fmla="*/ 1526236 w 1526236"/>
              <a:gd name="connsiteY5" fmla="*/ 1079912 h 1241570"/>
              <a:gd name="connsiteX6" fmla="*/ 1364578 w 1526236"/>
              <a:gd name="connsiteY6" fmla="*/ 1241570 h 1241570"/>
              <a:gd name="connsiteX7" fmla="*/ 162307 w 1526236"/>
              <a:gd name="connsiteY7" fmla="*/ 1241570 h 1241570"/>
              <a:gd name="connsiteX8" fmla="*/ 649 w 1526236"/>
              <a:gd name="connsiteY8" fmla="*/ 1079912 h 1241570"/>
              <a:gd name="connsiteX9" fmla="*/ 649 w 1526236"/>
              <a:gd name="connsiteY9" fmla="*/ 161803 h 1241570"/>
              <a:gd name="connsiteX0" fmla="*/ 268 w 1525855"/>
              <a:gd name="connsiteY0" fmla="*/ 161803 h 1241570"/>
              <a:gd name="connsiteX1" fmla="*/ 784 w 1525855"/>
              <a:gd name="connsiteY1" fmla="*/ 0 h 1241570"/>
              <a:gd name="connsiteX2" fmla="*/ 161926 w 1525855"/>
              <a:gd name="connsiteY2" fmla="*/ 145 h 1241570"/>
              <a:gd name="connsiteX3" fmla="*/ 1364197 w 1525855"/>
              <a:gd name="connsiteY3" fmla="*/ 145 h 1241570"/>
              <a:gd name="connsiteX4" fmla="*/ 1525855 w 1525855"/>
              <a:gd name="connsiteY4" fmla="*/ 161803 h 1241570"/>
              <a:gd name="connsiteX5" fmla="*/ 1525855 w 1525855"/>
              <a:gd name="connsiteY5" fmla="*/ 1079912 h 1241570"/>
              <a:gd name="connsiteX6" fmla="*/ 1364197 w 1525855"/>
              <a:gd name="connsiteY6" fmla="*/ 1241570 h 1241570"/>
              <a:gd name="connsiteX7" fmla="*/ 161926 w 1525855"/>
              <a:gd name="connsiteY7" fmla="*/ 1241570 h 1241570"/>
              <a:gd name="connsiteX8" fmla="*/ 268 w 1525855"/>
              <a:gd name="connsiteY8" fmla="*/ 1079912 h 1241570"/>
              <a:gd name="connsiteX9" fmla="*/ 268 w 1525855"/>
              <a:gd name="connsiteY9" fmla="*/ 161803 h 1241570"/>
              <a:gd name="connsiteX0" fmla="*/ 359 w 1525946"/>
              <a:gd name="connsiteY0" fmla="*/ 161803 h 1241570"/>
              <a:gd name="connsiteX1" fmla="*/ 253 w 1525946"/>
              <a:gd name="connsiteY1" fmla="*/ 0 h 1241570"/>
              <a:gd name="connsiteX2" fmla="*/ 162017 w 1525946"/>
              <a:gd name="connsiteY2" fmla="*/ 145 h 1241570"/>
              <a:gd name="connsiteX3" fmla="*/ 1364288 w 1525946"/>
              <a:gd name="connsiteY3" fmla="*/ 145 h 1241570"/>
              <a:gd name="connsiteX4" fmla="*/ 1525946 w 1525946"/>
              <a:gd name="connsiteY4" fmla="*/ 161803 h 1241570"/>
              <a:gd name="connsiteX5" fmla="*/ 1525946 w 1525946"/>
              <a:gd name="connsiteY5" fmla="*/ 1079912 h 1241570"/>
              <a:gd name="connsiteX6" fmla="*/ 1364288 w 1525946"/>
              <a:gd name="connsiteY6" fmla="*/ 1241570 h 1241570"/>
              <a:gd name="connsiteX7" fmla="*/ 162017 w 1525946"/>
              <a:gd name="connsiteY7" fmla="*/ 1241570 h 1241570"/>
              <a:gd name="connsiteX8" fmla="*/ 359 w 1525946"/>
              <a:gd name="connsiteY8" fmla="*/ 1079912 h 1241570"/>
              <a:gd name="connsiteX9" fmla="*/ 359 w 1525946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364035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25693" h="1241570">
                <a:moveTo>
                  <a:pt x="106" y="161803"/>
                </a:moveTo>
                <a:cubicBezTo>
                  <a:pt x="-210" y="159620"/>
                  <a:pt x="409" y="7672"/>
                  <a:pt x="0" y="0"/>
                </a:cubicBezTo>
                <a:cubicBezTo>
                  <a:pt x="6219" y="388"/>
                  <a:pt x="110655" y="450"/>
                  <a:pt x="161764" y="145"/>
                </a:cubicBezTo>
                <a:lnTo>
                  <a:pt x="1364035" y="145"/>
                </a:lnTo>
                <a:cubicBezTo>
                  <a:pt x="1453316" y="145"/>
                  <a:pt x="1525693" y="72522"/>
                  <a:pt x="1525693" y="161803"/>
                </a:cubicBezTo>
                <a:lnTo>
                  <a:pt x="1525693" y="1079912"/>
                </a:lnTo>
                <a:cubicBezTo>
                  <a:pt x="1525693" y="1169193"/>
                  <a:pt x="1453316" y="1241570"/>
                  <a:pt x="1364035" y="1241570"/>
                </a:cubicBezTo>
                <a:lnTo>
                  <a:pt x="161764" y="1241570"/>
                </a:lnTo>
                <a:cubicBezTo>
                  <a:pt x="72483" y="1241570"/>
                  <a:pt x="106" y="1169193"/>
                  <a:pt x="106" y="1079912"/>
                </a:cubicBezTo>
                <a:lnTo>
                  <a:pt x="106" y="1618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tIns="0" bIns="252000" anchor="b"/>
          <a:lstStyle>
            <a:lvl1pPr marL="0" indent="0" algn="ctr">
              <a:buNone/>
              <a:defRPr sz="1117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nl-NL" noProof="0"/>
          </a:p>
        </p:txBody>
      </p:sp>
      <p:sp>
        <p:nvSpPr>
          <p:cNvPr id="32" name="Tijdelijke aanduiding voor tekst 2">
            <a:extLst>
              <a:ext uri="{FF2B5EF4-FFF2-40B4-BE49-F238E27FC236}">
                <a16:creationId xmlns:a16="http://schemas.microsoft.com/office/drawing/2014/main" id="{F4636EEB-5D3E-40A6-BA1D-52AAF0683C6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533803" y="20234340"/>
            <a:ext cx="25627522" cy="5476873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089185" y="2382"/>
                </a:lnTo>
                <a:cubicBezTo>
                  <a:pt x="7208841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08841" y="1240632"/>
                  <a:pt x="7089185" y="1240632"/>
                </a:cubicBezTo>
                <a:lnTo>
                  <a:pt x="216824" y="1240632"/>
                </a:lnTo>
                <a:cubicBezTo>
                  <a:pt x="9716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127721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77" b="1">
                <a:solidFill>
                  <a:schemeClr val="bg2"/>
                </a:solidFill>
              </a:defRPr>
            </a:lvl1pPr>
            <a:lvl2pPr>
              <a:spcAft>
                <a:spcPts val="0"/>
              </a:spcAft>
              <a:defRPr sz="1677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677"/>
            </a:lvl3pPr>
            <a:lvl4pPr>
              <a:defRPr sz="1677"/>
            </a:lvl4pPr>
            <a:lvl5pPr>
              <a:defRPr sz="1677">
                <a:solidFill>
                  <a:schemeClr val="bg2"/>
                </a:solidFill>
              </a:defRPr>
            </a:lvl5pPr>
          </a:lstStyle>
          <a:p>
            <a:pPr marL="0" marR="0" lvl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33" name="Tijdelijke aanduiding voor afbeelding 6">
            <a:extLst>
              <a:ext uri="{FF2B5EF4-FFF2-40B4-BE49-F238E27FC236}">
                <a16:creationId xmlns:a16="http://schemas.microsoft.com/office/drawing/2014/main" id="{E282FF1F-8DC9-4A36-8B0E-4868FD1C3CCE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1696825" y="20228390"/>
            <a:ext cx="5345251" cy="5474264"/>
          </a:xfrm>
          <a:custGeom>
            <a:avLst/>
            <a:gdLst>
              <a:gd name="connsiteX0" fmla="*/ 0 w 1525587"/>
              <a:gd name="connsiteY0" fmla="*/ 161658 h 1241425"/>
              <a:gd name="connsiteX1" fmla="*/ 161658 w 1525587"/>
              <a:gd name="connsiteY1" fmla="*/ 0 h 1241425"/>
              <a:gd name="connsiteX2" fmla="*/ 1363929 w 1525587"/>
              <a:gd name="connsiteY2" fmla="*/ 0 h 1241425"/>
              <a:gd name="connsiteX3" fmla="*/ 1525587 w 1525587"/>
              <a:gd name="connsiteY3" fmla="*/ 161658 h 1241425"/>
              <a:gd name="connsiteX4" fmla="*/ 1525587 w 1525587"/>
              <a:gd name="connsiteY4" fmla="*/ 1079767 h 1241425"/>
              <a:gd name="connsiteX5" fmla="*/ 1363929 w 1525587"/>
              <a:gd name="connsiteY5" fmla="*/ 1241425 h 1241425"/>
              <a:gd name="connsiteX6" fmla="*/ 161658 w 1525587"/>
              <a:gd name="connsiteY6" fmla="*/ 1241425 h 1241425"/>
              <a:gd name="connsiteX7" fmla="*/ 0 w 1525587"/>
              <a:gd name="connsiteY7" fmla="*/ 1079767 h 1241425"/>
              <a:gd name="connsiteX8" fmla="*/ 0 w 1525587"/>
              <a:gd name="connsiteY8" fmla="*/ 161658 h 1241425"/>
              <a:gd name="connsiteX0" fmla="*/ 0 w 1525587"/>
              <a:gd name="connsiteY0" fmla="*/ 161658 h 1241425"/>
              <a:gd name="connsiteX1" fmla="*/ 42862 w 1525587"/>
              <a:gd name="connsiteY1" fmla="*/ 48418 h 1241425"/>
              <a:gd name="connsiteX2" fmla="*/ 161658 w 1525587"/>
              <a:gd name="connsiteY2" fmla="*/ 0 h 1241425"/>
              <a:gd name="connsiteX3" fmla="*/ 1363929 w 1525587"/>
              <a:gd name="connsiteY3" fmla="*/ 0 h 1241425"/>
              <a:gd name="connsiteX4" fmla="*/ 1525587 w 1525587"/>
              <a:gd name="connsiteY4" fmla="*/ 161658 h 1241425"/>
              <a:gd name="connsiteX5" fmla="*/ 1525587 w 1525587"/>
              <a:gd name="connsiteY5" fmla="*/ 1079767 h 1241425"/>
              <a:gd name="connsiteX6" fmla="*/ 1363929 w 1525587"/>
              <a:gd name="connsiteY6" fmla="*/ 1241425 h 1241425"/>
              <a:gd name="connsiteX7" fmla="*/ 161658 w 1525587"/>
              <a:gd name="connsiteY7" fmla="*/ 1241425 h 1241425"/>
              <a:gd name="connsiteX8" fmla="*/ 0 w 1525587"/>
              <a:gd name="connsiteY8" fmla="*/ 1079767 h 1241425"/>
              <a:gd name="connsiteX9" fmla="*/ 0 w 1525587"/>
              <a:gd name="connsiteY9" fmla="*/ 161658 h 1241425"/>
              <a:gd name="connsiteX0" fmla="*/ 8672 w 1534259"/>
              <a:gd name="connsiteY0" fmla="*/ 165982 h 1245749"/>
              <a:gd name="connsiteX1" fmla="*/ 11053 w 1534259"/>
              <a:gd name="connsiteY1" fmla="*/ 12261 h 1245749"/>
              <a:gd name="connsiteX2" fmla="*/ 170330 w 1534259"/>
              <a:gd name="connsiteY2" fmla="*/ 4324 h 1245749"/>
              <a:gd name="connsiteX3" fmla="*/ 1372601 w 1534259"/>
              <a:gd name="connsiteY3" fmla="*/ 4324 h 1245749"/>
              <a:gd name="connsiteX4" fmla="*/ 1534259 w 1534259"/>
              <a:gd name="connsiteY4" fmla="*/ 165982 h 1245749"/>
              <a:gd name="connsiteX5" fmla="*/ 1534259 w 1534259"/>
              <a:gd name="connsiteY5" fmla="*/ 1084091 h 1245749"/>
              <a:gd name="connsiteX6" fmla="*/ 1372601 w 1534259"/>
              <a:gd name="connsiteY6" fmla="*/ 1245749 h 1245749"/>
              <a:gd name="connsiteX7" fmla="*/ 170330 w 1534259"/>
              <a:gd name="connsiteY7" fmla="*/ 1245749 h 1245749"/>
              <a:gd name="connsiteX8" fmla="*/ 8672 w 1534259"/>
              <a:gd name="connsiteY8" fmla="*/ 1084091 h 1245749"/>
              <a:gd name="connsiteX9" fmla="*/ 8672 w 1534259"/>
              <a:gd name="connsiteY9" fmla="*/ 165982 h 1245749"/>
              <a:gd name="connsiteX0" fmla="*/ 8672 w 1534259"/>
              <a:gd name="connsiteY0" fmla="*/ 167890 h 1247657"/>
              <a:gd name="connsiteX1" fmla="*/ 11053 w 1534259"/>
              <a:gd name="connsiteY1" fmla="*/ 14169 h 1247657"/>
              <a:gd name="connsiteX2" fmla="*/ 170330 w 1534259"/>
              <a:gd name="connsiteY2" fmla="*/ 6232 h 1247657"/>
              <a:gd name="connsiteX3" fmla="*/ 1372601 w 1534259"/>
              <a:gd name="connsiteY3" fmla="*/ 6232 h 1247657"/>
              <a:gd name="connsiteX4" fmla="*/ 1534259 w 1534259"/>
              <a:gd name="connsiteY4" fmla="*/ 167890 h 1247657"/>
              <a:gd name="connsiteX5" fmla="*/ 1534259 w 1534259"/>
              <a:gd name="connsiteY5" fmla="*/ 1085999 h 1247657"/>
              <a:gd name="connsiteX6" fmla="*/ 1372601 w 1534259"/>
              <a:gd name="connsiteY6" fmla="*/ 1247657 h 1247657"/>
              <a:gd name="connsiteX7" fmla="*/ 170330 w 1534259"/>
              <a:gd name="connsiteY7" fmla="*/ 1247657 h 1247657"/>
              <a:gd name="connsiteX8" fmla="*/ 8672 w 1534259"/>
              <a:gd name="connsiteY8" fmla="*/ 1085999 h 1247657"/>
              <a:gd name="connsiteX9" fmla="*/ 8672 w 1534259"/>
              <a:gd name="connsiteY9" fmla="*/ 167890 h 1247657"/>
              <a:gd name="connsiteX0" fmla="*/ 8672 w 1534259"/>
              <a:gd name="connsiteY0" fmla="*/ 161658 h 1241425"/>
              <a:gd name="connsiteX1" fmla="*/ 11053 w 1534259"/>
              <a:gd name="connsiteY1" fmla="*/ 7937 h 1241425"/>
              <a:gd name="connsiteX2" fmla="*/ 170330 w 1534259"/>
              <a:gd name="connsiteY2" fmla="*/ 0 h 1241425"/>
              <a:gd name="connsiteX3" fmla="*/ 1372601 w 1534259"/>
              <a:gd name="connsiteY3" fmla="*/ 0 h 1241425"/>
              <a:gd name="connsiteX4" fmla="*/ 1534259 w 1534259"/>
              <a:gd name="connsiteY4" fmla="*/ 161658 h 1241425"/>
              <a:gd name="connsiteX5" fmla="*/ 1534259 w 1534259"/>
              <a:gd name="connsiteY5" fmla="*/ 1079767 h 1241425"/>
              <a:gd name="connsiteX6" fmla="*/ 1372601 w 1534259"/>
              <a:gd name="connsiteY6" fmla="*/ 1241425 h 1241425"/>
              <a:gd name="connsiteX7" fmla="*/ 170330 w 1534259"/>
              <a:gd name="connsiteY7" fmla="*/ 1241425 h 1241425"/>
              <a:gd name="connsiteX8" fmla="*/ 8672 w 1534259"/>
              <a:gd name="connsiteY8" fmla="*/ 1079767 h 1241425"/>
              <a:gd name="connsiteX9" fmla="*/ 8672 w 1534259"/>
              <a:gd name="connsiteY9" fmla="*/ 161658 h 124142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3668 h 1243435"/>
              <a:gd name="connsiteX1" fmla="*/ 10644 w 1535715"/>
              <a:gd name="connsiteY1" fmla="*/ 0 h 1243435"/>
              <a:gd name="connsiteX2" fmla="*/ 171786 w 1535715"/>
              <a:gd name="connsiteY2" fmla="*/ 2010 h 1243435"/>
              <a:gd name="connsiteX3" fmla="*/ 1374057 w 1535715"/>
              <a:gd name="connsiteY3" fmla="*/ 2010 h 1243435"/>
              <a:gd name="connsiteX4" fmla="*/ 1535715 w 1535715"/>
              <a:gd name="connsiteY4" fmla="*/ 163668 h 1243435"/>
              <a:gd name="connsiteX5" fmla="*/ 1535715 w 1535715"/>
              <a:gd name="connsiteY5" fmla="*/ 1081777 h 1243435"/>
              <a:gd name="connsiteX6" fmla="*/ 1374057 w 1535715"/>
              <a:gd name="connsiteY6" fmla="*/ 1243435 h 1243435"/>
              <a:gd name="connsiteX7" fmla="*/ 171786 w 1535715"/>
              <a:gd name="connsiteY7" fmla="*/ 1243435 h 1243435"/>
              <a:gd name="connsiteX8" fmla="*/ 10128 w 1535715"/>
              <a:gd name="connsiteY8" fmla="*/ 1081777 h 1243435"/>
              <a:gd name="connsiteX9" fmla="*/ 10128 w 1535715"/>
              <a:gd name="connsiteY9" fmla="*/ 163668 h 124343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1808 w 1537395"/>
              <a:gd name="connsiteY0" fmla="*/ 161803 h 1241570"/>
              <a:gd name="connsiteX1" fmla="*/ 12324 w 1537395"/>
              <a:gd name="connsiteY1" fmla="*/ 0 h 1241570"/>
              <a:gd name="connsiteX2" fmla="*/ 173466 w 1537395"/>
              <a:gd name="connsiteY2" fmla="*/ 145 h 1241570"/>
              <a:gd name="connsiteX3" fmla="*/ 1375737 w 1537395"/>
              <a:gd name="connsiteY3" fmla="*/ 145 h 1241570"/>
              <a:gd name="connsiteX4" fmla="*/ 1537395 w 1537395"/>
              <a:gd name="connsiteY4" fmla="*/ 161803 h 1241570"/>
              <a:gd name="connsiteX5" fmla="*/ 1537395 w 1537395"/>
              <a:gd name="connsiteY5" fmla="*/ 1079912 h 1241570"/>
              <a:gd name="connsiteX6" fmla="*/ 1375737 w 1537395"/>
              <a:gd name="connsiteY6" fmla="*/ 1241570 h 1241570"/>
              <a:gd name="connsiteX7" fmla="*/ 173466 w 1537395"/>
              <a:gd name="connsiteY7" fmla="*/ 1241570 h 1241570"/>
              <a:gd name="connsiteX8" fmla="*/ 11808 w 1537395"/>
              <a:gd name="connsiteY8" fmla="*/ 1079912 h 1241570"/>
              <a:gd name="connsiteX9" fmla="*/ 11808 w 1537395"/>
              <a:gd name="connsiteY9" fmla="*/ 161803 h 1241570"/>
              <a:gd name="connsiteX0" fmla="*/ 346 w 1525933"/>
              <a:gd name="connsiteY0" fmla="*/ 161803 h 1241570"/>
              <a:gd name="connsiteX1" fmla="*/ 862 w 1525933"/>
              <a:gd name="connsiteY1" fmla="*/ 0 h 1241570"/>
              <a:gd name="connsiteX2" fmla="*/ 162004 w 1525933"/>
              <a:gd name="connsiteY2" fmla="*/ 145 h 1241570"/>
              <a:gd name="connsiteX3" fmla="*/ 1364275 w 1525933"/>
              <a:gd name="connsiteY3" fmla="*/ 145 h 1241570"/>
              <a:gd name="connsiteX4" fmla="*/ 1525933 w 1525933"/>
              <a:gd name="connsiteY4" fmla="*/ 161803 h 1241570"/>
              <a:gd name="connsiteX5" fmla="*/ 1525933 w 1525933"/>
              <a:gd name="connsiteY5" fmla="*/ 1079912 h 1241570"/>
              <a:gd name="connsiteX6" fmla="*/ 1364275 w 1525933"/>
              <a:gd name="connsiteY6" fmla="*/ 1241570 h 1241570"/>
              <a:gd name="connsiteX7" fmla="*/ 162004 w 1525933"/>
              <a:gd name="connsiteY7" fmla="*/ 1241570 h 1241570"/>
              <a:gd name="connsiteX8" fmla="*/ 346 w 1525933"/>
              <a:gd name="connsiteY8" fmla="*/ 1079912 h 1241570"/>
              <a:gd name="connsiteX9" fmla="*/ 346 w 1525933"/>
              <a:gd name="connsiteY9" fmla="*/ 161803 h 1241570"/>
              <a:gd name="connsiteX0" fmla="*/ 872 w 1526459"/>
              <a:gd name="connsiteY0" fmla="*/ 161803 h 1241570"/>
              <a:gd name="connsiteX1" fmla="*/ 1388 w 1526459"/>
              <a:gd name="connsiteY1" fmla="*/ 0 h 1241570"/>
              <a:gd name="connsiteX2" fmla="*/ 162530 w 1526459"/>
              <a:gd name="connsiteY2" fmla="*/ 145 h 1241570"/>
              <a:gd name="connsiteX3" fmla="*/ 1364801 w 1526459"/>
              <a:gd name="connsiteY3" fmla="*/ 145 h 1241570"/>
              <a:gd name="connsiteX4" fmla="*/ 1526459 w 1526459"/>
              <a:gd name="connsiteY4" fmla="*/ 161803 h 1241570"/>
              <a:gd name="connsiteX5" fmla="*/ 1526459 w 1526459"/>
              <a:gd name="connsiteY5" fmla="*/ 1079912 h 1241570"/>
              <a:gd name="connsiteX6" fmla="*/ 1364801 w 1526459"/>
              <a:gd name="connsiteY6" fmla="*/ 1241570 h 1241570"/>
              <a:gd name="connsiteX7" fmla="*/ 162530 w 1526459"/>
              <a:gd name="connsiteY7" fmla="*/ 1241570 h 1241570"/>
              <a:gd name="connsiteX8" fmla="*/ 872 w 1526459"/>
              <a:gd name="connsiteY8" fmla="*/ 1079912 h 1241570"/>
              <a:gd name="connsiteX9" fmla="*/ 872 w 1526459"/>
              <a:gd name="connsiteY9" fmla="*/ 161803 h 1241570"/>
              <a:gd name="connsiteX0" fmla="*/ 470 w 1526057"/>
              <a:gd name="connsiteY0" fmla="*/ 161803 h 1241570"/>
              <a:gd name="connsiteX1" fmla="*/ 986 w 1526057"/>
              <a:gd name="connsiteY1" fmla="*/ 0 h 1241570"/>
              <a:gd name="connsiteX2" fmla="*/ 162128 w 1526057"/>
              <a:gd name="connsiteY2" fmla="*/ 145 h 1241570"/>
              <a:gd name="connsiteX3" fmla="*/ 1364399 w 1526057"/>
              <a:gd name="connsiteY3" fmla="*/ 145 h 1241570"/>
              <a:gd name="connsiteX4" fmla="*/ 1526057 w 1526057"/>
              <a:gd name="connsiteY4" fmla="*/ 161803 h 1241570"/>
              <a:gd name="connsiteX5" fmla="*/ 1526057 w 1526057"/>
              <a:gd name="connsiteY5" fmla="*/ 1079912 h 1241570"/>
              <a:gd name="connsiteX6" fmla="*/ 1364399 w 1526057"/>
              <a:gd name="connsiteY6" fmla="*/ 1241570 h 1241570"/>
              <a:gd name="connsiteX7" fmla="*/ 162128 w 1526057"/>
              <a:gd name="connsiteY7" fmla="*/ 1241570 h 1241570"/>
              <a:gd name="connsiteX8" fmla="*/ 470 w 1526057"/>
              <a:gd name="connsiteY8" fmla="*/ 1079912 h 1241570"/>
              <a:gd name="connsiteX9" fmla="*/ 470 w 1526057"/>
              <a:gd name="connsiteY9" fmla="*/ 161803 h 1241570"/>
              <a:gd name="connsiteX0" fmla="*/ 649 w 1526236"/>
              <a:gd name="connsiteY0" fmla="*/ 161803 h 1241570"/>
              <a:gd name="connsiteX1" fmla="*/ 1165 w 1526236"/>
              <a:gd name="connsiteY1" fmla="*/ 0 h 1241570"/>
              <a:gd name="connsiteX2" fmla="*/ 162307 w 1526236"/>
              <a:gd name="connsiteY2" fmla="*/ 145 h 1241570"/>
              <a:gd name="connsiteX3" fmla="*/ 1364578 w 1526236"/>
              <a:gd name="connsiteY3" fmla="*/ 145 h 1241570"/>
              <a:gd name="connsiteX4" fmla="*/ 1526236 w 1526236"/>
              <a:gd name="connsiteY4" fmla="*/ 161803 h 1241570"/>
              <a:gd name="connsiteX5" fmla="*/ 1526236 w 1526236"/>
              <a:gd name="connsiteY5" fmla="*/ 1079912 h 1241570"/>
              <a:gd name="connsiteX6" fmla="*/ 1364578 w 1526236"/>
              <a:gd name="connsiteY6" fmla="*/ 1241570 h 1241570"/>
              <a:gd name="connsiteX7" fmla="*/ 162307 w 1526236"/>
              <a:gd name="connsiteY7" fmla="*/ 1241570 h 1241570"/>
              <a:gd name="connsiteX8" fmla="*/ 649 w 1526236"/>
              <a:gd name="connsiteY8" fmla="*/ 1079912 h 1241570"/>
              <a:gd name="connsiteX9" fmla="*/ 649 w 1526236"/>
              <a:gd name="connsiteY9" fmla="*/ 161803 h 1241570"/>
              <a:gd name="connsiteX0" fmla="*/ 268 w 1525855"/>
              <a:gd name="connsiteY0" fmla="*/ 161803 h 1241570"/>
              <a:gd name="connsiteX1" fmla="*/ 784 w 1525855"/>
              <a:gd name="connsiteY1" fmla="*/ 0 h 1241570"/>
              <a:gd name="connsiteX2" fmla="*/ 161926 w 1525855"/>
              <a:gd name="connsiteY2" fmla="*/ 145 h 1241570"/>
              <a:gd name="connsiteX3" fmla="*/ 1364197 w 1525855"/>
              <a:gd name="connsiteY3" fmla="*/ 145 h 1241570"/>
              <a:gd name="connsiteX4" fmla="*/ 1525855 w 1525855"/>
              <a:gd name="connsiteY4" fmla="*/ 161803 h 1241570"/>
              <a:gd name="connsiteX5" fmla="*/ 1525855 w 1525855"/>
              <a:gd name="connsiteY5" fmla="*/ 1079912 h 1241570"/>
              <a:gd name="connsiteX6" fmla="*/ 1364197 w 1525855"/>
              <a:gd name="connsiteY6" fmla="*/ 1241570 h 1241570"/>
              <a:gd name="connsiteX7" fmla="*/ 161926 w 1525855"/>
              <a:gd name="connsiteY7" fmla="*/ 1241570 h 1241570"/>
              <a:gd name="connsiteX8" fmla="*/ 268 w 1525855"/>
              <a:gd name="connsiteY8" fmla="*/ 1079912 h 1241570"/>
              <a:gd name="connsiteX9" fmla="*/ 268 w 1525855"/>
              <a:gd name="connsiteY9" fmla="*/ 161803 h 1241570"/>
              <a:gd name="connsiteX0" fmla="*/ 359 w 1525946"/>
              <a:gd name="connsiteY0" fmla="*/ 161803 h 1241570"/>
              <a:gd name="connsiteX1" fmla="*/ 253 w 1525946"/>
              <a:gd name="connsiteY1" fmla="*/ 0 h 1241570"/>
              <a:gd name="connsiteX2" fmla="*/ 162017 w 1525946"/>
              <a:gd name="connsiteY2" fmla="*/ 145 h 1241570"/>
              <a:gd name="connsiteX3" fmla="*/ 1364288 w 1525946"/>
              <a:gd name="connsiteY3" fmla="*/ 145 h 1241570"/>
              <a:gd name="connsiteX4" fmla="*/ 1525946 w 1525946"/>
              <a:gd name="connsiteY4" fmla="*/ 161803 h 1241570"/>
              <a:gd name="connsiteX5" fmla="*/ 1525946 w 1525946"/>
              <a:gd name="connsiteY5" fmla="*/ 1079912 h 1241570"/>
              <a:gd name="connsiteX6" fmla="*/ 1364288 w 1525946"/>
              <a:gd name="connsiteY6" fmla="*/ 1241570 h 1241570"/>
              <a:gd name="connsiteX7" fmla="*/ 162017 w 1525946"/>
              <a:gd name="connsiteY7" fmla="*/ 1241570 h 1241570"/>
              <a:gd name="connsiteX8" fmla="*/ 359 w 1525946"/>
              <a:gd name="connsiteY8" fmla="*/ 1079912 h 1241570"/>
              <a:gd name="connsiteX9" fmla="*/ 359 w 1525946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364035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25693" h="1241570">
                <a:moveTo>
                  <a:pt x="106" y="161803"/>
                </a:moveTo>
                <a:cubicBezTo>
                  <a:pt x="-210" y="159620"/>
                  <a:pt x="409" y="7672"/>
                  <a:pt x="0" y="0"/>
                </a:cubicBezTo>
                <a:cubicBezTo>
                  <a:pt x="6219" y="388"/>
                  <a:pt x="110655" y="450"/>
                  <a:pt x="161764" y="145"/>
                </a:cubicBezTo>
                <a:lnTo>
                  <a:pt x="1364035" y="145"/>
                </a:lnTo>
                <a:cubicBezTo>
                  <a:pt x="1453316" y="145"/>
                  <a:pt x="1525693" y="72522"/>
                  <a:pt x="1525693" y="161803"/>
                </a:cubicBezTo>
                <a:lnTo>
                  <a:pt x="1525693" y="1079912"/>
                </a:lnTo>
                <a:cubicBezTo>
                  <a:pt x="1525693" y="1169193"/>
                  <a:pt x="1453316" y="1241570"/>
                  <a:pt x="1364035" y="1241570"/>
                </a:cubicBezTo>
                <a:lnTo>
                  <a:pt x="161764" y="1241570"/>
                </a:lnTo>
                <a:cubicBezTo>
                  <a:pt x="72483" y="1241570"/>
                  <a:pt x="106" y="1169193"/>
                  <a:pt x="106" y="1079912"/>
                </a:cubicBezTo>
                <a:lnTo>
                  <a:pt x="106" y="1618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tIns="0" bIns="252000" anchor="b"/>
          <a:lstStyle>
            <a:lvl1pPr marL="0" indent="0" algn="ctr">
              <a:buNone/>
              <a:defRPr sz="1117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nl-NL" noProof="0"/>
          </a:p>
        </p:txBody>
      </p:sp>
      <p:grpSp>
        <p:nvGrpSpPr>
          <p:cNvPr id="98" name="Groep 77">
            <a:extLst>
              <a:ext uri="{FF2B5EF4-FFF2-40B4-BE49-F238E27FC236}">
                <a16:creationId xmlns:a16="http://schemas.microsoft.com/office/drawing/2014/main" id="{36CF6C6E-1D1A-4765-B440-AC99DEBA79E4}"/>
              </a:ext>
            </a:extLst>
          </p:cNvPr>
          <p:cNvGrpSpPr/>
          <p:nvPr userDrawn="1"/>
        </p:nvGrpSpPr>
        <p:grpSpPr>
          <a:xfrm>
            <a:off x="43467426" y="0"/>
            <a:ext cx="13065545" cy="24210248"/>
            <a:chOff x="12391601" y="0"/>
            <a:chExt cx="3724699" cy="5484152"/>
          </a:xfrm>
        </p:grpSpPr>
        <p:sp>
          <p:nvSpPr>
            <p:cNvPr id="99" name="Rechthoek 78">
              <a:extLst>
                <a:ext uri="{FF2B5EF4-FFF2-40B4-BE49-F238E27FC236}">
                  <a16:creationId xmlns:a16="http://schemas.microsoft.com/office/drawing/2014/main" id="{3FB3DA4A-49C7-47C0-8216-784B55BB393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1277217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957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100" name="Ovaal 79">
              <a:extLst>
                <a:ext uri="{FF2B5EF4-FFF2-40B4-BE49-F238E27FC236}">
                  <a16:creationId xmlns:a16="http://schemas.microsoft.com/office/drawing/2014/main" id="{95835028-FD7B-4401-B98A-74578806C7A1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80">
              <a:extLst>
                <a:ext uri="{FF2B5EF4-FFF2-40B4-BE49-F238E27FC236}">
                  <a16:creationId xmlns:a16="http://schemas.microsoft.com/office/drawing/2014/main" id="{79C1CABA-42BC-4D1F-BF1A-B55441F8017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81">
              <a:extLst>
                <a:ext uri="{FF2B5EF4-FFF2-40B4-BE49-F238E27FC236}">
                  <a16:creationId xmlns:a16="http://schemas.microsoft.com/office/drawing/2014/main" id="{8E8E79C4-A963-441C-A371-B4B19AD30FE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82">
              <a:extLst>
                <a:ext uri="{FF2B5EF4-FFF2-40B4-BE49-F238E27FC236}">
                  <a16:creationId xmlns:a16="http://schemas.microsoft.com/office/drawing/2014/main" id="{0850B024-9D29-423B-943A-CE327ABDC468}"/>
                </a:ext>
              </a:extLst>
            </p:cNvPr>
            <p:cNvSpPr/>
            <p:nvPr userDrawn="1"/>
          </p:nvSpPr>
          <p:spPr>
            <a:xfrm>
              <a:off x="12757282" y="432552"/>
              <a:ext cx="335901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1277217" eaLnBrk="1" fontAlgn="auto" latinLnBrk="0" hangingPunct="1">
                <a:lnSpc>
                  <a:spcPct val="90000"/>
                </a:lnSpc>
                <a:spcBef>
                  <a:spcPts val="839"/>
                </a:spcBef>
                <a:spcAft>
                  <a:spcPts val="839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</a:t>
              </a:r>
              <a:b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fbeelding door deze te selecteren en op de </a:t>
              </a:r>
              <a:b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</a:t>
              </a:r>
              <a:b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m een nieuwe afbeelding in te voegen. </a:t>
              </a:r>
              <a:b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537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153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83">
              <a:extLst>
                <a:ext uri="{FF2B5EF4-FFF2-40B4-BE49-F238E27FC236}">
                  <a16:creationId xmlns:a16="http://schemas.microsoft.com/office/drawing/2014/main" id="{38C84B88-68F1-4F0A-A4DD-DBE8AB0B6FB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84">
              <a:extLst>
                <a:ext uri="{FF2B5EF4-FFF2-40B4-BE49-F238E27FC236}">
                  <a16:creationId xmlns:a16="http://schemas.microsoft.com/office/drawing/2014/main" id="{4979BE6B-C556-4371-85AE-6F394B77646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1277217" eaLnBrk="1" fontAlgn="auto" latinLnBrk="0" hangingPunct="1">
                <a:lnSpc>
                  <a:spcPct val="90000"/>
                </a:lnSpc>
                <a:spcBef>
                  <a:spcPts val="839"/>
                </a:spcBef>
                <a:spcAft>
                  <a:spcPts val="839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537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85">
              <a:extLst>
                <a:ext uri="{FF2B5EF4-FFF2-40B4-BE49-F238E27FC236}">
                  <a16:creationId xmlns:a16="http://schemas.microsoft.com/office/drawing/2014/main" id="{CAF6F14F-14CA-48DA-8995-0FA61D6E8045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1" name="Rechthoek 119">
                <a:extLst>
                  <a:ext uri="{FF2B5EF4-FFF2-40B4-BE49-F238E27FC236}">
                    <a16:creationId xmlns:a16="http://schemas.microsoft.com/office/drawing/2014/main" id="{4902E440-1B17-4EC3-B940-FD4185BAFF5D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839"/>
                  </a:spcBef>
                  <a:spcAft>
                    <a:spcPts val="839"/>
                  </a:spcAft>
                </a:pPr>
                <a:r>
                  <a:rPr lang="nl-NL" sz="1117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172" name="Rechte verbindingslijn 120">
                <a:extLst>
                  <a:ext uri="{FF2B5EF4-FFF2-40B4-BE49-F238E27FC236}">
                    <a16:creationId xmlns:a16="http://schemas.microsoft.com/office/drawing/2014/main" id="{C8480132-BCE5-4A39-A8E9-12F42A981BE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3" name="Gelijkbenige driehoek 121">
                <a:extLst>
                  <a:ext uri="{FF2B5EF4-FFF2-40B4-BE49-F238E27FC236}">
                    <a16:creationId xmlns:a16="http://schemas.microsoft.com/office/drawing/2014/main" id="{F3A6B288-A2CD-4D8A-8EA2-947C39AB44F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398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7" name="Groep 86">
              <a:extLst>
                <a:ext uri="{FF2B5EF4-FFF2-40B4-BE49-F238E27FC236}">
                  <a16:creationId xmlns:a16="http://schemas.microsoft.com/office/drawing/2014/main" id="{64EC50E0-07F5-4AC2-AF6E-B6A5143A2BFA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145" name="Rechthoek 113">
                <a:extLst>
                  <a:ext uri="{FF2B5EF4-FFF2-40B4-BE49-F238E27FC236}">
                    <a16:creationId xmlns:a16="http://schemas.microsoft.com/office/drawing/2014/main" id="{83816C4C-4BD5-4749-ADBC-2E7B61172B19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839"/>
                  </a:spcBef>
                  <a:spcAft>
                    <a:spcPts val="839"/>
                  </a:spcAft>
                </a:pPr>
                <a:endParaRPr lang="nl-NL" sz="1117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6" name="Ovaal 114">
                <a:extLst>
                  <a:ext uri="{FF2B5EF4-FFF2-40B4-BE49-F238E27FC236}">
                    <a16:creationId xmlns:a16="http://schemas.microsoft.com/office/drawing/2014/main" id="{ACFEAC87-13F7-44CA-9E0B-68D031009BE3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398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7" name="Vrije vorm: vorm 115">
                <a:extLst>
                  <a:ext uri="{FF2B5EF4-FFF2-40B4-BE49-F238E27FC236}">
                    <a16:creationId xmlns:a16="http://schemas.microsoft.com/office/drawing/2014/main" id="{ABC0308E-7743-4151-B79D-A69C7DBA2FE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398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Rechthoek: afgeronde hoeken 116">
                <a:extLst>
                  <a:ext uri="{FF2B5EF4-FFF2-40B4-BE49-F238E27FC236}">
                    <a16:creationId xmlns:a16="http://schemas.microsoft.com/office/drawing/2014/main" id="{D660C710-BE6A-465A-B164-DB53036696AD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839"/>
                  </a:spcBef>
                  <a:spcAft>
                    <a:spcPts val="839"/>
                  </a:spcAft>
                </a:pPr>
                <a:endParaRPr lang="nl-NL" sz="1117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69" name="Rechte verbindingslijn 117">
                <a:extLst>
                  <a:ext uri="{FF2B5EF4-FFF2-40B4-BE49-F238E27FC236}">
                    <a16:creationId xmlns:a16="http://schemas.microsoft.com/office/drawing/2014/main" id="{199FF578-564E-4F76-86C5-18A8186A92D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70" name="Rechte verbindingslijn 118">
                <a:extLst>
                  <a:ext uri="{FF2B5EF4-FFF2-40B4-BE49-F238E27FC236}">
                    <a16:creationId xmlns:a16="http://schemas.microsoft.com/office/drawing/2014/main" id="{D95BFB2A-126D-4432-BB08-64835042BD53}"/>
                  </a:ext>
                </a:extLst>
              </p:cNvPr>
              <p:cNvCxnSpPr>
                <a:cxnSpLocks/>
                <a:stCxn id="168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grpSp>
          <p:nvGrpSpPr>
            <p:cNvPr id="108" name="Groep 87">
              <a:extLst>
                <a:ext uri="{FF2B5EF4-FFF2-40B4-BE49-F238E27FC236}">
                  <a16:creationId xmlns:a16="http://schemas.microsoft.com/office/drawing/2014/main" id="{C8B0E368-2137-4373-A07E-F78EEEFC3081}"/>
                </a:ext>
              </a:extLst>
            </p:cNvPr>
            <p:cNvGrpSpPr/>
            <p:nvPr userDrawn="1"/>
          </p:nvGrpSpPr>
          <p:grpSpPr>
            <a:xfrm>
              <a:off x="12391601" y="2643684"/>
              <a:ext cx="3183678" cy="2840468"/>
              <a:chOff x="12952763" y="4572241"/>
              <a:chExt cx="3183678" cy="2840468"/>
            </a:xfrm>
          </p:grpSpPr>
          <p:grpSp>
            <p:nvGrpSpPr>
              <p:cNvPr id="109" name="Meer informatie">
                <a:extLst>
                  <a:ext uri="{FF2B5EF4-FFF2-40B4-BE49-F238E27FC236}">
                    <a16:creationId xmlns:a16="http://schemas.microsoft.com/office/drawing/2014/main" id="{6F170A1F-5BBE-4D6B-B212-16AD3ECA86B8}"/>
                  </a:ext>
                </a:extLst>
              </p:cNvPr>
              <p:cNvGrpSpPr/>
              <p:nvPr userDrawn="1"/>
            </p:nvGrpSpPr>
            <p:grpSpPr>
              <a:xfrm>
                <a:off x="12957926" y="6629436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41" name="Freeform 101">
                  <a:extLst>
                    <a:ext uri="{FF2B5EF4-FFF2-40B4-BE49-F238E27FC236}">
                      <a16:creationId xmlns:a16="http://schemas.microsoft.com/office/drawing/2014/main" id="{95EBA78B-B606-4FD5-8049-C1E7269320C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537" noProof="0"/>
                </a:p>
              </p:txBody>
            </p:sp>
            <p:sp>
              <p:nvSpPr>
                <p:cNvPr id="142" name="Rechthoek 111">
                  <a:extLst>
                    <a:ext uri="{FF2B5EF4-FFF2-40B4-BE49-F238E27FC236}">
                      <a16:creationId xmlns:a16="http://schemas.microsoft.com/office/drawing/2014/main" id="{1CB3772C-015A-4BFE-B8E6-5F060ACFD903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1277217" eaLnBrk="1" fontAlgn="auto" latinLnBrk="0" hangingPunct="1">
                    <a:lnSpc>
                      <a:spcPct val="90000"/>
                    </a:lnSpc>
                    <a:spcBef>
                      <a:spcPts val="839"/>
                    </a:spcBef>
                    <a:spcAft>
                      <a:spcPts val="839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l-NL" sz="1537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Meer weten?</a:t>
                  </a:r>
                  <a:br>
                    <a:rPr kumimoji="0" lang="nl-NL" sz="1537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nl-NL" sz="1537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a naar dia </a:t>
                  </a:r>
                  <a:r>
                    <a:rPr kumimoji="0" lang="nl-NL" sz="1537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´Instructie dia: YouTube links´</a:t>
                  </a:r>
                  <a:r>
                    <a:rPr kumimoji="0" lang="nl-NL" sz="1537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deze in de diavoorstelling en klik op de gewenste video link.</a:t>
                  </a:r>
                </a:p>
              </p:txBody>
            </p:sp>
            <p:cxnSp>
              <p:nvCxnSpPr>
                <p:cNvPr id="144" name="Rechte verbindingslijn 112">
                  <a:extLst>
                    <a:ext uri="{FF2B5EF4-FFF2-40B4-BE49-F238E27FC236}">
                      <a16:creationId xmlns:a16="http://schemas.microsoft.com/office/drawing/2014/main" id="{2556A137-FBB5-4954-80C0-E17457B99F7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10" name="Rechte verbindingslijn 89">
                <a:extLst>
                  <a:ext uri="{FF2B5EF4-FFF2-40B4-BE49-F238E27FC236}">
                    <a16:creationId xmlns:a16="http://schemas.microsoft.com/office/drawing/2014/main" id="{304B37AD-C96F-4E2B-A93C-A8C3EC49828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958423" y="651155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111" name="Ovaal 90">
                <a:extLst>
                  <a:ext uri="{FF2B5EF4-FFF2-40B4-BE49-F238E27FC236}">
                    <a16:creationId xmlns:a16="http://schemas.microsoft.com/office/drawing/2014/main" id="{D52859B2-5D19-49E3-8411-44D4C4F9315D}"/>
                  </a:ext>
                </a:extLst>
              </p:cNvPr>
              <p:cNvSpPr/>
              <p:nvPr userDrawn="1"/>
            </p:nvSpPr>
            <p:spPr>
              <a:xfrm>
                <a:off x="12952763" y="4690403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7721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537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12" name="Rechthoek 91">
                <a:extLst>
                  <a:ext uri="{FF2B5EF4-FFF2-40B4-BE49-F238E27FC236}">
                    <a16:creationId xmlns:a16="http://schemas.microsoft.com/office/drawing/2014/main" id="{633610E9-9CB2-4026-86EC-65B330063E77}"/>
                  </a:ext>
                </a:extLst>
              </p:cNvPr>
              <p:cNvSpPr/>
              <p:nvPr userDrawn="1"/>
            </p:nvSpPr>
            <p:spPr>
              <a:xfrm>
                <a:off x="13318445" y="4756466"/>
                <a:ext cx="2817996" cy="887319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1277217" eaLnBrk="1" fontAlgn="auto" latinLnBrk="0" hangingPunct="1">
                  <a:lnSpc>
                    <a:spcPct val="90000"/>
                  </a:lnSpc>
                  <a:spcBef>
                    <a:spcPts val="839"/>
                  </a:spcBef>
                  <a:spcAft>
                    <a:spcPts val="839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537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Om de afbeelding te schalen of bij te snijden, ga naar de tab </a:t>
                </a:r>
                <a:r>
                  <a:rPr kumimoji="0" lang="nl-NL" sz="1537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Hulpmiddelen voor afbeeldingen - Opmaak´</a:t>
                </a:r>
                <a:r>
                  <a:rPr kumimoji="0" lang="nl-NL" sz="1537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 en klik op de knop </a:t>
                </a:r>
                <a:r>
                  <a:rPr kumimoji="0" lang="nl-NL" sz="1537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Bijsnijden´</a:t>
                </a:r>
                <a:r>
                  <a:rPr kumimoji="0" lang="nl-NL" sz="1537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Schaal met de bolletjes de afbeelding en met de hoekjes het afbeeldingskader.</a:t>
                </a:r>
                <a:endPara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13" name="Rechte verbindingslijn 92">
                <a:extLst>
                  <a:ext uri="{FF2B5EF4-FFF2-40B4-BE49-F238E27FC236}">
                    <a16:creationId xmlns:a16="http://schemas.microsoft.com/office/drawing/2014/main" id="{64B6EB9A-BA00-4FAA-A071-9E6EF7010BC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958423" y="457224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114" name="Groep 93">
                <a:extLst>
                  <a:ext uri="{FF2B5EF4-FFF2-40B4-BE49-F238E27FC236}">
                    <a16:creationId xmlns:a16="http://schemas.microsoft.com/office/drawing/2014/main" id="{6F930AD3-DC0F-4159-9382-D873A520C172}"/>
                  </a:ext>
                </a:extLst>
              </p:cNvPr>
              <p:cNvGrpSpPr/>
              <p:nvPr userDrawn="1"/>
            </p:nvGrpSpPr>
            <p:grpSpPr>
              <a:xfrm>
                <a:off x="13257676" y="5773610"/>
                <a:ext cx="514284" cy="612917"/>
                <a:chOff x="12682980" y="3403271"/>
                <a:chExt cx="622284" cy="741637"/>
              </a:xfrm>
            </p:grpSpPr>
            <p:grpSp>
              <p:nvGrpSpPr>
                <p:cNvPr id="115" name="Groep 94">
                  <a:extLst>
                    <a:ext uri="{FF2B5EF4-FFF2-40B4-BE49-F238E27FC236}">
                      <a16:creationId xmlns:a16="http://schemas.microsoft.com/office/drawing/2014/main" id="{853B3095-54E2-4529-8570-1293DA0CC153}"/>
                    </a:ext>
                  </a:extLst>
                </p:cNvPr>
                <p:cNvGrpSpPr/>
                <p:nvPr userDrawn="1"/>
              </p:nvGrpSpPr>
              <p:grpSpPr>
                <a:xfrm>
                  <a:off x="12771568" y="3403271"/>
                  <a:ext cx="467138" cy="448459"/>
                  <a:chOff x="12782195" y="3403271"/>
                  <a:chExt cx="467138" cy="448459"/>
                </a:xfrm>
              </p:grpSpPr>
              <p:grpSp>
                <p:nvGrpSpPr>
                  <p:cNvPr id="118" name="Groep 97">
                    <a:extLst>
                      <a:ext uri="{FF2B5EF4-FFF2-40B4-BE49-F238E27FC236}">
                        <a16:creationId xmlns:a16="http://schemas.microsoft.com/office/drawing/2014/main" id="{19F2E613-C7BE-41DD-BF51-FA96E7D7E00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2782195" y="3403271"/>
                    <a:ext cx="412967" cy="393910"/>
                    <a:chOff x="13554906" y="3320143"/>
                    <a:chExt cx="443906" cy="423422"/>
                  </a:xfrm>
                </p:grpSpPr>
                <p:grpSp>
                  <p:nvGrpSpPr>
                    <p:cNvPr id="134" name="Groep 104">
                      <a:extLst>
                        <a:ext uri="{FF2B5EF4-FFF2-40B4-BE49-F238E27FC236}">
                          <a16:creationId xmlns:a16="http://schemas.microsoft.com/office/drawing/2014/main" id="{52429507-38F3-4E9E-8450-6F5B48C34F0C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3554906" y="3320143"/>
                      <a:ext cx="443906" cy="423422"/>
                      <a:chOff x="12909684" y="1276177"/>
                      <a:chExt cx="443906" cy="423422"/>
                    </a:xfrm>
                  </p:grpSpPr>
                  <p:sp>
                    <p:nvSpPr>
                      <p:cNvPr id="138" name="Rechthoek 107">
                        <a:extLst>
                          <a:ext uri="{FF2B5EF4-FFF2-40B4-BE49-F238E27FC236}">
                            <a16:creationId xmlns:a16="http://schemas.microsoft.com/office/drawing/2014/main" id="{A8E6BCC9-5C76-4A72-9754-82EE294361B1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2918700" y="1285299"/>
                        <a:ext cx="434890" cy="414300"/>
                      </a:xfrm>
                      <a:prstGeom prst="rect">
                        <a:avLst/>
                      </a:prstGeom>
                      <a:noFill/>
                      <a:ln w="12700">
                        <a:solidFill>
                          <a:srgbClr val="818181"/>
                        </a:solidFill>
                        <a:prstDash val="dash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839"/>
                          </a:spcBef>
                          <a:spcAft>
                            <a:spcPts val="839"/>
                          </a:spcAft>
                        </a:pPr>
                        <a:endParaRPr lang="nl-NL" sz="1117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139" name="Rechthoek 108">
                        <a:extLst>
                          <a:ext uri="{FF2B5EF4-FFF2-40B4-BE49-F238E27FC236}">
                            <a16:creationId xmlns:a16="http://schemas.microsoft.com/office/drawing/2014/main" id="{9D7B8A50-5B3F-4914-9043-965D6F76CE32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2909684" y="1276177"/>
                        <a:ext cx="261629" cy="257808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12700">
                        <a:solidFill>
                          <a:srgbClr val="81818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839"/>
                          </a:spcBef>
                          <a:spcAft>
                            <a:spcPts val="839"/>
                          </a:spcAft>
                        </a:pPr>
                        <a:endParaRPr lang="nl-NL" sz="1117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140" name="Ovaal 109">
                        <a:extLst>
                          <a:ext uri="{FF2B5EF4-FFF2-40B4-BE49-F238E27FC236}">
                            <a16:creationId xmlns:a16="http://schemas.microsoft.com/office/drawing/2014/main" id="{8DDF8ECC-166C-4897-8622-374E97AA8163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3069071" y="1308734"/>
                        <a:ext cx="72187" cy="72188"/>
                      </a:xfrm>
                      <a:prstGeom prst="ellipse">
                        <a:avLst/>
                      </a:prstGeom>
                      <a:solidFill>
                        <a:srgbClr val="ECC679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="horz" wrap="square" lIns="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l"/>
                        <a:endParaRPr lang="nl-NL" sz="1398" b="1" noProof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  <p:pic>
                  <p:nvPicPr>
                    <p:cNvPr id="135" name="Afbeelding 105">
                      <a:extLst>
                        <a:ext uri="{FF2B5EF4-FFF2-40B4-BE49-F238E27FC236}">
                          <a16:creationId xmlns:a16="http://schemas.microsoft.com/office/drawing/2014/main" id="{0F5F8622-2778-4F8C-AC1D-88E1E161214B}"/>
                        </a:ext>
                      </a:extLst>
                    </p:cNvPr>
                    <p:cNvPicPr>
                      <a:picLocks noChangeAspect="1"/>
                    </p:cNvPicPr>
                    <p:nvPr userDrawn="1"/>
                  </p:nvPicPr>
                  <p:blipFill>
                    <a:blip r:embed="rId2" cstate="screen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3567296" y="3424991"/>
                      <a:ext cx="173367" cy="14022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36" name="Afbeelding 106">
                      <a:extLst>
                        <a:ext uri="{FF2B5EF4-FFF2-40B4-BE49-F238E27FC236}">
                          <a16:creationId xmlns:a16="http://schemas.microsoft.com/office/drawing/2014/main" id="{58579FE3-F702-4936-B25F-18EB6AB3B960}"/>
                        </a:ext>
                      </a:extLst>
                    </p:cNvPr>
                    <p:cNvPicPr>
                      <a:picLocks noChangeAspect="1"/>
                    </p:cNvPicPr>
                    <p:nvPr userDrawn="1"/>
                  </p:nvPicPr>
                  <p:blipFill>
                    <a:blip r:embed="rId4" cstate="screen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5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flipH="1">
                      <a:off x="13635598" y="3454393"/>
                      <a:ext cx="173366" cy="111424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119" name="Groep 98">
                    <a:extLst>
                      <a:ext uri="{FF2B5EF4-FFF2-40B4-BE49-F238E27FC236}">
                        <a16:creationId xmlns:a16="http://schemas.microsoft.com/office/drawing/2014/main" id="{5BCE9AD3-A1F5-4676-AE07-6D2867FC0E8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103513" y="3705278"/>
                    <a:ext cx="145820" cy="146452"/>
                    <a:chOff x="13096169" y="3602288"/>
                    <a:chExt cx="145820" cy="146452"/>
                  </a:xfrm>
                </p:grpSpPr>
                <p:sp>
                  <p:nvSpPr>
                    <p:cNvPr id="123" name="Rechthoek 102">
                      <a:extLst>
                        <a:ext uri="{FF2B5EF4-FFF2-40B4-BE49-F238E27FC236}">
                          <a16:creationId xmlns:a16="http://schemas.microsoft.com/office/drawing/2014/main" id="{C66784CF-651F-43D0-BF9C-C7DBF4D112DE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96169" y="360228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398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33" name="Rechthoek 103">
                      <a:extLst>
                        <a:ext uri="{FF2B5EF4-FFF2-40B4-BE49-F238E27FC236}">
                          <a16:creationId xmlns:a16="http://schemas.microsoft.com/office/drawing/2014/main" id="{65FAB179-32F6-43C5-9722-A5EBEF267DAF}"/>
                        </a:ext>
                      </a:extLst>
                    </p:cNvPr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398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grpSp>
                <p:nvGrpSpPr>
                  <p:cNvPr id="120" name="Groep 99">
                    <a:extLst>
                      <a:ext uri="{FF2B5EF4-FFF2-40B4-BE49-F238E27FC236}">
                        <a16:creationId xmlns:a16="http://schemas.microsoft.com/office/drawing/2014/main" id="{77D4D063-EAC2-4078-A0EE-2D5AAA880B6C}"/>
                      </a:ext>
                    </a:extLst>
                  </p:cNvPr>
                  <p:cNvGrpSpPr/>
                  <p:nvPr userDrawn="1"/>
                </p:nvGrpSpPr>
                <p:grpSpPr>
                  <a:xfrm rot="10800000">
                    <a:off x="13061402" y="3665668"/>
                    <a:ext cx="145820" cy="146461"/>
                    <a:chOff x="13096169" y="3602248"/>
                    <a:chExt cx="145820" cy="146461"/>
                  </a:xfrm>
                </p:grpSpPr>
                <p:sp>
                  <p:nvSpPr>
                    <p:cNvPr id="121" name="Rechthoek 100">
                      <a:extLst>
                        <a:ext uri="{FF2B5EF4-FFF2-40B4-BE49-F238E27FC236}">
                          <a16:creationId xmlns:a16="http://schemas.microsoft.com/office/drawing/2014/main" id="{C143E68D-5638-4CCB-AC3B-AEEC5571CCB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96169" y="360224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398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22" name="Rechthoek 101">
                      <a:extLst>
                        <a:ext uri="{FF2B5EF4-FFF2-40B4-BE49-F238E27FC236}">
                          <a16:creationId xmlns:a16="http://schemas.microsoft.com/office/drawing/2014/main" id="{38AAB217-F950-4294-9A14-451F149F0D0E}"/>
                        </a:ext>
                      </a:extLst>
                    </p:cNvPr>
                    <p:cNvSpPr/>
                    <p:nvPr userDrawn="1"/>
                  </p:nvSpPr>
                  <p:spPr>
                    <a:xfrm rot="5400000">
                      <a:off x="13037453" y="3661605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398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  <p:sp>
              <p:nvSpPr>
                <p:cNvPr id="116" name="Rechthoek 95">
                  <a:extLst>
                    <a:ext uri="{FF2B5EF4-FFF2-40B4-BE49-F238E27FC236}">
                      <a16:creationId xmlns:a16="http://schemas.microsoft.com/office/drawing/2014/main" id="{8B0331BE-413D-4F8C-8037-03308E0C944C}"/>
                    </a:ext>
                  </a:extLst>
                </p:cNvPr>
                <p:cNvSpPr/>
                <p:nvPr userDrawn="1"/>
              </p:nvSpPr>
              <p:spPr>
                <a:xfrm>
                  <a:off x="12682980" y="3889920"/>
                  <a:ext cx="622284" cy="16117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839"/>
                    </a:spcBef>
                    <a:spcAft>
                      <a:spcPts val="839"/>
                    </a:spcAft>
                  </a:pPr>
                  <a:r>
                    <a:rPr lang="nl-NL" sz="125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Bijsnijden</a:t>
                  </a:r>
                </a:p>
              </p:txBody>
            </p:sp>
            <p:sp>
              <p:nvSpPr>
                <p:cNvPr id="117" name="Gelijkbenige driehoek 96">
                  <a:extLst>
                    <a:ext uri="{FF2B5EF4-FFF2-40B4-BE49-F238E27FC236}">
                      <a16:creationId xmlns:a16="http://schemas.microsoft.com/office/drawing/2014/main" id="{E256B01D-D616-46E5-B171-4AE5BDBE58D2}"/>
                    </a:ext>
                  </a:extLst>
                </p:cNvPr>
                <p:cNvSpPr/>
                <p:nvPr userDrawn="1"/>
              </p:nvSpPr>
              <p:spPr>
                <a:xfrm rot="10800000">
                  <a:off x="12950688" y="4093761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398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pic>
        <p:nvPicPr>
          <p:cNvPr id="202" name="Afbeelding 201">
            <a:extLst>
              <a:ext uri="{FF2B5EF4-FFF2-40B4-BE49-F238E27FC236}">
                <a16:creationId xmlns:a16="http://schemas.microsoft.com/office/drawing/2014/main" id="{889F0510-046E-4908-9005-B0269FC547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5" y="831727"/>
            <a:ext cx="9249575" cy="4281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7974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kaders + Uitleg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78" y="1766065"/>
            <a:ext cx="32281087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78" y="3469430"/>
            <a:ext cx="32281087" cy="1195424"/>
          </a:xfrm>
        </p:spPr>
        <p:txBody>
          <a:bodyPr>
            <a:noAutofit/>
          </a:bodyPr>
          <a:lstStyle>
            <a:lvl1pPr marL="0" marR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794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grpSp>
        <p:nvGrpSpPr>
          <p:cNvPr id="38" name="GRID" hidden="1">
            <a:extLst>
              <a:ext uri="{FF2B5EF4-FFF2-40B4-BE49-F238E27FC236}">
                <a16:creationId xmlns:a16="http://schemas.microsoft.com/office/drawing/2014/main" id="{51D5F7E8-69F8-47AD-81F5-1645C97607C1}"/>
              </a:ext>
            </a:extLst>
          </p:cNvPr>
          <p:cNvGrpSpPr/>
          <p:nvPr userDrawn="1"/>
        </p:nvGrpSpPr>
        <p:grpSpPr>
          <a:xfrm>
            <a:off x="4" y="0"/>
            <a:ext cx="42767263" cy="30275213"/>
            <a:chOff x="0" y="0"/>
            <a:chExt cx="12192003" cy="6858000"/>
          </a:xfrm>
        </p:grpSpPr>
        <p:sp>
          <p:nvSpPr>
            <p:cNvPr id="39" name="Rechthoek 38">
              <a:extLst>
                <a:ext uri="{FF2B5EF4-FFF2-40B4-BE49-F238E27FC236}">
                  <a16:creationId xmlns:a16="http://schemas.microsoft.com/office/drawing/2014/main" id="{71DB2C92-E6A8-4532-98F6-C917E7F5CD17}"/>
                </a:ext>
              </a:extLst>
            </p:cNvPr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40" name="Rechthoek 39">
              <a:extLst>
                <a:ext uri="{FF2B5EF4-FFF2-40B4-BE49-F238E27FC236}">
                  <a16:creationId xmlns:a16="http://schemas.microsoft.com/office/drawing/2014/main" id="{1283F161-5F8A-45E1-A9F2-F823FC1CB0A5}"/>
                </a:ext>
              </a:extLst>
            </p:cNvPr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41" name="Rechthoek 40">
              <a:extLst>
                <a:ext uri="{FF2B5EF4-FFF2-40B4-BE49-F238E27FC236}">
                  <a16:creationId xmlns:a16="http://schemas.microsoft.com/office/drawing/2014/main" id="{E25AE021-76F4-4113-9019-FB3CB3351AD2}"/>
                </a:ext>
              </a:extLst>
            </p:cNvPr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42" name="Rechthoek 41">
              <a:extLst>
                <a:ext uri="{FF2B5EF4-FFF2-40B4-BE49-F238E27FC236}">
                  <a16:creationId xmlns:a16="http://schemas.microsoft.com/office/drawing/2014/main" id="{4F56F574-960D-4395-B98C-5F49ED9EF418}"/>
                </a:ext>
              </a:extLst>
            </p:cNvPr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34E307D0-CCA0-4BDF-BC5F-E19838E9F7DA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44" name="Rechthoek 43">
              <a:extLst>
                <a:ext uri="{FF2B5EF4-FFF2-40B4-BE49-F238E27FC236}">
                  <a16:creationId xmlns:a16="http://schemas.microsoft.com/office/drawing/2014/main" id="{2AEE0B25-FBCC-4048-A2C0-6D97C3E7FEB7}"/>
                </a:ext>
              </a:extLst>
            </p:cNvPr>
            <p:cNvSpPr/>
            <p:nvPr userDrawn="1"/>
          </p:nvSpPr>
          <p:spPr>
            <a:xfrm rot="5400000">
              <a:off x="5895976" y="-108104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</p:grp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503"/>
            <a:ext cx="9622631" cy="1000848"/>
          </a:xfrm>
        </p:spPr>
        <p:txBody>
          <a:bodyPr/>
          <a:lstStyle/>
          <a:p>
            <a:endParaRPr lang="nl-NL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7" y="27345278"/>
            <a:ext cx="18027561" cy="1000848"/>
          </a:xfrm>
        </p:spPr>
        <p:txBody>
          <a:bodyPr/>
          <a:lstStyle>
            <a:lvl1pPr>
              <a:defRPr/>
            </a:lvl1pPr>
          </a:lstStyle>
          <a:p>
            <a:endParaRPr lang="nl-NL" noProof="0"/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4" y="27329717"/>
            <a:ext cx="707320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0D7B9878-B8FD-4C53-84A0-30824F06295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33805" y="6316515"/>
            <a:ext cx="26489660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127721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77" b="1">
                <a:solidFill>
                  <a:schemeClr val="bg2"/>
                </a:solidFill>
              </a:defRPr>
            </a:lvl1pPr>
            <a:lvl2pPr marL="0" indent="0">
              <a:buNone/>
              <a:defRPr sz="1677"/>
            </a:lvl2pPr>
            <a:lvl3pPr>
              <a:defRPr sz="1677"/>
            </a:lvl3pPr>
            <a:lvl4pPr>
              <a:defRPr sz="1677"/>
            </a:lvl4pPr>
            <a:lvl5pPr>
              <a:defRPr sz="1677">
                <a:solidFill>
                  <a:schemeClr val="bg2"/>
                </a:solidFill>
              </a:defRPr>
            </a:lvl5pPr>
          </a:lstStyle>
          <a:p>
            <a:pPr marL="0" marR="0" lvl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7F82B2D1-AD00-49E7-AE45-05F1D50B110A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696830" y="6310558"/>
            <a:ext cx="5345588" cy="3935012"/>
          </a:xfrm>
          <a:custGeom>
            <a:avLst/>
            <a:gdLst>
              <a:gd name="connsiteX0" fmla="*/ 0 w 1525587"/>
              <a:gd name="connsiteY0" fmla="*/ 161658 h 1241425"/>
              <a:gd name="connsiteX1" fmla="*/ 161658 w 1525587"/>
              <a:gd name="connsiteY1" fmla="*/ 0 h 1241425"/>
              <a:gd name="connsiteX2" fmla="*/ 1363929 w 1525587"/>
              <a:gd name="connsiteY2" fmla="*/ 0 h 1241425"/>
              <a:gd name="connsiteX3" fmla="*/ 1525587 w 1525587"/>
              <a:gd name="connsiteY3" fmla="*/ 161658 h 1241425"/>
              <a:gd name="connsiteX4" fmla="*/ 1525587 w 1525587"/>
              <a:gd name="connsiteY4" fmla="*/ 1079767 h 1241425"/>
              <a:gd name="connsiteX5" fmla="*/ 1363929 w 1525587"/>
              <a:gd name="connsiteY5" fmla="*/ 1241425 h 1241425"/>
              <a:gd name="connsiteX6" fmla="*/ 161658 w 1525587"/>
              <a:gd name="connsiteY6" fmla="*/ 1241425 h 1241425"/>
              <a:gd name="connsiteX7" fmla="*/ 0 w 1525587"/>
              <a:gd name="connsiteY7" fmla="*/ 1079767 h 1241425"/>
              <a:gd name="connsiteX8" fmla="*/ 0 w 1525587"/>
              <a:gd name="connsiteY8" fmla="*/ 161658 h 1241425"/>
              <a:gd name="connsiteX0" fmla="*/ 0 w 1525587"/>
              <a:gd name="connsiteY0" fmla="*/ 161658 h 1241425"/>
              <a:gd name="connsiteX1" fmla="*/ 42862 w 1525587"/>
              <a:gd name="connsiteY1" fmla="*/ 48418 h 1241425"/>
              <a:gd name="connsiteX2" fmla="*/ 161658 w 1525587"/>
              <a:gd name="connsiteY2" fmla="*/ 0 h 1241425"/>
              <a:gd name="connsiteX3" fmla="*/ 1363929 w 1525587"/>
              <a:gd name="connsiteY3" fmla="*/ 0 h 1241425"/>
              <a:gd name="connsiteX4" fmla="*/ 1525587 w 1525587"/>
              <a:gd name="connsiteY4" fmla="*/ 161658 h 1241425"/>
              <a:gd name="connsiteX5" fmla="*/ 1525587 w 1525587"/>
              <a:gd name="connsiteY5" fmla="*/ 1079767 h 1241425"/>
              <a:gd name="connsiteX6" fmla="*/ 1363929 w 1525587"/>
              <a:gd name="connsiteY6" fmla="*/ 1241425 h 1241425"/>
              <a:gd name="connsiteX7" fmla="*/ 161658 w 1525587"/>
              <a:gd name="connsiteY7" fmla="*/ 1241425 h 1241425"/>
              <a:gd name="connsiteX8" fmla="*/ 0 w 1525587"/>
              <a:gd name="connsiteY8" fmla="*/ 1079767 h 1241425"/>
              <a:gd name="connsiteX9" fmla="*/ 0 w 1525587"/>
              <a:gd name="connsiteY9" fmla="*/ 161658 h 1241425"/>
              <a:gd name="connsiteX0" fmla="*/ 8672 w 1534259"/>
              <a:gd name="connsiteY0" fmla="*/ 165982 h 1245749"/>
              <a:gd name="connsiteX1" fmla="*/ 11053 w 1534259"/>
              <a:gd name="connsiteY1" fmla="*/ 12261 h 1245749"/>
              <a:gd name="connsiteX2" fmla="*/ 170330 w 1534259"/>
              <a:gd name="connsiteY2" fmla="*/ 4324 h 1245749"/>
              <a:gd name="connsiteX3" fmla="*/ 1372601 w 1534259"/>
              <a:gd name="connsiteY3" fmla="*/ 4324 h 1245749"/>
              <a:gd name="connsiteX4" fmla="*/ 1534259 w 1534259"/>
              <a:gd name="connsiteY4" fmla="*/ 165982 h 1245749"/>
              <a:gd name="connsiteX5" fmla="*/ 1534259 w 1534259"/>
              <a:gd name="connsiteY5" fmla="*/ 1084091 h 1245749"/>
              <a:gd name="connsiteX6" fmla="*/ 1372601 w 1534259"/>
              <a:gd name="connsiteY6" fmla="*/ 1245749 h 1245749"/>
              <a:gd name="connsiteX7" fmla="*/ 170330 w 1534259"/>
              <a:gd name="connsiteY7" fmla="*/ 1245749 h 1245749"/>
              <a:gd name="connsiteX8" fmla="*/ 8672 w 1534259"/>
              <a:gd name="connsiteY8" fmla="*/ 1084091 h 1245749"/>
              <a:gd name="connsiteX9" fmla="*/ 8672 w 1534259"/>
              <a:gd name="connsiteY9" fmla="*/ 165982 h 1245749"/>
              <a:gd name="connsiteX0" fmla="*/ 8672 w 1534259"/>
              <a:gd name="connsiteY0" fmla="*/ 167890 h 1247657"/>
              <a:gd name="connsiteX1" fmla="*/ 11053 w 1534259"/>
              <a:gd name="connsiteY1" fmla="*/ 14169 h 1247657"/>
              <a:gd name="connsiteX2" fmla="*/ 170330 w 1534259"/>
              <a:gd name="connsiteY2" fmla="*/ 6232 h 1247657"/>
              <a:gd name="connsiteX3" fmla="*/ 1372601 w 1534259"/>
              <a:gd name="connsiteY3" fmla="*/ 6232 h 1247657"/>
              <a:gd name="connsiteX4" fmla="*/ 1534259 w 1534259"/>
              <a:gd name="connsiteY4" fmla="*/ 167890 h 1247657"/>
              <a:gd name="connsiteX5" fmla="*/ 1534259 w 1534259"/>
              <a:gd name="connsiteY5" fmla="*/ 1085999 h 1247657"/>
              <a:gd name="connsiteX6" fmla="*/ 1372601 w 1534259"/>
              <a:gd name="connsiteY6" fmla="*/ 1247657 h 1247657"/>
              <a:gd name="connsiteX7" fmla="*/ 170330 w 1534259"/>
              <a:gd name="connsiteY7" fmla="*/ 1247657 h 1247657"/>
              <a:gd name="connsiteX8" fmla="*/ 8672 w 1534259"/>
              <a:gd name="connsiteY8" fmla="*/ 1085999 h 1247657"/>
              <a:gd name="connsiteX9" fmla="*/ 8672 w 1534259"/>
              <a:gd name="connsiteY9" fmla="*/ 167890 h 1247657"/>
              <a:gd name="connsiteX0" fmla="*/ 8672 w 1534259"/>
              <a:gd name="connsiteY0" fmla="*/ 161658 h 1241425"/>
              <a:gd name="connsiteX1" fmla="*/ 11053 w 1534259"/>
              <a:gd name="connsiteY1" fmla="*/ 7937 h 1241425"/>
              <a:gd name="connsiteX2" fmla="*/ 170330 w 1534259"/>
              <a:gd name="connsiteY2" fmla="*/ 0 h 1241425"/>
              <a:gd name="connsiteX3" fmla="*/ 1372601 w 1534259"/>
              <a:gd name="connsiteY3" fmla="*/ 0 h 1241425"/>
              <a:gd name="connsiteX4" fmla="*/ 1534259 w 1534259"/>
              <a:gd name="connsiteY4" fmla="*/ 161658 h 1241425"/>
              <a:gd name="connsiteX5" fmla="*/ 1534259 w 1534259"/>
              <a:gd name="connsiteY5" fmla="*/ 1079767 h 1241425"/>
              <a:gd name="connsiteX6" fmla="*/ 1372601 w 1534259"/>
              <a:gd name="connsiteY6" fmla="*/ 1241425 h 1241425"/>
              <a:gd name="connsiteX7" fmla="*/ 170330 w 1534259"/>
              <a:gd name="connsiteY7" fmla="*/ 1241425 h 1241425"/>
              <a:gd name="connsiteX8" fmla="*/ 8672 w 1534259"/>
              <a:gd name="connsiteY8" fmla="*/ 1079767 h 1241425"/>
              <a:gd name="connsiteX9" fmla="*/ 8672 w 1534259"/>
              <a:gd name="connsiteY9" fmla="*/ 161658 h 124142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3668 h 1243435"/>
              <a:gd name="connsiteX1" fmla="*/ 10644 w 1535715"/>
              <a:gd name="connsiteY1" fmla="*/ 0 h 1243435"/>
              <a:gd name="connsiteX2" fmla="*/ 171786 w 1535715"/>
              <a:gd name="connsiteY2" fmla="*/ 2010 h 1243435"/>
              <a:gd name="connsiteX3" fmla="*/ 1374057 w 1535715"/>
              <a:gd name="connsiteY3" fmla="*/ 2010 h 1243435"/>
              <a:gd name="connsiteX4" fmla="*/ 1535715 w 1535715"/>
              <a:gd name="connsiteY4" fmla="*/ 163668 h 1243435"/>
              <a:gd name="connsiteX5" fmla="*/ 1535715 w 1535715"/>
              <a:gd name="connsiteY5" fmla="*/ 1081777 h 1243435"/>
              <a:gd name="connsiteX6" fmla="*/ 1374057 w 1535715"/>
              <a:gd name="connsiteY6" fmla="*/ 1243435 h 1243435"/>
              <a:gd name="connsiteX7" fmla="*/ 171786 w 1535715"/>
              <a:gd name="connsiteY7" fmla="*/ 1243435 h 1243435"/>
              <a:gd name="connsiteX8" fmla="*/ 10128 w 1535715"/>
              <a:gd name="connsiteY8" fmla="*/ 1081777 h 1243435"/>
              <a:gd name="connsiteX9" fmla="*/ 10128 w 1535715"/>
              <a:gd name="connsiteY9" fmla="*/ 163668 h 124343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1808 w 1537395"/>
              <a:gd name="connsiteY0" fmla="*/ 161803 h 1241570"/>
              <a:gd name="connsiteX1" fmla="*/ 12324 w 1537395"/>
              <a:gd name="connsiteY1" fmla="*/ 0 h 1241570"/>
              <a:gd name="connsiteX2" fmla="*/ 173466 w 1537395"/>
              <a:gd name="connsiteY2" fmla="*/ 145 h 1241570"/>
              <a:gd name="connsiteX3" fmla="*/ 1375737 w 1537395"/>
              <a:gd name="connsiteY3" fmla="*/ 145 h 1241570"/>
              <a:gd name="connsiteX4" fmla="*/ 1537395 w 1537395"/>
              <a:gd name="connsiteY4" fmla="*/ 161803 h 1241570"/>
              <a:gd name="connsiteX5" fmla="*/ 1537395 w 1537395"/>
              <a:gd name="connsiteY5" fmla="*/ 1079912 h 1241570"/>
              <a:gd name="connsiteX6" fmla="*/ 1375737 w 1537395"/>
              <a:gd name="connsiteY6" fmla="*/ 1241570 h 1241570"/>
              <a:gd name="connsiteX7" fmla="*/ 173466 w 1537395"/>
              <a:gd name="connsiteY7" fmla="*/ 1241570 h 1241570"/>
              <a:gd name="connsiteX8" fmla="*/ 11808 w 1537395"/>
              <a:gd name="connsiteY8" fmla="*/ 1079912 h 1241570"/>
              <a:gd name="connsiteX9" fmla="*/ 11808 w 1537395"/>
              <a:gd name="connsiteY9" fmla="*/ 161803 h 1241570"/>
              <a:gd name="connsiteX0" fmla="*/ 346 w 1525933"/>
              <a:gd name="connsiteY0" fmla="*/ 161803 h 1241570"/>
              <a:gd name="connsiteX1" fmla="*/ 862 w 1525933"/>
              <a:gd name="connsiteY1" fmla="*/ 0 h 1241570"/>
              <a:gd name="connsiteX2" fmla="*/ 162004 w 1525933"/>
              <a:gd name="connsiteY2" fmla="*/ 145 h 1241570"/>
              <a:gd name="connsiteX3" fmla="*/ 1364275 w 1525933"/>
              <a:gd name="connsiteY3" fmla="*/ 145 h 1241570"/>
              <a:gd name="connsiteX4" fmla="*/ 1525933 w 1525933"/>
              <a:gd name="connsiteY4" fmla="*/ 161803 h 1241570"/>
              <a:gd name="connsiteX5" fmla="*/ 1525933 w 1525933"/>
              <a:gd name="connsiteY5" fmla="*/ 1079912 h 1241570"/>
              <a:gd name="connsiteX6" fmla="*/ 1364275 w 1525933"/>
              <a:gd name="connsiteY6" fmla="*/ 1241570 h 1241570"/>
              <a:gd name="connsiteX7" fmla="*/ 162004 w 1525933"/>
              <a:gd name="connsiteY7" fmla="*/ 1241570 h 1241570"/>
              <a:gd name="connsiteX8" fmla="*/ 346 w 1525933"/>
              <a:gd name="connsiteY8" fmla="*/ 1079912 h 1241570"/>
              <a:gd name="connsiteX9" fmla="*/ 346 w 1525933"/>
              <a:gd name="connsiteY9" fmla="*/ 161803 h 1241570"/>
              <a:gd name="connsiteX0" fmla="*/ 872 w 1526459"/>
              <a:gd name="connsiteY0" fmla="*/ 161803 h 1241570"/>
              <a:gd name="connsiteX1" fmla="*/ 1388 w 1526459"/>
              <a:gd name="connsiteY1" fmla="*/ 0 h 1241570"/>
              <a:gd name="connsiteX2" fmla="*/ 162530 w 1526459"/>
              <a:gd name="connsiteY2" fmla="*/ 145 h 1241570"/>
              <a:gd name="connsiteX3" fmla="*/ 1364801 w 1526459"/>
              <a:gd name="connsiteY3" fmla="*/ 145 h 1241570"/>
              <a:gd name="connsiteX4" fmla="*/ 1526459 w 1526459"/>
              <a:gd name="connsiteY4" fmla="*/ 161803 h 1241570"/>
              <a:gd name="connsiteX5" fmla="*/ 1526459 w 1526459"/>
              <a:gd name="connsiteY5" fmla="*/ 1079912 h 1241570"/>
              <a:gd name="connsiteX6" fmla="*/ 1364801 w 1526459"/>
              <a:gd name="connsiteY6" fmla="*/ 1241570 h 1241570"/>
              <a:gd name="connsiteX7" fmla="*/ 162530 w 1526459"/>
              <a:gd name="connsiteY7" fmla="*/ 1241570 h 1241570"/>
              <a:gd name="connsiteX8" fmla="*/ 872 w 1526459"/>
              <a:gd name="connsiteY8" fmla="*/ 1079912 h 1241570"/>
              <a:gd name="connsiteX9" fmla="*/ 872 w 1526459"/>
              <a:gd name="connsiteY9" fmla="*/ 161803 h 1241570"/>
              <a:gd name="connsiteX0" fmla="*/ 470 w 1526057"/>
              <a:gd name="connsiteY0" fmla="*/ 161803 h 1241570"/>
              <a:gd name="connsiteX1" fmla="*/ 986 w 1526057"/>
              <a:gd name="connsiteY1" fmla="*/ 0 h 1241570"/>
              <a:gd name="connsiteX2" fmla="*/ 162128 w 1526057"/>
              <a:gd name="connsiteY2" fmla="*/ 145 h 1241570"/>
              <a:gd name="connsiteX3" fmla="*/ 1364399 w 1526057"/>
              <a:gd name="connsiteY3" fmla="*/ 145 h 1241570"/>
              <a:gd name="connsiteX4" fmla="*/ 1526057 w 1526057"/>
              <a:gd name="connsiteY4" fmla="*/ 161803 h 1241570"/>
              <a:gd name="connsiteX5" fmla="*/ 1526057 w 1526057"/>
              <a:gd name="connsiteY5" fmla="*/ 1079912 h 1241570"/>
              <a:gd name="connsiteX6" fmla="*/ 1364399 w 1526057"/>
              <a:gd name="connsiteY6" fmla="*/ 1241570 h 1241570"/>
              <a:gd name="connsiteX7" fmla="*/ 162128 w 1526057"/>
              <a:gd name="connsiteY7" fmla="*/ 1241570 h 1241570"/>
              <a:gd name="connsiteX8" fmla="*/ 470 w 1526057"/>
              <a:gd name="connsiteY8" fmla="*/ 1079912 h 1241570"/>
              <a:gd name="connsiteX9" fmla="*/ 470 w 1526057"/>
              <a:gd name="connsiteY9" fmla="*/ 161803 h 1241570"/>
              <a:gd name="connsiteX0" fmla="*/ 649 w 1526236"/>
              <a:gd name="connsiteY0" fmla="*/ 161803 h 1241570"/>
              <a:gd name="connsiteX1" fmla="*/ 1165 w 1526236"/>
              <a:gd name="connsiteY1" fmla="*/ 0 h 1241570"/>
              <a:gd name="connsiteX2" fmla="*/ 162307 w 1526236"/>
              <a:gd name="connsiteY2" fmla="*/ 145 h 1241570"/>
              <a:gd name="connsiteX3" fmla="*/ 1364578 w 1526236"/>
              <a:gd name="connsiteY3" fmla="*/ 145 h 1241570"/>
              <a:gd name="connsiteX4" fmla="*/ 1526236 w 1526236"/>
              <a:gd name="connsiteY4" fmla="*/ 161803 h 1241570"/>
              <a:gd name="connsiteX5" fmla="*/ 1526236 w 1526236"/>
              <a:gd name="connsiteY5" fmla="*/ 1079912 h 1241570"/>
              <a:gd name="connsiteX6" fmla="*/ 1364578 w 1526236"/>
              <a:gd name="connsiteY6" fmla="*/ 1241570 h 1241570"/>
              <a:gd name="connsiteX7" fmla="*/ 162307 w 1526236"/>
              <a:gd name="connsiteY7" fmla="*/ 1241570 h 1241570"/>
              <a:gd name="connsiteX8" fmla="*/ 649 w 1526236"/>
              <a:gd name="connsiteY8" fmla="*/ 1079912 h 1241570"/>
              <a:gd name="connsiteX9" fmla="*/ 649 w 1526236"/>
              <a:gd name="connsiteY9" fmla="*/ 161803 h 1241570"/>
              <a:gd name="connsiteX0" fmla="*/ 268 w 1525855"/>
              <a:gd name="connsiteY0" fmla="*/ 161803 h 1241570"/>
              <a:gd name="connsiteX1" fmla="*/ 784 w 1525855"/>
              <a:gd name="connsiteY1" fmla="*/ 0 h 1241570"/>
              <a:gd name="connsiteX2" fmla="*/ 161926 w 1525855"/>
              <a:gd name="connsiteY2" fmla="*/ 145 h 1241570"/>
              <a:gd name="connsiteX3" fmla="*/ 1364197 w 1525855"/>
              <a:gd name="connsiteY3" fmla="*/ 145 h 1241570"/>
              <a:gd name="connsiteX4" fmla="*/ 1525855 w 1525855"/>
              <a:gd name="connsiteY4" fmla="*/ 161803 h 1241570"/>
              <a:gd name="connsiteX5" fmla="*/ 1525855 w 1525855"/>
              <a:gd name="connsiteY5" fmla="*/ 1079912 h 1241570"/>
              <a:gd name="connsiteX6" fmla="*/ 1364197 w 1525855"/>
              <a:gd name="connsiteY6" fmla="*/ 1241570 h 1241570"/>
              <a:gd name="connsiteX7" fmla="*/ 161926 w 1525855"/>
              <a:gd name="connsiteY7" fmla="*/ 1241570 h 1241570"/>
              <a:gd name="connsiteX8" fmla="*/ 268 w 1525855"/>
              <a:gd name="connsiteY8" fmla="*/ 1079912 h 1241570"/>
              <a:gd name="connsiteX9" fmla="*/ 268 w 1525855"/>
              <a:gd name="connsiteY9" fmla="*/ 161803 h 1241570"/>
              <a:gd name="connsiteX0" fmla="*/ 359 w 1525946"/>
              <a:gd name="connsiteY0" fmla="*/ 161803 h 1241570"/>
              <a:gd name="connsiteX1" fmla="*/ 253 w 1525946"/>
              <a:gd name="connsiteY1" fmla="*/ 0 h 1241570"/>
              <a:gd name="connsiteX2" fmla="*/ 162017 w 1525946"/>
              <a:gd name="connsiteY2" fmla="*/ 145 h 1241570"/>
              <a:gd name="connsiteX3" fmla="*/ 1364288 w 1525946"/>
              <a:gd name="connsiteY3" fmla="*/ 145 h 1241570"/>
              <a:gd name="connsiteX4" fmla="*/ 1525946 w 1525946"/>
              <a:gd name="connsiteY4" fmla="*/ 161803 h 1241570"/>
              <a:gd name="connsiteX5" fmla="*/ 1525946 w 1525946"/>
              <a:gd name="connsiteY5" fmla="*/ 1079912 h 1241570"/>
              <a:gd name="connsiteX6" fmla="*/ 1364288 w 1525946"/>
              <a:gd name="connsiteY6" fmla="*/ 1241570 h 1241570"/>
              <a:gd name="connsiteX7" fmla="*/ 162017 w 1525946"/>
              <a:gd name="connsiteY7" fmla="*/ 1241570 h 1241570"/>
              <a:gd name="connsiteX8" fmla="*/ 359 w 1525946"/>
              <a:gd name="connsiteY8" fmla="*/ 1079912 h 1241570"/>
              <a:gd name="connsiteX9" fmla="*/ 359 w 1525946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364035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414898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414898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414898 w 1525693"/>
              <a:gd name="connsiteY6" fmla="*/ 1232717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  <a:gd name="connsiteX0" fmla="*/ 106 w 1525718"/>
              <a:gd name="connsiteY0" fmla="*/ 161803 h 1241570"/>
              <a:gd name="connsiteX1" fmla="*/ 0 w 1525718"/>
              <a:gd name="connsiteY1" fmla="*/ 0 h 1241570"/>
              <a:gd name="connsiteX2" fmla="*/ 161764 w 1525718"/>
              <a:gd name="connsiteY2" fmla="*/ 145 h 1241570"/>
              <a:gd name="connsiteX3" fmla="*/ 1414898 w 1525718"/>
              <a:gd name="connsiteY3" fmla="*/ 145 h 1241570"/>
              <a:gd name="connsiteX4" fmla="*/ 1525693 w 1525718"/>
              <a:gd name="connsiteY4" fmla="*/ 161803 h 1241570"/>
              <a:gd name="connsiteX5" fmla="*/ 1525693 w 1525718"/>
              <a:gd name="connsiteY5" fmla="*/ 1079912 h 1241570"/>
              <a:gd name="connsiteX6" fmla="*/ 1440330 w 1525718"/>
              <a:gd name="connsiteY6" fmla="*/ 1232717 h 1241570"/>
              <a:gd name="connsiteX7" fmla="*/ 161764 w 1525718"/>
              <a:gd name="connsiteY7" fmla="*/ 1241570 h 1241570"/>
              <a:gd name="connsiteX8" fmla="*/ 106 w 1525718"/>
              <a:gd name="connsiteY8" fmla="*/ 1079912 h 1241570"/>
              <a:gd name="connsiteX9" fmla="*/ 106 w 1525718"/>
              <a:gd name="connsiteY9" fmla="*/ 161803 h 1241570"/>
              <a:gd name="connsiteX0" fmla="*/ 106 w 1525718"/>
              <a:gd name="connsiteY0" fmla="*/ 161803 h 1241570"/>
              <a:gd name="connsiteX1" fmla="*/ 0 w 1525718"/>
              <a:gd name="connsiteY1" fmla="*/ 0 h 1241570"/>
              <a:gd name="connsiteX2" fmla="*/ 161764 w 1525718"/>
              <a:gd name="connsiteY2" fmla="*/ 145 h 1241570"/>
              <a:gd name="connsiteX3" fmla="*/ 1414898 w 1525718"/>
              <a:gd name="connsiteY3" fmla="*/ 145 h 1241570"/>
              <a:gd name="connsiteX4" fmla="*/ 1525693 w 1525718"/>
              <a:gd name="connsiteY4" fmla="*/ 161803 h 1241570"/>
              <a:gd name="connsiteX5" fmla="*/ 1525693 w 1525718"/>
              <a:gd name="connsiteY5" fmla="*/ 1079912 h 1241570"/>
              <a:gd name="connsiteX6" fmla="*/ 1440330 w 1525718"/>
              <a:gd name="connsiteY6" fmla="*/ 1239358 h 1241570"/>
              <a:gd name="connsiteX7" fmla="*/ 161764 w 1525718"/>
              <a:gd name="connsiteY7" fmla="*/ 1241570 h 1241570"/>
              <a:gd name="connsiteX8" fmla="*/ 106 w 1525718"/>
              <a:gd name="connsiteY8" fmla="*/ 1079912 h 1241570"/>
              <a:gd name="connsiteX9" fmla="*/ 106 w 1525718"/>
              <a:gd name="connsiteY9" fmla="*/ 161803 h 1241570"/>
              <a:gd name="connsiteX0" fmla="*/ 106 w 1525718"/>
              <a:gd name="connsiteY0" fmla="*/ 161803 h 1241570"/>
              <a:gd name="connsiteX1" fmla="*/ 0 w 1525718"/>
              <a:gd name="connsiteY1" fmla="*/ 0 h 1241570"/>
              <a:gd name="connsiteX2" fmla="*/ 161764 w 1525718"/>
              <a:gd name="connsiteY2" fmla="*/ 145 h 1241570"/>
              <a:gd name="connsiteX3" fmla="*/ 1414898 w 1525718"/>
              <a:gd name="connsiteY3" fmla="*/ 145 h 1241570"/>
              <a:gd name="connsiteX4" fmla="*/ 1525693 w 1525718"/>
              <a:gd name="connsiteY4" fmla="*/ 161803 h 1241570"/>
              <a:gd name="connsiteX5" fmla="*/ 1525693 w 1525718"/>
              <a:gd name="connsiteY5" fmla="*/ 1079912 h 1241570"/>
              <a:gd name="connsiteX6" fmla="*/ 1440330 w 1525718"/>
              <a:gd name="connsiteY6" fmla="*/ 1232717 h 1241570"/>
              <a:gd name="connsiteX7" fmla="*/ 161764 w 1525718"/>
              <a:gd name="connsiteY7" fmla="*/ 1241570 h 1241570"/>
              <a:gd name="connsiteX8" fmla="*/ 106 w 1525718"/>
              <a:gd name="connsiteY8" fmla="*/ 1079912 h 1241570"/>
              <a:gd name="connsiteX9" fmla="*/ 106 w 1525718"/>
              <a:gd name="connsiteY9" fmla="*/ 161803 h 1241570"/>
              <a:gd name="connsiteX0" fmla="*/ 106 w 1525718"/>
              <a:gd name="connsiteY0" fmla="*/ 161803 h 1241570"/>
              <a:gd name="connsiteX1" fmla="*/ 0 w 1525718"/>
              <a:gd name="connsiteY1" fmla="*/ 0 h 1241570"/>
              <a:gd name="connsiteX2" fmla="*/ 161764 w 1525718"/>
              <a:gd name="connsiteY2" fmla="*/ 145 h 1241570"/>
              <a:gd name="connsiteX3" fmla="*/ 1414898 w 1525718"/>
              <a:gd name="connsiteY3" fmla="*/ 145 h 1241570"/>
              <a:gd name="connsiteX4" fmla="*/ 1525693 w 1525718"/>
              <a:gd name="connsiteY4" fmla="*/ 161803 h 1241570"/>
              <a:gd name="connsiteX5" fmla="*/ 1525693 w 1525718"/>
              <a:gd name="connsiteY5" fmla="*/ 1079912 h 1241570"/>
              <a:gd name="connsiteX6" fmla="*/ 1440330 w 1525718"/>
              <a:gd name="connsiteY6" fmla="*/ 1232717 h 1241570"/>
              <a:gd name="connsiteX7" fmla="*/ 161764 w 1525718"/>
              <a:gd name="connsiteY7" fmla="*/ 1241570 h 1241570"/>
              <a:gd name="connsiteX8" fmla="*/ 106 w 1525718"/>
              <a:gd name="connsiteY8" fmla="*/ 1079912 h 1241570"/>
              <a:gd name="connsiteX9" fmla="*/ 106 w 1525718"/>
              <a:gd name="connsiteY9" fmla="*/ 161803 h 1241570"/>
              <a:gd name="connsiteX0" fmla="*/ 106 w 1525718"/>
              <a:gd name="connsiteY0" fmla="*/ 161803 h 1241570"/>
              <a:gd name="connsiteX1" fmla="*/ 0 w 1525718"/>
              <a:gd name="connsiteY1" fmla="*/ 0 h 1241570"/>
              <a:gd name="connsiteX2" fmla="*/ 161764 w 1525718"/>
              <a:gd name="connsiteY2" fmla="*/ 145 h 1241570"/>
              <a:gd name="connsiteX3" fmla="*/ 1414898 w 1525718"/>
              <a:gd name="connsiteY3" fmla="*/ 145 h 1241570"/>
              <a:gd name="connsiteX4" fmla="*/ 1525693 w 1525718"/>
              <a:gd name="connsiteY4" fmla="*/ 161803 h 1241570"/>
              <a:gd name="connsiteX5" fmla="*/ 1525693 w 1525718"/>
              <a:gd name="connsiteY5" fmla="*/ 1079912 h 1241570"/>
              <a:gd name="connsiteX6" fmla="*/ 1440330 w 1525718"/>
              <a:gd name="connsiteY6" fmla="*/ 1239358 h 1241570"/>
              <a:gd name="connsiteX7" fmla="*/ 161764 w 1525718"/>
              <a:gd name="connsiteY7" fmla="*/ 1241570 h 1241570"/>
              <a:gd name="connsiteX8" fmla="*/ 106 w 1525718"/>
              <a:gd name="connsiteY8" fmla="*/ 1079912 h 1241570"/>
              <a:gd name="connsiteX9" fmla="*/ 106 w 1525718"/>
              <a:gd name="connsiteY9" fmla="*/ 161803 h 1241570"/>
              <a:gd name="connsiteX0" fmla="*/ 106 w 1525718"/>
              <a:gd name="connsiteY0" fmla="*/ 161803 h 1241570"/>
              <a:gd name="connsiteX1" fmla="*/ 0 w 1525718"/>
              <a:gd name="connsiteY1" fmla="*/ 0 h 1241570"/>
              <a:gd name="connsiteX2" fmla="*/ 161764 w 1525718"/>
              <a:gd name="connsiteY2" fmla="*/ 145 h 1241570"/>
              <a:gd name="connsiteX3" fmla="*/ 1414898 w 1525718"/>
              <a:gd name="connsiteY3" fmla="*/ 145 h 1241570"/>
              <a:gd name="connsiteX4" fmla="*/ 1525693 w 1525718"/>
              <a:gd name="connsiteY4" fmla="*/ 161803 h 1241570"/>
              <a:gd name="connsiteX5" fmla="*/ 1525693 w 1525718"/>
              <a:gd name="connsiteY5" fmla="*/ 1079912 h 1241570"/>
              <a:gd name="connsiteX6" fmla="*/ 1440330 w 1525718"/>
              <a:gd name="connsiteY6" fmla="*/ 1229398 h 1241570"/>
              <a:gd name="connsiteX7" fmla="*/ 161764 w 1525718"/>
              <a:gd name="connsiteY7" fmla="*/ 1241570 h 1241570"/>
              <a:gd name="connsiteX8" fmla="*/ 106 w 1525718"/>
              <a:gd name="connsiteY8" fmla="*/ 1079912 h 1241570"/>
              <a:gd name="connsiteX9" fmla="*/ 106 w 1525718"/>
              <a:gd name="connsiteY9" fmla="*/ 161803 h 1241570"/>
              <a:gd name="connsiteX0" fmla="*/ 106 w 1525789"/>
              <a:gd name="connsiteY0" fmla="*/ 161803 h 1249317"/>
              <a:gd name="connsiteX1" fmla="*/ 0 w 1525789"/>
              <a:gd name="connsiteY1" fmla="*/ 0 h 1249317"/>
              <a:gd name="connsiteX2" fmla="*/ 161764 w 1525789"/>
              <a:gd name="connsiteY2" fmla="*/ 145 h 1249317"/>
              <a:gd name="connsiteX3" fmla="*/ 1414898 w 1525789"/>
              <a:gd name="connsiteY3" fmla="*/ 145 h 1249317"/>
              <a:gd name="connsiteX4" fmla="*/ 1525693 w 1525789"/>
              <a:gd name="connsiteY4" fmla="*/ 161803 h 1249317"/>
              <a:gd name="connsiteX5" fmla="*/ 1525693 w 1525789"/>
              <a:gd name="connsiteY5" fmla="*/ 1079912 h 1249317"/>
              <a:gd name="connsiteX6" fmla="*/ 1442714 w 1525789"/>
              <a:gd name="connsiteY6" fmla="*/ 1249317 h 1249317"/>
              <a:gd name="connsiteX7" fmla="*/ 161764 w 1525789"/>
              <a:gd name="connsiteY7" fmla="*/ 1241570 h 1249317"/>
              <a:gd name="connsiteX8" fmla="*/ 106 w 1525789"/>
              <a:gd name="connsiteY8" fmla="*/ 1079912 h 1249317"/>
              <a:gd name="connsiteX9" fmla="*/ 106 w 1525789"/>
              <a:gd name="connsiteY9" fmla="*/ 161803 h 1249317"/>
              <a:gd name="connsiteX0" fmla="*/ 106 w 1525789"/>
              <a:gd name="connsiteY0" fmla="*/ 161803 h 1242677"/>
              <a:gd name="connsiteX1" fmla="*/ 0 w 1525789"/>
              <a:gd name="connsiteY1" fmla="*/ 0 h 1242677"/>
              <a:gd name="connsiteX2" fmla="*/ 161764 w 1525789"/>
              <a:gd name="connsiteY2" fmla="*/ 145 h 1242677"/>
              <a:gd name="connsiteX3" fmla="*/ 1414898 w 1525789"/>
              <a:gd name="connsiteY3" fmla="*/ 145 h 1242677"/>
              <a:gd name="connsiteX4" fmla="*/ 1525693 w 1525789"/>
              <a:gd name="connsiteY4" fmla="*/ 161803 h 1242677"/>
              <a:gd name="connsiteX5" fmla="*/ 1525693 w 1525789"/>
              <a:gd name="connsiteY5" fmla="*/ 1079912 h 1242677"/>
              <a:gd name="connsiteX6" fmla="*/ 1442714 w 1525789"/>
              <a:gd name="connsiteY6" fmla="*/ 1242677 h 1242677"/>
              <a:gd name="connsiteX7" fmla="*/ 161764 w 1525789"/>
              <a:gd name="connsiteY7" fmla="*/ 1241570 h 1242677"/>
              <a:gd name="connsiteX8" fmla="*/ 106 w 1525789"/>
              <a:gd name="connsiteY8" fmla="*/ 1079912 h 1242677"/>
              <a:gd name="connsiteX9" fmla="*/ 106 w 1525789"/>
              <a:gd name="connsiteY9" fmla="*/ 161803 h 1242677"/>
              <a:gd name="connsiteX0" fmla="*/ 106 w 1525789"/>
              <a:gd name="connsiteY0" fmla="*/ 161803 h 1242677"/>
              <a:gd name="connsiteX1" fmla="*/ 0 w 1525789"/>
              <a:gd name="connsiteY1" fmla="*/ 0 h 1242677"/>
              <a:gd name="connsiteX2" fmla="*/ 161764 w 1525789"/>
              <a:gd name="connsiteY2" fmla="*/ 145 h 1242677"/>
              <a:gd name="connsiteX3" fmla="*/ 1414898 w 1525789"/>
              <a:gd name="connsiteY3" fmla="*/ 145 h 1242677"/>
              <a:gd name="connsiteX4" fmla="*/ 1525693 w 1525789"/>
              <a:gd name="connsiteY4" fmla="*/ 161803 h 1242677"/>
              <a:gd name="connsiteX5" fmla="*/ 1525693 w 1525789"/>
              <a:gd name="connsiteY5" fmla="*/ 1079912 h 1242677"/>
              <a:gd name="connsiteX6" fmla="*/ 1442714 w 1525789"/>
              <a:gd name="connsiteY6" fmla="*/ 1242677 h 1242677"/>
              <a:gd name="connsiteX7" fmla="*/ 130769 w 1525789"/>
              <a:gd name="connsiteY7" fmla="*/ 1241570 h 1242677"/>
              <a:gd name="connsiteX8" fmla="*/ 106 w 1525789"/>
              <a:gd name="connsiteY8" fmla="*/ 1079912 h 1242677"/>
              <a:gd name="connsiteX9" fmla="*/ 106 w 1525789"/>
              <a:gd name="connsiteY9" fmla="*/ 161803 h 1242677"/>
              <a:gd name="connsiteX0" fmla="*/ 106 w 1525789"/>
              <a:gd name="connsiteY0" fmla="*/ 161803 h 1242677"/>
              <a:gd name="connsiteX1" fmla="*/ 0 w 1525789"/>
              <a:gd name="connsiteY1" fmla="*/ 0 h 1242677"/>
              <a:gd name="connsiteX2" fmla="*/ 161764 w 1525789"/>
              <a:gd name="connsiteY2" fmla="*/ 145 h 1242677"/>
              <a:gd name="connsiteX3" fmla="*/ 1414898 w 1525789"/>
              <a:gd name="connsiteY3" fmla="*/ 145 h 1242677"/>
              <a:gd name="connsiteX4" fmla="*/ 1525693 w 1525789"/>
              <a:gd name="connsiteY4" fmla="*/ 161803 h 1242677"/>
              <a:gd name="connsiteX5" fmla="*/ 1525693 w 1525789"/>
              <a:gd name="connsiteY5" fmla="*/ 1079912 h 1242677"/>
              <a:gd name="connsiteX6" fmla="*/ 1442714 w 1525789"/>
              <a:gd name="connsiteY6" fmla="*/ 1242677 h 1242677"/>
              <a:gd name="connsiteX7" fmla="*/ 118848 w 1525789"/>
              <a:gd name="connsiteY7" fmla="*/ 1241570 h 1242677"/>
              <a:gd name="connsiteX8" fmla="*/ 106 w 1525789"/>
              <a:gd name="connsiteY8" fmla="*/ 1079912 h 1242677"/>
              <a:gd name="connsiteX9" fmla="*/ 106 w 1525789"/>
              <a:gd name="connsiteY9" fmla="*/ 161803 h 1242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25789" h="1242677">
                <a:moveTo>
                  <a:pt x="106" y="161803"/>
                </a:moveTo>
                <a:cubicBezTo>
                  <a:pt x="-210" y="159620"/>
                  <a:pt x="409" y="7672"/>
                  <a:pt x="0" y="0"/>
                </a:cubicBezTo>
                <a:cubicBezTo>
                  <a:pt x="6219" y="388"/>
                  <a:pt x="110655" y="450"/>
                  <a:pt x="161764" y="145"/>
                </a:cubicBezTo>
                <a:lnTo>
                  <a:pt x="1414898" y="145"/>
                </a:lnTo>
                <a:cubicBezTo>
                  <a:pt x="1504179" y="145"/>
                  <a:pt x="1525693" y="72522"/>
                  <a:pt x="1525693" y="161803"/>
                </a:cubicBezTo>
                <a:lnTo>
                  <a:pt x="1525693" y="1079912"/>
                </a:lnTo>
                <a:cubicBezTo>
                  <a:pt x="1525693" y="1169193"/>
                  <a:pt x="1531995" y="1242677"/>
                  <a:pt x="1442714" y="1242677"/>
                </a:cubicBezTo>
                <a:lnTo>
                  <a:pt x="118848" y="1241570"/>
                </a:lnTo>
                <a:cubicBezTo>
                  <a:pt x="29567" y="1241570"/>
                  <a:pt x="106" y="1169193"/>
                  <a:pt x="106" y="1079912"/>
                </a:cubicBezTo>
                <a:lnTo>
                  <a:pt x="106" y="1618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144000" anchor="b"/>
          <a:lstStyle>
            <a:lvl1pPr marL="0" indent="0" algn="ctr">
              <a:buNone/>
              <a:defRPr sz="1117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nl-NL" noProof="0"/>
          </a:p>
        </p:txBody>
      </p:sp>
      <p:sp>
        <p:nvSpPr>
          <p:cNvPr id="31" name="Tijdelijke aanduiding voor afbeelding 6">
            <a:extLst>
              <a:ext uri="{FF2B5EF4-FFF2-40B4-BE49-F238E27FC236}">
                <a16:creationId xmlns:a16="http://schemas.microsoft.com/office/drawing/2014/main" id="{6EAA7FFB-E40E-4744-8AF0-0E4BEE5C22A0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1696825" y="11466950"/>
            <a:ext cx="5345251" cy="3931509"/>
          </a:xfrm>
          <a:custGeom>
            <a:avLst/>
            <a:gdLst>
              <a:gd name="connsiteX0" fmla="*/ 0 w 1525587"/>
              <a:gd name="connsiteY0" fmla="*/ 161658 h 1241425"/>
              <a:gd name="connsiteX1" fmla="*/ 161658 w 1525587"/>
              <a:gd name="connsiteY1" fmla="*/ 0 h 1241425"/>
              <a:gd name="connsiteX2" fmla="*/ 1363929 w 1525587"/>
              <a:gd name="connsiteY2" fmla="*/ 0 h 1241425"/>
              <a:gd name="connsiteX3" fmla="*/ 1525587 w 1525587"/>
              <a:gd name="connsiteY3" fmla="*/ 161658 h 1241425"/>
              <a:gd name="connsiteX4" fmla="*/ 1525587 w 1525587"/>
              <a:gd name="connsiteY4" fmla="*/ 1079767 h 1241425"/>
              <a:gd name="connsiteX5" fmla="*/ 1363929 w 1525587"/>
              <a:gd name="connsiteY5" fmla="*/ 1241425 h 1241425"/>
              <a:gd name="connsiteX6" fmla="*/ 161658 w 1525587"/>
              <a:gd name="connsiteY6" fmla="*/ 1241425 h 1241425"/>
              <a:gd name="connsiteX7" fmla="*/ 0 w 1525587"/>
              <a:gd name="connsiteY7" fmla="*/ 1079767 h 1241425"/>
              <a:gd name="connsiteX8" fmla="*/ 0 w 1525587"/>
              <a:gd name="connsiteY8" fmla="*/ 161658 h 1241425"/>
              <a:gd name="connsiteX0" fmla="*/ 0 w 1525587"/>
              <a:gd name="connsiteY0" fmla="*/ 161658 h 1241425"/>
              <a:gd name="connsiteX1" fmla="*/ 42862 w 1525587"/>
              <a:gd name="connsiteY1" fmla="*/ 48418 h 1241425"/>
              <a:gd name="connsiteX2" fmla="*/ 161658 w 1525587"/>
              <a:gd name="connsiteY2" fmla="*/ 0 h 1241425"/>
              <a:gd name="connsiteX3" fmla="*/ 1363929 w 1525587"/>
              <a:gd name="connsiteY3" fmla="*/ 0 h 1241425"/>
              <a:gd name="connsiteX4" fmla="*/ 1525587 w 1525587"/>
              <a:gd name="connsiteY4" fmla="*/ 161658 h 1241425"/>
              <a:gd name="connsiteX5" fmla="*/ 1525587 w 1525587"/>
              <a:gd name="connsiteY5" fmla="*/ 1079767 h 1241425"/>
              <a:gd name="connsiteX6" fmla="*/ 1363929 w 1525587"/>
              <a:gd name="connsiteY6" fmla="*/ 1241425 h 1241425"/>
              <a:gd name="connsiteX7" fmla="*/ 161658 w 1525587"/>
              <a:gd name="connsiteY7" fmla="*/ 1241425 h 1241425"/>
              <a:gd name="connsiteX8" fmla="*/ 0 w 1525587"/>
              <a:gd name="connsiteY8" fmla="*/ 1079767 h 1241425"/>
              <a:gd name="connsiteX9" fmla="*/ 0 w 1525587"/>
              <a:gd name="connsiteY9" fmla="*/ 161658 h 1241425"/>
              <a:gd name="connsiteX0" fmla="*/ 8672 w 1534259"/>
              <a:gd name="connsiteY0" fmla="*/ 165982 h 1245749"/>
              <a:gd name="connsiteX1" fmla="*/ 11053 w 1534259"/>
              <a:gd name="connsiteY1" fmla="*/ 12261 h 1245749"/>
              <a:gd name="connsiteX2" fmla="*/ 170330 w 1534259"/>
              <a:gd name="connsiteY2" fmla="*/ 4324 h 1245749"/>
              <a:gd name="connsiteX3" fmla="*/ 1372601 w 1534259"/>
              <a:gd name="connsiteY3" fmla="*/ 4324 h 1245749"/>
              <a:gd name="connsiteX4" fmla="*/ 1534259 w 1534259"/>
              <a:gd name="connsiteY4" fmla="*/ 165982 h 1245749"/>
              <a:gd name="connsiteX5" fmla="*/ 1534259 w 1534259"/>
              <a:gd name="connsiteY5" fmla="*/ 1084091 h 1245749"/>
              <a:gd name="connsiteX6" fmla="*/ 1372601 w 1534259"/>
              <a:gd name="connsiteY6" fmla="*/ 1245749 h 1245749"/>
              <a:gd name="connsiteX7" fmla="*/ 170330 w 1534259"/>
              <a:gd name="connsiteY7" fmla="*/ 1245749 h 1245749"/>
              <a:gd name="connsiteX8" fmla="*/ 8672 w 1534259"/>
              <a:gd name="connsiteY8" fmla="*/ 1084091 h 1245749"/>
              <a:gd name="connsiteX9" fmla="*/ 8672 w 1534259"/>
              <a:gd name="connsiteY9" fmla="*/ 165982 h 1245749"/>
              <a:gd name="connsiteX0" fmla="*/ 8672 w 1534259"/>
              <a:gd name="connsiteY0" fmla="*/ 167890 h 1247657"/>
              <a:gd name="connsiteX1" fmla="*/ 11053 w 1534259"/>
              <a:gd name="connsiteY1" fmla="*/ 14169 h 1247657"/>
              <a:gd name="connsiteX2" fmla="*/ 170330 w 1534259"/>
              <a:gd name="connsiteY2" fmla="*/ 6232 h 1247657"/>
              <a:gd name="connsiteX3" fmla="*/ 1372601 w 1534259"/>
              <a:gd name="connsiteY3" fmla="*/ 6232 h 1247657"/>
              <a:gd name="connsiteX4" fmla="*/ 1534259 w 1534259"/>
              <a:gd name="connsiteY4" fmla="*/ 167890 h 1247657"/>
              <a:gd name="connsiteX5" fmla="*/ 1534259 w 1534259"/>
              <a:gd name="connsiteY5" fmla="*/ 1085999 h 1247657"/>
              <a:gd name="connsiteX6" fmla="*/ 1372601 w 1534259"/>
              <a:gd name="connsiteY6" fmla="*/ 1247657 h 1247657"/>
              <a:gd name="connsiteX7" fmla="*/ 170330 w 1534259"/>
              <a:gd name="connsiteY7" fmla="*/ 1247657 h 1247657"/>
              <a:gd name="connsiteX8" fmla="*/ 8672 w 1534259"/>
              <a:gd name="connsiteY8" fmla="*/ 1085999 h 1247657"/>
              <a:gd name="connsiteX9" fmla="*/ 8672 w 1534259"/>
              <a:gd name="connsiteY9" fmla="*/ 167890 h 1247657"/>
              <a:gd name="connsiteX0" fmla="*/ 8672 w 1534259"/>
              <a:gd name="connsiteY0" fmla="*/ 161658 h 1241425"/>
              <a:gd name="connsiteX1" fmla="*/ 11053 w 1534259"/>
              <a:gd name="connsiteY1" fmla="*/ 7937 h 1241425"/>
              <a:gd name="connsiteX2" fmla="*/ 170330 w 1534259"/>
              <a:gd name="connsiteY2" fmla="*/ 0 h 1241425"/>
              <a:gd name="connsiteX3" fmla="*/ 1372601 w 1534259"/>
              <a:gd name="connsiteY3" fmla="*/ 0 h 1241425"/>
              <a:gd name="connsiteX4" fmla="*/ 1534259 w 1534259"/>
              <a:gd name="connsiteY4" fmla="*/ 161658 h 1241425"/>
              <a:gd name="connsiteX5" fmla="*/ 1534259 w 1534259"/>
              <a:gd name="connsiteY5" fmla="*/ 1079767 h 1241425"/>
              <a:gd name="connsiteX6" fmla="*/ 1372601 w 1534259"/>
              <a:gd name="connsiteY6" fmla="*/ 1241425 h 1241425"/>
              <a:gd name="connsiteX7" fmla="*/ 170330 w 1534259"/>
              <a:gd name="connsiteY7" fmla="*/ 1241425 h 1241425"/>
              <a:gd name="connsiteX8" fmla="*/ 8672 w 1534259"/>
              <a:gd name="connsiteY8" fmla="*/ 1079767 h 1241425"/>
              <a:gd name="connsiteX9" fmla="*/ 8672 w 1534259"/>
              <a:gd name="connsiteY9" fmla="*/ 161658 h 124142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3668 h 1243435"/>
              <a:gd name="connsiteX1" fmla="*/ 10644 w 1535715"/>
              <a:gd name="connsiteY1" fmla="*/ 0 h 1243435"/>
              <a:gd name="connsiteX2" fmla="*/ 171786 w 1535715"/>
              <a:gd name="connsiteY2" fmla="*/ 2010 h 1243435"/>
              <a:gd name="connsiteX3" fmla="*/ 1374057 w 1535715"/>
              <a:gd name="connsiteY3" fmla="*/ 2010 h 1243435"/>
              <a:gd name="connsiteX4" fmla="*/ 1535715 w 1535715"/>
              <a:gd name="connsiteY4" fmla="*/ 163668 h 1243435"/>
              <a:gd name="connsiteX5" fmla="*/ 1535715 w 1535715"/>
              <a:gd name="connsiteY5" fmla="*/ 1081777 h 1243435"/>
              <a:gd name="connsiteX6" fmla="*/ 1374057 w 1535715"/>
              <a:gd name="connsiteY6" fmla="*/ 1243435 h 1243435"/>
              <a:gd name="connsiteX7" fmla="*/ 171786 w 1535715"/>
              <a:gd name="connsiteY7" fmla="*/ 1243435 h 1243435"/>
              <a:gd name="connsiteX8" fmla="*/ 10128 w 1535715"/>
              <a:gd name="connsiteY8" fmla="*/ 1081777 h 1243435"/>
              <a:gd name="connsiteX9" fmla="*/ 10128 w 1535715"/>
              <a:gd name="connsiteY9" fmla="*/ 163668 h 124343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1808 w 1537395"/>
              <a:gd name="connsiteY0" fmla="*/ 161803 h 1241570"/>
              <a:gd name="connsiteX1" fmla="*/ 12324 w 1537395"/>
              <a:gd name="connsiteY1" fmla="*/ 0 h 1241570"/>
              <a:gd name="connsiteX2" fmla="*/ 173466 w 1537395"/>
              <a:gd name="connsiteY2" fmla="*/ 145 h 1241570"/>
              <a:gd name="connsiteX3" fmla="*/ 1375737 w 1537395"/>
              <a:gd name="connsiteY3" fmla="*/ 145 h 1241570"/>
              <a:gd name="connsiteX4" fmla="*/ 1537395 w 1537395"/>
              <a:gd name="connsiteY4" fmla="*/ 161803 h 1241570"/>
              <a:gd name="connsiteX5" fmla="*/ 1537395 w 1537395"/>
              <a:gd name="connsiteY5" fmla="*/ 1079912 h 1241570"/>
              <a:gd name="connsiteX6" fmla="*/ 1375737 w 1537395"/>
              <a:gd name="connsiteY6" fmla="*/ 1241570 h 1241570"/>
              <a:gd name="connsiteX7" fmla="*/ 173466 w 1537395"/>
              <a:gd name="connsiteY7" fmla="*/ 1241570 h 1241570"/>
              <a:gd name="connsiteX8" fmla="*/ 11808 w 1537395"/>
              <a:gd name="connsiteY8" fmla="*/ 1079912 h 1241570"/>
              <a:gd name="connsiteX9" fmla="*/ 11808 w 1537395"/>
              <a:gd name="connsiteY9" fmla="*/ 161803 h 1241570"/>
              <a:gd name="connsiteX0" fmla="*/ 346 w 1525933"/>
              <a:gd name="connsiteY0" fmla="*/ 161803 h 1241570"/>
              <a:gd name="connsiteX1" fmla="*/ 862 w 1525933"/>
              <a:gd name="connsiteY1" fmla="*/ 0 h 1241570"/>
              <a:gd name="connsiteX2" fmla="*/ 162004 w 1525933"/>
              <a:gd name="connsiteY2" fmla="*/ 145 h 1241570"/>
              <a:gd name="connsiteX3" fmla="*/ 1364275 w 1525933"/>
              <a:gd name="connsiteY3" fmla="*/ 145 h 1241570"/>
              <a:gd name="connsiteX4" fmla="*/ 1525933 w 1525933"/>
              <a:gd name="connsiteY4" fmla="*/ 161803 h 1241570"/>
              <a:gd name="connsiteX5" fmla="*/ 1525933 w 1525933"/>
              <a:gd name="connsiteY5" fmla="*/ 1079912 h 1241570"/>
              <a:gd name="connsiteX6" fmla="*/ 1364275 w 1525933"/>
              <a:gd name="connsiteY6" fmla="*/ 1241570 h 1241570"/>
              <a:gd name="connsiteX7" fmla="*/ 162004 w 1525933"/>
              <a:gd name="connsiteY7" fmla="*/ 1241570 h 1241570"/>
              <a:gd name="connsiteX8" fmla="*/ 346 w 1525933"/>
              <a:gd name="connsiteY8" fmla="*/ 1079912 h 1241570"/>
              <a:gd name="connsiteX9" fmla="*/ 346 w 1525933"/>
              <a:gd name="connsiteY9" fmla="*/ 161803 h 1241570"/>
              <a:gd name="connsiteX0" fmla="*/ 872 w 1526459"/>
              <a:gd name="connsiteY0" fmla="*/ 161803 h 1241570"/>
              <a:gd name="connsiteX1" fmla="*/ 1388 w 1526459"/>
              <a:gd name="connsiteY1" fmla="*/ 0 h 1241570"/>
              <a:gd name="connsiteX2" fmla="*/ 162530 w 1526459"/>
              <a:gd name="connsiteY2" fmla="*/ 145 h 1241570"/>
              <a:gd name="connsiteX3" fmla="*/ 1364801 w 1526459"/>
              <a:gd name="connsiteY3" fmla="*/ 145 h 1241570"/>
              <a:gd name="connsiteX4" fmla="*/ 1526459 w 1526459"/>
              <a:gd name="connsiteY4" fmla="*/ 161803 h 1241570"/>
              <a:gd name="connsiteX5" fmla="*/ 1526459 w 1526459"/>
              <a:gd name="connsiteY5" fmla="*/ 1079912 h 1241570"/>
              <a:gd name="connsiteX6" fmla="*/ 1364801 w 1526459"/>
              <a:gd name="connsiteY6" fmla="*/ 1241570 h 1241570"/>
              <a:gd name="connsiteX7" fmla="*/ 162530 w 1526459"/>
              <a:gd name="connsiteY7" fmla="*/ 1241570 h 1241570"/>
              <a:gd name="connsiteX8" fmla="*/ 872 w 1526459"/>
              <a:gd name="connsiteY8" fmla="*/ 1079912 h 1241570"/>
              <a:gd name="connsiteX9" fmla="*/ 872 w 1526459"/>
              <a:gd name="connsiteY9" fmla="*/ 161803 h 1241570"/>
              <a:gd name="connsiteX0" fmla="*/ 470 w 1526057"/>
              <a:gd name="connsiteY0" fmla="*/ 161803 h 1241570"/>
              <a:gd name="connsiteX1" fmla="*/ 986 w 1526057"/>
              <a:gd name="connsiteY1" fmla="*/ 0 h 1241570"/>
              <a:gd name="connsiteX2" fmla="*/ 162128 w 1526057"/>
              <a:gd name="connsiteY2" fmla="*/ 145 h 1241570"/>
              <a:gd name="connsiteX3" fmla="*/ 1364399 w 1526057"/>
              <a:gd name="connsiteY3" fmla="*/ 145 h 1241570"/>
              <a:gd name="connsiteX4" fmla="*/ 1526057 w 1526057"/>
              <a:gd name="connsiteY4" fmla="*/ 161803 h 1241570"/>
              <a:gd name="connsiteX5" fmla="*/ 1526057 w 1526057"/>
              <a:gd name="connsiteY5" fmla="*/ 1079912 h 1241570"/>
              <a:gd name="connsiteX6" fmla="*/ 1364399 w 1526057"/>
              <a:gd name="connsiteY6" fmla="*/ 1241570 h 1241570"/>
              <a:gd name="connsiteX7" fmla="*/ 162128 w 1526057"/>
              <a:gd name="connsiteY7" fmla="*/ 1241570 h 1241570"/>
              <a:gd name="connsiteX8" fmla="*/ 470 w 1526057"/>
              <a:gd name="connsiteY8" fmla="*/ 1079912 h 1241570"/>
              <a:gd name="connsiteX9" fmla="*/ 470 w 1526057"/>
              <a:gd name="connsiteY9" fmla="*/ 161803 h 1241570"/>
              <a:gd name="connsiteX0" fmla="*/ 649 w 1526236"/>
              <a:gd name="connsiteY0" fmla="*/ 161803 h 1241570"/>
              <a:gd name="connsiteX1" fmla="*/ 1165 w 1526236"/>
              <a:gd name="connsiteY1" fmla="*/ 0 h 1241570"/>
              <a:gd name="connsiteX2" fmla="*/ 162307 w 1526236"/>
              <a:gd name="connsiteY2" fmla="*/ 145 h 1241570"/>
              <a:gd name="connsiteX3" fmla="*/ 1364578 w 1526236"/>
              <a:gd name="connsiteY3" fmla="*/ 145 h 1241570"/>
              <a:gd name="connsiteX4" fmla="*/ 1526236 w 1526236"/>
              <a:gd name="connsiteY4" fmla="*/ 161803 h 1241570"/>
              <a:gd name="connsiteX5" fmla="*/ 1526236 w 1526236"/>
              <a:gd name="connsiteY5" fmla="*/ 1079912 h 1241570"/>
              <a:gd name="connsiteX6" fmla="*/ 1364578 w 1526236"/>
              <a:gd name="connsiteY6" fmla="*/ 1241570 h 1241570"/>
              <a:gd name="connsiteX7" fmla="*/ 162307 w 1526236"/>
              <a:gd name="connsiteY7" fmla="*/ 1241570 h 1241570"/>
              <a:gd name="connsiteX8" fmla="*/ 649 w 1526236"/>
              <a:gd name="connsiteY8" fmla="*/ 1079912 h 1241570"/>
              <a:gd name="connsiteX9" fmla="*/ 649 w 1526236"/>
              <a:gd name="connsiteY9" fmla="*/ 161803 h 1241570"/>
              <a:gd name="connsiteX0" fmla="*/ 268 w 1525855"/>
              <a:gd name="connsiteY0" fmla="*/ 161803 h 1241570"/>
              <a:gd name="connsiteX1" fmla="*/ 784 w 1525855"/>
              <a:gd name="connsiteY1" fmla="*/ 0 h 1241570"/>
              <a:gd name="connsiteX2" fmla="*/ 161926 w 1525855"/>
              <a:gd name="connsiteY2" fmla="*/ 145 h 1241570"/>
              <a:gd name="connsiteX3" fmla="*/ 1364197 w 1525855"/>
              <a:gd name="connsiteY3" fmla="*/ 145 h 1241570"/>
              <a:gd name="connsiteX4" fmla="*/ 1525855 w 1525855"/>
              <a:gd name="connsiteY4" fmla="*/ 161803 h 1241570"/>
              <a:gd name="connsiteX5" fmla="*/ 1525855 w 1525855"/>
              <a:gd name="connsiteY5" fmla="*/ 1079912 h 1241570"/>
              <a:gd name="connsiteX6" fmla="*/ 1364197 w 1525855"/>
              <a:gd name="connsiteY6" fmla="*/ 1241570 h 1241570"/>
              <a:gd name="connsiteX7" fmla="*/ 161926 w 1525855"/>
              <a:gd name="connsiteY7" fmla="*/ 1241570 h 1241570"/>
              <a:gd name="connsiteX8" fmla="*/ 268 w 1525855"/>
              <a:gd name="connsiteY8" fmla="*/ 1079912 h 1241570"/>
              <a:gd name="connsiteX9" fmla="*/ 268 w 1525855"/>
              <a:gd name="connsiteY9" fmla="*/ 161803 h 1241570"/>
              <a:gd name="connsiteX0" fmla="*/ 359 w 1525946"/>
              <a:gd name="connsiteY0" fmla="*/ 161803 h 1241570"/>
              <a:gd name="connsiteX1" fmla="*/ 253 w 1525946"/>
              <a:gd name="connsiteY1" fmla="*/ 0 h 1241570"/>
              <a:gd name="connsiteX2" fmla="*/ 162017 w 1525946"/>
              <a:gd name="connsiteY2" fmla="*/ 145 h 1241570"/>
              <a:gd name="connsiteX3" fmla="*/ 1364288 w 1525946"/>
              <a:gd name="connsiteY3" fmla="*/ 145 h 1241570"/>
              <a:gd name="connsiteX4" fmla="*/ 1525946 w 1525946"/>
              <a:gd name="connsiteY4" fmla="*/ 161803 h 1241570"/>
              <a:gd name="connsiteX5" fmla="*/ 1525946 w 1525946"/>
              <a:gd name="connsiteY5" fmla="*/ 1079912 h 1241570"/>
              <a:gd name="connsiteX6" fmla="*/ 1364288 w 1525946"/>
              <a:gd name="connsiteY6" fmla="*/ 1241570 h 1241570"/>
              <a:gd name="connsiteX7" fmla="*/ 162017 w 1525946"/>
              <a:gd name="connsiteY7" fmla="*/ 1241570 h 1241570"/>
              <a:gd name="connsiteX8" fmla="*/ 359 w 1525946"/>
              <a:gd name="connsiteY8" fmla="*/ 1079912 h 1241570"/>
              <a:gd name="connsiteX9" fmla="*/ 359 w 1525946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364035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25693" h="1241570">
                <a:moveTo>
                  <a:pt x="106" y="161803"/>
                </a:moveTo>
                <a:cubicBezTo>
                  <a:pt x="-210" y="159620"/>
                  <a:pt x="409" y="7672"/>
                  <a:pt x="0" y="0"/>
                </a:cubicBezTo>
                <a:cubicBezTo>
                  <a:pt x="6219" y="388"/>
                  <a:pt x="110655" y="450"/>
                  <a:pt x="161764" y="145"/>
                </a:cubicBezTo>
                <a:lnTo>
                  <a:pt x="1364035" y="145"/>
                </a:lnTo>
                <a:cubicBezTo>
                  <a:pt x="1453316" y="145"/>
                  <a:pt x="1525693" y="72522"/>
                  <a:pt x="1525693" y="161803"/>
                </a:cubicBezTo>
                <a:lnTo>
                  <a:pt x="1525693" y="1079912"/>
                </a:lnTo>
                <a:cubicBezTo>
                  <a:pt x="1525693" y="1169193"/>
                  <a:pt x="1453316" y="1241570"/>
                  <a:pt x="1364035" y="1241570"/>
                </a:cubicBezTo>
                <a:lnTo>
                  <a:pt x="161764" y="1241570"/>
                </a:lnTo>
                <a:cubicBezTo>
                  <a:pt x="72483" y="1241570"/>
                  <a:pt x="106" y="1169193"/>
                  <a:pt x="106" y="1079912"/>
                </a:cubicBezTo>
                <a:lnTo>
                  <a:pt x="106" y="1618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144000" anchor="b"/>
          <a:lstStyle>
            <a:lvl1pPr marL="0" indent="0" algn="ctr">
              <a:buNone/>
              <a:defRPr sz="1117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nl-NL" noProof="0"/>
          </a:p>
        </p:txBody>
      </p:sp>
      <p:sp>
        <p:nvSpPr>
          <p:cNvPr id="33" name="Tijdelijke aanduiding voor afbeelding 6">
            <a:extLst>
              <a:ext uri="{FF2B5EF4-FFF2-40B4-BE49-F238E27FC236}">
                <a16:creationId xmlns:a16="http://schemas.microsoft.com/office/drawing/2014/main" id="{E282FF1F-8DC9-4A36-8B0E-4868FD1C3CCE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1696825" y="16623331"/>
            <a:ext cx="5345251" cy="3931509"/>
          </a:xfrm>
          <a:custGeom>
            <a:avLst/>
            <a:gdLst>
              <a:gd name="connsiteX0" fmla="*/ 0 w 1525587"/>
              <a:gd name="connsiteY0" fmla="*/ 161658 h 1241425"/>
              <a:gd name="connsiteX1" fmla="*/ 161658 w 1525587"/>
              <a:gd name="connsiteY1" fmla="*/ 0 h 1241425"/>
              <a:gd name="connsiteX2" fmla="*/ 1363929 w 1525587"/>
              <a:gd name="connsiteY2" fmla="*/ 0 h 1241425"/>
              <a:gd name="connsiteX3" fmla="*/ 1525587 w 1525587"/>
              <a:gd name="connsiteY3" fmla="*/ 161658 h 1241425"/>
              <a:gd name="connsiteX4" fmla="*/ 1525587 w 1525587"/>
              <a:gd name="connsiteY4" fmla="*/ 1079767 h 1241425"/>
              <a:gd name="connsiteX5" fmla="*/ 1363929 w 1525587"/>
              <a:gd name="connsiteY5" fmla="*/ 1241425 h 1241425"/>
              <a:gd name="connsiteX6" fmla="*/ 161658 w 1525587"/>
              <a:gd name="connsiteY6" fmla="*/ 1241425 h 1241425"/>
              <a:gd name="connsiteX7" fmla="*/ 0 w 1525587"/>
              <a:gd name="connsiteY7" fmla="*/ 1079767 h 1241425"/>
              <a:gd name="connsiteX8" fmla="*/ 0 w 1525587"/>
              <a:gd name="connsiteY8" fmla="*/ 161658 h 1241425"/>
              <a:gd name="connsiteX0" fmla="*/ 0 w 1525587"/>
              <a:gd name="connsiteY0" fmla="*/ 161658 h 1241425"/>
              <a:gd name="connsiteX1" fmla="*/ 42862 w 1525587"/>
              <a:gd name="connsiteY1" fmla="*/ 48418 h 1241425"/>
              <a:gd name="connsiteX2" fmla="*/ 161658 w 1525587"/>
              <a:gd name="connsiteY2" fmla="*/ 0 h 1241425"/>
              <a:gd name="connsiteX3" fmla="*/ 1363929 w 1525587"/>
              <a:gd name="connsiteY3" fmla="*/ 0 h 1241425"/>
              <a:gd name="connsiteX4" fmla="*/ 1525587 w 1525587"/>
              <a:gd name="connsiteY4" fmla="*/ 161658 h 1241425"/>
              <a:gd name="connsiteX5" fmla="*/ 1525587 w 1525587"/>
              <a:gd name="connsiteY5" fmla="*/ 1079767 h 1241425"/>
              <a:gd name="connsiteX6" fmla="*/ 1363929 w 1525587"/>
              <a:gd name="connsiteY6" fmla="*/ 1241425 h 1241425"/>
              <a:gd name="connsiteX7" fmla="*/ 161658 w 1525587"/>
              <a:gd name="connsiteY7" fmla="*/ 1241425 h 1241425"/>
              <a:gd name="connsiteX8" fmla="*/ 0 w 1525587"/>
              <a:gd name="connsiteY8" fmla="*/ 1079767 h 1241425"/>
              <a:gd name="connsiteX9" fmla="*/ 0 w 1525587"/>
              <a:gd name="connsiteY9" fmla="*/ 161658 h 1241425"/>
              <a:gd name="connsiteX0" fmla="*/ 8672 w 1534259"/>
              <a:gd name="connsiteY0" fmla="*/ 165982 h 1245749"/>
              <a:gd name="connsiteX1" fmla="*/ 11053 w 1534259"/>
              <a:gd name="connsiteY1" fmla="*/ 12261 h 1245749"/>
              <a:gd name="connsiteX2" fmla="*/ 170330 w 1534259"/>
              <a:gd name="connsiteY2" fmla="*/ 4324 h 1245749"/>
              <a:gd name="connsiteX3" fmla="*/ 1372601 w 1534259"/>
              <a:gd name="connsiteY3" fmla="*/ 4324 h 1245749"/>
              <a:gd name="connsiteX4" fmla="*/ 1534259 w 1534259"/>
              <a:gd name="connsiteY4" fmla="*/ 165982 h 1245749"/>
              <a:gd name="connsiteX5" fmla="*/ 1534259 w 1534259"/>
              <a:gd name="connsiteY5" fmla="*/ 1084091 h 1245749"/>
              <a:gd name="connsiteX6" fmla="*/ 1372601 w 1534259"/>
              <a:gd name="connsiteY6" fmla="*/ 1245749 h 1245749"/>
              <a:gd name="connsiteX7" fmla="*/ 170330 w 1534259"/>
              <a:gd name="connsiteY7" fmla="*/ 1245749 h 1245749"/>
              <a:gd name="connsiteX8" fmla="*/ 8672 w 1534259"/>
              <a:gd name="connsiteY8" fmla="*/ 1084091 h 1245749"/>
              <a:gd name="connsiteX9" fmla="*/ 8672 w 1534259"/>
              <a:gd name="connsiteY9" fmla="*/ 165982 h 1245749"/>
              <a:gd name="connsiteX0" fmla="*/ 8672 w 1534259"/>
              <a:gd name="connsiteY0" fmla="*/ 167890 h 1247657"/>
              <a:gd name="connsiteX1" fmla="*/ 11053 w 1534259"/>
              <a:gd name="connsiteY1" fmla="*/ 14169 h 1247657"/>
              <a:gd name="connsiteX2" fmla="*/ 170330 w 1534259"/>
              <a:gd name="connsiteY2" fmla="*/ 6232 h 1247657"/>
              <a:gd name="connsiteX3" fmla="*/ 1372601 w 1534259"/>
              <a:gd name="connsiteY3" fmla="*/ 6232 h 1247657"/>
              <a:gd name="connsiteX4" fmla="*/ 1534259 w 1534259"/>
              <a:gd name="connsiteY4" fmla="*/ 167890 h 1247657"/>
              <a:gd name="connsiteX5" fmla="*/ 1534259 w 1534259"/>
              <a:gd name="connsiteY5" fmla="*/ 1085999 h 1247657"/>
              <a:gd name="connsiteX6" fmla="*/ 1372601 w 1534259"/>
              <a:gd name="connsiteY6" fmla="*/ 1247657 h 1247657"/>
              <a:gd name="connsiteX7" fmla="*/ 170330 w 1534259"/>
              <a:gd name="connsiteY7" fmla="*/ 1247657 h 1247657"/>
              <a:gd name="connsiteX8" fmla="*/ 8672 w 1534259"/>
              <a:gd name="connsiteY8" fmla="*/ 1085999 h 1247657"/>
              <a:gd name="connsiteX9" fmla="*/ 8672 w 1534259"/>
              <a:gd name="connsiteY9" fmla="*/ 167890 h 1247657"/>
              <a:gd name="connsiteX0" fmla="*/ 8672 w 1534259"/>
              <a:gd name="connsiteY0" fmla="*/ 161658 h 1241425"/>
              <a:gd name="connsiteX1" fmla="*/ 11053 w 1534259"/>
              <a:gd name="connsiteY1" fmla="*/ 7937 h 1241425"/>
              <a:gd name="connsiteX2" fmla="*/ 170330 w 1534259"/>
              <a:gd name="connsiteY2" fmla="*/ 0 h 1241425"/>
              <a:gd name="connsiteX3" fmla="*/ 1372601 w 1534259"/>
              <a:gd name="connsiteY3" fmla="*/ 0 h 1241425"/>
              <a:gd name="connsiteX4" fmla="*/ 1534259 w 1534259"/>
              <a:gd name="connsiteY4" fmla="*/ 161658 h 1241425"/>
              <a:gd name="connsiteX5" fmla="*/ 1534259 w 1534259"/>
              <a:gd name="connsiteY5" fmla="*/ 1079767 h 1241425"/>
              <a:gd name="connsiteX6" fmla="*/ 1372601 w 1534259"/>
              <a:gd name="connsiteY6" fmla="*/ 1241425 h 1241425"/>
              <a:gd name="connsiteX7" fmla="*/ 170330 w 1534259"/>
              <a:gd name="connsiteY7" fmla="*/ 1241425 h 1241425"/>
              <a:gd name="connsiteX8" fmla="*/ 8672 w 1534259"/>
              <a:gd name="connsiteY8" fmla="*/ 1079767 h 1241425"/>
              <a:gd name="connsiteX9" fmla="*/ 8672 w 1534259"/>
              <a:gd name="connsiteY9" fmla="*/ 161658 h 124142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3668 h 1243435"/>
              <a:gd name="connsiteX1" fmla="*/ 10644 w 1535715"/>
              <a:gd name="connsiteY1" fmla="*/ 0 h 1243435"/>
              <a:gd name="connsiteX2" fmla="*/ 171786 w 1535715"/>
              <a:gd name="connsiteY2" fmla="*/ 2010 h 1243435"/>
              <a:gd name="connsiteX3" fmla="*/ 1374057 w 1535715"/>
              <a:gd name="connsiteY3" fmla="*/ 2010 h 1243435"/>
              <a:gd name="connsiteX4" fmla="*/ 1535715 w 1535715"/>
              <a:gd name="connsiteY4" fmla="*/ 163668 h 1243435"/>
              <a:gd name="connsiteX5" fmla="*/ 1535715 w 1535715"/>
              <a:gd name="connsiteY5" fmla="*/ 1081777 h 1243435"/>
              <a:gd name="connsiteX6" fmla="*/ 1374057 w 1535715"/>
              <a:gd name="connsiteY6" fmla="*/ 1243435 h 1243435"/>
              <a:gd name="connsiteX7" fmla="*/ 171786 w 1535715"/>
              <a:gd name="connsiteY7" fmla="*/ 1243435 h 1243435"/>
              <a:gd name="connsiteX8" fmla="*/ 10128 w 1535715"/>
              <a:gd name="connsiteY8" fmla="*/ 1081777 h 1243435"/>
              <a:gd name="connsiteX9" fmla="*/ 10128 w 1535715"/>
              <a:gd name="connsiteY9" fmla="*/ 163668 h 124343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1808 w 1537395"/>
              <a:gd name="connsiteY0" fmla="*/ 161803 h 1241570"/>
              <a:gd name="connsiteX1" fmla="*/ 12324 w 1537395"/>
              <a:gd name="connsiteY1" fmla="*/ 0 h 1241570"/>
              <a:gd name="connsiteX2" fmla="*/ 173466 w 1537395"/>
              <a:gd name="connsiteY2" fmla="*/ 145 h 1241570"/>
              <a:gd name="connsiteX3" fmla="*/ 1375737 w 1537395"/>
              <a:gd name="connsiteY3" fmla="*/ 145 h 1241570"/>
              <a:gd name="connsiteX4" fmla="*/ 1537395 w 1537395"/>
              <a:gd name="connsiteY4" fmla="*/ 161803 h 1241570"/>
              <a:gd name="connsiteX5" fmla="*/ 1537395 w 1537395"/>
              <a:gd name="connsiteY5" fmla="*/ 1079912 h 1241570"/>
              <a:gd name="connsiteX6" fmla="*/ 1375737 w 1537395"/>
              <a:gd name="connsiteY6" fmla="*/ 1241570 h 1241570"/>
              <a:gd name="connsiteX7" fmla="*/ 173466 w 1537395"/>
              <a:gd name="connsiteY7" fmla="*/ 1241570 h 1241570"/>
              <a:gd name="connsiteX8" fmla="*/ 11808 w 1537395"/>
              <a:gd name="connsiteY8" fmla="*/ 1079912 h 1241570"/>
              <a:gd name="connsiteX9" fmla="*/ 11808 w 1537395"/>
              <a:gd name="connsiteY9" fmla="*/ 161803 h 1241570"/>
              <a:gd name="connsiteX0" fmla="*/ 346 w 1525933"/>
              <a:gd name="connsiteY0" fmla="*/ 161803 h 1241570"/>
              <a:gd name="connsiteX1" fmla="*/ 862 w 1525933"/>
              <a:gd name="connsiteY1" fmla="*/ 0 h 1241570"/>
              <a:gd name="connsiteX2" fmla="*/ 162004 w 1525933"/>
              <a:gd name="connsiteY2" fmla="*/ 145 h 1241570"/>
              <a:gd name="connsiteX3" fmla="*/ 1364275 w 1525933"/>
              <a:gd name="connsiteY3" fmla="*/ 145 h 1241570"/>
              <a:gd name="connsiteX4" fmla="*/ 1525933 w 1525933"/>
              <a:gd name="connsiteY4" fmla="*/ 161803 h 1241570"/>
              <a:gd name="connsiteX5" fmla="*/ 1525933 w 1525933"/>
              <a:gd name="connsiteY5" fmla="*/ 1079912 h 1241570"/>
              <a:gd name="connsiteX6" fmla="*/ 1364275 w 1525933"/>
              <a:gd name="connsiteY6" fmla="*/ 1241570 h 1241570"/>
              <a:gd name="connsiteX7" fmla="*/ 162004 w 1525933"/>
              <a:gd name="connsiteY7" fmla="*/ 1241570 h 1241570"/>
              <a:gd name="connsiteX8" fmla="*/ 346 w 1525933"/>
              <a:gd name="connsiteY8" fmla="*/ 1079912 h 1241570"/>
              <a:gd name="connsiteX9" fmla="*/ 346 w 1525933"/>
              <a:gd name="connsiteY9" fmla="*/ 161803 h 1241570"/>
              <a:gd name="connsiteX0" fmla="*/ 872 w 1526459"/>
              <a:gd name="connsiteY0" fmla="*/ 161803 h 1241570"/>
              <a:gd name="connsiteX1" fmla="*/ 1388 w 1526459"/>
              <a:gd name="connsiteY1" fmla="*/ 0 h 1241570"/>
              <a:gd name="connsiteX2" fmla="*/ 162530 w 1526459"/>
              <a:gd name="connsiteY2" fmla="*/ 145 h 1241570"/>
              <a:gd name="connsiteX3" fmla="*/ 1364801 w 1526459"/>
              <a:gd name="connsiteY3" fmla="*/ 145 h 1241570"/>
              <a:gd name="connsiteX4" fmla="*/ 1526459 w 1526459"/>
              <a:gd name="connsiteY4" fmla="*/ 161803 h 1241570"/>
              <a:gd name="connsiteX5" fmla="*/ 1526459 w 1526459"/>
              <a:gd name="connsiteY5" fmla="*/ 1079912 h 1241570"/>
              <a:gd name="connsiteX6" fmla="*/ 1364801 w 1526459"/>
              <a:gd name="connsiteY6" fmla="*/ 1241570 h 1241570"/>
              <a:gd name="connsiteX7" fmla="*/ 162530 w 1526459"/>
              <a:gd name="connsiteY7" fmla="*/ 1241570 h 1241570"/>
              <a:gd name="connsiteX8" fmla="*/ 872 w 1526459"/>
              <a:gd name="connsiteY8" fmla="*/ 1079912 h 1241570"/>
              <a:gd name="connsiteX9" fmla="*/ 872 w 1526459"/>
              <a:gd name="connsiteY9" fmla="*/ 161803 h 1241570"/>
              <a:gd name="connsiteX0" fmla="*/ 470 w 1526057"/>
              <a:gd name="connsiteY0" fmla="*/ 161803 h 1241570"/>
              <a:gd name="connsiteX1" fmla="*/ 986 w 1526057"/>
              <a:gd name="connsiteY1" fmla="*/ 0 h 1241570"/>
              <a:gd name="connsiteX2" fmla="*/ 162128 w 1526057"/>
              <a:gd name="connsiteY2" fmla="*/ 145 h 1241570"/>
              <a:gd name="connsiteX3" fmla="*/ 1364399 w 1526057"/>
              <a:gd name="connsiteY3" fmla="*/ 145 h 1241570"/>
              <a:gd name="connsiteX4" fmla="*/ 1526057 w 1526057"/>
              <a:gd name="connsiteY4" fmla="*/ 161803 h 1241570"/>
              <a:gd name="connsiteX5" fmla="*/ 1526057 w 1526057"/>
              <a:gd name="connsiteY5" fmla="*/ 1079912 h 1241570"/>
              <a:gd name="connsiteX6" fmla="*/ 1364399 w 1526057"/>
              <a:gd name="connsiteY6" fmla="*/ 1241570 h 1241570"/>
              <a:gd name="connsiteX7" fmla="*/ 162128 w 1526057"/>
              <a:gd name="connsiteY7" fmla="*/ 1241570 h 1241570"/>
              <a:gd name="connsiteX8" fmla="*/ 470 w 1526057"/>
              <a:gd name="connsiteY8" fmla="*/ 1079912 h 1241570"/>
              <a:gd name="connsiteX9" fmla="*/ 470 w 1526057"/>
              <a:gd name="connsiteY9" fmla="*/ 161803 h 1241570"/>
              <a:gd name="connsiteX0" fmla="*/ 649 w 1526236"/>
              <a:gd name="connsiteY0" fmla="*/ 161803 h 1241570"/>
              <a:gd name="connsiteX1" fmla="*/ 1165 w 1526236"/>
              <a:gd name="connsiteY1" fmla="*/ 0 h 1241570"/>
              <a:gd name="connsiteX2" fmla="*/ 162307 w 1526236"/>
              <a:gd name="connsiteY2" fmla="*/ 145 h 1241570"/>
              <a:gd name="connsiteX3" fmla="*/ 1364578 w 1526236"/>
              <a:gd name="connsiteY3" fmla="*/ 145 h 1241570"/>
              <a:gd name="connsiteX4" fmla="*/ 1526236 w 1526236"/>
              <a:gd name="connsiteY4" fmla="*/ 161803 h 1241570"/>
              <a:gd name="connsiteX5" fmla="*/ 1526236 w 1526236"/>
              <a:gd name="connsiteY5" fmla="*/ 1079912 h 1241570"/>
              <a:gd name="connsiteX6" fmla="*/ 1364578 w 1526236"/>
              <a:gd name="connsiteY6" fmla="*/ 1241570 h 1241570"/>
              <a:gd name="connsiteX7" fmla="*/ 162307 w 1526236"/>
              <a:gd name="connsiteY7" fmla="*/ 1241570 h 1241570"/>
              <a:gd name="connsiteX8" fmla="*/ 649 w 1526236"/>
              <a:gd name="connsiteY8" fmla="*/ 1079912 h 1241570"/>
              <a:gd name="connsiteX9" fmla="*/ 649 w 1526236"/>
              <a:gd name="connsiteY9" fmla="*/ 161803 h 1241570"/>
              <a:gd name="connsiteX0" fmla="*/ 268 w 1525855"/>
              <a:gd name="connsiteY0" fmla="*/ 161803 h 1241570"/>
              <a:gd name="connsiteX1" fmla="*/ 784 w 1525855"/>
              <a:gd name="connsiteY1" fmla="*/ 0 h 1241570"/>
              <a:gd name="connsiteX2" fmla="*/ 161926 w 1525855"/>
              <a:gd name="connsiteY2" fmla="*/ 145 h 1241570"/>
              <a:gd name="connsiteX3" fmla="*/ 1364197 w 1525855"/>
              <a:gd name="connsiteY3" fmla="*/ 145 h 1241570"/>
              <a:gd name="connsiteX4" fmla="*/ 1525855 w 1525855"/>
              <a:gd name="connsiteY4" fmla="*/ 161803 h 1241570"/>
              <a:gd name="connsiteX5" fmla="*/ 1525855 w 1525855"/>
              <a:gd name="connsiteY5" fmla="*/ 1079912 h 1241570"/>
              <a:gd name="connsiteX6" fmla="*/ 1364197 w 1525855"/>
              <a:gd name="connsiteY6" fmla="*/ 1241570 h 1241570"/>
              <a:gd name="connsiteX7" fmla="*/ 161926 w 1525855"/>
              <a:gd name="connsiteY7" fmla="*/ 1241570 h 1241570"/>
              <a:gd name="connsiteX8" fmla="*/ 268 w 1525855"/>
              <a:gd name="connsiteY8" fmla="*/ 1079912 h 1241570"/>
              <a:gd name="connsiteX9" fmla="*/ 268 w 1525855"/>
              <a:gd name="connsiteY9" fmla="*/ 161803 h 1241570"/>
              <a:gd name="connsiteX0" fmla="*/ 359 w 1525946"/>
              <a:gd name="connsiteY0" fmla="*/ 161803 h 1241570"/>
              <a:gd name="connsiteX1" fmla="*/ 253 w 1525946"/>
              <a:gd name="connsiteY1" fmla="*/ 0 h 1241570"/>
              <a:gd name="connsiteX2" fmla="*/ 162017 w 1525946"/>
              <a:gd name="connsiteY2" fmla="*/ 145 h 1241570"/>
              <a:gd name="connsiteX3" fmla="*/ 1364288 w 1525946"/>
              <a:gd name="connsiteY3" fmla="*/ 145 h 1241570"/>
              <a:gd name="connsiteX4" fmla="*/ 1525946 w 1525946"/>
              <a:gd name="connsiteY4" fmla="*/ 161803 h 1241570"/>
              <a:gd name="connsiteX5" fmla="*/ 1525946 w 1525946"/>
              <a:gd name="connsiteY5" fmla="*/ 1079912 h 1241570"/>
              <a:gd name="connsiteX6" fmla="*/ 1364288 w 1525946"/>
              <a:gd name="connsiteY6" fmla="*/ 1241570 h 1241570"/>
              <a:gd name="connsiteX7" fmla="*/ 162017 w 1525946"/>
              <a:gd name="connsiteY7" fmla="*/ 1241570 h 1241570"/>
              <a:gd name="connsiteX8" fmla="*/ 359 w 1525946"/>
              <a:gd name="connsiteY8" fmla="*/ 1079912 h 1241570"/>
              <a:gd name="connsiteX9" fmla="*/ 359 w 1525946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364035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25693" h="1241570">
                <a:moveTo>
                  <a:pt x="106" y="161803"/>
                </a:moveTo>
                <a:cubicBezTo>
                  <a:pt x="-210" y="159620"/>
                  <a:pt x="409" y="7672"/>
                  <a:pt x="0" y="0"/>
                </a:cubicBezTo>
                <a:cubicBezTo>
                  <a:pt x="6219" y="388"/>
                  <a:pt x="110655" y="450"/>
                  <a:pt x="161764" y="145"/>
                </a:cubicBezTo>
                <a:lnTo>
                  <a:pt x="1364035" y="145"/>
                </a:lnTo>
                <a:cubicBezTo>
                  <a:pt x="1453316" y="145"/>
                  <a:pt x="1525693" y="72522"/>
                  <a:pt x="1525693" y="161803"/>
                </a:cubicBezTo>
                <a:lnTo>
                  <a:pt x="1525693" y="1079912"/>
                </a:lnTo>
                <a:cubicBezTo>
                  <a:pt x="1525693" y="1169193"/>
                  <a:pt x="1453316" y="1241570"/>
                  <a:pt x="1364035" y="1241570"/>
                </a:cubicBezTo>
                <a:lnTo>
                  <a:pt x="161764" y="1241570"/>
                </a:lnTo>
                <a:cubicBezTo>
                  <a:pt x="72483" y="1241570"/>
                  <a:pt x="106" y="1169193"/>
                  <a:pt x="106" y="1079912"/>
                </a:cubicBezTo>
                <a:lnTo>
                  <a:pt x="106" y="1618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144000" anchor="b"/>
          <a:lstStyle>
            <a:lvl1pPr marL="0" indent="0" algn="ctr">
              <a:buNone/>
              <a:defRPr sz="1117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nl-NL" noProof="0"/>
          </a:p>
        </p:txBody>
      </p:sp>
      <p:sp>
        <p:nvSpPr>
          <p:cNvPr id="158" name="Tijdelijke aanduiding voor afbeelding 6">
            <a:extLst>
              <a:ext uri="{FF2B5EF4-FFF2-40B4-BE49-F238E27FC236}">
                <a16:creationId xmlns:a16="http://schemas.microsoft.com/office/drawing/2014/main" id="{3BAEA7E3-4B93-482B-8197-4D73CC7255A6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1696825" y="21779713"/>
            <a:ext cx="5345251" cy="3931509"/>
          </a:xfrm>
          <a:custGeom>
            <a:avLst/>
            <a:gdLst>
              <a:gd name="connsiteX0" fmla="*/ 0 w 1525587"/>
              <a:gd name="connsiteY0" fmla="*/ 161658 h 1241425"/>
              <a:gd name="connsiteX1" fmla="*/ 161658 w 1525587"/>
              <a:gd name="connsiteY1" fmla="*/ 0 h 1241425"/>
              <a:gd name="connsiteX2" fmla="*/ 1363929 w 1525587"/>
              <a:gd name="connsiteY2" fmla="*/ 0 h 1241425"/>
              <a:gd name="connsiteX3" fmla="*/ 1525587 w 1525587"/>
              <a:gd name="connsiteY3" fmla="*/ 161658 h 1241425"/>
              <a:gd name="connsiteX4" fmla="*/ 1525587 w 1525587"/>
              <a:gd name="connsiteY4" fmla="*/ 1079767 h 1241425"/>
              <a:gd name="connsiteX5" fmla="*/ 1363929 w 1525587"/>
              <a:gd name="connsiteY5" fmla="*/ 1241425 h 1241425"/>
              <a:gd name="connsiteX6" fmla="*/ 161658 w 1525587"/>
              <a:gd name="connsiteY6" fmla="*/ 1241425 h 1241425"/>
              <a:gd name="connsiteX7" fmla="*/ 0 w 1525587"/>
              <a:gd name="connsiteY7" fmla="*/ 1079767 h 1241425"/>
              <a:gd name="connsiteX8" fmla="*/ 0 w 1525587"/>
              <a:gd name="connsiteY8" fmla="*/ 161658 h 1241425"/>
              <a:gd name="connsiteX0" fmla="*/ 0 w 1525587"/>
              <a:gd name="connsiteY0" fmla="*/ 161658 h 1241425"/>
              <a:gd name="connsiteX1" fmla="*/ 42862 w 1525587"/>
              <a:gd name="connsiteY1" fmla="*/ 48418 h 1241425"/>
              <a:gd name="connsiteX2" fmla="*/ 161658 w 1525587"/>
              <a:gd name="connsiteY2" fmla="*/ 0 h 1241425"/>
              <a:gd name="connsiteX3" fmla="*/ 1363929 w 1525587"/>
              <a:gd name="connsiteY3" fmla="*/ 0 h 1241425"/>
              <a:gd name="connsiteX4" fmla="*/ 1525587 w 1525587"/>
              <a:gd name="connsiteY4" fmla="*/ 161658 h 1241425"/>
              <a:gd name="connsiteX5" fmla="*/ 1525587 w 1525587"/>
              <a:gd name="connsiteY5" fmla="*/ 1079767 h 1241425"/>
              <a:gd name="connsiteX6" fmla="*/ 1363929 w 1525587"/>
              <a:gd name="connsiteY6" fmla="*/ 1241425 h 1241425"/>
              <a:gd name="connsiteX7" fmla="*/ 161658 w 1525587"/>
              <a:gd name="connsiteY7" fmla="*/ 1241425 h 1241425"/>
              <a:gd name="connsiteX8" fmla="*/ 0 w 1525587"/>
              <a:gd name="connsiteY8" fmla="*/ 1079767 h 1241425"/>
              <a:gd name="connsiteX9" fmla="*/ 0 w 1525587"/>
              <a:gd name="connsiteY9" fmla="*/ 161658 h 1241425"/>
              <a:gd name="connsiteX0" fmla="*/ 8672 w 1534259"/>
              <a:gd name="connsiteY0" fmla="*/ 165982 h 1245749"/>
              <a:gd name="connsiteX1" fmla="*/ 11053 w 1534259"/>
              <a:gd name="connsiteY1" fmla="*/ 12261 h 1245749"/>
              <a:gd name="connsiteX2" fmla="*/ 170330 w 1534259"/>
              <a:gd name="connsiteY2" fmla="*/ 4324 h 1245749"/>
              <a:gd name="connsiteX3" fmla="*/ 1372601 w 1534259"/>
              <a:gd name="connsiteY3" fmla="*/ 4324 h 1245749"/>
              <a:gd name="connsiteX4" fmla="*/ 1534259 w 1534259"/>
              <a:gd name="connsiteY4" fmla="*/ 165982 h 1245749"/>
              <a:gd name="connsiteX5" fmla="*/ 1534259 w 1534259"/>
              <a:gd name="connsiteY5" fmla="*/ 1084091 h 1245749"/>
              <a:gd name="connsiteX6" fmla="*/ 1372601 w 1534259"/>
              <a:gd name="connsiteY6" fmla="*/ 1245749 h 1245749"/>
              <a:gd name="connsiteX7" fmla="*/ 170330 w 1534259"/>
              <a:gd name="connsiteY7" fmla="*/ 1245749 h 1245749"/>
              <a:gd name="connsiteX8" fmla="*/ 8672 w 1534259"/>
              <a:gd name="connsiteY8" fmla="*/ 1084091 h 1245749"/>
              <a:gd name="connsiteX9" fmla="*/ 8672 w 1534259"/>
              <a:gd name="connsiteY9" fmla="*/ 165982 h 1245749"/>
              <a:gd name="connsiteX0" fmla="*/ 8672 w 1534259"/>
              <a:gd name="connsiteY0" fmla="*/ 167890 h 1247657"/>
              <a:gd name="connsiteX1" fmla="*/ 11053 w 1534259"/>
              <a:gd name="connsiteY1" fmla="*/ 14169 h 1247657"/>
              <a:gd name="connsiteX2" fmla="*/ 170330 w 1534259"/>
              <a:gd name="connsiteY2" fmla="*/ 6232 h 1247657"/>
              <a:gd name="connsiteX3" fmla="*/ 1372601 w 1534259"/>
              <a:gd name="connsiteY3" fmla="*/ 6232 h 1247657"/>
              <a:gd name="connsiteX4" fmla="*/ 1534259 w 1534259"/>
              <a:gd name="connsiteY4" fmla="*/ 167890 h 1247657"/>
              <a:gd name="connsiteX5" fmla="*/ 1534259 w 1534259"/>
              <a:gd name="connsiteY5" fmla="*/ 1085999 h 1247657"/>
              <a:gd name="connsiteX6" fmla="*/ 1372601 w 1534259"/>
              <a:gd name="connsiteY6" fmla="*/ 1247657 h 1247657"/>
              <a:gd name="connsiteX7" fmla="*/ 170330 w 1534259"/>
              <a:gd name="connsiteY7" fmla="*/ 1247657 h 1247657"/>
              <a:gd name="connsiteX8" fmla="*/ 8672 w 1534259"/>
              <a:gd name="connsiteY8" fmla="*/ 1085999 h 1247657"/>
              <a:gd name="connsiteX9" fmla="*/ 8672 w 1534259"/>
              <a:gd name="connsiteY9" fmla="*/ 167890 h 1247657"/>
              <a:gd name="connsiteX0" fmla="*/ 8672 w 1534259"/>
              <a:gd name="connsiteY0" fmla="*/ 161658 h 1241425"/>
              <a:gd name="connsiteX1" fmla="*/ 11053 w 1534259"/>
              <a:gd name="connsiteY1" fmla="*/ 7937 h 1241425"/>
              <a:gd name="connsiteX2" fmla="*/ 170330 w 1534259"/>
              <a:gd name="connsiteY2" fmla="*/ 0 h 1241425"/>
              <a:gd name="connsiteX3" fmla="*/ 1372601 w 1534259"/>
              <a:gd name="connsiteY3" fmla="*/ 0 h 1241425"/>
              <a:gd name="connsiteX4" fmla="*/ 1534259 w 1534259"/>
              <a:gd name="connsiteY4" fmla="*/ 161658 h 1241425"/>
              <a:gd name="connsiteX5" fmla="*/ 1534259 w 1534259"/>
              <a:gd name="connsiteY5" fmla="*/ 1079767 h 1241425"/>
              <a:gd name="connsiteX6" fmla="*/ 1372601 w 1534259"/>
              <a:gd name="connsiteY6" fmla="*/ 1241425 h 1241425"/>
              <a:gd name="connsiteX7" fmla="*/ 170330 w 1534259"/>
              <a:gd name="connsiteY7" fmla="*/ 1241425 h 1241425"/>
              <a:gd name="connsiteX8" fmla="*/ 8672 w 1534259"/>
              <a:gd name="connsiteY8" fmla="*/ 1079767 h 1241425"/>
              <a:gd name="connsiteX9" fmla="*/ 8672 w 1534259"/>
              <a:gd name="connsiteY9" fmla="*/ 161658 h 124142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3668 h 1243435"/>
              <a:gd name="connsiteX1" fmla="*/ 10644 w 1535715"/>
              <a:gd name="connsiteY1" fmla="*/ 0 h 1243435"/>
              <a:gd name="connsiteX2" fmla="*/ 171786 w 1535715"/>
              <a:gd name="connsiteY2" fmla="*/ 2010 h 1243435"/>
              <a:gd name="connsiteX3" fmla="*/ 1374057 w 1535715"/>
              <a:gd name="connsiteY3" fmla="*/ 2010 h 1243435"/>
              <a:gd name="connsiteX4" fmla="*/ 1535715 w 1535715"/>
              <a:gd name="connsiteY4" fmla="*/ 163668 h 1243435"/>
              <a:gd name="connsiteX5" fmla="*/ 1535715 w 1535715"/>
              <a:gd name="connsiteY5" fmla="*/ 1081777 h 1243435"/>
              <a:gd name="connsiteX6" fmla="*/ 1374057 w 1535715"/>
              <a:gd name="connsiteY6" fmla="*/ 1243435 h 1243435"/>
              <a:gd name="connsiteX7" fmla="*/ 171786 w 1535715"/>
              <a:gd name="connsiteY7" fmla="*/ 1243435 h 1243435"/>
              <a:gd name="connsiteX8" fmla="*/ 10128 w 1535715"/>
              <a:gd name="connsiteY8" fmla="*/ 1081777 h 1243435"/>
              <a:gd name="connsiteX9" fmla="*/ 10128 w 1535715"/>
              <a:gd name="connsiteY9" fmla="*/ 163668 h 124343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1808 w 1537395"/>
              <a:gd name="connsiteY0" fmla="*/ 161803 h 1241570"/>
              <a:gd name="connsiteX1" fmla="*/ 12324 w 1537395"/>
              <a:gd name="connsiteY1" fmla="*/ 0 h 1241570"/>
              <a:gd name="connsiteX2" fmla="*/ 173466 w 1537395"/>
              <a:gd name="connsiteY2" fmla="*/ 145 h 1241570"/>
              <a:gd name="connsiteX3" fmla="*/ 1375737 w 1537395"/>
              <a:gd name="connsiteY3" fmla="*/ 145 h 1241570"/>
              <a:gd name="connsiteX4" fmla="*/ 1537395 w 1537395"/>
              <a:gd name="connsiteY4" fmla="*/ 161803 h 1241570"/>
              <a:gd name="connsiteX5" fmla="*/ 1537395 w 1537395"/>
              <a:gd name="connsiteY5" fmla="*/ 1079912 h 1241570"/>
              <a:gd name="connsiteX6" fmla="*/ 1375737 w 1537395"/>
              <a:gd name="connsiteY6" fmla="*/ 1241570 h 1241570"/>
              <a:gd name="connsiteX7" fmla="*/ 173466 w 1537395"/>
              <a:gd name="connsiteY7" fmla="*/ 1241570 h 1241570"/>
              <a:gd name="connsiteX8" fmla="*/ 11808 w 1537395"/>
              <a:gd name="connsiteY8" fmla="*/ 1079912 h 1241570"/>
              <a:gd name="connsiteX9" fmla="*/ 11808 w 1537395"/>
              <a:gd name="connsiteY9" fmla="*/ 161803 h 1241570"/>
              <a:gd name="connsiteX0" fmla="*/ 346 w 1525933"/>
              <a:gd name="connsiteY0" fmla="*/ 161803 h 1241570"/>
              <a:gd name="connsiteX1" fmla="*/ 862 w 1525933"/>
              <a:gd name="connsiteY1" fmla="*/ 0 h 1241570"/>
              <a:gd name="connsiteX2" fmla="*/ 162004 w 1525933"/>
              <a:gd name="connsiteY2" fmla="*/ 145 h 1241570"/>
              <a:gd name="connsiteX3" fmla="*/ 1364275 w 1525933"/>
              <a:gd name="connsiteY3" fmla="*/ 145 h 1241570"/>
              <a:gd name="connsiteX4" fmla="*/ 1525933 w 1525933"/>
              <a:gd name="connsiteY4" fmla="*/ 161803 h 1241570"/>
              <a:gd name="connsiteX5" fmla="*/ 1525933 w 1525933"/>
              <a:gd name="connsiteY5" fmla="*/ 1079912 h 1241570"/>
              <a:gd name="connsiteX6" fmla="*/ 1364275 w 1525933"/>
              <a:gd name="connsiteY6" fmla="*/ 1241570 h 1241570"/>
              <a:gd name="connsiteX7" fmla="*/ 162004 w 1525933"/>
              <a:gd name="connsiteY7" fmla="*/ 1241570 h 1241570"/>
              <a:gd name="connsiteX8" fmla="*/ 346 w 1525933"/>
              <a:gd name="connsiteY8" fmla="*/ 1079912 h 1241570"/>
              <a:gd name="connsiteX9" fmla="*/ 346 w 1525933"/>
              <a:gd name="connsiteY9" fmla="*/ 161803 h 1241570"/>
              <a:gd name="connsiteX0" fmla="*/ 872 w 1526459"/>
              <a:gd name="connsiteY0" fmla="*/ 161803 h 1241570"/>
              <a:gd name="connsiteX1" fmla="*/ 1388 w 1526459"/>
              <a:gd name="connsiteY1" fmla="*/ 0 h 1241570"/>
              <a:gd name="connsiteX2" fmla="*/ 162530 w 1526459"/>
              <a:gd name="connsiteY2" fmla="*/ 145 h 1241570"/>
              <a:gd name="connsiteX3" fmla="*/ 1364801 w 1526459"/>
              <a:gd name="connsiteY3" fmla="*/ 145 h 1241570"/>
              <a:gd name="connsiteX4" fmla="*/ 1526459 w 1526459"/>
              <a:gd name="connsiteY4" fmla="*/ 161803 h 1241570"/>
              <a:gd name="connsiteX5" fmla="*/ 1526459 w 1526459"/>
              <a:gd name="connsiteY5" fmla="*/ 1079912 h 1241570"/>
              <a:gd name="connsiteX6" fmla="*/ 1364801 w 1526459"/>
              <a:gd name="connsiteY6" fmla="*/ 1241570 h 1241570"/>
              <a:gd name="connsiteX7" fmla="*/ 162530 w 1526459"/>
              <a:gd name="connsiteY7" fmla="*/ 1241570 h 1241570"/>
              <a:gd name="connsiteX8" fmla="*/ 872 w 1526459"/>
              <a:gd name="connsiteY8" fmla="*/ 1079912 h 1241570"/>
              <a:gd name="connsiteX9" fmla="*/ 872 w 1526459"/>
              <a:gd name="connsiteY9" fmla="*/ 161803 h 1241570"/>
              <a:gd name="connsiteX0" fmla="*/ 470 w 1526057"/>
              <a:gd name="connsiteY0" fmla="*/ 161803 h 1241570"/>
              <a:gd name="connsiteX1" fmla="*/ 986 w 1526057"/>
              <a:gd name="connsiteY1" fmla="*/ 0 h 1241570"/>
              <a:gd name="connsiteX2" fmla="*/ 162128 w 1526057"/>
              <a:gd name="connsiteY2" fmla="*/ 145 h 1241570"/>
              <a:gd name="connsiteX3" fmla="*/ 1364399 w 1526057"/>
              <a:gd name="connsiteY3" fmla="*/ 145 h 1241570"/>
              <a:gd name="connsiteX4" fmla="*/ 1526057 w 1526057"/>
              <a:gd name="connsiteY4" fmla="*/ 161803 h 1241570"/>
              <a:gd name="connsiteX5" fmla="*/ 1526057 w 1526057"/>
              <a:gd name="connsiteY5" fmla="*/ 1079912 h 1241570"/>
              <a:gd name="connsiteX6" fmla="*/ 1364399 w 1526057"/>
              <a:gd name="connsiteY6" fmla="*/ 1241570 h 1241570"/>
              <a:gd name="connsiteX7" fmla="*/ 162128 w 1526057"/>
              <a:gd name="connsiteY7" fmla="*/ 1241570 h 1241570"/>
              <a:gd name="connsiteX8" fmla="*/ 470 w 1526057"/>
              <a:gd name="connsiteY8" fmla="*/ 1079912 h 1241570"/>
              <a:gd name="connsiteX9" fmla="*/ 470 w 1526057"/>
              <a:gd name="connsiteY9" fmla="*/ 161803 h 1241570"/>
              <a:gd name="connsiteX0" fmla="*/ 649 w 1526236"/>
              <a:gd name="connsiteY0" fmla="*/ 161803 h 1241570"/>
              <a:gd name="connsiteX1" fmla="*/ 1165 w 1526236"/>
              <a:gd name="connsiteY1" fmla="*/ 0 h 1241570"/>
              <a:gd name="connsiteX2" fmla="*/ 162307 w 1526236"/>
              <a:gd name="connsiteY2" fmla="*/ 145 h 1241570"/>
              <a:gd name="connsiteX3" fmla="*/ 1364578 w 1526236"/>
              <a:gd name="connsiteY3" fmla="*/ 145 h 1241570"/>
              <a:gd name="connsiteX4" fmla="*/ 1526236 w 1526236"/>
              <a:gd name="connsiteY4" fmla="*/ 161803 h 1241570"/>
              <a:gd name="connsiteX5" fmla="*/ 1526236 w 1526236"/>
              <a:gd name="connsiteY5" fmla="*/ 1079912 h 1241570"/>
              <a:gd name="connsiteX6" fmla="*/ 1364578 w 1526236"/>
              <a:gd name="connsiteY6" fmla="*/ 1241570 h 1241570"/>
              <a:gd name="connsiteX7" fmla="*/ 162307 w 1526236"/>
              <a:gd name="connsiteY7" fmla="*/ 1241570 h 1241570"/>
              <a:gd name="connsiteX8" fmla="*/ 649 w 1526236"/>
              <a:gd name="connsiteY8" fmla="*/ 1079912 h 1241570"/>
              <a:gd name="connsiteX9" fmla="*/ 649 w 1526236"/>
              <a:gd name="connsiteY9" fmla="*/ 161803 h 1241570"/>
              <a:gd name="connsiteX0" fmla="*/ 268 w 1525855"/>
              <a:gd name="connsiteY0" fmla="*/ 161803 h 1241570"/>
              <a:gd name="connsiteX1" fmla="*/ 784 w 1525855"/>
              <a:gd name="connsiteY1" fmla="*/ 0 h 1241570"/>
              <a:gd name="connsiteX2" fmla="*/ 161926 w 1525855"/>
              <a:gd name="connsiteY2" fmla="*/ 145 h 1241570"/>
              <a:gd name="connsiteX3" fmla="*/ 1364197 w 1525855"/>
              <a:gd name="connsiteY3" fmla="*/ 145 h 1241570"/>
              <a:gd name="connsiteX4" fmla="*/ 1525855 w 1525855"/>
              <a:gd name="connsiteY4" fmla="*/ 161803 h 1241570"/>
              <a:gd name="connsiteX5" fmla="*/ 1525855 w 1525855"/>
              <a:gd name="connsiteY5" fmla="*/ 1079912 h 1241570"/>
              <a:gd name="connsiteX6" fmla="*/ 1364197 w 1525855"/>
              <a:gd name="connsiteY6" fmla="*/ 1241570 h 1241570"/>
              <a:gd name="connsiteX7" fmla="*/ 161926 w 1525855"/>
              <a:gd name="connsiteY7" fmla="*/ 1241570 h 1241570"/>
              <a:gd name="connsiteX8" fmla="*/ 268 w 1525855"/>
              <a:gd name="connsiteY8" fmla="*/ 1079912 h 1241570"/>
              <a:gd name="connsiteX9" fmla="*/ 268 w 1525855"/>
              <a:gd name="connsiteY9" fmla="*/ 161803 h 1241570"/>
              <a:gd name="connsiteX0" fmla="*/ 359 w 1525946"/>
              <a:gd name="connsiteY0" fmla="*/ 161803 h 1241570"/>
              <a:gd name="connsiteX1" fmla="*/ 253 w 1525946"/>
              <a:gd name="connsiteY1" fmla="*/ 0 h 1241570"/>
              <a:gd name="connsiteX2" fmla="*/ 162017 w 1525946"/>
              <a:gd name="connsiteY2" fmla="*/ 145 h 1241570"/>
              <a:gd name="connsiteX3" fmla="*/ 1364288 w 1525946"/>
              <a:gd name="connsiteY3" fmla="*/ 145 h 1241570"/>
              <a:gd name="connsiteX4" fmla="*/ 1525946 w 1525946"/>
              <a:gd name="connsiteY4" fmla="*/ 161803 h 1241570"/>
              <a:gd name="connsiteX5" fmla="*/ 1525946 w 1525946"/>
              <a:gd name="connsiteY5" fmla="*/ 1079912 h 1241570"/>
              <a:gd name="connsiteX6" fmla="*/ 1364288 w 1525946"/>
              <a:gd name="connsiteY6" fmla="*/ 1241570 h 1241570"/>
              <a:gd name="connsiteX7" fmla="*/ 162017 w 1525946"/>
              <a:gd name="connsiteY7" fmla="*/ 1241570 h 1241570"/>
              <a:gd name="connsiteX8" fmla="*/ 359 w 1525946"/>
              <a:gd name="connsiteY8" fmla="*/ 1079912 h 1241570"/>
              <a:gd name="connsiteX9" fmla="*/ 359 w 1525946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364035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25693" h="1241570">
                <a:moveTo>
                  <a:pt x="106" y="161803"/>
                </a:moveTo>
                <a:cubicBezTo>
                  <a:pt x="-210" y="159620"/>
                  <a:pt x="409" y="7672"/>
                  <a:pt x="0" y="0"/>
                </a:cubicBezTo>
                <a:cubicBezTo>
                  <a:pt x="6219" y="388"/>
                  <a:pt x="110655" y="450"/>
                  <a:pt x="161764" y="145"/>
                </a:cubicBezTo>
                <a:lnTo>
                  <a:pt x="1364035" y="145"/>
                </a:lnTo>
                <a:cubicBezTo>
                  <a:pt x="1453316" y="145"/>
                  <a:pt x="1525693" y="72522"/>
                  <a:pt x="1525693" y="161803"/>
                </a:cubicBezTo>
                <a:lnTo>
                  <a:pt x="1525693" y="1079912"/>
                </a:lnTo>
                <a:cubicBezTo>
                  <a:pt x="1525693" y="1169193"/>
                  <a:pt x="1453316" y="1241570"/>
                  <a:pt x="1364035" y="1241570"/>
                </a:cubicBezTo>
                <a:lnTo>
                  <a:pt x="161764" y="1241570"/>
                </a:lnTo>
                <a:cubicBezTo>
                  <a:pt x="72483" y="1241570"/>
                  <a:pt x="106" y="1169193"/>
                  <a:pt x="106" y="1079912"/>
                </a:cubicBezTo>
                <a:lnTo>
                  <a:pt x="106" y="1618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144000" anchor="b"/>
          <a:lstStyle>
            <a:lvl1pPr marL="0" indent="0" algn="ctr">
              <a:buNone/>
              <a:defRPr sz="1117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nl-NL" noProof="0"/>
          </a:p>
        </p:txBody>
      </p:sp>
      <p:sp>
        <p:nvSpPr>
          <p:cNvPr id="162" name="Tijdelijke aanduiding voor tekst 2">
            <a:extLst>
              <a:ext uri="{FF2B5EF4-FFF2-40B4-BE49-F238E27FC236}">
                <a16:creationId xmlns:a16="http://schemas.microsoft.com/office/drawing/2014/main" id="{7261898A-F5A9-4EF3-AA75-53FC19067F1D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533805" y="11466944"/>
            <a:ext cx="26489660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127721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77" b="1">
                <a:solidFill>
                  <a:schemeClr val="bg2"/>
                </a:solidFill>
              </a:defRPr>
            </a:lvl1pPr>
            <a:lvl2pPr marL="0" indent="0">
              <a:buNone/>
              <a:defRPr sz="1677"/>
            </a:lvl2pPr>
            <a:lvl3pPr>
              <a:defRPr sz="1677"/>
            </a:lvl3pPr>
            <a:lvl4pPr>
              <a:defRPr sz="1677"/>
            </a:lvl4pPr>
            <a:lvl5pPr>
              <a:defRPr sz="1677">
                <a:solidFill>
                  <a:schemeClr val="bg2"/>
                </a:solidFill>
              </a:defRPr>
            </a:lvl5pPr>
          </a:lstStyle>
          <a:p>
            <a:pPr marL="0" marR="0" lvl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64" name="Tijdelijke aanduiding voor tekst 2">
            <a:extLst>
              <a:ext uri="{FF2B5EF4-FFF2-40B4-BE49-F238E27FC236}">
                <a16:creationId xmlns:a16="http://schemas.microsoft.com/office/drawing/2014/main" id="{F3B45119-1F04-468E-9C06-CB3EFB775B3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533805" y="16623328"/>
            <a:ext cx="26489660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127721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77" b="1">
                <a:solidFill>
                  <a:schemeClr val="bg2"/>
                </a:solidFill>
              </a:defRPr>
            </a:lvl1pPr>
            <a:lvl2pPr marL="0" indent="0">
              <a:buNone/>
              <a:defRPr sz="1677"/>
            </a:lvl2pPr>
            <a:lvl3pPr>
              <a:defRPr sz="1677"/>
            </a:lvl3pPr>
            <a:lvl4pPr>
              <a:defRPr sz="1677"/>
            </a:lvl4pPr>
            <a:lvl5pPr>
              <a:defRPr sz="1677">
                <a:solidFill>
                  <a:schemeClr val="bg2"/>
                </a:solidFill>
              </a:defRPr>
            </a:lvl5pPr>
          </a:lstStyle>
          <a:p>
            <a:pPr marL="0" marR="0" lvl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66" name="Tijdelijke aanduiding voor tekst 2">
            <a:extLst>
              <a:ext uri="{FF2B5EF4-FFF2-40B4-BE49-F238E27FC236}">
                <a16:creationId xmlns:a16="http://schemas.microsoft.com/office/drawing/2014/main" id="{853D7205-234D-4794-8AC8-B9710AD7AFF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533805" y="21779707"/>
            <a:ext cx="26489660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127721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77" b="1">
                <a:solidFill>
                  <a:schemeClr val="bg2"/>
                </a:solidFill>
              </a:defRPr>
            </a:lvl1pPr>
            <a:lvl2pPr marL="0" indent="0">
              <a:buNone/>
              <a:defRPr sz="1677"/>
            </a:lvl2pPr>
            <a:lvl3pPr>
              <a:defRPr sz="1677"/>
            </a:lvl3pPr>
            <a:lvl4pPr>
              <a:defRPr sz="1677"/>
            </a:lvl4pPr>
            <a:lvl5pPr>
              <a:defRPr sz="1677">
                <a:solidFill>
                  <a:schemeClr val="bg2"/>
                </a:solidFill>
              </a:defRPr>
            </a:lvl5pPr>
          </a:lstStyle>
          <a:p>
            <a:pPr marL="0" marR="0" lvl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grpSp>
        <p:nvGrpSpPr>
          <p:cNvPr id="24" name="Groep 77">
            <a:extLst>
              <a:ext uri="{FF2B5EF4-FFF2-40B4-BE49-F238E27FC236}">
                <a16:creationId xmlns:a16="http://schemas.microsoft.com/office/drawing/2014/main" id="{97085740-5F50-441B-B286-975E7F784D6E}"/>
              </a:ext>
            </a:extLst>
          </p:cNvPr>
          <p:cNvGrpSpPr/>
          <p:nvPr userDrawn="1"/>
        </p:nvGrpSpPr>
        <p:grpSpPr>
          <a:xfrm>
            <a:off x="43467426" y="0"/>
            <a:ext cx="13065545" cy="24210248"/>
            <a:chOff x="12391601" y="0"/>
            <a:chExt cx="3724699" cy="5484152"/>
          </a:xfrm>
        </p:grpSpPr>
        <p:sp>
          <p:nvSpPr>
            <p:cNvPr id="25" name="Rechthoek 78">
              <a:extLst>
                <a:ext uri="{FF2B5EF4-FFF2-40B4-BE49-F238E27FC236}">
                  <a16:creationId xmlns:a16="http://schemas.microsoft.com/office/drawing/2014/main" id="{08EE0EE7-9CBB-488C-A4A8-96FE315124EF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1277217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957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26" name="Ovaal 79">
              <a:extLst>
                <a:ext uri="{FF2B5EF4-FFF2-40B4-BE49-F238E27FC236}">
                  <a16:creationId xmlns:a16="http://schemas.microsoft.com/office/drawing/2014/main" id="{0309621B-3B70-4DB4-A0AC-3D08C1083917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7" name="Rechte verbindingslijn 80">
              <a:extLst>
                <a:ext uri="{FF2B5EF4-FFF2-40B4-BE49-F238E27FC236}">
                  <a16:creationId xmlns:a16="http://schemas.microsoft.com/office/drawing/2014/main" id="{595A5195-F77B-485F-B4B4-3B6693483EE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8" name="Rechte verbindingslijn 81">
              <a:extLst>
                <a:ext uri="{FF2B5EF4-FFF2-40B4-BE49-F238E27FC236}">
                  <a16:creationId xmlns:a16="http://schemas.microsoft.com/office/drawing/2014/main" id="{6E5EB08F-4D86-4B67-A2B6-51A9381697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0" name="Rechthoek 82">
              <a:extLst>
                <a:ext uri="{FF2B5EF4-FFF2-40B4-BE49-F238E27FC236}">
                  <a16:creationId xmlns:a16="http://schemas.microsoft.com/office/drawing/2014/main" id="{E2C07AA5-114A-4766-A4E1-D90863BC3CC0}"/>
                </a:ext>
              </a:extLst>
            </p:cNvPr>
            <p:cNvSpPr/>
            <p:nvPr userDrawn="1"/>
          </p:nvSpPr>
          <p:spPr>
            <a:xfrm>
              <a:off x="12757282" y="432552"/>
              <a:ext cx="335901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1277217" eaLnBrk="1" fontAlgn="auto" latinLnBrk="0" hangingPunct="1">
                <a:lnSpc>
                  <a:spcPct val="90000"/>
                </a:lnSpc>
                <a:spcBef>
                  <a:spcPts val="839"/>
                </a:spcBef>
                <a:spcAft>
                  <a:spcPts val="839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</a:t>
              </a:r>
              <a:b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fbeelding door deze te selecteren en op de </a:t>
              </a:r>
              <a:b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</a:t>
              </a:r>
              <a:b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m een nieuwe afbeelding in te voegen. </a:t>
              </a:r>
              <a:b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537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153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2" name="Ovaal 83">
              <a:extLst>
                <a:ext uri="{FF2B5EF4-FFF2-40B4-BE49-F238E27FC236}">
                  <a16:creationId xmlns:a16="http://schemas.microsoft.com/office/drawing/2014/main" id="{782FAFD6-0BC4-435A-BCDA-061DC4F9A15A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4" name="Rechthoek 84">
              <a:extLst>
                <a:ext uri="{FF2B5EF4-FFF2-40B4-BE49-F238E27FC236}">
                  <a16:creationId xmlns:a16="http://schemas.microsoft.com/office/drawing/2014/main" id="{F5C62566-713C-4226-AACA-50F6D0A41CA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1277217" eaLnBrk="1" fontAlgn="auto" latinLnBrk="0" hangingPunct="1">
                <a:lnSpc>
                  <a:spcPct val="90000"/>
                </a:lnSpc>
                <a:spcBef>
                  <a:spcPts val="839"/>
                </a:spcBef>
                <a:spcAft>
                  <a:spcPts val="839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537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" name="Groep 85">
              <a:extLst>
                <a:ext uri="{FF2B5EF4-FFF2-40B4-BE49-F238E27FC236}">
                  <a16:creationId xmlns:a16="http://schemas.microsoft.com/office/drawing/2014/main" id="{14699E00-C5BC-43D9-9335-55B37C71E20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79" name="Rechthoek 119">
                <a:extLst>
                  <a:ext uri="{FF2B5EF4-FFF2-40B4-BE49-F238E27FC236}">
                    <a16:creationId xmlns:a16="http://schemas.microsoft.com/office/drawing/2014/main" id="{DC26D3FF-0D90-4A96-AD14-03C81F0DDA3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839"/>
                  </a:spcBef>
                  <a:spcAft>
                    <a:spcPts val="839"/>
                  </a:spcAft>
                </a:pPr>
                <a:r>
                  <a:rPr lang="nl-NL" sz="1117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80" name="Rechte verbindingslijn 120">
                <a:extLst>
                  <a:ext uri="{FF2B5EF4-FFF2-40B4-BE49-F238E27FC236}">
                    <a16:creationId xmlns:a16="http://schemas.microsoft.com/office/drawing/2014/main" id="{B07AFEE0-AAEB-4E58-9520-DCC13CFF98D1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81" name="Gelijkbenige driehoek 121">
                <a:extLst>
                  <a:ext uri="{FF2B5EF4-FFF2-40B4-BE49-F238E27FC236}">
                    <a16:creationId xmlns:a16="http://schemas.microsoft.com/office/drawing/2014/main" id="{B8C0303C-7A51-47C7-9AE7-D2F526F7C44C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398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6" name="Groep 86">
              <a:extLst>
                <a:ext uri="{FF2B5EF4-FFF2-40B4-BE49-F238E27FC236}">
                  <a16:creationId xmlns:a16="http://schemas.microsoft.com/office/drawing/2014/main" id="{5F8AD94C-7B9A-41A1-A702-7D82678117A5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73" name="Rechthoek 113">
                <a:extLst>
                  <a:ext uri="{FF2B5EF4-FFF2-40B4-BE49-F238E27FC236}">
                    <a16:creationId xmlns:a16="http://schemas.microsoft.com/office/drawing/2014/main" id="{346E73AA-9BD9-49B7-931F-EA7954EFD721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839"/>
                  </a:spcBef>
                  <a:spcAft>
                    <a:spcPts val="839"/>
                  </a:spcAft>
                </a:pPr>
                <a:endParaRPr lang="nl-NL" sz="1117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4" name="Ovaal 114">
                <a:extLst>
                  <a:ext uri="{FF2B5EF4-FFF2-40B4-BE49-F238E27FC236}">
                    <a16:creationId xmlns:a16="http://schemas.microsoft.com/office/drawing/2014/main" id="{F5CCB8D1-7824-4B2D-910C-C50602CD114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398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75" name="Vrije vorm: vorm 115">
                <a:extLst>
                  <a:ext uri="{FF2B5EF4-FFF2-40B4-BE49-F238E27FC236}">
                    <a16:creationId xmlns:a16="http://schemas.microsoft.com/office/drawing/2014/main" id="{D0E0CB0D-C57F-4504-B2B5-566C1025F1D6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398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76" name="Rechthoek: afgeronde hoeken 116">
                <a:extLst>
                  <a:ext uri="{FF2B5EF4-FFF2-40B4-BE49-F238E27FC236}">
                    <a16:creationId xmlns:a16="http://schemas.microsoft.com/office/drawing/2014/main" id="{79BE821C-E8A0-4E96-A63D-01EBCE8C737C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839"/>
                  </a:spcBef>
                  <a:spcAft>
                    <a:spcPts val="839"/>
                  </a:spcAft>
                </a:pPr>
                <a:endParaRPr lang="nl-NL" sz="1117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77" name="Rechte verbindingslijn 117">
                <a:extLst>
                  <a:ext uri="{FF2B5EF4-FFF2-40B4-BE49-F238E27FC236}">
                    <a16:creationId xmlns:a16="http://schemas.microsoft.com/office/drawing/2014/main" id="{DB12E892-8189-40EF-8A85-6A7EA311AAC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8" name="Rechte verbindingslijn 118">
                <a:extLst>
                  <a:ext uri="{FF2B5EF4-FFF2-40B4-BE49-F238E27FC236}">
                    <a16:creationId xmlns:a16="http://schemas.microsoft.com/office/drawing/2014/main" id="{31F44D82-3E86-49D6-AC54-94C660393E13}"/>
                  </a:ext>
                </a:extLst>
              </p:cNvPr>
              <p:cNvCxnSpPr>
                <a:cxnSpLocks/>
                <a:stCxn id="76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grpSp>
          <p:nvGrpSpPr>
            <p:cNvPr id="37" name="Groep 87">
              <a:extLst>
                <a:ext uri="{FF2B5EF4-FFF2-40B4-BE49-F238E27FC236}">
                  <a16:creationId xmlns:a16="http://schemas.microsoft.com/office/drawing/2014/main" id="{0092F181-8B0B-4A97-A26C-F195E4E82FC5}"/>
                </a:ext>
              </a:extLst>
            </p:cNvPr>
            <p:cNvGrpSpPr/>
            <p:nvPr userDrawn="1"/>
          </p:nvGrpSpPr>
          <p:grpSpPr>
            <a:xfrm>
              <a:off x="12391601" y="2643684"/>
              <a:ext cx="3183678" cy="2840468"/>
              <a:chOff x="12952763" y="4572241"/>
              <a:chExt cx="3183678" cy="2840468"/>
            </a:xfrm>
          </p:grpSpPr>
          <p:grpSp>
            <p:nvGrpSpPr>
              <p:cNvPr id="48" name="Meer informatie">
                <a:extLst>
                  <a:ext uri="{FF2B5EF4-FFF2-40B4-BE49-F238E27FC236}">
                    <a16:creationId xmlns:a16="http://schemas.microsoft.com/office/drawing/2014/main" id="{46F47CC9-3339-49C1-A35A-6D0DCFEDE159}"/>
                  </a:ext>
                </a:extLst>
              </p:cNvPr>
              <p:cNvGrpSpPr/>
              <p:nvPr userDrawn="1"/>
            </p:nvGrpSpPr>
            <p:grpSpPr>
              <a:xfrm>
                <a:off x="12957926" y="6629436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70" name="Freeform 101">
                  <a:extLst>
                    <a:ext uri="{FF2B5EF4-FFF2-40B4-BE49-F238E27FC236}">
                      <a16:creationId xmlns:a16="http://schemas.microsoft.com/office/drawing/2014/main" id="{4F3B90D8-5C83-46BB-8442-9E859CC6612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537" noProof="0"/>
                </a:p>
              </p:txBody>
            </p:sp>
            <p:sp>
              <p:nvSpPr>
                <p:cNvPr id="71" name="Rechthoek 111">
                  <a:extLst>
                    <a:ext uri="{FF2B5EF4-FFF2-40B4-BE49-F238E27FC236}">
                      <a16:creationId xmlns:a16="http://schemas.microsoft.com/office/drawing/2014/main" id="{CDE70456-41E5-4DFC-8129-A3083862E9BC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1277217" eaLnBrk="1" fontAlgn="auto" latinLnBrk="0" hangingPunct="1">
                    <a:lnSpc>
                      <a:spcPct val="90000"/>
                    </a:lnSpc>
                    <a:spcBef>
                      <a:spcPts val="839"/>
                    </a:spcBef>
                    <a:spcAft>
                      <a:spcPts val="839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l-NL" sz="1537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Meer weten?</a:t>
                  </a:r>
                  <a:br>
                    <a:rPr kumimoji="0" lang="nl-NL" sz="1537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nl-NL" sz="1537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a naar dia </a:t>
                  </a:r>
                  <a:r>
                    <a:rPr kumimoji="0" lang="nl-NL" sz="1537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´Instructie dia: YouTube links´</a:t>
                  </a:r>
                  <a:r>
                    <a:rPr kumimoji="0" lang="nl-NL" sz="1537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deze in de diavoorstelling en klik op de gewenste video link.</a:t>
                  </a:r>
                </a:p>
              </p:txBody>
            </p:sp>
            <p:cxnSp>
              <p:nvCxnSpPr>
                <p:cNvPr id="72" name="Rechte verbindingslijn 112">
                  <a:extLst>
                    <a:ext uri="{FF2B5EF4-FFF2-40B4-BE49-F238E27FC236}">
                      <a16:creationId xmlns:a16="http://schemas.microsoft.com/office/drawing/2014/main" id="{99B0A9B0-D1F7-4E95-8F97-310800A65B4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49" name="Rechte verbindingslijn 89">
                <a:extLst>
                  <a:ext uri="{FF2B5EF4-FFF2-40B4-BE49-F238E27FC236}">
                    <a16:creationId xmlns:a16="http://schemas.microsoft.com/office/drawing/2014/main" id="{86A165B8-B7D0-4A07-BE9E-63819DD6249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958423" y="651155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50" name="Ovaal 90">
                <a:extLst>
                  <a:ext uri="{FF2B5EF4-FFF2-40B4-BE49-F238E27FC236}">
                    <a16:creationId xmlns:a16="http://schemas.microsoft.com/office/drawing/2014/main" id="{A5DEFE7F-75A6-4682-819F-443D4E4C7CFA}"/>
                  </a:ext>
                </a:extLst>
              </p:cNvPr>
              <p:cNvSpPr/>
              <p:nvPr userDrawn="1"/>
            </p:nvSpPr>
            <p:spPr>
              <a:xfrm>
                <a:off x="12952763" y="4690403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7721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537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1" name="Rechthoek 91">
                <a:extLst>
                  <a:ext uri="{FF2B5EF4-FFF2-40B4-BE49-F238E27FC236}">
                    <a16:creationId xmlns:a16="http://schemas.microsoft.com/office/drawing/2014/main" id="{59151D17-0759-43DE-AF90-3529903D9EB5}"/>
                  </a:ext>
                </a:extLst>
              </p:cNvPr>
              <p:cNvSpPr/>
              <p:nvPr userDrawn="1"/>
            </p:nvSpPr>
            <p:spPr>
              <a:xfrm>
                <a:off x="13318445" y="4756466"/>
                <a:ext cx="2817996" cy="887319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1277217" eaLnBrk="1" fontAlgn="auto" latinLnBrk="0" hangingPunct="1">
                  <a:lnSpc>
                    <a:spcPct val="90000"/>
                  </a:lnSpc>
                  <a:spcBef>
                    <a:spcPts val="839"/>
                  </a:spcBef>
                  <a:spcAft>
                    <a:spcPts val="839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1537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Om de afbeelding te schalen of bij te snijden, ga naar de tab </a:t>
                </a:r>
                <a:r>
                  <a:rPr kumimoji="0" lang="nl-NL" sz="1537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Hulpmiddelen voor afbeeldingen - Opmaak´</a:t>
                </a:r>
                <a:r>
                  <a:rPr kumimoji="0" lang="nl-NL" sz="1537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 en klik op de knop </a:t>
                </a:r>
                <a:r>
                  <a:rPr kumimoji="0" lang="nl-NL" sz="1537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Bijsnijden´</a:t>
                </a:r>
                <a:r>
                  <a:rPr kumimoji="0" lang="nl-NL" sz="1537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Schaal met de bolletjes de afbeelding en met de hoekjes het afbeeldingskader.</a:t>
                </a:r>
                <a:endPara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52" name="Rechte verbindingslijn 92">
                <a:extLst>
                  <a:ext uri="{FF2B5EF4-FFF2-40B4-BE49-F238E27FC236}">
                    <a16:creationId xmlns:a16="http://schemas.microsoft.com/office/drawing/2014/main" id="{71A8FFD9-B8B5-4511-8198-52DE5D02641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958423" y="457224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53" name="Groep 93">
                <a:extLst>
                  <a:ext uri="{FF2B5EF4-FFF2-40B4-BE49-F238E27FC236}">
                    <a16:creationId xmlns:a16="http://schemas.microsoft.com/office/drawing/2014/main" id="{526C11E9-F307-4840-91A5-57DC1CA903E0}"/>
                  </a:ext>
                </a:extLst>
              </p:cNvPr>
              <p:cNvGrpSpPr/>
              <p:nvPr userDrawn="1"/>
            </p:nvGrpSpPr>
            <p:grpSpPr>
              <a:xfrm>
                <a:off x="13257676" y="5773610"/>
                <a:ext cx="514284" cy="612917"/>
                <a:chOff x="12682980" y="3403271"/>
                <a:chExt cx="622284" cy="741637"/>
              </a:xfrm>
            </p:grpSpPr>
            <p:grpSp>
              <p:nvGrpSpPr>
                <p:cNvPr id="54" name="Groep 94">
                  <a:extLst>
                    <a:ext uri="{FF2B5EF4-FFF2-40B4-BE49-F238E27FC236}">
                      <a16:creationId xmlns:a16="http://schemas.microsoft.com/office/drawing/2014/main" id="{95A5E7B9-EC06-429E-9740-65D401D27AD4}"/>
                    </a:ext>
                  </a:extLst>
                </p:cNvPr>
                <p:cNvGrpSpPr/>
                <p:nvPr userDrawn="1"/>
              </p:nvGrpSpPr>
              <p:grpSpPr>
                <a:xfrm>
                  <a:off x="12771568" y="3403271"/>
                  <a:ext cx="467138" cy="448459"/>
                  <a:chOff x="12782195" y="3403271"/>
                  <a:chExt cx="467138" cy="448459"/>
                </a:xfrm>
              </p:grpSpPr>
              <p:grpSp>
                <p:nvGrpSpPr>
                  <p:cNvPr id="57" name="Groep 97">
                    <a:extLst>
                      <a:ext uri="{FF2B5EF4-FFF2-40B4-BE49-F238E27FC236}">
                        <a16:creationId xmlns:a16="http://schemas.microsoft.com/office/drawing/2014/main" id="{E2607B29-2789-42C4-9F57-642ECD64247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2782195" y="3403271"/>
                    <a:ext cx="412967" cy="393910"/>
                    <a:chOff x="13554906" y="3320143"/>
                    <a:chExt cx="443906" cy="423422"/>
                  </a:xfrm>
                </p:grpSpPr>
                <p:grpSp>
                  <p:nvGrpSpPr>
                    <p:cNvPr id="64" name="Groep 104">
                      <a:extLst>
                        <a:ext uri="{FF2B5EF4-FFF2-40B4-BE49-F238E27FC236}">
                          <a16:creationId xmlns:a16="http://schemas.microsoft.com/office/drawing/2014/main" id="{9D8BFFDC-3964-4F5C-8247-5ABF9FD11453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3554906" y="3320143"/>
                      <a:ext cx="443906" cy="423422"/>
                      <a:chOff x="12909684" y="1276177"/>
                      <a:chExt cx="443906" cy="423422"/>
                    </a:xfrm>
                  </p:grpSpPr>
                  <p:sp>
                    <p:nvSpPr>
                      <p:cNvPr id="67" name="Rechthoek 107">
                        <a:extLst>
                          <a:ext uri="{FF2B5EF4-FFF2-40B4-BE49-F238E27FC236}">
                            <a16:creationId xmlns:a16="http://schemas.microsoft.com/office/drawing/2014/main" id="{CD2A55FF-A46B-4661-9B7F-23AD0E518D9A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2918700" y="1285299"/>
                        <a:ext cx="434890" cy="414300"/>
                      </a:xfrm>
                      <a:prstGeom prst="rect">
                        <a:avLst/>
                      </a:prstGeom>
                      <a:noFill/>
                      <a:ln w="12700">
                        <a:solidFill>
                          <a:srgbClr val="818181"/>
                        </a:solidFill>
                        <a:prstDash val="dash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839"/>
                          </a:spcBef>
                          <a:spcAft>
                            <a:spcPts val="839"/>
                          </a:spcAft>
                        </a:pPr>
                        <a:endParaRPr lang="nl-NL" sz="1117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68" name="Rechthoek 108">
                        <a:extLst>
                          <a:ext uri="{FF2B5EF4-FFF2-40B4-BE49-F238E27FC236}">
                            <a16:creationId xmlns:a16="http://schemas.microsoft.com/office/drawing/2014/main" id="{7DE6CA22-FA69-48A0-A30F-1B03FF452AEB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2909684" y="1276177"/>
                        <a:ext cx="261629" cy="257808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12700">
                        <a:solidFill>
                          <a:srgbClr val="81818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839"/>
                          </a:spcBef>
                          <a:spcAft>
                            <a:spcPts val="839"/>
                          </a:spcAft>
                        </a:pPr>
                        <a:endParaRPr lang="nl-NL" sz="1117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69" name="Ovaal 109">
                        <a:extLst>
                          <a:ext uri="{FF2B5EF4-FFF2-40B4-BE49-F238E27FC236}">
                            <a16:creationId xmlns:a16="http://schemas.microsoft.com/office/drawing/2014/main" id="{E770EB0E-9FCB-4378-90F1-CE5A96CB8A84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3069071" y="1308734"/>
                        <a:ext cx="72187" cy="72188"/>
                      </a:xfrm>
                      <a:prstGeom prst="ellipse">
                        <a:avLst/>
                      </a:prstGeom>
                      <a:solidFill>
                        <a:srgbClr val="ECC679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="horz" wrap="square" lIns="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l"/>
                        <a:endParaRPr lang="nl-NL" sz="1398" b="1" noProof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  <p:pic>
                  <p:nvPicPr>
                    <p:cNvPr id="65" name="Afbeelding 105">
                      <a:extLst>
                        <a:ext uri="{FF2B5EF4-FFF2-40B4-BE49-F238E27FC236}">
                          <a16:creationId xmlns:a16="http://schemas.microsoft.com/office/drawing/2014/main" id="{A908E851-5DBE-41F9-B8D3-F4049A78A6F8}"/>
                        </a:ext>
                      </a:extLst>
                    </p:cNvPr>
                    <p:cNvPicPr>
                      <a:picLocks noChangeAspect="1"/>
                    </p:cNvPicPr>
                    <p:nvPr userDrawn="1"/>
                  </p:nvPicPr>
                  <p:blipFill>
                    <a:blip r:embed="rId2" cstate="screen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3567296" y="3424991"/>
                      <a:ext cx="173367" cy="14022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66" name="Afbeelding 106">
                      <a:extLst>
                        <a:ext uri="{FF2B5EF4-FFF2-40B4-BE49-F238E27FC236}">
                          <a16:creationId xmlns:a16="http://schemas.microsoft.com/office/drawing/2014/main" id="{33504082-DE75-41F9-A941-D892141DA144}"/>
                        </a:ext>
                      </a:extLst>
                    </p:cNvPr>
                    <p:cNvPicPr>
                      <a:picLocks noChangeAspect="1"/>
                    </p:cNvPicPr>
                    <p:nvPr userDrawn="1"/>
                  </p:nvPicPr>
                  <p:blipFill>
                    <a:blip r:embed="rId4" cstate="screen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5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flipH="1">
                      <a:off x="13635598" y="3454393"/>
                      <a:ext cx="173366" cy="111424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58" name="Groep 98">
                    <a:extLst>
                      <a:ext uri="{FF2B5EF4-FFF2-40B4-BE49-F238E27FC236}">
                        <a16:creationId xmlns:a16="http://schemas.microsoft.com/office/drawing/2014/main" id="{E05FAD33-582F-478C-B621-F8AB94A3EFF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103513" y="3705278"/>
                    <a:ext cx="145820" cy="146452"/>
                    <a:chOff x="13096169" y="3602288"/>
                    <a:chExt cx="145820" cy="146452"/>
                  </a:xfrm>
                </p:grpSpPr>
                <p:sp>
                  <p:nvSpPr>
                    <p:cNvPr id="62" name="Rechthoek 102">
                      <a:extLst>
                        <a:ext uri="{FF2B5EF4-FFF2-40B4-BE49-F238E27FC236}">
                          <a16:creationId xmlns:a16="http://schemas.microsoft.com/office/drawing/2014/main" id="{54C9EB89-249E-4D91-BF0A-963D2814762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96169" y="360228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398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3" name="Rechthoek 103">
                      <a:extLst>
                        <a:ext uri="{FF2B5EF4-FFF2-40B4-BE49-F238E27FC236}">
                          <a16:creationId xmlns:a16="http://schemas.microsoft.com/office/drawing/2014/main" id="{AD4BEEFB-7F67-492A-BE70-5693AECE2A2E}"/>
                        </a:ext>
                      </a:extLst>
                    </p:cNvPr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398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grpSp>
                <p:nvGrpSpPr>
                  <p:cNvPr id="59" name="Groep 99">
                    <a:extLst>
                      <a:ext uri="{FF2B5EF4-FFF2-40B4-BE49-F238E27FC236}">
                        <a16:creationId xmlns:a16="http://schemas.microsoft.com/office/drawing/2014/main" id="{DBA98214-9D86-4134-8CA6-4AC018C54C77}"/>
                      </a:ext>
                    </a:extLst>
                  </p:cNvPr>
                  <p:cNvGrpSpPr/>
                  <p:nvPr userDrawn="1"/>
                </p:nvGrpSpPr>
                <p:grpSpPr>
                  <a:xfrm rot="10800000">
                    <a:off x="13061402" y="3665668"/>
                    <a:ext cx="145820" cy="146461"/>
                    <a:chOff x="13096169" y="3602248"/>
                    <a:chExt cx="145820" cy="146461"/>
                  </a:xfrm>
                </p:grpSpPr>
                <p:sp>
                  <p:nvSpPr>
                    <p:cNvPr id="60" name="Rechthoek 100">
                      <a:extLst>
                        <a:ext uri="{FF2B5EF4-FFF2-40B4-BE49-F238E27FC236}">
                          <a16:creationId xmlns:a16="http://schemas.microsoft.com/office/drawing/2014/main" id="{ED580141-F5F4-4A8B-82E6-F8102185EF0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96169" y="360224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398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1" name="Rechthoek 101">
                      <a:extLst>
                        <a:ext uri="{FF2B5EF4-FFF2-40B4-BE49-F238E27FC236}">
                          <a16:creationId xmlns:a16="http://schemas.microsoft.com/office/drawing/2014/main" id="{1EC6A88F-C59D-407C-B40A-23D0643DA3C5}"/>
                        </a:ext>
                      </a:extLst>
                    </p:cNvPr>
                    <p:cNvSpPr/>
                    <p:nvPr userDrawn="1"/>
                  </p:nvSpPr>
                  <p:spPr>
                    <a:xfrm rot="5400000">
                      <a:off x="13037453" y="3661605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1398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  <p:sp>
              <p:nvSpPr>
                <p:cNvPr id="55" name="Rechthoek 95">
                  <a:extLst>
                    <a:ext uri="{FF2B5EF4-FFF2-40B4-BE49-F238E27FC236}">
                      <a16:creationId xmlns:a16="http://schemas.microsoft.com/office/drawing/2014/main" id="{3210FEEE-416F-4ED2-9573-0D7AFC95E5F9}"/>
                    </a:ext>
                  </a:extLst>
                </p:cNvPr>
                <p:cNvSpPr/>
                <p:nvPr userDrawn="1"/>
              </p:nvSpPr>
              <p:spPr>
                <a:xfrm>
                  <a:off x="12682980" y="3889920"/>
                  <a:ext cx="622284" cy="16117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839"/>
                    </a:spcBef>
                    <a:spcAft>
                      <a:spcPts val="839"/>
                    </a:spcAft>
                  </a:pPr>
                  <a:r>
                    <a:rPr lang="nl-NL" sz="125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Bijsnijden</a:t>
                  </a:r>
                </a:p>
              </p:txBody>
            </p:sp>
            <p:sp>
              <p:nvSpPr>
                <p:cNvPr id="56" name="Gelijkbenige driehoek 96">
                  <a:extLst>
                    <a:ext uri="{FF2B5EF4-FFF2-40B4-BE49-F238E27FC236}">
                      <a16:creationId xmlns:a16="http://schemas.microsoft.com/office/drawing/2014/main" id="{BB343D76-EFA6-4D56-89B0-EA34F1C07AAA}"/>
                    </a:ext>
                  </a:extLst>
                </p:cNvPr>
                <p:cNvSpPr/>
                <p:nvPr userDrawn="1"/>
              </p:nvSpPr>
              <p:spPr>
                <a:xfrm rot="10800000">
                  <a:off x="12950688" y="4093761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398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pic>
        <p:nvPicPr>
          <p:cNvPr id="82" name="Afbeelding 81">
            <a:extLst>
              <a:ext uri="{FF2B5EF4-FFF2-40B4-BE49-F238E27FC236}">
                <a16:creationId xmlns:a16="http://schemas.microsoft.com/office/drawing/2014/main" id="{4267A6BF-8856-45AD-8DCE-2F7DFF35BC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5" y="831727"/>
            <a:ext cx="9249575" cy="4281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041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kaders + Uitleg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78" y="1766065"/>
            <a:ext cx="32281087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78" y="3469430"/>
            <a:ext cx="32281087" cy="1195424"/>
          </a:xfrm>
        </p:spPr>
        <p:txBody>
          <a:bodyPr>
            <a:noAutofit/>
          </a:bodyPr>
          <a:lstStyle>
            <a:lvl1pPr marL="0" marR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794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grpSp>
        <p:nvGrpSpPr>
          <p:cNvPr id="38" name="GRID" hidden="1">
            <a:extLst>
              <a:ext uri="{FF2B5EF4-FFF2-40B4-BE49-F238E27FC236}">
                <a16:creationId xmlns:a16="http://schemas.microsoft.com/office/drawing/2014/main" id="{51D5F7E8-69F8-47AD-81F5-1645C97607C1}"/>
              </a:ext>
            </a:extLst>
          </p:cNvPr>
          <p:cNvGrpSpPr/>
          <p:nvPr userDrawn="1"/>
        </p:nvGrpSpPr>
        <p:grpSpPr>
          <a:xfrm>
            <a:off x="4" y="0"/>
            <a:ext cx="42767263" cy="30275213"/>
            <a:chOff x="0" y="0"/>
            <a:chExt cx="12192003" cy="6858000"/>
          </a:xfrm>
        </p:grpSpPr>
        <p:sp>
          <p:nvSpPr>
            <p:cNvPr id="39" name="Rechthoek 38">
              <a:extLst>
                <a:ext uri="{FF2B5EF4-FFF2-40B4-BE49-F238E27FC236}">
                  <a16:creationId xmlns:a16="http://schemas.microsoft.com/office/drawing/2014/main" id="{71DB2C92-E6A8-4532-98F6-C917E7F5CD17}"/>
                </a:ext>
              </a:extLst>
            </p:cNvPr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40" name="Rechthoek 39">
              <a:extLst>
                <a:ext uri="{FF2B5EF4-FFF2-40B4-BE49-F238E27FC236}">
                  <a16:creationId xmlns:a16="http://schemas.microsoft.com/office/drawing/2014/main" id="{1283F161-5F8A-45E1-A9F2-F823FC1CB0A5}"/>
                </a:ext>
              </a:extLst>
            </p:cNvPr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41" name="Rechthoek 40">
              <a:extLst>
                <a:ext uri="{FF2B5EF4-FFF2-40B4-BE49-F238E27FC236}">
                  <a16:creationId xmlns:a16="http://schemas.microsoft.com/office/drawing/2014/main" id="{E25AE021-76F4-4113-9019-FB3CB3351AD2}"/>
                </a:ext>
              </a:extLst>
            </p:cNvPr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42" name="Rechthoek 41">
              <a:extLst>
                <a:ext uri="{FF2B5EF4-FFF2-40B4-BE49-F238E27FC236}">
                  <a16:creationId xmlns:a16="http://schemas.microsoft.com/office/drawing/2014/main" id="{4F56F574-960D-4395-B98C-5F49ED9EF418}"/>
                </a:ext>
              </a:extLst>
            </p:cNvPr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34E307D0-CCA0-4BDF-BC5F-E19838E9F7DA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44" name="Rechthoek 43">
              <a:extLst>
                <a:ext uri="{FF2B5EF4-FFF2-40B4-BE49-F238E27FC236}">
                  <a16:creationId xmlns:a16="http://schemas.microsoft.com/office/drawing/2014/main" id="{2AEE0B25-FBCC-4048-A2C0-6D97C3E7FEB7}"/>
                </a:ext>
              </a:extLst>
            </p:cNvPr>
            <p:cNvSpPr/>
            <p:nvPr userDrawn="1"/>
          </p:nvSpPr>
          <p:spPr>
            <a:xfrm rot="5400000">
              <a:off x="5895976" y="-108104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</p:grp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503"/>
            <a:ext cx="9622631" cy="1000848"/>
          </a:xfrm>
        </p:spPr>
        <p:txBody>
          <a:bodyPr/>
          <a:lstStyle/>
          <a:p>
            <a:fld id="{618A8028-D7C0-455A-B6A5-E5ECB2C2A8D6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7" y="27345278"/>
            <a:ext cx="18027561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Voettekst</a:t>
            </a:r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7" y="27329717"/>
            <a:ext cx="834511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1B658E1F-0E98-4ED4-B7E8-3A0C15D75D3F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687090" y="6308635"/>
            <a:ext cx="5345251" cy="5484109"/>
          </a:xfrm>
          <a:custGeom>
            <a:avLst/>
            <a:gdLst>
              <a:gd name="connsiteX0" fmla="*/ 0 w 6217773"/>
              <a:gd name="connsiteY0" fmla="*/ 631093 h 5069018"/>
              <a:gd name="connsiteX1" fmla="*/ 631093 w 6217773"/>
              <a:gd name="connsiteY1" fmla="*/ 0 h 5069018"/>
              <a:gd name="connsiteX2" fmla="*/ 5586680 w 6217773"/>
              <a:gd name="connsiteY2" fmla="*/ 0 h 5069018"/>
              <a:gd name="connsiteX3" fmla="*/ 6217773 w 6217773"/>
              <a:gd name="connsiteY3" fmla="*/ 631093 h 5069018"/>
              <a:gd name="connsiteX4" fmla="*/ 6217773 w 6217773"/>
              <a:gd name="connsiteY4" fmla="*/ 4437925 h 5069018"/>
              <a:gd name="connsiteX5" fmla="*/ 5586680 w 6217773"/>
              <a:gd name="connsiteY5" fmla="*/ 5069018 h 5069018"/>
              <a:gd name="connsiteX6" fmla="*/ 631093 w 6217773"/>
              <a:gd name="connsiteY6" fmla="*/ 5069018 h 5069018"/>
              <a:gd name="connsiteX7" fmla="*/ 0 w 6217773"/>
              <a:gd name="connsiteY7" fmla="*/ 4437925 h 5069018"/>
              <a:gd name="connsiteX8" fmla="*/ 0 w 6217773"/>
              <a:gd name="connsiteY8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31029 w 6248802"/>
              <a:gd name="connsiteY0" fmla="*/ 638400 h 5076325"/>
              <a:gd name="connsiteX1" fmla="*/ 35792 w 6248802"/>
              <a:gd name="connsiteY1" fmla="*/ 228 h 5076325"/>
              <a:gd name="connsiteX2" fmla="*/ 662122 w 6248802"/>
              <a:gd name="connsiteY2" fmla="*/ 7307 h 5076325"/>
              <a:gd name="connsiteX3" fmla="*/ 5617709 w 6248802"/>
              <a:gd name="connsiteY3" fmla="*/ 7307 h 5076325"/>
              <a:gd name="connsiteX4" fmla="*/ 6248802 w 6248802"/>
              <a:gd name="connsiteY4" fmla="*/ 638400 h 5076325"/>
              <a:gd name="connsiteX5" fmla="*/ 6248802 w 6248802"/>
              <a:gd name="connsiteY5" fmla="*/ 4445232 h 5076325"/>
              <a:gd name="connsiteX6" fmla="*/ 5617709 w 6248802"/>
              <a:gd name="connsiteY6" fmla="*/ 5076325 h 5076325"/>
              <a:gd name="connsiteX7" fmla="*/ 662122 w 6248802"/>
              <a:gd name="connsiteY7" fmla="*/ 5076325 h 5076325"/>
              <a:gd name="connsiteX8" fmla="*/ 31029 w 6248802"/>
              <a:gd name="connsiteY8" fmla="*/ 4445232 h 5076325"/>
              <a:gd name="connsiteX9" fmla="*/ 31029 w 6248802"/>
              <a:gd name="connsiteY9" fmla="*/ 638400 h 5076325"/>
              <a:gd name="connsiteX0" fmla="*/ 0 w 6217773"/>
              <a:gd name="connsiteY0" fmla="*/ 638860 h 5076785"/>
              <a:gd name="connsiteX1" fmla="*/ 4763 w 6217773"/>
              <a:gd name="connsiteY1" fmla="*/ 688 h 5076785"/>
              <a:gd name="connsiteX2" fmla="*/ 631093 w 6217773"/>
              <a:gd name="connsiteY2" fmla="*/ 7767 h 5076785"/>
              <a:gd name="connsiteX3" fmla="*/ 5586680 w 6217773"/>
              <a:gd name="connsiteY3" fmla="*/ 7767 h 5076785"/>
              <a:gd name="connsiteX4" fmla="*/ 6217773 w 6217773"/>
              <a:gd name="connsiteY4" fmla="*/ 638860 h 5076785"/>
              <a:gd name="connsiteX5" fmla="*/ 6217773 w 6217773"/>
              <a:gd name="connsiteY5" fmla="*/ 4445692 h 5076785"/>
              <a:gd name="connsiteX6" fmla="*/ 5586680 w 6217773"/>
              <a:gd name="connsiteY6" fmla="*/ 5076785 h 5076785"/>
              <a:gd name="connsiteX7" fmla="*/ 631093 w 6217773"/>
              <a:gd name="connsiteY7" fmla="*/ 5076785 h 5076785"/>
              <a:gd name="connsiteX8" fmla="*/ 0 w 6217773"/>
              <a:gd name="connsiteY8" fmla="*/ 4445692 h 5076785"/>
              <a:gd name="connsiteX9" fmla="*/ 0 w 6217773"/>
              <a:gd name="connsiteY9" fmla="*/ 638860 h 5076785"/>
              <a:gd name="connsiteX0" fmla="*/ 64 w 6217837"/>
              <a:gd name="connsiteY0" fmla="*/ 638860 h 5076785"/>
              <a:gd name="connsiteX1" fmla="*/ 4827 w 6217837"/>
              <a:gd name="connsiteY1" fmla="*/ 688 h 5076785"/>
              <a:gd name="connsiteX2" fmla="*/ 631157 w 6217837"/>
              <a:gd name="connsiteY2" fmla="*/ 7767 h 5076785"/>
              <a:gd name="connsiteX3" fmla="*/ 5586744 w 6217837"/>
              <a:gd name="connsiteY3" fmla="*/ 7767 h 5076785"/>
              <a:gd name="connsiteX4" fmla="*/ 6217837 w 6217837"/>
              <a:gd name="connsiteY4" fmla="*/ 638860 h 5076785"/>
              <a:gd name="connsiteX5" fmla="*/ 6217837 w 6217837"/>
              <a:gd name="connsiteY5" fmla="*/ 4445692 h 5076785"/>
              <a:gd name="connsiteX6" fmla="*/ 5586744 w 6217837"/>
              <a:gd name="connsiteY6" fmla="*/ 5076785 h 5076785"/>
              <a:gd name="connsiteX7" fmla="*/ 631157 w 6217837"/>
              <a:gd name="connsiteY7" fmla="*/ 5076785 h 5076785"/>
              <a:gd name="connsiteX8" fmla="*/ 64 w 6217837"/>
              <a:gd name="connsiteY8" fmla="*/ 4445692 h 5076785"/>
              <a:gd name="connsiteX9" fmla="*/ 64 w 6217837"/>
              <a:gd name="connsiteY9" fmla="*/ 638860 h 5076785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586744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17837" h="5069018">
                <a:moveTo>
                  <a:pt x="64" y="631093"/>
                </a:moveTo>
                <a:cubicBezTo>
                  <a:pt x="4033" y="467051"/>
                  <a:pt x="-5105" y="12378"/>
                  <a:pt x="4827" y="2446"/>
                </a:cubicBezTo>
                <a:cubicBezTo>
                  <a:pt x="11584" y="-1136"/>
                  <a:pt x="507287" y="937"/>
                  <a:pt x="631157" y="0"/>
                </a:cubicBezTo>
                <a:lnTo>
                  <a:pt x="5586744" y="0"/>
                </a:lnTo>
                <a:cubicBezTo>
                  <a:pt x="5935287" y="0"/>
                  <a:pt x="6217837" y="282550"/>
                  <a:pt x="6217837" y="631093"/>
                </a:cubicBezTo>
                <a:lnTo>
                  <a:pt x="6217837" y="4437925"/>
                </a:lnTo>
                <a:cubicBezTo>
                  <a:pt x="6217837" y="4786468"/>
                  <a:pt x="5935287" y="5069018"/>
                  <a:pt x="5586744" y="5069018"/>
                </a:cubicBezTo>
                <a:lnTo>
                  <a:pt x="631157" y="5069018"/>
                </a:lnTo>
                <a:cubicBezTo>
                  <a:pt x="282614" y="5069018"/>
                  <a:pt x="64" y="4786468"/>
                  <a:pt x="64" y="4437925"/>
                </a:cubicBezTo>
                <a:lnTo>
                  <a:pt x="64" y="631093"/>
                </a:lnTo>
                <a:close/>
              </a:path>
            </a:pathLst>
          </a:custGeom>
          <a:solidFill>
            <a:schemeClr val="bg2"/>
          </a:solidFill>
        </p:spPr>
        <p:txBody>
          <a:bodyPr lIns="360000" tIns="360000" rIns="360000" bIns="360000"/>
          <a:lstStyle>
            <a:lvl1pPr algn="ctr">
              <a:defRPr sz="1677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Punt 1</a:t>
            </a:r>
          </a:p>
        </p:txBody>
      </p:sp>
      <p:sp>
        <p:nvSpPr>
          <p:cNvPr id="24" name="Tijdelijke aanduiding voor tekst 3">
            <a:extLst>
              <a:ext uri="{FF2B5EF4-FFF2-40B4-BE49-F238E27FC236}">
                <a16:creationId xmlns:a16="http://schemas.microsoft.com/office/drawing/2014/main" id="{9403E59F-DA7E-493E-A75C-18B2CDC74E5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687090" y="13268192"/>
            <a:ext cx="5345251" cy="5484109"/>
          </a:xfrm>
          <a:custGeom>
            <a:avLst/>
            <a:gdLst>
              <a:gd name="connsiteX0" fmla="*/ 0 w 6217773"/>
              <a:gd name="connsiteY0" fmla="*/ 631093 h 5069018"/>
              <a:gd name="connsiteX1" fmla="*/ 631093 w 6217773"/>
              <a:gd name="connsiteY1" fmla="*/ 0 h 5069018"/>
              <a:gd name="connsiteX2" fmla="*/ 5586680 w 6217773"/>
              <a:gd name="connsiteY2" fmla="*/ 0 h 5069018"/>
              <a:gd name="connsiteX3" fmla="*/ 6217773 w 6217773"/>
              <a:gd name="connsiteY3" fmla="*/ 631093 h 5069018"/>
              <a:gd name="connsiteX4" fmla="*/ 6217773 w 6217773"/>
              <a:gd name="connsiteY4" fmla="*/ 4437925 h 5069018"/>
              <a:gd name="connsiteX5" fmla="*/ 5586680 w 6217773"/>
              <a:gd name="connsiteY5" fmla="*/ 5069018 h 5069018"/>
              <a:gd name="connsiteX6" fmla="*/ 631093 w 6217773"/>
              <a:gd name="connsiteY6" fmla="*/ 5069018 h 5069018"/>
              <a:gd name="connsiteX7" fmla="*/ 0 w 6217773"/>
              <a:gd name="connsiteY7" fmla="*/ 4437925 h 5069018"/>
              <a:gd name="connsiteX8" fmla="*/ 0 w 6217773"/>
              <a:gd name="connsiteY8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31029 w 6248802"/>
              <a:gd name="connsiteY0" fmla="*/ 638400 h 5076325"/>
              <a:gd name="connsiteX1" fmla="*/ 35792 w 6248802"/>
              <a:gd name="connsiteY1" fmla="*/ 228 h 5076325"/>
              <a:gd name="connsiteX2" fmla="*/ 662122 w 6248802"/>
              <a:gd name="connsiteY2" fmla="*/ 7307 h 5076325"/>
              <a:gd name="connsiteX3" fmla="*/ 5617709 w 6248802"/>
              <a:gd name="connsiteY3" fmla="*/ 7307 h 5076325"/>
              <a:gd name="connsiteX4" fmla="*/ 6248802 w 6248802"/>
              <a:gd name="connsiteY4" fmla="*/ 638400 h 5076325"/>
              <a:gd name="connsiteX5" fmla="*/ 6248802 w 6248802"/>
              <a:gd name="connsiteY5" fmla="*/ 4445232 h 5076325"/>
              <a:gd name="connsiteX6" fmla="*/ 5617709 w 6248802"/>
              <a:gd name="connsiteY6" fmla="*/ 5076325 h 5076325"/>
              <a:gd name="connsiteX7" fmla="*/ 662122 w 6248802"/>
              <a:gd name="connsiteY7" fmla="*/ 5076325 h 5076325"/>
              <a:gd name="connsiteX8" fmla="*/ 31029 w 6248802"/>
              <a:gd name="connsiteY8" fmla="*/ 4445232 h 5076325"/>
              <a:gd name="connsiteX9" fmla="*/ 31029 w 6248802"/>
              <a:gd name="connsiteY9" fmla="*/ 638400 h 5076325"/>
              <a:gd name="connsiteX0" fmla="*/ 0 w 6217773"/>
              <a:gd name="connsiteY0" fmla="*/ 638860 h 5076785"/>
              <a:gd name="connsiteX1" fmla="*/ 4763 w 6217773"/>
              <a:gd name="connsiteY1" fmla="*/ 688 h 5076785"/>
              <a:gd name="connsiteX2" fmla="*/ 631093 w 6217773"/>
              <a:gd name="connsiteY2" fmla="*/ 7767 h 5076785"/>
              <a:gd name="connsiteX3" fmla="*/ 5586680 w 6217773"/>
              <a:gd name="connsiteY3" fmla="*/ 7767 h 5076785"/>
              <a:gd name="connsiteX4" fmla="*/ 6217773 w 6217773"/>
              <a:gd name="connsiteY4" fmla="*/ 638860 h 5076785"/>
              <a:gd name="connsiteX5" fmla="*/ 6217773 w 6217773"/>
              <a:gd name="connsiteY5" fmla="*/ 4445692 h 5076785"/>
              <a:gd name="connsiteX6" fmla="*/ 5586680 w 6217773"/>
              <a:gd name="connsiteY6" fmla="*/ 5076785 h 5076785"/>
              <a:gd name="connsiteX7" fmla="*/ 631093 w 6217773"/>
              <a:gd name="connsiteY7" fmla="*/ 5076785 h 5076785"/>
              <a:gd name="connsiteX8" fmla="*/ 0 w 6217773"/>
              <a:gd name="connsiteY8" fmla="*/ 4445692 h 5076785"/>
              <a:gd name="connsiteX9" fmla="*/ 0 w 6217773"/>
              <a:gd name="connsiteY9" fmla="*/ 638860 h 5076785"/>
              <a:gd name="connsiteX0" fmla="*/ 64 w 6217837"/>
              <a:gd name="connsiteY0" fmla="*/ 638860 h 5076785"/>
              <a:gd name="connsiteX1" fmla="*/ 4827 w 6217837"/>
              <a:gd name="connsiteY1" fmla="*/ 688 h 5076785"/>
              <a:gd name="connsiteX2" fmla="*/ 631157 w 6217837"/>
              <a:gd name="connsiteY2" fmla="*/ 7767 h 5076785"/>
              <a:gd name="connsiteX3" fmla="*/ 5586744 w 6217837"/>
              <a:gd name="connsiteY3" fmla="*/ 7767 h 5076785"/>
              <a:gd name="connsiteX4" fmla="*/ 6217837 w 6217837"/>
              <a:gd name="connsiteY4" fmla="*/ 638860 h 5076785"/>
              <a:gd name="connsiteX5" fmla="*/ 6217837 w 6217837"/>
              <a:gd name="connsiteY5" fmla="*/ 4445692 h 5076785"/>
              <a:gd name="connsiteX6" fmla="*/ 5586744 w 6217837"/>
              <a:gd name="connsiteY6" fmla="*/ 5076785 h 5076785"/>
              <a:gd name="connsiteX7" fmla="*/ 631157 w 6217837"/>
              <a:gd name="connsiteY7" fmla="*/ 5076785 h 5076785"/>
              <a:gd name="connsiteX8" fmla="*/ 64 w 6217837"/>
              <a:gd name="connsiteY8" fmla="*/ 4445692 h 5076785"/>
              <a:gd name="connsiteX9" fmla="*/ 64 w 6217837"/>
              <a:gd name="connsiteY9" fmla="*/ 638860 h 5076785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586744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17837" h="5069018">
                <a:moveTo>
                  <a:pt x="64" y="631093"/>
                </a:moveTo>
                <a:cubicBezTo>
                  <a:pt x="4033" y="467051"/>
                  <a:pt x="-5105" y="12378"/>
                  <a:pt x="4827" y="2446"/>
                </a:cubicBezTo>
                <a:cubicBezTo>
                  <a:pt x="11584" y="-1136"/>
                  <a:pt x="507287" y="937"/>
                  <a:pt x="631157" y="0"/>
                </a:cubicBezTo>
                <a:lnTo>
                  <a:pt x="5586744" y="0"/>
                </a:lnTo>
                <a:cubicBezTo>
                  <a:pt x="5935287" y="0"/>
                  <a:pt x="6217837" y="282550"/>
                  <a:pt x="6217837" y="631093"/>
                </a:cubicBezTo>
                <a:lnTo>
                  <a:pt x="6217837" y="4437925"/>
                </a:lnTo>
                <a:cubicBezTo>
                  <a:pt x="6217837" y="4786468"/>
                  <a:pt x="5935287" y="5069018"/>
                  <a:pt x="5586744" y="5069018"/>
                </a:cubicBezTo>
                <a:lnTo>
                  <a:pt x="631157" y="5069018"/>
                </a:lnTo>
                <a:cubicBezTo>
                  <a:pt x="282614" y="5069018"/>
                  <a:pt x="64" y="4786468"/>
                  <a:pt x="64" y="4437925"/>
                </a:cubicBezTo>
                <a:lnTo>
                  <a:pt x="64" y="631093"/>
                </a:lnTo>
                <a:close/>
              </a:path>
            </a:pathLst>
          </a:custGeom>
          <a:solidFill>
            <a:schemeClr val="bg2"/>
          </a:solidFill>
        </p:spPr>
        <p:txBody>
          <a:bodyPr lIns="360000" tIns="360000" rIns="360000" bIns="360000"/>
          <a:lstStyle>
            <a:lvl1pPr algn="ctr">
              <a:defRPr sz="1677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Punt 2</a:t>
            </a:r>
          </a:p>
        </p:txBody>
      </p:sp>
      <p:sp>
        <p:nvSpPr>
          <p:cNvPr id="25" name="Tijdelijke aanduiding voor tekst 3">
            <a:extLst>
              <a:ext uri="{FF2B5EF4-FFF2-40B4-BE49-F238E27FC236}">
                <a16:creationId xmlns:a16="http://schemas.microsoft.com/office/drawing/2014/main" id="{18770FDC-CD6D-4A8D-A3C8-1090C7435D39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687090" y="20230722"/>
            <a:ext cx="5345251" cy="5484109"/>
          </a:xfrm>
          <a:custGeom>
            <a:avLst/>
            <a:gdLst>
              <a:gd name="connsiteX0" fmla="*/ 0 w 6217773"/>
              <a:gd name="connsiteY0" fmla="*/ 631093 h 5069018"/>
              <a:gd name="connsiteX1" fmla="*/ 631093 w 6217773"/>
              <a:gd name="connsiteY1" fmla="*/ 0 h 5069018"/>
              <a:gd name="connsiteX2" fmla="*/ 5586680 w 6217773"/>
              <a:gd name="connsiteY2" fmla="*/ 0 h 5069018"/>
              <a:gd name="connsiteX3" fmla="*/ 6217773 w 6217773"/>
              <a:gd name="connsiteY3" fmla="*/ 631093 h 5069018"/>
              <a:gd name="connsiteX4" fmla="*/ 6217773 w 6217773"/>
              <a:gd name="connsiteY4" fmla="*/ 4437925 h 5069018"/>
              <a:gd name="connsiteX5" fmla="*/ 5586680 w 6217773"/>
              <a:gd name="connsiteY5" fmla="*/ 5069018 h 5069018"/>
              <a:gd name="connsiteX6" fmla="*/ 631093 w 6217773"/>
              <a:gd name="connsiteY6" fmla="*/ 5069018 h 5069018"/>
              <a:gd name="connsiteX7" fmla="*/ 0 w 6217773"/>
              <a:gd name="connsiteY7" fmla="*/ 4437925 h 5069018"/>
              <a:gd name="connsiteX8" fmla="*/ 0 w 6217773"/>
              <a:gd name="connsiteY8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31029 w 6248802"/>
              <a:gd name="connsiteY0" fmla="*/ 638400 h 5076325"/>
              <a:gd name="connsiteX1" fmla="*/ 35792 w 6248802"/>
              <a:gd name="connsiteY1" fmla="*/ 228 h 5076325"/>
              <a:gd name="connsiteX2" fmla="*/ 662122 w 6248802"/>
              <a:gd name="connsiteY2" fmla="*/ 7307 h 5076325"/>
              <a:gd name="connsiteX3" fmla="*/ 5617709 w 6248802"/>
              <a:gd name="connsiteY3" fmla="*/ 7307 h 5076325"/>
              <a:gd name="connsiteX4" fmla="*/ 6248802 w 6248802"/>
              <a:gd name="connsiteY4" fmla="*/ 638400 h 5076325"/>
              <a:gd name="connsiteX5" fmla="*/ 6248802 w 6248802"/>
              <a:gd name="connsiteY5" fmla="*/ 4445232 h 5076325"/>
              <a:gd name="connsiteX6" fmla="*/ 5617709 w 6248802"/>
              <a:gd name="connsiteY6" fmla="*/ 5076325 h 5076325"/>
              <a:gd name="connsiteX7" fmla="*/ 662122 w 6248802"/>
              <a:gd name="connsiteY7" fmla="*/ 5076325 h 5076325"/>
              <a:gd name="connsiteX8" fmla="*/ 31029 w 6248802"/>
              <a:gd name="connsiteY8" fmla="*/ 4445232 h 5076325"/>
              <a:gd name="connsiteX9" fmla="*/ 31029 w 6248802"/>
              <a:gd name="connsiteY9" fmla="*/ 638400 h 5076325"/>
              <a:gd name="connsiteX0" fmla="*/ 0 w 6217773"/>
              <a:gd name="connsiteY0" fmla="*/ 638860 h 5076785"/>
              <a:gd name="connsiteX1" fmla="*/ 4763 w 6217773"/>
              <a:gd name="connsiteY1" fmla="*/ 688 h 5076785"/>
              <a:gd name="connsiteX2" fmla="*/ 631093 w 6217773"/>
              <a:gd name="connsiteY2" fmla="*/ 7767 h 5076785"/>
              <a:gd name="connsiteX3" fmla="*/ 5586680 w 6217773"/>
              <a:gd name="connsiteY3" fmla="*/ 7767 h 5076785"/>
              <a:gd name="connsiteX4" fmla="*/ 6217773 w 6217773"/>
              <a:gd name="connsiteY4" fmla="*/ 638860 h 5076785"/>
              <a:gd name="connsiteX5" fmla="*/ 6217773 w 6217773"/>
              <a:gd name="connsiteY5" fmla="*/ 4445692 h 5076785"/>
              <a:gd name="connsiteX6" fmla="*/ 5586680 w 6217773"/>
              <a:gd name="connsiteY6" fmla="*/ 5076785 h 5076785"/>
              <a:gd name="connsiteX7" fmla="*/ 631093 w 6217773"/>
              <a:gd name="connsiteY7" fmla="*/ 5076785 h 5076785"/>
              <a:gd name="connsiteX8" fmla="*/ 0 w 6217773"/>
              <a:gd name="connsiteY8" fmla="*/ 4445692 h 5076785"/>
              <a:gd name="connsiteX9" fmla="*/ 0 w 6217773"/>
              <a:gd name="connsiteY9" fmla="*/ 638860 h 5076785"/>
              <a:gd name="connsiteX0" fmla="*/ 64 w 6217837"/>
              <a:gd name="connsiteY0" fmla="*/ 638860 h 5076785"/>
              <a:gd name="connsiteX1" fmla="*/ 4827 w 6217837"/>
              <a:gd name="connsiteY1" fmla="*/ 688 h 5076785"/>
              <a:gd name="connsiteX2" fmla="*/ 631157 w 6217837"/>
              <a:gd name="connsiteY2" fmla="*/ 7767 h 5076785"/>
              <a:gd name="connsiteX3" fmla="*/ 5586744 w 6217837"/>
              <a:gd name="connsiteY3" fmla="*/ 7767 h 5076785"/>
              <a:gd name="connsiteX4" fmla="*/ 6217837 w 6217837"/>
              <a:gd name="connsiteY4" fmla="*/ 638860 h 5076785"/>
              <a:gd name="connsiteX5" fmla="*/ 6217837 w 6217837"/>
              <a:gd name="connsiteY5" fmla="*/ 4445692 h 5076785"/>
              <a:gd name="connsiteX6" fmla="*/ 5586744 w 6217837"/>
              <a:gd name="connsiteY6" fmla="*/ 5076785 h 5076785"/>
              <a:gd name="connsiteX7" fmla="*/ 631157 w 6217837"/>
              <a:gd name="connsiteY7" fmla="*/ 5076785 h 5076785"/>
              <a:gd name="connsiteX8" fmla="*/ 64 w 6217837"/>
              <a:gd name="connsiteY8" fmla="*/ 4445692 h 5076785"/>
              <a:gd name="connsiteX9" fmla="*/ 64 w 6217837"/>
              <a:gd name="connsiteY9" fmla="*/ 638860 h 5076785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586744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17837" h="5069018">
                <a:moveTo>
                  <a:pt x="64" y="631093"/>
                </a:moveTo>
                <a:cubicBezTo>
                  <a:pt x="4033" y="467051"/>
                  <a:pt x="-5105" y="12378"/>
                  <a:pt x="4827" y="2446"/>
                </a:cubicBezTo>
                <a:cubicBezTo>
                  <a:pt x="11584" y="-1136"/>
                  <a:pt x="507287" y="937"/>
                  <a:pt x="631157" y="0"/>
                </a:cubicBezTo>
                <a:lnTo>
                  <a:pt x="5586744" y="0"/>
                </a:lnTo>
                <a:cubicBezTo>
                  <a:pt x="5935287" y="0"/>
                  <a:pt x="6217837" y="282550"/>
                  <a:pt x="6217837" y="631093"/>
                </a:cubicBezTo>
                <a:lnTo>
                  <a:pt x="6217837" y="4437925"/>
                </a:lnTo>
                <a:cubicBezTo>
                  <a:pt x="6217837" y="4786468"/>
                  <a:pt x="5935287" y="5069018"/>
                  <a:pt x="5586744" y="5069018"/>
                </a:cubicBezTo>
                <a:lnTo>
                  <a:pt x="631157" y="5069018"/>
                </a:lnTo>
                <a:cubicBezTo>
                  <a:pt x="282614" y="5069018"/>
                  <a:pt x="64" y="4786468"/>
                  <a:pt x="64" y="4437925"/>
                </a:cubicBezTo>
                <a:lnTo>
                  <a:pt x="64" y="631093"/>
                </a:lnTo>
                <a:close/>
              </a:path>
            </a:pathLst>
          </a:custGeom>
          <a:solidFill>
            <a:schemeClr val="bg2"/>
          </a:solidFill>
        </p:spPr>
        <p:txBody>
          <a:bodyPr lIns="360000" tIns="360000" rIns="360000" bIns="360000"/>
          <a:lstStyle>
            <a:lvl1pPr algn="ctr">
              <a:defRPr sz="1677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Punt 3</a:t>
            </a:r>
          </a:p>
        </p:txBody>
      </p:sp>
      <p:sp>
        <p:nvSpPr>
          <p:cNvPr id="21" name="Tijdelijke aanduiding voor tekst 2">
            <a:extLst>
              <a:ext uri="{FF2B5EF4-FFF2-40B4-BE49-F238E27FC236}">
                <a16:creationId xmlns:a16="http://schemas.microsoft.com/office/drawing/2014/main" id="{93201188-BF14-4AD6-B8D4-12C6EDF4869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33803" y="6316510"/>
            <a:ext cx="25627522" cy="5476873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089185" y="2382"/>
                </a:lnTo>
                <a:cubicBezTo>
                  <a:pt x="7208841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08841" y="1240632"/>
                  <a:pt x="7089185" y="1240632"/>
                </a:cubicBezTo>
                <a:lnTo>
                  <a:pt x="216824" y="1240632"/>
                </a:lnTo>
                <a:cubicBezTo>
                  <a:pt x="9716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127721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77" b="1">
                <a:solidFill>
                  <a:schemeClr val="bg2"/>
                </a:solidFill>
              </a:defRPr>
            </a:lvl1pPr>
            <a:lvl2pPr>
              <a:spcAft>
                <a:spcPts val="0"/>
              </a:spcAft>
              <a:defRPr sz="1677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677"/>
            </a:lvl3pPr>
            <a:lvl4pPr>
              <a:defRPr sz="1677"/>
            </a:lvl4pPr>
            <a:lvl5pPr>
              <a:defRPr sz="1677">
                <a:solidFill>
                  <a:schemeClr val="bg2"/>
                </a:solidFill>
              </a:defRPr>
            </a:lvl5pPr>
          </a:lstStyle>
          <a:p>
            <a:pPr marL="0" marR="0" lvl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6" name="Tijdelijke aanduiding voor tekst 2">
            <a:extLst>
              <a:ext uri="{FF2B5EF4-FFF2-40B4-BE49-F238E27FC236}">
                <a16:creationId xmlns:a16="http://schemas.microsoft.com/office/drawing/2014/main" id="{6BECFFED-1A12-4250-8E12-F2451314694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533803" y="13275428"/>
            <a:ext cx="25627522" cy="5476873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089185" y="2382"/>
                </a:lnTo>
                <a:cubicBezTo>
                  <a:pt x="7208841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08841" y="1240632"/>
                  <a:pt x="7089185" y="1240632"/>
                </a:cubicBezTo>
                <a:lnTo>
                  <a:pt x="216824" y="1240632"/>
                </a:lnTo>
                <a:cubicBezTo>
                  <a:pt x="9716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127721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77" b="1">
                <a:solidFill>
                  <a:schemeClr val="bg2"/>
                </a:solidFill>
              </a:defRPr>
            </a:lvl1pPr>
            <a:lvl2pPr>
              <a:spcAft>
                <a:spcPts val="0"/>
              </a:spcAft>
              <a:defRPr sz="1677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677"/>
            </a:lvl3pPr>
            <a:lvl4pPr>
              <a:defRPr sz="1677"/>
            </a:lvl4pPr>
            <a:lvl5pPr>
              <a:defRPr sz="1677">
                <a:solidFill>
                  <a:schemeClr val="bg2"/>
                </a:solidFill>
              </a:defRPr>
            </a:lvl5pPr>
          </a:lstStyle>
          <a:p>
            <a:pPr marL="0" marR="0" lvl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7" name="Tijdelijke aanduiding voor tekst 2">
            <a:extLst>
              <a:ext uri="{FF2B5EF4-FFF2-40B4-BE49-F238E27FC236}">
                <a16:creationId xmlns:a16="http://schemas.microsoft.com/office/drawing/2014/main" id="{9A7B8253-F6CE-4FCD-AB4A-5EBAC3E7B2E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533803" y="20234340"/>
            <a:ext cx="25627522" cy="5476873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089185" y="2382"/>
                </a:lnTo>
                <a:cubicBezTo>
                  <a:pt x="7208841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08841" y="1240632"/>
                  <a:pt x="7089185" y="1240632"/>
                </a:cubicBezTo>
                <a:lnTo>
                  <a:pt x="216824" y="1240632"/>
                </a:lnTo>
                <a:cubicBezTo>
                  <a:pt x="9716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127721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77" b="1">
                <a:solidFill>
                  <a:schemeClr val="bg2"/>
                </a:solidFill>
              </a:defRPr>
            </a:lvl1pPr>
            <a:lvl2pPr>
              <a:spcAft>
                <a:spcPts val="0"/>
              </a:spcAft>
              <a:defRPr sz="1677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677"/>
            </a:lvl3pPr>
            <a:lvl4pPr>
              <a:defRPr sz="1677"/>
            </a:lvl4pPr>
            <a:lvl5pPr>
              <a:defRPr sz="1677">
                <a:solidFill>
                  <a:schemeClr val="bg2"/>
                </a:solidFill>
              </a:defRPr>
            </a:lvl5pPr>
          </a:lstStyle>
          <a:p>
            <a:pPr marL="0" marR="0" lvl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pic>
        <p:nvPicPr>
          <p:cNvPr id="34" name="Afbeelding 33">
            <a:extLst>
              <a:ext uri="{FF2B5EF4-FFF2-40B4-BE49-F238E27FC236}">
                <a16:creationId xmlns:a16="http://schemas.microsoft.com/office/drawing/2014/main" id="{C1D6ADE6-9F8A-4FFA-9F89-B845469FFC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5" y="831727"/>
            <a:ext cx="9249575" cy="4281474"/>
          </a:xfrm>
          <a:prstGeom prst="rect">
            <a:avLst/>
          </a:prstGeom>
        </p:spPr>
      </p:pic>
      <p:grpSp>
        <p:nvGrpSpPr>
          <p:cNvPr id="35" name="Instructie">
            <a:extLst>
              <a:ext uri="{FF2B5EF4-FFF2-40B4-BE49-F238E27FC236}">
                <a16:creationId xmlns:a16="http://schemas.microsoft.com/office/drawing/2014/main" id="{0950F664-376F-47E8-A039-7D1F3ABF53A0}"/>
              </a:ext>
            </a:extLst>
          </p:cNvPr>
          <p:cNvGrpSpPr/>
          <p:nvPr userDrawn="1"/>
        </p:nvGrpSpPr>
        <p:grpSpPr>
          <a:xfrm>
            <a:off x="43268721" y="0"/>
            <a:ext cx="11164510" cy="11743958"/>
            <a:chOff x="-3426088" y="4512342"/>
            <a:chExt cx="3182755" cy="2660264"/>
          </a:xfrm>
        </p:grpSpPr>
        <p:sp>
          <p:nvSpPr>
            <p:cNvPr id="36" name="Rechthoek 127">
              <a:extLst>
                <a:ext uri="{FF2B5EF4-FFF2-40B4-BE49-F238E27FC236}">
                  <a16:creationId xmlns:a16="http://schemas.microsoft.com/office/drawing/2014/main" id="{AE1BB9F2-F060-49F0-9B39-1909F6E2227B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1277217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957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37" name="Rechte verbindingslijn 128">
              <a:extLst>
                <a:ext uri="{FF2B5EF4-FFF2-40B4-BE49-F238E27FC236}">
                  <a16:creationId xmlns:a16="http://schemas.microsoft.com/office/drawing/2014/main" id="{AEA21112-DF6D-4506-933C-AED4861CFC8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8" name="Rechthoek 130">
              <a:extLst>
                <a:ext uri="{FF2B5EF4-FFF2-40B4-BE49-F238E27FC236}">
                  <a16:creationId xmlns:a16="http://schemas.microsoft.com/office/drawing/2014/main" id="{F89FD12B-CCDB-4EB4-B0A7-AFD5CCE7D284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1277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49" name="Rechthoek 133">
              <a:extLst>
                <a:ext uri="{FF2B5EF4-FFF2-40B4-BE49-F238E27FC236}">
                  <a16:creationId xmlns:a16="http://schemas.microsoft.com/office/drawing/2014/main" id="{6A485D93-0FAA-4147-A4EA-8EC80B5EAB71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239479" marR="0" lvl="0" indent="-239479" algn="l" defTabSz="1277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1537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50" name="Rechthoek 136">
              <a:extLst>
                <a:ext uri="{FF2B5EF4-FFF2-40B4-BE49-F238E27FC236}">
                  <a16:creationId xmlns:a16="http://schemas.microsoft.com/office/drawing/2014/main" id="{BB0CB53E-11EF-477C-BE13-7DE257BC42F9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239479" marR="0" lvl="0" indent="-239479" algn="l" defTabSz="1277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1537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51" name="Rechthoek 139">
              <a:extLst>
                <a:ext uri="{FF2B5EF4-FFF2-40B4-BE49-F238E27FC236}">
                  <a16:creationId xmlns:a16="http://schemas.microsoft.com/office/drawing/2014/main" id="{5AC49D2B-0BA2-4398-B23A-5D9811CD5F65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239479" marR="0" lvl="0" indent="-239479" algn="l" defTabSz="1277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537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60" name="Rechte verbindingslijn 140">
              <a:extLst>
                <a:ext uri="{FF2B5EF4-FFF2-40B4-BE49-F238E27FC236}">
                  <a16:creationId xmlns:a16="http://schemas.microsoft.com/office/drawing/2014/main" id="{4DAF4CBF-B6A1-42BE-B12F-1CF59C2CC3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708223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ofdstu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jdelijke aanduiding voor afbeelding 17">
            <a:extLst>
              <a:ext uri="{FF2B5EF4-FFF2-40B4-BE49-F238E27FC236}">
                <a16:creationId xmlns:a16="http://schemas.microsoft.com/office/drawing/2014/main" id="{FCE83ED8-1632-45C0-9776-66D7AE22C04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" y="-31536"/>
            <a:ext cx="29224288" cy="3030675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1116000" anchor="ctr">
            <a:noAutofit/>
          </a:bodyPr>
          <a:lstStyle>
            <a:lvl1pPr marL="319306" indent="-319306" algn="ctr">
              <a:spcBef>
                <a:spcPts val="0"/>
              </a:spcBef>
              <a:spcAft>
                <a:spcPts val="0"/>
              </a:spcAft>
              <a:buNone/>
              <a:defRPr sz="1677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319306" lvl="0" indent="-319306" algn="ctr"/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6" name="Tijdelijke aanduiding voor verticale tekst 2">
            <a:extLst>
              <a:ext uri="{FF2B5EF4-FFF2-40B4-BE49-F238E27FC236}">
                <a16:creationId xmlns:a16="http://schemas.microsoft.com/office/drawing/2014/main" id="{5A35BD7A-B3CF-4DC4-9F54-201CE6D20B37}"/>
              </a:ext>
            </a:extLst>
          </p:cNvPr>
          <p:cNvSpPr>
            <a:spLocks noGrp="1"/>
          </p:cNvSpPr>
          <p:nvPr>
            <p:ph type="body" orient="vert" idx="27" hasCustomPrompt="1"/>
          </p:nvPr>
        </p:nvSpPr>
        <p:spPr>
          <a:xfrm>
            <a:off x="31332218" y="18091592"/>
            <a:ext cx="8494787" cy="5513364"/>
          </a:xfrm>
        </p:spPr>
        <p:txBody>
          <a:bodyPr vert="horz" anchor="t"/>
          <a:lstStyle>
            <a:lvl1pPr marL="0" indent="0" algn="r">
              <a:buFontTx/>
              <a:buNone/>
              <a:defRPr sz="2235" b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  <a:lvl6pPr marL="0" indent="0" algn="r">
              <a:buFontTx/>
              <a:buNone/>
              <a:defRPr>
                <a:latin typeface="+mj-lt"/>
              </a:defRPr>
            </a:lvl6pPr>
          </a:lstStyle>
          <a:p>
            <a:pPr lvl="0"/>
            <a:r>
              <a:rPr lang="nl-NL" noProof="0"/>
              <a:t>Platte tekst</a:t>
            </a:r>
          </a:p>
        </p:txBody>
      </p:sp>
      <p:sp>
        <p:nvSpPr>
          <p:cNvPr id="30" name="Tijdelijke aanduiding voor voettekst 4">
            <a:extLst>
              <a:ext uri="{FF2B5EF4-FFF2-40B4-BE49-F238E27FC236}">
                <a16:creationId xmlns:a16="http://schemas.microsoft.com/office/drawing/2014/main" id="{88E1252C-995D-4324-9AF2-1F90A93410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7" y="27345278"/>
            <a:ext cx="1802756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22298DC-FFF2-4203-A156-2D5C52D8F1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4" y="27329717"/>
            <a:ext cx="707320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6" name="Tijdelijke aanduiding voor verticale tekst 2">
            <a:extLst>
              <a:ext uri="{FF2B5EF4-FFF2-40B4-BE49-F238E27FC236}">
                <a16:creationId xmlns:a16="http://schemas.microsoft.com/office/drawing/2014/main" id="{0C2BFF95-BE2F-4339-9C65-620ECC5A9CA8}"/>
              </a:ext>
            </a:extLst>
          </p:cNvPr>
          <p:cNvSpPr>
            <a:spLocks noGrp="1"/>
          </p:cNvSpPr>
          <p:nvPr>
            <p:ph type="body" orient="vert" idx="29" hasCustomPrompt="1"/>
          </p:nvPr>
        </p:nvSpPr>
        <p:spPr>
          <a:xfrm>
            <a:off x="31332218" y="12578229"/>
            <a:ext cx="8494787" cy="5513364"/>
          </a:xfrm>
        </p:spPr>
        <p:txBody>
          <a:bodyPr vert="horz" anchor="b"/>
          <a:lstStyle>
            <a:lvl1pPr marL="0" indent="0" algn="r">
              <a:lnSpc>
                <a:spcPct val="100000"/>
              </a:lnSpc>
              <a:buFontTx/>
              <a:buNone/>
              <a:defRPr sz="6705" b="0" baseline="0">
                <a:solidFill>
                  <a:schemeClr val="tx2"/>
                </a:solidFill>
                <a:latin typeface="+mj-lt"/>
              </a:defRPr>
            </a:lvl1pPr>
            <a:lvl2pPr algn="r">
              <a:lnSpc>
                <a:spcPct val="100000"/>
              </a:lnSpc>
              <a:defRPr>
                <a:latin typeface="+mj-lt"/>
              </a:defRPr>
            </a:lvl2pPr>
            <a:lvl3pPr algn="r">
              <a:lnSpc>
                <a:spcPct val="100000"/>
              </a:lnSpc>
              <a:defRPr>
                <a:latin typeface="+mj-lt"/>
              </a:defRPr>
            </a:lvl3pPr>
            <a:lvl4pPr algn="r">
              <a:lnSpc>
                <a:spcPct val="100000"/>
              </a:lnSpc>
              <a:defRPr sz="6705">
                <a:solidFill>
                  <a:schemeClr val="tx2"/>
                </a:solidFill>
                <a:latin typeface="+mj-lt"/>
              </a:defRPr>
            </a:lvl4pPr>
            <a:lvl5pPr algn="r">
              <a:lnSpc>
                <a:spcPct val="100000"/>
              </a:lnSpc>
              <a:defRPr>
                <a:latin typeface="+mj-lt"/>
              </a:defRPr>
            </a:lvl5pPr>
          </a:lstStyle>
          <a:p>
            <a:pPr lvl="0"/>
            <a:r>
              <a:rPr lang="nl-NL" noProof="0"/>
              <a:t>Typ titel</a:t>
            </a:r>
          </a:p>
        </p:txBody>
      </p:sp>
      <p:sp>
        <p:nvSpPr>
          <p:cNvPr id="28" name="Tijdelijke aanduiding voor tekst 2">
            <a:extLst>
              <a:ext uri="{FF2B5EF4-FFF2-40B4-BE49-F238E27FC236}">
                <a16:creationId xmlns:a16="http://schemas.microsoft.com/office/drawing/2014/main" id="{96BEB92E-F202-471F-B7E9-FE333D4C057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399517" y="17837432"/>
            <a:ext cx="15877931" cy="8554531"/>
          </a:xfrm>
          <a:custGeom>
            <a:avLst/>
            <a:gdLst>
              <a:gd name="connsiteX0" fmla="*/ 0 w 4524067"/>
              <a:gd name="connsiteY0" fmla="*/ 42969 h 1602140"/>
              <a:gd name="connsiteX1" fmla="*/ 42969 w 4524067"/>
              <a:gd name="connsiteY1" fmla="*/ 0 h 1602140"/>
              <a:gd name="connsiteX2" fmla="*/ 4481098 w 4524067"/>
              <a:gd name="connsiteY2" fmla="*/ 0 h 1602140"/>
              <a:gd name="connsiteX3" fmla="*/ 4524067 w 4524067"/>
              <a:gd name="connsiteY3" fmla="*/ 42969 h 1602140"/>
              <a:gd name="connsiteX4" fmla="*/ 4524067 w 4524067"/>
              <a:gd name="connsiteY4" fmla="*/ 1559171 h 1602140"/>
              <a:gd name="connsiteX5" fmla="*/ 4481098 w 4524067"/>
              <a:gd name="connsiteY5" fmla="*/ 1602140 h 1602140"/>
              <a:gd name="connsiteX6" fmla="*/ 42969 w 4524067"/>
              <a:gd name="connsiteY6" fmla="*/ 1602140 h 1602140"/>
              <a:gd name="connsiteX7" fmla="*/ 0 w 4524067"/>
              <a:gd name="connsiteY7" fmla="*/ 1559171 h 1602140"/>
              <a:gd name="connsiteX8" fmla="*/ 0 w 4524067"/>
              <a:gd name="connsiteY8" fmla="*/ 42969 h 1602140"/>
              <a:gd name="connsiteX0" fmla="*/ 0 w 4524067"/>
              <a:gd name="connsiteY0" fmla="*/ 43141 h 1602312"/>
              <a:gd name="connsiteX1" fmla="*/ 42969 w 4524067"/>
              <a:gd name="connsiteY1" fmla="*/ 172 h 1602312"/>
              <a:gd name="connsiteX2" fmla="*/ 4136478 w 4524067"/>
              <a:gd name="connsiteY2" fmla="*/ 0 h 1602312"/>
              <a:gd name="connsiteX3" fmla="*/ 4481098 w 4524067"/>
              <a:gd name="connsiteY3" fmla="*/ 172 h 1602312"/>
              <a:gd name="connsiteX4" fmla="*/ 4524067 w 4524067"/>
              <a:gd name="connsiteY4" fmla="*/ 43141 h 1602312"/>
              <a:gd name="connsiteX5" fmla="*/ 4524067 w 4524067"/>
              <a:gd name="connsiteY5" fmla="*/ 1559343 h 1602312"/>
              <a:gd name="connsiteX6" fmla="*/ 4481098 w 4524067"/>
              <a:gd name="connsiteY6" fmla="*/ 1602312 h 1602312"/>
              <a:gd name="connsiteX7" fmla="*/ 42969 w 4524067"/>
              <a:gd name="connsiteY7" fmla="*/ 1602312 h 1602312"/>
              <a:gd name="connsiteX8" fmla="*/ 0 w 4524067"/>
              <a:gd name="connsiteY8" fmla="*/ 1559343 h 1602312"/>
              <a:gd name="connsiteX9" fmla="*/ 0 w 4524067"/>
              <a:gd name="connsiteY9" fmla="*/ 43141 h 1602312"/>
              <a:gd name="connsiteX0" fmla="*/ 0 w 4524067"/>
              <a:gd name="connsiteY0" fmla="*/ 43141 h 1602312"/>
              <a:gd name="connsiteX1" fmla="*/ 42969 w 4524067"/>
              <a:gd name="connsiteY1" fmla="*/ 172 h 1602312"/>
              <a:gd name="connsiteX2" fmla="*/ 4136478 w 4524067"/>
              <a:gd name="connsiteY2" fmla="*/ 0 h 1602312"/>
              <a:gd name="connsiteX3" fmla="*/ 4524067 w 4524067"/>
              <a:gd name="connsiteY3" fmla="*/ 43141 h 1602312"/>
              <a:gd name="connsiteX4" fmla="*/ 4524067 w 4524067"/>
              <a:gd name="connsiteY4" fmla="*/ 1559343 h 1602312"/>
              <a:gd name="connsiteX5" fmla="*/ 4481098 w 4524067"/>
              <a:gd name="connsiteY5" fmla="*/ 1602312 h 1602312"/>
              <a:gd name="connsiteX6" fmla="*/ 42969 w 4524067"/>
              <a:gd name="connsiteY6" fmla="*/ 1602312 h 1602312"/>
              <a:gd name="connsiteX7" fmla="*/ 0 w 4524067"/>
              <a:gd name="connsiteY7" fmla="*/ 1559343 h 1602312"/>
              <a:gd name="connsiteX8" fmla="*/ 0 w 4524067"/>
              <a:gd name="connsiteY8" fmla="*/ 43141 h 1602312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680"/>
              <a:gd name="connsiteY0" fmla="*/ 376237 h 1935408"/>
              <a:gd name="connsiteX1" fmla="*/ 42969 w 4526680"/>
              <a:gd name="connsiteY1" fmla="*/ 333268 h 1935408"/>
              <a:gd name="connsiteX2" fmla="*/ 4136478 w 4526680"/>
              <a:gd name="connsiteY2" fmla="*/ 333096 h 1935408"/>
              <a:gd name="connsiteX3" fmla="*/ 4526448 w 4526680"/>
              <a:gd name="connsiteY3" fmla="*/ 0 h 1935408"/>
              <a:gd name="connsiteX4" fmla="*/ 4524067 w 4526680"/>
              <a:gd name="connsiteY4" fmla="*/ 1892439 h 1935408"/>
              <a:gd name="connsiteX5" fmla="*/ 4481098 w 4526680"/>
              <a:gd name="connsiteY5" fmla="*/ 1935408 h 1935408"/>
              <a:gd name="connsiteX6" fmla="*/ 42969 w 4526680"/>
              <a:gd name="connsiteY6" fmla="*/ 1935408 h 1935408"/>
              <a:gd name="connsiteX7" fmla="*/ 0 w 4526680"/>
              <a:gd name="connsiteY7" fmla="*/ 1892439 h 1935408"/>
              <a:gd name="connsiteX8" fmla="*/ 0 w 4526680"/>
              <a:gd name="connsiteY8" fmla="*/ 376237 h 1935408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448"/>
              <a:gd name="connsiteY0" fmla="*/ 378618 h 1937789"/>
              <a:gd name="connsiteX1" fmla="*/ 42969 w 4526448"/>
              <a:gd name="connsiteY1" fmla="*/ 335649 h 1937789"/>
              <a:gd name="connsiteX2" fmla="*/ 4136478 w 4526448"/>
              <a:gd name="connsiteY2" fmla="*/ 335477 h 1937789"/>
              <a:gd name="connsiteX3" fmla="*/ 4526448 w 4526448"/>
              <a:gd name="connsiteY3" fmla="*/ 0 h 1937789"/>
              <a:gd name="connsiteX4" fmla="*/ 4524067 w 4526448"/>
              <a:gd name="connsiteY4" fmla="*/ 1894820 h 1937789"/>
              <a:gd name="connsiteX5" fmla="*/ 4481098 w 4526448"/>
              <a:gd name="connsiteY5" fmla="*/ 1937789 h 1937789"/>
              <a:gd name="connsiteX6" fmla="*/ 42969 w 4526448"/>
              <a:gd name="connsiteY6" fmla="*/ 1937789 h 1937789"/>
              <a:gd name="connsiteX7" fmla="*/ 0 w 4526448"/>
              <a:gd name="connsiteY7" fmla="*/ 1894820 h 1937789"/>
              <a:gd name="connsiteX8" fmla="*/ 0 w 4526448"/>
              <a:gd name="connsiteY8" fmla="*/ 378618 h 1937789"/>
              <a:gd name="connsiteX0" fmla="*/ 0 w 4526448"/>
              <a:gd name="connsiteY0" fmla="*/ 378618 h 1937789"/>
              <a:gd name="connsiteX1" fmla="*/ 42969 w 4526448"/>
              <a:gd name="connsiteY1" fmla="*/ 335649 h 1937789"/>
              <a:gd name="connsiteX2" fmla="*/ 4136478 w 4526448"/>
              <a:gd name="connsiteY2" fmla="*/ 335477 h 1937789"/>
              <a:gd name="connsiteX3" fmla="*/ 4526448 w 4526448"/>
              <a:gd name="connsiteY3" fmla="*/ 0 h 1937789"/>
              <a:gd name="connsiteX4" fmla="*/ 4524067 w 4526448"/>
              <a:gd name="connsiteY4" fmla="*/ 1894820 h 1937789"/>
              <a:gd name="connsiteX5" fmla="*/ 4481098 w 4526448"/>
              <a:gd name="connsiteY5" fmla="*/ 1937789 h 1937789"/>
              <a:gd name="connsiteX6" fmla="*/ 42969 w 4526448"/>
              <a:gd name="connsiteY6" fmla="*/ 1937789 h 1937789"/>
              <a:gd name="connsiteX7" fmla="*/ 0 w 4526448"/>
              <a:gd name="connsiteY7" fmla="*/ 1894820 h 1937789"/>
              <a:gd name="connsiteX8" fmla="*/ 0 w 4526448"/>
              <a:gd name="connsiteY8" fmla="*/ 378618 h 1937789"/>
              <a:gd name="connsiteX0" fmla="*/ 0 w 4526448"/>
              <a:gd name="connsiteY0" fmla="*/ 378618 h 1937789"/>
              <a:gd name="connsiteX1" fmla="*/ 42969 w 4526448"/>
              <a:gd name="connsiteY1" fmla="*/ 335649 h 1937789"/>
              <a:gd name="connsiteX2" fmla="*/ 4136478 w 4526448"/>
              <a:gd name="connsiteY2" fmla="*/ 335477 h 1937789"/>
              <a:gd name="connsiteX3" fmla="*/ 4526448 w 4526448"/>
              <a:gd name="connsiteY3" fmla="*/ 0 h 1937789"/>
              <a:gd name="connsiteX4" fmla="*/ 4524067 w 4526448"/>
              <a:gd name="connsiteY4" fmla="*/ 1894820 h 1937789"/>
              <a:gd name="connsiteX5" fmla="*/ 4481098 w 4526448"/>
              <a:gd name="connsiteY5" fmla="*/ 1937789 h 1937789"/>
              <a:gd name="connsiteX6" fmla="*/ 42969 w 4526448"/>
              <a:gd name="connsiteY6" fmla="*/ 1937789 h 1937789"/>
              <a:gd name="connsiteX7" fmla="*/ 0 w 4526448"/>
              <a:gd name="connsiteY7" fmla="*/ 1894820 h 1937789"/>
              <a:gd name="connsiteX8" fmla="*/ 0 w 4526448"/>
              <a:gd name="connsiteY8" fmla="*/ 378618 h 1937789"/>
              <a:gd name="connsiteX0" fmla="*/ 0 w 4526448"/>
              <a:gd name="connsiteY0" fmla="*/ 378618 h 1937789"/>
              <a:gd name="connsiteX1" fmla="*/ 42969 w 4526448"/>
              <a:gd name="connsiteY1" fmla="*/ 335649 h 1937789"/>
              <a:gd name="connsiteX2" fmla="*/ 4136478 w 4526448"/>
              <a:gd name="connsiteY2" fmla="*/ 335477 h 1937789"/>
              <a:gd name="connsiteX3" fmla="*/ 4526448 w 4526448"/>
              <a:gd name="connsiteY3" fmla="*/ 0 h 1937789"/>
              <a:gd name="connsiteX4" fmla="*/ 4524067 w 4526448"/>
              <a:gd name="connsiteY4" fmla="*/ 1894820 h 1937789"/>
              <a:gd name="connsiteX5" fmla="*/ 4481098 w 4526448"/>
              <a:gd name="connsiteY5" fmla="*/ 1937789 h 1937789"/>
              <a:gd name="connsiteX6" fmla="*/ 42969 w 4526448"/>
              <a:gd name="connsiteY6" fmla="*/ 1937789 h 1937789"/>
              <a:gd name="connsiteX7" fmla="*/ 0 w 4526448"/>
              <a:gd name="connsiteY7" fmla="*/ 1894820 h 1937789"/>
              <a:gd name="connsiteX8" fmla="*/ 0 w 4526448"/>
              <a:gd name="connsiteY8" fmla="*/ 378618 h 1937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26448" h="1937789">
                <a:moveTo>
                  <a:pt x="0" y="378618"/>
                </a:moveTo>
                <a:cubicBezTo>
                  <a:pt x="0" y="354887"/>
                  <a:pt x="19238" y="335649"/>
                  <a:pt x="42969" y="335649"/>
                </a:cubicBezTo>
                <a:lnTo>
                  <a:pt x="4136478" y="335477"/>
                </a:lnTo>
                <a:cubicBezTo>
                  <a:pt x="4337111" y="333983"/>
                  <a:pt x="4486946" y="218189"/>
                  <a:pt x="4526448" y="0"/>
                </a:cubicBezTo>
                <a:cubicBezTo>
                  <a:pt x="4525654" y="630813"/>
                  <a:pt x="4524861" y="1264007"/>
                  <a:pt x="4524067" y="1894820"/>
                </a:cubicBezTo>
                <a:cubicBezTo>
                  <a:pt x="4524067" y="1918551"/>
                  <a:pt x="4504829" y="1937789"/>
                  <a:pt x="4481098" y="1937789"/>
                </a:cubicBezTo>
                <a:lnTo>
                  <a:pt x="42969" y="1937789"/>
                </a:lnTo>
                <a:cubicBezTo>
                  <a:pt x="19238" y="1937789"/>
                  <a:pt x="0" y="1918551"/>
                  <a:pt x="0" y="1894820"/>
                </a:cubicBezTo>
                <a:lnTo>
                  <a:pt x="0" y="378618"/>
                </a:lnTo>
                <a:close/>
              </a:path>
            </a:pathLst>
          </a:custGeom>
          <a:solidFill>
            <a:schemeClr val="bg2">
              <a:alpha val="85000"/>
            </a:schemeClr>
          </a:solidFill>
        </p:spPr>
        <p:txBody>
          <a:bodyPr vert="horz" wrap="square" lIns="360000" tIns="576000" rIns="576000" bIns="180000" rtlCol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lang="nl-NL" sz="3352" b="0" dirty="0">
                <a:solidFill>
                  <a:schemeClr val="bg1"/>
                </a:solidFill>
                <a:latin typeface="+mj-lt"/>
              </a:defRPr>
            </a:lvl1pPr>
            <a:lvl2pPr>
              <a:defRPr lang="nl-NL" dirty="0">
                <a:solidFill>
                  <a:schemeClr val="bg1"/>
                </a:solidFill>
                <a:latin typeface="+mj-lt"/>
              </a:defRPr>
            </a:lvl2pPr>
            <a:lvl3pPr>
              <a:defRPr lang="nl-NL" dirty="0">
                <a:solidFill>
                  <a:schemeClr val="bg1"/>
                </a:solidFill>
                <a:latin typeface="+mj-lt"/>
              </a:defRPr>
            </a:lvl3pPr>
            <a:lvl4pPr>
              <a:defRPr lang="nl-NL" dirty="0">
                <a:solidFill>
                  <a:schemeClr val="bg1"/>
                </a:solidFill>
                <a:latin typeface="+mj-lt"/>
              </a:defRPr>
            </a:lvl4pPr>
            <a:lvl5pPr>
              <a:lnSpc>
                <a:spcPct val="100000"/>
              </a:lnSpc>
              <a:defRPr lang="nl-NL" sz="3352" b="0" dirty="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nl-NL" noProof="0"/>
              <a:t>Klik om tekst in te voegen</a:t>
            </a:r>
          </a:p>
        </p:txBody>
      </p:sp>
      <p:sp>
        <p:nvSpPr>
          <p:cNvPr id="29" name="Tijdelijke aanduiding voor datum 3">
            <a:extLst>
              <a:ext uri="{FF2B5EF4-FFF2-40B4-BE49-F238E27FC236}">
                <a16:creationId xmlns:a16="http://schemas.microsoft.com/office/drawing/2014/main" id="{0C185B4F-039F-4078-960F-6ACF6F50FA8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503"/>
            <a:ext cx="9622631" cy="1000848"/>
          </a:xfrm>
        </p:spPr>
        <p:txBody>
          <a:bodyPr/>
          <a:lstStyle/>
          <a:p>
            <a:fld id="{845E9234-8709-4007-9880-8F50EB01A15C}" type="datetime1">
              <a:rPr lang="nl-NL" noProof="0" smtClean="0"/>
              <a:t>26-6-2023</a:t>
            </a:fld>
            <a:endParaRPr lang="nl-NL" noProof="0"/>
          </a:p>
        </p:txBody>
      </p:sp>
      <p:pic>
        <p:nvPicPr>
          <p:cNvPr id="69" name="Afbeelding 68">
            <a:extLst>
              <a:ext uri="{FF2B5EF4-FFF2-40B4-BE49-F238E27FC236}">
                <a16:creationId xmlns:a16="http://schemas.microsoft.com/office/drawing/2014/main" id="{01F347DF-1A12-48D1-89CE-4FB17CBFE6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5" y="831727"/>
            <a:ext cx="9249575" cy="4281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3357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uiExpand="1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2"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3"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4"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5">
            <p:tnLst>
              <p:par>
                <p:cTn presetID="2" presetClass="entr" presetSubtype="2" decel="100000" fill="hold" nodeType="withEffect" nodePh="1">
                  <p:stCondLst>
                    <p:cond delay="10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6" grpId="0" uiExpand="1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2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3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4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5">
            <p:tnLst>
              <p:par>
                <p:cTn presetID="2" presetClass="entr" presetSubtype="2" decel="100000" fill="hold" nodeType="withEffect" nodePh="1">
                  <p:stCondLst>
                    <p:cond delay="5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8" grpId="0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2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2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kaders + Uitleg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Tijdelijke aanduiding voor tekst 3">
            <a:extLst>
              <a:ext uri="{FF2B5EF4-FFF2-40B4-BE49-F238E27FC236}">
                <a16:creationId xmlns:a16="http://schemas.microsoft.com/office/drawing/2014/main" id="{62C5E5DA-733C-4AA3-9467-0732E67E8A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687090" y="21776192"/>
            <a:ext cx="5345251" cy="3935018"/>
          </a:xfrm>
          <a:custGeom>
            <a:avLst/>
            <a:gdLst>
              <a:gd name="connsiteX0" fmla="*/ 0 w 6217773"/>
              <a:gd name="connsiteY0" fmla="*/ 631093 h 5069018"/>
              <a:gd name="connsiteX1" fmla="*/ 631093 w 6217773"/>
              <a:gd name="connsiteY1" fmla="*/ 0 h 5069018"/>
              <a:gd name="connsiteX2" fmla="*/ 5586680 w 6217773"/>
              <a:gd name="connsiteY2" fmla="*/ 0 h 5069018"/>
              <a:gd name="connsiteX3" fmla="*/ 6217773 w 6217773"/>
              <a:gd name="connsiteY3" fmla="*/ 631093 h 5069018"/>
              <a:gd name="connsiteX4" fmla="*/ 6217773 w 6217773"/>
              <a:gd name="connsiteY4" fmla="*/ 4437925 h 5069018"/>
              <a:gd name="connsiteX5" fmla="*/ 5586680 w 6217773"/>
              <a:gd name="connsiteY5" fmla="*/ 5069018 h 5069018"/>
              <a:gd name="connsiteX6" fmla="*/ 631093 w 6217773"/>
              <a:gd name="connsiteY6" fmla="*/ 5069018 h 5069018"/>
              <a:gd name="connsiteX7" fmla="*/ 0 w 6217773"/>
              <a:gd name="connsiteY7" fmla="*/ 4437925 h 5069018"/>
              <a:gd name="connsiteX8" fmla="*/ 0 w 6217773"/>
              <a:gd name="connsiteY8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31029 w 6248802"/>
              <a:gd name="connsiteY0" fmla="*/ 638400 h 5076325"/>
              <a:gd name="connsiteX1" fmla="*/ 35792 w 6248802"/>
              <a:gd name="connsiteY1" fmla="*/ 228 h 5076325"/>
              <a:gd name="connsiteX2" fmla="*/ 662122 w 6248802"/>
              <a:gd name="connsiteY2" fmla="*/ 7307 h 5076325"/>
              <a:gd name="connsiteX3" fmla="*/ 5617709 w 6248802"/>
              <a:gd name="connsiteY3" fmla="*/ 7307 h 5076325"/>
              <a:gd name="connsiteX4" fmla="*/ 6248802 w 6248802"/>
              <a:gd name="connsiteY4" fmla="*/ 638400 h 5076325"/>
              <a:gd name="connsiteX5" fmla="*/ 6248802 w 6248802"/>
              <a:gd name="connsiteY5" fmla="*/ 4445232 h 5076325"/>
              <a:gd name="connsiteX6" fmla="*/ 5617709 w 6248802"/>
              <a:gd name="connsiteY6" fmla="*/ 5076325 h 5076325"/>
              <a:gd name="connsiteX7" fmla="*/ 662122 w 6248802"/>
              <a:gd name="connsiteY7" fmla="*/ 5076325 h 5076325"/>
              <a:gd name="connsiteX8" fmla="*/ 31029 w 6248802"/>
              <a:gd name="connsiteY8" fmla="*/ 4445232 h 5076325"/>
              <a:gd name="connsiteX9" fmla="*/ 31029 w 6248802"/>
              <a:gd name="connsiteY9" fmla="*/ 638400 h 5076325"/>
              <a:gd name="connsiteX0" fmla="*/ 0 w 6217773"/>
              <a:gd name="connsiteY0" fmla="*/ 638860 h 5076785"/>
              <a:gd name="connsiteX1" fmla="*/ 4763 w 6217773"/>
              <a:gd name="connsiteY1" fmla="*/ 688 h 5076785"/>
              <a:gd name="connsiteX2" fmla="*/ 631093 w 6217773"/>
              <a:gd name="connsiteY2" fmla="*/ 7767 h 5076785"/>
              <a:gd name="connsiteX3" fmla="*/ 5586680 w 6217773"/>
              <a:gd name="connsiteY3" fmla="*/ 7767 h 5076785"/>
              <a:gd name="connsiteX4" fmla="*/ 6217773 w 6217773"/>
              <a:gd name="connsiteY4" fmla="*/ 638860 h 5076785"/>
              <a:gd name="connsiteX5" fmla="*/ 6217773 w 6217773"/>
              <a:gd name="connsiteY5" fmla="*/ 4445692 h 5076785"/>
              <a:gd name="connsiteX6" fmla="*/ 5586680 w 6217773"/>
              <a:gd name="connsiteY6" fmla="*/ 5076785 h 5076785"/>
              <a:gd name="connsiteX7" fmla="*/ 631093 w 6217773"/>
              <a:gd name="connsiteY7" fmla="*/ 5076785 h 5076785"/>
              <a:gd name="connsiteX8" fmla="*/ 0 w 6217773"/>
              <a:gd name="connsiteY8" fmla="*/ 4445692 h 5076785"/>
              <a:gd name="connsiteX9" fmla="*/ 0 w 6217773"/>
              <a:gd name="connsiteY9" fmla="*/ 638860 h 5076785"/>
              <a:gd name="connsiteX0" fmla="*/ 64 w 6217837"/>
              <a:gd name="connsiteY0" fmla="*/ 638860 h 5076785"/>
              <a:gd name="connsiteX1" fmla="*/ 4827 w 6217837"/>
              <a:gd name="connsiteY1" fmla="*/ 688 h 5076785"/>
              <a:gd name="connsiteX2" fmla="*/ 631157 w 6217837"/>
              <a:gd name="connsiteY2" fmla="*/ 7767 h 5076785"/>
              <a:gd name="connsiteX3" fmla="*/ 5586744 w 6217837"/>
              <a:gd name="connsiteY3" fmla="*/ 7767 h 5076785"/>
              <a:gd name="connsiteX4" fmla="*/ 6217837 w 6217837"/>
              <a:gd name="connsiteY4" fmla="*/ 638860 h 5076785"/>
              <a:gd name="connsiteX5" fmla="*/ 6217837 w 6217837"/>
              <a:gd name="connsiteY5" fmla="*/ 4445692 h 5076785"/>
              <a:gd name="connsiteX6" fmla="*/ 5586744 w 6217837"/>
              <a:gd name="connsiteY6" fmla="*/ 5076785 h 5076785"/>
              <a:gd name="connsiteX7" fmla="*/ 631157 w 6217837"/>
              <a:gd name="connsiteY7" fmla="*/ 5076785 h 5076785"/>
              <a:gd name="connsiteX8" fmla="*/ 64 w 6217837"/>
              <a:gd name="connsiteY8" fmla="*/ 4445692 h 5076785"/>
              <a:gd name="connsiteX9" fmla="*/ 64 w 6217837"/>
              <a:gd name="connsiteY9" fmla="*/ 638860 h 5076785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586744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19941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17837" h="5069018">
                <a:moveTo>
                  <a:pt x="64" y="631093"/>
                </a:moveTo>
                <a:cubicBezTo>
                  <a:pt x="4033" y="467051"/>
                  <a:pt x="-5105" y="12378"/>
                  <a:pt x="4827" y="2446"/>
                </a:cubicBezTo>
                <a:cubicBezTo>
                  <a:pt x="11584" y="-1136"/>
                  <a:pt x="507287" y="937"/>
                  <a:pt x="631157" y="0"/>
                </a:cubicBezTo>
                <a:lnTo>
                  <a:pt x="5819941" y="0"/>
                </a:lnTo>
                <a:cubicBezTo>
                  <a:pt x="6168484" y="0"/>
                  <a:pt x="6217837" y="282550"/>
                  <a:pt x="6217837" y="631093"/>
                </a:cubicBezTo>
                <a:lnTo>
                  <a:pt x="6217837" y="4437925"/>
                </a:lnTo>
                <a:cubicBezTo>
                  <a:pt x="6217837" y="4786468"/>
                  <a:pt x="6155528" y="5069018"/>
                  <a:pt x="5806985" y="5069018"/>
                </a:cubicBezTo>
                <a:lnTo>
                  <a:pt x="449783" y="5069018"/>
                </a:lnTo>
                <a:cubicBezTo>
                  <a:pt x="101240" y="5069018"/>
                  <a:pt x="64" y="4786468"/>
                  <a:pt x="64" y="4437925"/>
                </a:cubicBezTo>
                <a:lnTo>
                  <a:pt x="64" y="631093"/>
                </a:lnTo>
                <a:close/>
              </a:path>
            </a:pathLst>
          </a:custGeom>
          <a:solidFill>
            <a:schemeClr val="bg2"/>
          </a:solidFill>
        </p:spPr>
        <p:txBody>
          <a:bodyPr lIns="504000" tIns="252000" rIns="252000" bIns="360000"/>
          <a:lstStyle>
            <a:lvl1pPr>
              <a:defRPr sz="1677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Punt 4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78" y="1766065"/>
            <a:ext cx="32281087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78" y="3469430"/>
            <a:ext cx="32281087" cy="1195424"/>
          </a:xfrm>
        </p:spPr>
        <p:txBody>
          <a:bodyPr>
            <a:noAutofit/>
          </a:bodyPr>
          <a:lstStyle>
            <a:lvl1pPr marL="0" marR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794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grpSp>
        <p:nvGrpSpPr>
          <p:cNvPr id="38" name="GRID" hidden="1">
            <a:extLst>
              <a:ext uri="{FF2B5EF4-FFF2-40B4-BE49-F238E27FC236}">
                <a16:creationId xmlns:a16="http://schemas.microsoft.com/office/drawing/2014/main" id="{51D5F7E8-69F8-47AD-81F5-1645C97607C1}"/>
              </a:ext>
            </a:extLst>
          </p:cNvPr>
          <p:cNvGrpSpPr/>
          <p:nvPr userDrawn="1"/>
        </p:nvGrpSpPr>
        <p:grpSpPr>
          <a:xfrm>
            <a:off x="4" y="0"/>
            <a:ext cx="42767263" cy="30275213"/>
            <a:chOff x="0" y="0"/>
            <a:chExt cx="12192003" cy="6858000"/>
          </a:xfrm>
        </p:grpSpPr>
        <p:sp>
          <p:nvSpPr>
            <p:cNvPr id="39" name="Rechthoek 38">
              <a:extLst>
                <a:ext uri="{FF2B5EF4-FFF2-40B4-BE49-F238E27FC236}">
                  <a16:creationId xmlns:a16="http://schemas.microsoft.com/office/drawing/2014/main" id="{71DB2C92-E6A8-4532-98F6-C917E7F5CD17}"/>
                </a:ext>
              </a:extLst>
            </p:cNvPr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40" name="Rechthoek 39">
              <a:extLst>
                <a:ext uri="{FF2B5EF4-FFF2-40B4-BE49-F238E27FC236}">
                  <a16:creationId xmlns:a16="http://schemas.microsoft.com/office/drawing/2014/main" id="{1283F161-5F8A-45E1-A9F2-F823FC1CB0A5}"/>
                </a:ext>
              </a:extLst>
            </p:cNvPr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41" name="Rechthoek 40">
              <a:extLst>
                <a:ext uri="{FF2B5EF4-FFF2-40B4-BE49-F238E27FC236}">
                  <a16:creationId xmlns:a16="http://schemas.microsoft.com/office/drawing/2014/main" id="{E25AE021-76F4-4113-9019-FB3CB3351AD2}"/>
                </a:ext>
              </a:extLst>
            </p:cNvPr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42" name="Rechthoek 41">
              <a:extLst>
                <a:ext uri="{FF2B5EF4-FFF2-40B4-BE49-F238E27FC236}">
                  <a16:creationId xmlns:a16="http://schemas.microsoft.com/office/drawing/2014/main" id="{4F56F574-960D-4395-B98C-5F49ED9EF418}"/>
                </a:ext>
              </a:extLst>
            </p:cNvPr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34E307D0-CCA0-4BDF-BC5F-E19838E9F7DA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44" name="Rechthoek 43">
              <a:extLst>
                <a:ext uri="{FF2B5EF4-FFF2-40B4-BE49-F238E27FC236}">
                  <a16:creationId xmlns:a16="http://schemas.microsoft.com/office/drawing/2014/main" id="{2AEE0B25-FBCC-4048-A2C0-6D97C3E7FEB7}"/>
                </a:ext>
              </a:extLst>
            </p:cNvPr>
            <p:cNvSpPr/>
            <p:nvPr userDrawn="1"/>
          </p:nvSpPr>
          <p:spPr>
            <a:xfrm rot="5400000">
              <a:off x="5895976" y="-108104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</p:grp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503"/>
            <a:ext cx="9622631" cy="1000848"/>
          </a:xfrm>
        </p:spPr>
        <p:txBody>
          <a:bodyPr/>
          <a:lstStyle/>
          <a:p>
            <a:endParaRPr lang="nl-NL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7" y="27345278"/>
            <a:ext cx="18027561" cy="1000848"/>
          </a:xfrm>
        </p:spPr>
        <p:txBody>
          <a:bodyPr/>
          <a:lstStyle>
            <a:lvl1pPr>
              <a:defRPr/>
            </a:lvl1pPr>
          </a:lstStyle>
          <a:p>
            <a:endParaRPr lang="nl-NL" noProof="0"/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4" y="27329717"/>
            <a:ext cx="707320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1B658E1F-0E98-4ED4-B7E8-3A0C15D75D3F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687090" y="6308643"/>
            <a:ext cx="5345251" cy="3935018"/>
          </a:xfrm>
          <a:custGeom>
            <a:avLst/>
            <a:gdLst>
              <a:gd name="connsiteX0" fmla="*/ 0 w 6217773"/>
              <a:gd name="connsiteY0" fmla="*/ 631093 h 5069018"/>
              <a:gd name="connsiteX1" fmla="*/ 631093 w 6217773"/>
              <a:gd name="connsiteY1" fmla="*/ 0 h 5069018"/>
              <a:gd name="connsiteX2" fmla="*/ 5586680 w 6217773"/>
              <a:gd name="connsiteY2" fmla="*/ 0 h 5069018"/>
              <a:gd name="connsiteX3" fmla="*/ 6217773 w 6217773"/>
              <a:gd name="connsiteY3" fmla="*/ 631093 h 5069018"/>
              <a:gd name="connsiteX4" fmla="*/ 6217773 w 6217773"/>
              <a:gd name="connsiteY4" fmla="*/ 4437925 h 5069018"/>
              <a:gd name="connsiteX5" fmla="*/ 5586680 w 6217773"/>
              <a:gd name="connsiteY5" fmla="*/ 5069018 h 5069018"/>
              <a:gd name="connsiteX6" fmla="*/ 631093 w 6217773"/>
              <a:gd name="connsiteY6" fmla="*/ 5069018 h 5069018"/>
              <a:gd name="connsiteX7" fmla="*/ 0 w 6217773"/>
              <a:gd name="connsiteY7" fmla="*/ 4437925 h 5069018"/>
              <a:gd name="connsiteX8" fmla="*/ 0 w 6217773"/>
              <a:gd name="connsiteY8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31029 w 6248802"/>
              <a:gd name="connsiteY0" fmla="*/ 638400 h 5076325"/>
              <a:gd name="connsiteX1" fmla="*/ 35792 w 6248802"/>
              <a:gd name="connsiteY1" fmla="*/ 228 h 5076325"/>
              <a:gd name="connsiteX2" fmla="*/ 662122 w 6248802"/>
              <a:gd name="connsiteY2" fmla="*/ 7307 h 5076325"/>
              <a:gd name="connsiteX3" fmla="*/ 5617709 w 6248802"/>
              <a:gd name="connsiteY3" fmla="*/ 7307 h 5076325"/>
              <a:gd name="connsiteX4" fmla="*/ 6248802 w 6248802"/>
              <a:gd name="connsiteY4" fmla="*/ 638400 h 5076325"/>
              <a:gd name="connsiteX5" fmla="*/ 6248802 w 6248802"/>
              <a:gd name="connsiteY5" fmla="*/ 4445232 h 5076325"/>
              <a:gd name="connsiteX6" fmla="*/ 5617709 w 6248802"/>
              <a:gd name="connsiteY6" fmla="*/ 5076325 h 5076325"/>
              <a:gd name="connsiteX7" fmla="*/ 662122 w 6248802"/>
              <a:gd name="connsiteY7" fmla="*/ 5076325 h 5076325"/>
              <a:gd name="connsiteX8" fmla="*/ 31029 w 6248802"/>
              <a:gd name="connsiteY8" fmla="*/ 4445232 h 5076325"/>
              <a:gd name="connsiteX9" fmla="*/ 31029 w 6248802"/>
              <a:gd name="connsiteY9" fmla="*/ 638400 h 5076325"/>
              <a:gd name="connsiteX0" fmla="*/ 0 w 6217773"/>
              <a:gd name="connsiteY0" fmla="*/ 638860 h 5076785"/>
              <a:gd name="connsiteX1" fmla="*/ 4763 w 6217773"/>
              <a:gd name="connsiteY1" fmla="*/ 688 h 5076785"/>
              <a:gd name="connsiteX2" fmla="*/ 631093 w 6217773"/>
              <a:gd name="connsiteY2" fmla="*/ 7767 h 5076785"/>
              <a:gd name="connsiteX3" fmla="*/ 5586680 w 6217773"/>
              <a:gd name="connsiteY3" fmla="*/ 7767 h 5076785"/>
              <a:gd name="connsiteX4" fmla="*/ 6217773 w 6217773"/>
              <a:gd name="connsiteY4" fmla="*/ 638860 h 5076785"/>
              <a:gd name="connsiteX5" fmla="*/ 6217773 w 6217773"/>
              <a:gd name="connsiteY5" fmla="*/ 4445692 h 5076785"/>
              <a:gd name="connsiteX6" fmla="*/ 5586680 w 6217773"/>
              <a:gd name="connsiteY6" fmla="*/ 5076785 h 5076785"/>
              <a:gd name="connsiteX7" fmla="*/ 631093 w 6217773"/>
              <a:gd name="connsiteY7" fmla="*/ 5076785 h 5076785"/>
              <a:gd name="connsiteX8" fmla="*/ 0 w 6217773"/>
              <a:gd name="connsiteY8" fmla="*/ 4445692 h 5076785"/>
              <a:gd name="connsiteX9" fmla="*/ 0 w 6217773"/>
              <a:gd name="connsiteY9" fmla="*/ 638860 h 5076785"/>
              <a:gd name="connsiteX0" fmla="*/ 64 w 6217837"/>
              <a:gd name="connsiteY0" fmla="*/ 638860 h 5076785"/>
              <a:gd name="connsiteX1" fmla="*/ 4827 w 6217837"/>
              <a:gd name="connsiteY1" fmla="*/ 688 h 5076785"/>
              <a:gd name="connsiteX2" fmla="*/ 631157 w 6217837"/>
              <a:gd name="connsiteY2" fmla="*/ 7767 h 5076785"/>
              <a:gd name="connsiteX3" fmla="*/ 5586744 w 6217837"/>
              <a:gd name="connsiteY3" fmla="*/ 7767 h 5076785"/>
              <a:gd name="connsiteX4" fmla="*/ 6217837 w 6217837"/>
              <a:gd name="connsiteY4" fmla="*/ 638860 h 5076785"/>
              <a:gd name="connsiteX5" fmla="*/ 6217837 w 6217837"/>
              <a:gd name="connsiteY5" fmla="*/ 4445692 h 5076785"/>
              <a:gd name="connsiteX6" fmla="*/ 5586744 w 6217837"/>
              <a:gd name="connsiteY6" fmla="*/ 5076785 h 5076785"/>
              <a:gd name="connsiteX7" fmla="*/ 631157 w 6217837"/>
              <a:gd name="connsiteY7" fmla="*/ 5076785 h 5076785"/>
              <a:gd name="connsiteX8" fmla="*/ 64 w 6217837"/>
              <a:gd name="connsiteY8" fmla="*/ 4445692 h 5076785"/>
              <a:gd name="connsiteX9" fmla="*/ 64 w 6217837"/>
              <a:gd name="connsiteY9" fmla="*/ 638860 h 5076785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586744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19941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17837" h="5069018">
                <a:moveTo>
                  <a:pt x="64" y="631093"/>
                </a:moveTo>
                <a:cubicBezTo>
                  <a:pt x="4033" y="467051"/>
                  <a:pt x="-5105" y="12378"/>
                  <a:pt x="4827" y="2446"/>
                </a:cubicBezTo>
                <a:cubicBezTo>
                  <a:pt x="11584" y="-1136"/>
                  <a:pt x="507287" y="937"/>
                  <a:pt x="631157" y="0"/>
                </a:cubicBezTo>
                <a:lnTo>
                  <a:pt x="5819941" y="0"/>
                </a:lnTo>
                <a:cubicBezTo>
                  <a:pt x="6168484" y="0"/>
                  <a:pt x="6217837" y="282550"/>
                  <a:pt x="6217837" y="631093"/>
                </a:cubicBezTo>
                <a:lnTo>
                  <a:pt x="6217837" y="4437925"/>
                </a:lnTo>
                <a:cubicBezTo>
                  <a:pt x="6217837" y="4786468"/>
                  <a:pt x="6155528" y="5069018"/>
                  <a:pt x="5806985" y="5069018"/>
                </a:cubicBezTo>
                <a:lnTo>
                  <a:pt x="449783" y="5069018"/>
                </a:lnTo>
                <a:cubicBezTo>
                  <a:pt x="101240" y="5069018"/>
                  <a:pt x="64" y="4786468"/>
                  <a:pt x="64" y="4437925"/>
                </a:cubicBezTo>
                <a:lnTo>
                  <a:pt x="64" y="631093"/>
                </a:lnTo>
                <a:close/>
              </a:path>
            </a:pathLst>
          </a:custGeom>
          <a:solidFill>
            <a:schemeClr val="bg2"/>
          </a:solidFill>
        </p:spPr>
        <p:txBody>
          <a:bodyPr lIns="504000" tIns="252000" rIns="252000" bIns="360000"/>
          <a:lstStyle>
            <a:lvl1pPr>
              <a:defRPr sz="1677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Punt 1</a:t>
            </a:r>
          </a:p>
        </p:txBody>
      </p:sp>
      <p:sp>
        <p:nvSpPr>
          <p:cNvPr id="163" name="Tijdelijke aanduiding voor tekst 3">
            <a:extLst>
              <a:ext uri="{FF2B5EF4-FFF2-40B4-BE49-F238E27FC236}">
                <a16:creationId xmlns:a16="http://schemas.microsoft.com/office/drawing/2014/main" id="{D63CF0FC-A378-4DBC-879D-CF2808176423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687090" y="11464487"/>
            <a:ext cx="5345251" cy="3935018"/>
          </a:xfrm>
          <a:custGeom>
            <a:avLst/>
            <a:gdLst>
              <a:gd name="connsiteX0" fmla="*/ 0 w 6217773"/>
              <a:gd name="connsiteY0" fmla="*/ 631093 h 5069018"/>
              <a:gd name="connsiteX1" fmla="*/ 631093 w 6217773"/>
              <a:gd name="connsiteY1" fmla="*/ 0 h 5069018"/>
              <a:gd name="connsiteX2" fmla="*/ 5586680 w 6217773"/>
              <a:gd name="connsiteY2" fmla="*/ 0 h 5069018"/>
              <a:gd name="connsiteX3" fmla="*/ 6217773 w 6217773"/>
              <a:gd name="connsiteY3" fmla="*/ 631093 h 5069018"/>
              <a:gd name="connsiteX4" fmla="*/ 6217773 w 6217773"/>
              <a:gd name="connsiteY4" fmla="*/ 4437925 h 5069018"/>
              <a:gd name="connsiteX5" fmla="*/ 5586680 w 6217773"/>
              <a:gd name="connsiteY5" fmla="*/ 5069018 h 5069018"/>
              <a:gd name="connsiteX6" fmla="*/ 631093 w 6217773"/>
              <a:gd name="connsiteY6" fmla="*/ 5069018 h 5069018"/>
              <a:gd name="connsiteX7" fmla="*/ 0 w 6217773"/>
              <a:gd name="connsiteY7" fmla="*/ 4437925 h 5069018"/>
              <a:gd name="connsiteX8" fmla="*/ 0 w 6217773"/>
              <a:gd name="connsiteY8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31029 w 6248802"/>
              <a:gd name="connsiteY0" fmla="*/ 638400 h 5076325"/>
              <a:gd name="connsiteX1" fmla="*/ 35792 w 6248802"/>
              <a:gd name="connsiteY1" fmla="*/ 228 h 5076325"/>
              <a:gd name="connsiteX2" fmla="*/ 662122 w 6248802"/>
              <a:gd name="connsiteY2" fmla="*/ 7307 h 5076325"/>
              <a:gd name="connsiteX3" fmla="*/ 5617709 w 6248802"/>
              <a:gd name="connsiteY3" fmla="*/ 7307 h 5076325"/>
              <a:gd name="connsiteX4" fmla="*/ 6248802 w 6248802"/>
              <a:gd name="connsiteY4" fmla="*/ 638400 h 5076325"/>
              <a:gd name="connsiteX5" fmla="*/ 6248802 w 6248802"/>
              <a:gd name="connsiteY5" fmla="*/ 4445232 h 5076325"/>
              <a:gd name="connsiteX6" fmla="*/ 5617709 w 6248802"/>
              <a:gd name="connsiteY6" fmla="*/ 5076325 h 5076325"/>
              <a:gd name="connsiteX7" fmla="*/ 662122 w 6248802"/>
              <a:gd name="connsiteY7" fmla="*/ 5076325 h 5076325"/>
              <a:gd name="connsiteX8" fmla="*/ 31029 w 6248802"/>
              <a:gd name="connsiteY8" fmla="*/ 4445232 h 5076325"/>
              <a:gd name="connsiteX9" fmla="*/ 31029 w 6248802"/>
              <a:gd name="connsiteY9" fmla="*/ 638400 h 5076325"/>
              <a:gd name="connsiteX0" fmla="*/ 0 w 6217773"/>
              <a:gd name="connsiteY0" fmla="*/ 638860 h 5076785"/>
              <a:gd name="connsiteX1" fmla="*/ 4763 w 6217773"/>
              <a:gd name="connsiteY1" fmla="*/ 688 h 5076785"/>
              <a:gd name="connsiteX2" fmla="*/ 631093 w 6217773"/>
              <a:gd name="connsiteY2" fmla="*/ 7767 h 5076785"/>
              <a:gd name="connsiteX3" fmla="*/ 5586680 w 6217773"/>
              <a:gd name="connsiteY3" fmla="*/ 7767 h 5076785"/>
              <a:gd name="connsiteX4" fmla="*/ 6217773 w 6217773"/>
              <a:gd name="connsiteY4" fmla="*/ 638860 h 5076785"/>
              <a:gd name="connsiteX5" fmla="*/ 6217773 w 6217773"/>
              <a:gd name="connsiteY5" fmla="*/ 4445692 h 5076785"/>
              <a:gd name="connsiteX6" fmla="*/ 5586680 w 6217773"/>
              <a:gd name="connsiteY6" fmla="*/ 5076785 h 5076785"/>
              <a:gd name="connsiteX7" fmla="*/ 631093 w 6217773"/>
              <a:gd name="connsiteY7" fmla="*/ 5076785 h 5076785"/>
              <a:gd name="connsiteX8" fmla="*/ 0 w 6217773"/>
              <a:gd name="connsiteY8" fmla="*/ 4445692 h 5076785"/>
              <a:gd name="connsiteX9" fmla="*/ 0 w 6217773"/>
              <a:gd name="connsiteY9" fmla="*/ 638860 h 5076785"/>
              <a:gd name="connsiteX0" fmla="*/ 64 w 6217837"/>
              <a:gd name="connsiteY0" fmla="*/ 638860 h 5076785"/>
              <a:gd name="connsiteX1" fmla="*/ 4827 w 6217837"/>
              <a:gd name="connsiteY1" fmla="*/ 688 h 5076785"/>
              <a:gd name="connsiteX2" fmla="*/ 631157 w 6217837"/>
              <a:gd name="connsiteY2" fmla="*/ 7767 h 5076785"/>
              <a:gd name="connsiteX3" fmla="*/ 5586744 w 6217837"/>
              <a:gd name="connsiteY3" fmla="*/ 7767 h 5076785"/>
              <a:gd name="connsiteX4" fmla="*/ 6217837 w 6217837"/>
              <a:gd name="connsiteY4" fmla="*/ 638860 h 5076785"/>
              <a:gd name="connsiteX5" fmla="*/ 6217837 w 6217837"/>
              <a:gd name="connsiteY5" fmla="*/ 4445692 h 5076785"/>
              <a:gd name="connsiteX6" fmla="*/ 5586744 w 6217837"/>
              <a:gd name="connsiteY6" fmla="*/ 5076785 h 5076785"/>
              <a:gd name="connsiteX7" fmla="*/ 631157 w 6217837"/>
              <a:gd name="connsiteY7" fmla="*/ 5076785 h 5076785"/>
              <a:gd name="connsiteX8" fmla="*/ 64 w 6217837"/>
              <a:gd name="connsiteY8" fmla="*/ 4445692 h 5076785"/>
              <a:gd name="connsiteX9" fmla="*/ 64 w 6217837"/>
              <a:gd name="connsiteY9" fmla="*/ 638860 h 5076785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586744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19941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17837" h="5069018">
                <a:moveTo>
                  <a:pt x="64" y="631093"/>
                </a:moveTo>
                <a:cubicBezTo>
                  <a:pt x="4033" y="467051"/>
                  <a:pt x="-5105" y="12378"/>
                  <a:pt x="4827" y="2446"/>
                </a:cubicBezTo>
                <a:cubicBezTo>
                  <a:pt x="11584" y="-1136"/>
                  <a:pt x="507287" y="937"/>
                  <a:pt x="631157" y="0"/>
                </a:cubicBezTo>
                <a:lnTo>
                  <a:pt x="5819941" y="0"/>
                </a:lnTo>
                <a:cubicBezTo>
                  <a:pt x="6168484" y="0"/>
                  <a:pt x="6217837" y="282550"/>
                  <a:pt x="6217837" y="631093"/>
                </a:cubicBezTo>
                <a:lnTo>
                  <a:pt x="6217837" y="4437925"/>
                </a:lnTo>
                <a:cubicBezTo>
                  <a:pt x="6217837" y="4786468"/>
                  <a:pt x="6155528" y="5069018"/>
                  <a:pt x="5806985" y="5069018"/>
                </a:cubicBezTo>
                <a:lnTo>
                  <a:pt x="449783" y="5069018"/>
                </a:lnTo>
                <a:cubicBezTo>
                  <a:pt x="101240" y="5069018"/>
                  <a:pt x="64" y="4786468"/>
                  <a:pt x="64" y="4437925"/>
                </a:cubicBezTo>
                <a:lnTo>
                  <a:pt x="64" y="631093"/>
                </a:lnTo>
                <a:close/>
              </a:path>
            </a:pathLst>
          </a:custGeom>
          <a:solidFill>
            <a:schemeClr val="bg2"/>
          </a:solidFill>
        </p:spPr>
        <p:txBody>
          <a:bodyPr lIns="504000" tIns="252000" rIns="252000" bIns="360000"/>
          <a:lstStyle>
            <a:lvl1pPr>
              <a:defRPr sz="1677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Punt 2</a:t>
            </a:r>
          </a:p>
        </p:txBody>
      </p:sp>
      <p:sp>
        <p:nvSpPr>
          <p:cNvPr id="164" name="Tijdelijke aanduiding voor tekst 3">
            <a:extLst>
              <a:ext uri="{FF2B5EF4-FFF2-40B4-BE49-F238E27FC236}">
                <a16:creationId xmlns:a16="http://schemas.microsoft.com/office/drawing/2014/main" id="{3D564F2E-B66A-44B1-BD7F-8488248EED5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687090" y="16620337"/>
            <a:ext cx="5345251" cy="3935018"/>
          </a:xfrm>
          <a:custGeom>
            <a:avLst/>
            <a:gdLst>
              <a:gd name="connsiteX0" fmla="*/ 0 w 6217773"/>
              <a:gd name="connsiteY0" fmla="*/ 631093 h 5069018"/>
              <a:gd name="connsiteX1" fmla="*/ 631093 w 6217773"/>
              <a:gd name="connsiteY1" fmla="*/ 0 h 5069018"/>
              <a:gd name="connsiteX2" fmla="*/ 5586680 w 6217773"/>
              <a:gd name="connsiteY2" fmla="*/ 0 h 5069018"/>
              <a:gd name="connsiteX3" fmla="*/ 6217773 w 6217773"/>
              <a:gd name="connsiteY3" fmla="*/ 631093 h 5069018"/>
              <a:gd name="connsiteX4" fmla="*/ 6217773 w 6217773"/>
              <a:gd name="connsiteY4" fmla="*/ 4437925 h 5069018"/>
              <a:gd name="connsiteX5" fmla="*/ 5586680 w 6217773"/>
              <a:gd name="connsiteY5" fmla="*/ 5069018 h 5069018"/>
              <a:gd name="connsiteX6" fmla="*/ 631093 w 6217773"/>
              <a:gd name="connsiteY6" fmla="*/ 5069018 h 5069018"/>
              <a:gd name="connsiteX7" fmla="*/ 0 w 6217773"/>
              <a:gd name="connsiteY7" fmla="*/ 4437925 h 5069018"/>
              <a:gd name="connsiteX8" fmla="*/ 0 w 6217773"/>
              <a:gd name="connsiteY8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31029 w 6248802"/>
              <a:gd name="connsiteY0" fmla="*/ 638400 h 5076325"/>
              <a:gd name="connsiteX1" fmla="*/ 35792 w 6248802"/>
              <a:gd name="connsiteY1" fmla="*/ 228 h 5076325"/>
              <a:gd name="connsiteX2" fmla="*/ 662122 w 6248802"/>
              <a:gd name="connsiteY2" fmla="*/ 7307 h 5076325"/>
              <a:gd name="connsiteX3" fmla="*/ 5617709 w 6248802"/>
              <a:gd name="connsiteY3" fmla="*/ 7307 h 5076325"/>
              <a:gd name="connsiteX4" fmla="*/ 6248802 w 6248802"/>
              <a:gd name="connsiteY4" fmla="*/ 638400 h 5076325"/>
              <a:gd name="connsiteX5" fmla="*/ 6248802 w 6248802"/>
              <a:gd name="connsiteY5" fmla="*/ 4445232 h 5076325"/>
              <a:gd name="connsiteX6" fmla="*/ 5617709 w 6248802"/>
              <a:gd name="connsiteY6" fmla="*/ 5076325 h 5076325"/>
              <a:gd name="connsiteX7" fmla="*/ 662122 w 6248802"/>
              <a:gd name="connsiteY7" fmla="*/ 5076325 h 5076325"/>
              <a:gd name="connsiteX8" fmla="*/ 31029 w 6248802"/>
              <a:gd name="connsiteY8" fmla="*/ 4445232 h 5076325"/>
              <a:gd name="connsiteX9" fmla="*/ 31029 w 6248802"/>
              <a:gd name="connsiteY9" fmla="*/ 638400 h 5076325"/>
              <a:gd name="connsiteX0" fmla="*/ 0 w 6217773"/>
              <a:gd name="connsiteY0" fmla="*/ 638860 h 5076785"/>
              <a:gd name="connsiteX1" fmla="*/ 4763 w 6217773"/>
              <a:gd name="connsiteY1" fmla="*/ 688 h 5076785"/>
              <a:gd name="connsiteX2" fmla="*/ 631093 w 6217773"/>
              <a:gd name="connsiteY2" fmla="*/ 7767 h 5076785"/>
              <a:gd name="connsiteX3" fmla="*/ 5586680 w 6217773"/>
              <a:gd name="connsiteY3" fmla="*/ 7767 h 5076785"/>
              <a:gd name="connsiteX4" fmla="*/ 6217773 w 6217773"/>
              <a:gd name="connsiteY4" fmla="*/ 638860 h 5076785"/>
              <a:gd name="connsiteX5" fmla="*/ 6217773 w 6217773"/>
              <a:gd name="connsiteY5" fmla="*/ 4445692 h 5076785"/>
              <a:gd name="connsiteX6" fmla="*/ 5586680 w 6217773"/>
              <a:gd name="connsiteY6" fmla="*/ 5076785 h 5076785"/>
              <a:gd name="connsiteX7" fmla="*/ 631093 w 6217773"/>
              <a:gd name="connsiteY7" fmla="*/ 5076785 h 5076785"/>
              <a:gd name="connsiteX8" fmla="*/ 0 w 6217773"/>
              <a:gd name="connsiteY8" fmla="*/ 4445692 h 5076785"/>
              <a:gd name="connsiteX9" fmla="*/ 0 w 6217773"/>
              <a:gd name="connsiteY9" fmla="*/ 638860 h 5076785"/>
              <a:gd name="connsiteX0" fmla="*/ 64 w 6217837"/>
              <a:gd name="connsiteY0" fmla="*/ 638860 h 5076785"/>
              <a:gd name="connsiteX1" fmla="*/ 4827 w 6217837"/>
              <a:gd name="connsiteY1" fmla="*/ 688 h 5076785"/>
              <a:gd name="connsiteX2" fmla="*/ 631157 w 6217837"/>
              <a:gd name="connsiteY2" fmla="*/ 7767 h 5076785"/>
              <a:gd name="connsiteX3" fmla="*/ 5586744 w 6217837"/>
              <a:gd name="connsiteY3" fmla="*/ 7767 h 5076785"/>
              <a:gd name="connsiteX4" fmla="*/ 6217837 w 6217837"/>
              <a:gd name="connsiteY4" fmla="*/ 638860 h 5076785"/>
              <a:gd name="connsiteX5" fmla="*/ 6217837 w 6217837"/>
              <a:gd name="connsiteY5" fmla="*/ 4445692 h 5076785"/>
              <a:gd name="connsiteX6" fmla="*/ 5586744 w 6217837"/>
              <a:gd name="connsiteY6" fmla="*/ 5076785 h 5076785"/>
              <a:gd name="connsiteX7" fmla="*/ 631157 w 6217837"/>
              <a:gd name="connsiteY7" fmla="*/ 5076785 h 5076785"/>
              <a:gd name="connsiteX8" fmla="*/ 64 w 6217837"/>
              <a:gd name="connsiteY8" fmla="*/ 4445692 h 5076785"/>
              <a:gd name="connsiteX9" fmla="*/ 64 w 6217837"/>
              <a:gd name="connsiteY9" fmla="*/ 638860 h 5076785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586744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19941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17837" h="5069018">
                <a:moveTo>
                  <a:pt x="64" y="631093"/>
                </a:moveTo>
                <a:cubicBezTo>
                  <a:pt x="4033" y="467051"/>
                  <a:pt x="-5105" y="12378"/>
                  <a:pt x="4827" y="2446"/>
                </a:cubicBezTo>
                <a:cubicBezTo>
                  <a:pt x="11584" y="-1136"/>
                  <a:pt x="507287" y="937"/>
                  <a:pt x="631157" y="0"/>
                </a:cubicBezTo>
                <a:lnTo>
                  <a:pt x="5819941" y="0"/>
                </a:lnTo>
                <a:cubicBezTo>
                  <a:pt x="6168484" y="0"/>
                  <a:pt x="6217837" y="282550"/>
                  <a:pt x="6217837" y="631093"/>
                </a:cubicBezTo>
                <a:lnTo>
                  <a:pt x="6217837" y="4437925"/>
                </a:lnTo>
                <a:cubicBezTo>
                  <a:pt x="6217837" y="4786468"/>
                  <a:pt x="6155528" y="5069018"/>
                  <a:pt x="5806985" y="5069018"/>
                </a:cubicBezTo>
                <a:lnTo>
                  <a:pt x="449783" y="5069018"/>
                </a:lnTo>
                <a:cubicBezTo>
                  <a:pt x="101240" y="5069018"/>
                  <a:pt x="64" y="4786468"/>
                  <a:pt x="64" y="4437925"/>
                </a:cubicBezTo>
                <a:lnTo>
                  <a:pt x="64" y="631093"/>
                </a:lnTo>
                <a:close/>
              </a:path>
            </a:pathLst>
          </a:custGeom>
          <a:solidFill>
            <a:schemeClr val="bg2"/>
          </a:solidFill>
        </p:spPr>
        <p:txBody>
          <a:bodyPr lIns="504000" tIns="252000" rIns="252000" bIns="360000"/>
          <a:lstStyle>
            <a:lvl1pPr>
              <a:defRPr sz="1677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Punt 3</a:t>
            </a:r>
          </a:p>
        </p:txBody>
      </p:sp>
      <p:sp>
        <p:nvSpPr>
          <p:cNvPr id="160" name="Tijdelijke aanduiding voor tekst 2">
            <a:extLst>
              <a:ext uri="{FF2B5EF4-FFF2-40B4-BE49-F238E27FC236}">
                <a16:creationId xmlns:a16="http://schemas.microsoft.com/office/drawing/2014/main" id="{C8983519-A824-4AAD-84BE-E86BCCAA3C8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33805" y="6316515"/>
            <a:ext cx="26489660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127721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77" b="1">
                <a:solidFill>
                  <a:schemeClr val="bg2"/>
                </a:solidFill>
              </a:defRPr>
            </a:lvl1pPr>
            <a:lvl2pPr marL="0" indent="0">
              <a:buNone/>
              <a:defRPr sz="1677"/>
            </a:lvl2pPr>
            <a:lvl3pPr>
              <a:defRPr sz="1677"/>
            </a:lvl3pPr>
            <a:lvl4pPr>
              <a:defRPr sz="1677"/>
            </a:lvl4pPr>
            <a:lvl5pPr>
              <a:defRPr sz="1677">
                <a:solidFill>
                  <a:schemeClr val="bg2"/>
                </a:solidFill>
              </a:defRPr>
            </a:lvl5pPr>
          </a:lstStyle>
          <a:p>
            <a:pPr marL="0" marR="0" lvl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61" name="Tijdelijke aanduiding voor tekst 2">
            <a:extLst>
              <a:ext uri="{FF2B5EF4-FFF2-40B4-BE49-F238E27FC236}">
                <a16:creationId xmlns:a16="http://schemas.microsoft.com/office/drawing/2014/main" id="{AE7372F4-5605-49B5-BFA6-75FB9F7F477F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533805" y="11466944"/>
            <a:ext cx="26489660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127721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77" b="1">
                <a:solidFill>
                  <a:schemeClr val="bg2"/>
                </a:solidFill>
              </a:defRPr>
            </a:lvl1pPr>
            <a:lvl2pPr marL="0" indent="0">
              <a:buNone/>
              <a:defRPr sz="1677"/>
            </a:lvl2pPr>
            <a:lvl3pPr>
              <a:defRPr sz="1677"/>
            </a:lvl3pPr>
            <a:lvl4pPr>
              <a:defRPr sz="1677"/>
            </a:lvl4pPr>
            <a:lvl5pPr>
              <a:defRPr sz="1677">
                <a:solidFill>
                  <a:schemeClr val="bg2"/>
                </a:solidFill>
              </a:defRPr>
            </a:lvl5pPr>
          </a:lstStyle>
          <a:p>
            <a:pPr marL="0" marR="0" lvl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69" name="Tijdelijke aanduiding voor tekst 2">
            <a:extLst>
              <a:ext uri="{FF2B5EF4-FFF2-40B4-BE49-F238E27FC236}">
                <a16:creationId xmlns:a16="http://schemas.microsoft.com/office/drawing/2014/main" id="{6DF20755-33D3-4DFC-B8F1-88598EDF11D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533805" y="16623328"/>
            <a:ext cx="26489660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127721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77" b="1">
                <a:solidFill>
                  <a:schemeClr val="bg2"/>
                </a:solidFill>
              </a:defRPr>
            </a:lvl1pPr>
            <a:lvl2pPr marL="0" indent="0">
              <a:buNone/>
              <a:defRPr sz="1677"/>
            </a:lvl2pPr>
            <a:lvl3pPr>
              <a:defRPr sz="1677"/>
            </a:lvl3pPr>
            <a:lvl4pPr>
              <a:defRPr sz="1677"/>
            </a:lvl4pPr>
            <a:lvl5pPr>
              <a:defRPr sz="1677">
                <a:solidFill>
                  <a:schemeClr val="bg2"/>
                </a:solidFill>
              </a:defRPr>
            </a:lvl5pPr>
          </a:lstStyle>
          <a:p>
            <a:pPr marL="0" marR="0" lvl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70" name="Tijdelijke aanduiding voor tekst 2">
            <a:extLst>
              <a:ext uri="{FF2B5EF4-FFF2-40B4-BE49-F238E27FC236}">
                <a16:creationId xmlns:a16="http://schemas.microsoft.com/office/drawing/2014/main" id="{E9ABA610-FA89-4787-B010-B4676D2C42C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533805" y="21779707"/>
            <a:ext cx="26489660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127721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77" b="1">
                <a:solidFill>
                  <a:schemeClr val="bg2"/>
                </a:solidFill>
              </a:defRPr>
            </a:lvl1pPr>
            <a:lvl2pPr marL="0" indent="0">
              <a:buNone/>
              <a:defRPr sz="1677"/>
            </a:lvl2pPr>
            <a:lvl3pPr>
              <a:defRPr sz="1677"/>
            </a:lvl3pPr>
            <a:lvl4pPr>
              <a:defRPr sz="1677"/>
            </a:lvl4pPr>
            <a:lvl5pPr>
              <a:defRPr sz="1677">
                <a:solidFill>
                  <a:schemeClr val="bg2"/>
                </a:solidFill>
              </a:defRPr>
            </a:lvl5pPr>
          </a:lstStyle>
          <a:p>
            <a:pPr marL="0" marR="0" lvl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pic>
        <p:nvPicPr>
          <p:cNvPr id="24" name="Afbeelding 23">
            <a:extLst>
              <a:ext uri="{FF2B5EF4-FFF2-40B4-BE49-F238E27FC236}">
                <a16:creationId xmlns:a16="http://schemas.microsoft.com/office/drawing/2014/main" id="{E73F6112-D899-4F2E-A37F-7292DFE860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5" y="831727"/>
            <a:ext cx="9249575" cy="4281474"/>
          </a:xfrm>
          <a:prstGeom prst="rect">
            <a:avLst/>
          </a:prstGeom>
        </p:spPr>
      </p:pic>
      <p:grpSp>
        <p:nvGrpSpPr>
          <p:cNvPr id="25" name="Instructie">
            <a:extLst>
              <a:ext uri="{FF2B5EF4-FFF2-40B4-BE49-F238E27FC236}">
                <a16:creationId xmlns:a16="http://schemas.microsoft.com/office/drawing/2014/main" id="{6B80ED24-686D-4703-833A-DFF98BF6FA34}"/>
              </a:ext>
            </a:extLst>
          </p:cNvPr>
          <p:cNvGrpSpPr/>
          <p:nvPr userDrawn="1"/>
        </p:nvGrpSpPr>
        <p:grpSpPr>
          <a:xfrm>
            <a:off x="43268721" y="0"/>
            <a:ext cx="11164510" cy="11743958"/>
            <a:chOff x="-3426088" y="4512342"/>
            <a:chExt cx="3182755" cy="2660264"/>
          </a:xfrm>
        </p:grpSpPr>
        <p:sp>
          <p:nvSpPr>
            <p:cNvPr id="26" name="Rechthoek 127">
              <a:extLst>
                <a:ext uri="{FF2B5EF4-FFF2-40B4-BE49-F238E27FC236}">
                  <a16:creationId xmlns:a16="http://schemas.microsoft.com/office/drawing/2014/main" id="{062D4B2D-434F-47B3-A870-0155931F969C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1277217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957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27" name="Rechte verbindingslijn 128">
              <a:extLst>
                <a:ext uri="{FF2B5EF4-FFF2-40B4-BE49-F238E27FC236}">
                  <a16:creationId xmlns:a16="http://schemas.microsoft.com/office/drawing/2014/main" id="{77436DFA-7D76-4055-A207-4850EC866E9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8" name="Rechthoek 130">
              <a:extLst>
                <a:ext uri="{FF2B5EF4-FFF2-40B4-BE49-F238E27FC236}">
                  <a16:creationId xmlns:a16="http://schemas.microsoft.com/office/drawing/2014/main" id="{BE66A822-8F0B-4E68-8DDB-CDDE9A5FFC2C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1277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30" name="Rechthoek 133">
              <a:extLst>
                <a:ext uri="{FF2B5EF4-FFF2-40B4-BE49-F238E27FC236}">
                  <a16:creationId xmlns:a16="http://schemas.microsoft.com/office/drawing/2014/main" id="{994F4FAB-ECE6-40D4-A381-483634364B6A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239479" marR="0" lvl="0" indent="-239479" algn="l" defTabSz="1277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1537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31" name="Rechthoek 136">
              <a:extLst>
                <a:ext uri="{FF2B5EF4-FFF2-40B4-BE49-F238E27FC236}">
                  <a16:creationId xmlns:a16="http://schemas.microsoft.com/office/drawing/2014/main" id="{67AFAADF-A676-4765-A4AF-5B8C246FF961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239479" marR="0" lvl="0" indent="-239479" algn="l" defTabSz="1277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1537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32" name="Rechthoek 139">
              <a:extLst>
                <a:ext uri="{FF2B5EF4-FFF2-40B4-BE49-F238E27FC236}">
                  <a16:creationId xmlns:a16="http://schemas.microsoft.com/office/drawing/2014/main" id="{579184D9-BFD8-41CB-9056-6F3BD24C1777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239479" marR="0" lvl="0" indent="-239479" algn="l" defTabSz="1277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537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33" name="Rechte verbindingslijn 140">
              <a:extLst>
                <a:ext uri="{FF2B5EF4-FFF2-40B4-BE49-F238E27FC236}">
                  <a16:creationId xmlns:a16="http://schemas.microsoft.com/office/drawing/2014/main" id="{76B4A990-530A-4CD6-983D-6A5661EEDE9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852129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-media + tekst 50%50%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1742377" y="6476692"/>
            <a:ext cx="39446172" cy="3973575"/>
          </a:xfrm>
        </p:spPr>
        <p:txBody>
          <a:bodyPr vert="horz"/>
          <a:lstStyle>
            <a:lvl1pPr marL="0" marR="0" indent="0" algn="l" defTabSz="127721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b="1">
                <a:solidFill>
                  <a:schemeClr val="bg2"/>
                </a:solidFill>
                <a:latin typeface="+mj-lt"/>
              </a:defRPr>
            </a:lvl1pPr>
            <a:lvl2pPr marL="0" indent="0">
              <a:lnSpc>
                <a:spcPct val="120000"/>
              </a:lnSpc>
              <a:spcAft>
                <a:spcPts val="0"/>
              </a:spcAft>
              <a:buNone/>
              <a:defRPr/>
            </a:lvl2pPr>
            <a:lvl3pPr marL="875871" indent="-379174">
              <a:lnSpc>
                <a:spcPct val="70000"/>
              </a:lnSpc>
              <a:defRPr/>
            </a:lvl3pPr>
            <a:lvl4pPr>
              <a:lnSpc>
                <a:spcPct val="70000"/>
              </a:lnSpc>
              <a:defRPr/>
            </a:lvl4pPr>
            <a:lvl5pPr>
              <a:lnSpc>
                <a:spcPct val="70000"/>
              </a:lnSpc>
              <a:defRPr>
                <a:solidFill>
                  <a:schemeClr val="bg2"/>
                </a:solidFill>
              </a:defRPr>
            </a:lvl5pPr>
            <a:lvl6pPr marL="0" indent="0">
              <a:lnSpc>
                <a:spcPct val="70000"/>
              </a:lnSpc>
              <a:buFontTx/>
              <a:buNone/>
              <a:defRPr>
                <a:latin typeface="+mj-lt"/>
              </a:defRPr>
            </a:lvl6pPr>
          </a:lstStyle>
          <a:p>
            <a:pPr marL="0" marR="0" lvl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34" name="Titel 1">
            <a:extLst>
              <a:ext uri="{FF2B5EF4-FFF2-40B4-BE49-F238E27FC236}">
                <a16:creationId xmlns:a16="http://schemas.microsoft.com/office/drawing/2014/main" id="{53A6CE20-1E7A-4F87-96EC-7E964AA913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78" y="1766065"/>
            <a:ext cx="32281087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41" name="Tijdelijke aanduiding voor tekst 14">
            <a:extLst>
              <a:ext uri="{FF2B5EF4-FFF2-40B4-BE49-F238E27FC236}">
                <a16:creationId xmlns:a16="http://schemas.microsoft.com/office/drawing/2014/main" id="{4B035891-3F3E-4E86-9D5A-96D1E3B9D0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78" y="3469430"/>
            <a:ext cx="32281087" cy="1195424"/>
          </a:xfrm>
        </p:spPr>
        <p:txBody>
          <a:bodyPr>
            <a:noAutofit/>
          </a:bodyPr>
          <a:lstStyle>
            <a:lvl1pPr marL="0" marR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794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grpSp>
        <p:nvGrpSpPr>
          <p:cNvPr id="50" name="GRID" hidden="1">
            <a:extLst>
              <a:ext uri="{FF2B5EF4-FFF2-40B4-BE49-F238E27FC236}">
                <a16:creationId xmlns:a16="http://schemas.microsoft.com/office/drawing/2014/main" id="{C59E2946-118D-4C01-970E-FC9CE00C6395}"/>
              </a:ext>
            </a:extLst>
          </p:cNvPr>
          <p:cNvGrpSpPr/>
          <p:nvPr userDrawn="1"/>
        </p:nvGrpSpPr>
        <p:grpSpPr>
          <a:xfrm>
            <a:off x="4" y="0"/>
            <a:ext cx="42767263" cy="30275213"/>
            <a:chOff x="0" y="0"/>
            <a:chExt cx="12192003" cy="6858000"/>
          </a:xfrm>
        </p:grpSpPr>
        <p:sp>
          <p:nvSpPr>
            <p:cNvPr id="51" name="Rechthoek 50">
              <a:extLst>
                <a:ext uri="{FF2B5EF4-FFF2-40B4-BE49-F238E27FC236}">
                  <a16:creationId xmlns:a16="http://schemas.microsoft.com/office/drawing/2014/main" id="{E2414C7D-389F-487F-9221-8D96900B448B}"/>
                </a:ext>
              </a:extLst>
            </p:cNvPr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52" name="Rechthoek 51">
              <a:extLst>
                <a:ext uri="{FF2B5EF4-FFF2-40B4-BE49-F238E27FC236}">
                  <a16:creationId xmlns:a16="http://schemas.microsoft.com/office/drawing/2014/main" id="{A8F1195A-80D2-4EBF-8EE2-23A21E134CE7}"/>
                </a:ext>
              </a:extLst>
            </p:cNvPr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53" name="Rechthoek 52">
              <a:extLst>
                <a:ext uri="{FF2B5EF4-FFF2-40B4-BE49-F238E27FC236}">
                  <a16:creationId xmlns:a16="http://schemas.microsoft.com/office/drawing/2014/main" id="{CA706088-94D0-49B2-9F47-CD39731ED611}"/>
                </a:ext>
              </a:extLst>
            </p:cNvPr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54" name="Rechthoek 53">
              <a:extLst>
                <a:ext uri="{FF2B5EF4-FFF2-40B4-BE49-F238E27FC236}">
                  <a16:creationId xmlns:a16="http://schemas.microsoft.com/office/drawing/2014/main" id="{6701A262-4D8B-4596-BEA3-1CDEA9A29D2D}"/>
                </a:ext>
              </a:extLst>
            </p:cNvPr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55" name="Rechthoek 54">
              <a:extLst>
                <a:ext uri="{FF2B5EF4-FFF2-40B4-BE49-F238E27FC236}">
                  <a16:creationId xmlns:a16="http://schemas.microsoft.com/office/drawing/2014/main" id="{3961D0F0-38E3-4745-BB91-8DF2B41B9EC6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56" name="Rechthoek 55">
              <a:extLst>
                <a:ext uri="{FF2B5EF4-FFF2-40B4-BE49-F238E27FC236}">
                  <a16:creationId xmlns:a16="http://schemas.microsoft.com/office/drawing/2014/main" id="{F082B6D4-918A-42B7-99B3-3B8D5AD389F5}"/>
                </a:ext>
              </a:extLst>
            </p:cNvPr>
            <p:cNvSpPr/>
            <p:nvPr userDrawn="1"/>
          </p:nvSpPr>
          <p:spPr>
            <a:xfrm rot="5400000">
              <a:off x="5895976" y="-108104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6D9780EE-AC3E-4C16-9B20-B0A0803E6ED4}"/>
                </a:ext>
              </a:extLst>
            </p:cNvPr>
            <p:cNvSpPr/>
            <p:nvPr userDrawn="1"/>
          </p:nvSpPr>
          <p:spPr>
            <a:xfrm rot="5400000">
              <a:off x="5895976" y="-3728182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FBFCF26E-9F29-4558-9176-F149D8C8577D}"/>
                </a:ext>
              </a:extLst>
            </p:cNvPr>
            <p:cNvSpPr/>
            <p:nvPr userDrawn="1"/>
          </p:nvSpPr>
          <p:spPr>
            <a:xfrm>
              <a:off x="603936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</p:grpSp>
      <p:sp>
        <p:nvSpPr>
          <p:cNvPr id="58" name="Tijdelijke aanduiding voor voettekst 4">
            <a:extLst>
              <a:ext uri="{FF2B5EF4-FFF2-40B4-BE49-F238E27FC236}">
                <a16:creationId xmlns:a16="http://schemas.microsoft.com/office/drawing/2014/main" id="{0E659B60-CF7C-460A-A879-0DDBF9C652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7" y="27345278"/>
            <a:ext cx="18027561" cy="1000848"/>
          </a:xfrm>
        </p:spPr>
        <p:txBody>
          <a:bodyPr/>
          <a:lstStyle>
            <a:lvl1pPr>
              <a:defRPr/>
            </a:lvl1pPr>
          </a:lstStyle>
          <a:p>
            <a:endParaRPr lang="nl-NL" noProof="0"/>
          </a:p>
        </p:txBody>
      </p:sp>
      <p:sp>
        <p:nvSpPr>
          <p:cNvPr id="59" name="Tijdelijke aanduiding voor dianummer 5">
            <a:extLst>
              <a:ext uri="{FF2B5EF4-FFF2-40B4-BE49-F238E27FC236}">
                <a16:creationId xmlns:a16="http://schemas.microsoft.com/office/drawing/2014/main" id="{F1A38C1E-7B15-4C30-B676-08D9095C1F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4" y="27329717"/>
            <a:ext cx="707320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26" name="Tijdelijke aanduiding voor inhoud 3">
            <a:extLst>
              <a:ext uri="{FF2B5EF4-FFF2-40B4-BE49-F238E27FC236}">
                <a16:creationId xmlns:a16="http://schemas.microsoft.com/office/drawing/2014/main" id="{D2E8F4BF-FD5F-4F05-BB33-AC3E7EF96F6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22826080" y="11156980"/>
            <a:ext cx="18368192" cy="14394741"/>
          </a:xfrm>
          <a:solidFill>
            <a:schemeClr val="bg1">
              <a:lumMod val="95000"/>
            </a:schemeClr>
          </a:solidFill>
        </p:spPr>
        <p:txBody>
          <a:bodyPr vert="horz" lIns="180000" tIns="180000" rIns="180000" bIns="180000" rtlCol="0">
            <a:normAutofit/>
          </a:bodyPr>
          <a:lstStyle>
            <a:lvl1pPr algn="l">
              <a:defRPr lang="nl-NL" sz="1677" b="0" i="0" smtClean="0">
                <a:latin typeface="+mj-lt"/>
              </a:defRPr>
            </a:lvl1pPr>
            <a:lvl2pPr>
              <a:defRPr lang="nl-NL" smtClean="0"/>
            </a:lvl2pPr>
            <a:lvl3pPr>
              <a:defRPr lang="nl-NL" smtClean="0"/>
            </a:lvl3pPr>
            <a:lvl4pPr>
              <a:defRPr lang="nl-NL" smtClean="0"/>
            </a:lvl4pPr>
            <a:lvl5pPr>
              <a:defRPr lang="nl-NL"/>
            </a:lvl5pPr>
          </a:lstStyle>
          <a:p>
            <a:pPr marL="0" lvl="0" indent="0" algn="ctr">
              <a:buNone/>
            </a:pPr>
            <a:r>
              <a:rPr lang="nl-NL" noProof="0"/>
              <a:t>Klik op één van de iconen</a:t>
            </a:r>
            <a:br>
              <a:rPr lang="nl-NL" noProof="0"/>
            </a:br>
            <a:r>
              <a:rPr lang="nl-NL" noProof="0"/>
              <a:t>om een media in te vullen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3DFC91BB-AEF5-43B4-84CF-C6590D01D3E3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22820353" y="11157679"/>
            <a:ext cx="18373922" cy="14394049"/>
          </a:xfrm>
          <a:solidFill>
            <a:schemeClr val="bg1">
              <a:lumMod val="95000"/>
            </a:schemeClr>
          </a:solidFill>
        </p:spPr>
        <p:txBody>
          <a:bodyPr lIns="180000" tIns="180000" rIns="180000" bIns="180000">
            <a:normAutofit/>
          </a:bodyPr>
          <a:lstStyle>
            <a:lvl1pPr marL="0" marR="0" indent="0" algn="l" defTabSz="127721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 sz="1957" b="1">
                <a:solidFill>
                  <a:schemeClr val="bg2"/>
                </a:solidFill>
              </a:defRPr>
            </a:lvl1pPr>
            <a:lvl2pPr marL="0" indent="0">
              <a:spcAft>
                <a:spcPts val="0"/>
              </a:spcAft>
              <a:buNone/>
              <a:defRPr sz="1677"/>
            </a:lvl2pPr>
            <a:lvl3pPr marL="496696" indent="-248348">
              <a:spcAft>
                <a:spcPts val="0"/>
              </a:spcAft>
              <a:defRPr sz="1677"/>
            </a:lvl3pPr>
            <a:lvl4pPr marL="399129" indent="-399129"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à"/>
              <a:defRPr sz="1677"/>
            </a:lvl4pPr>
            <a:lvl5pPr>
              <a:spcAft>
                <a:spcPts val="1677"/>
              </a:spcAft>
              <a:defRPr sz="1957"/>
            </a:lvl5pPr>
          </a:lstStyle>
          <a:p>
            <a:pPr marL="0" marR="0" lvl="0" indent="0" algn="l" defTabSz="127721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0" name="Tijdelijke aanduiding voor inhoud 3">
            <a:extLst>
              <a:ext uri="{FF2B5EF4-FFF2-40B4-BE49-F238E27FC236}">
                <a16:creationId xmlns:a16="http://schemas.microsoft.com/office/drawing/2014/main" id="{011BE011-FD19-4C53-988E-6F68943521B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1742379" y="11157679"/>
            <a:ext cx="18373922" cy="14394049"/>
          </a:xfrm>
          <a:solidFill>
            <a:schemeClr val="bg1">
              <a:lumMod val="95000"/>
            </a:schemeClr>
          </a:solidFill>
        </p:spPr>
        <p:txBody>
          <a:bodyPr lIns="180000" tIns="180000" rIns="180000" bIns="180000"/>
          <a:lstStyle>
            <a:lvl1pPr marL="0" marR="0" indent="0" algn="l" defTabSz="127721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 sz="1957" b="1">
                <a:solidFill>
                  <a:schemeClr val="bg2"/>
                </a:solidFill>
              </a:defRPr>
            </a:lvl1pPr>
            <a:lvl2pPr marL="0" indent="0">
              <a:spcAft>
                <a:spcPts val="0"/>
              </a:spcAft>
              <a:buNone/>
              <a:defRPr sz="1677"/>
            </a:lvl2pPr>
            <a:lvl3pPr marL="496696" indent="-248348">
              <a:spcAft>
                <a:spcPts val="0"/>
              </a:spcAft>
              <a:defRPr sz="1677"/>
            </a:lvl3pPr>
            <a:lvl4pPr marL="399129" indent="-399129"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à"/>
              <a:defRPr sz="1677"/>
            </a:lvl4pPr>
            <a:lvl5pPr>
              <a:spcAft>
                <a:spcPts val="1677"/>
              </a:spcAft>
              <a:defRPr sz="1957"/>
            </a:lvl5pPr>
          </a:lstStyle>
          <a:p>
            <a:pPr marL="0" marR="0" lvl="0" indent="0" algn="l" defTabSz="127721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nl-NL" noProof="0"/>
              <a:t>Klik om tekst in te voegen</a:t>
            </a:r>
          </a:p>
          <a:p>
            <a:pPr lvl="0"/>
            <a:endParaRPr lang="nl-NL" noProof="0"/>
          </a:p>
        </p:txBody>
      </p:sp>
      <p:grpSp>
        <p:nvGrpSpPr>
          <p:cNvPr id="23" name="Instructie">
            <a:extLst>
              <a:ext uri="{FF2B5EF4-FFF2-40B4-BE49-F238E27FC236}">
                <a16:creationId xmlns:a16="http://schemas.microsoft.com/office/drawing/2014/main" id="{969EA301-B913-4643-9ABD-180EFDB46534}"/>
              </a:ext>
            </a:extLst>
          </p:cNvPr>
          <p:cNvGrpSpPr/>
          <p:nvPr userDrawn="1"/>
        </p:nvGrpSpPr>
        <p:grpSpPr>
          <a:xfrm>
            <a:off x="43467422" y="6"/>
            <a:ext cx="11167745" cy="17428096"/>
            <a:chOff x="12391601" y="0"/>
            <a:chExt cx="3183678" cy="3947846"/>
          </a:xfrm>
        </p:grpSpPr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671A3C21-2740-4EB0-9EFD-9D2F7EC6FB9E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1277217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957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SmartArt invoegen/veranderen</a:t>
              </a:r>
            </a:p>
          </p:txBody>
        </p:sp>
        <p:sp>
          <p:nvSpPr>
            <p:cNvPr id="25" name="Ovaal 24">
              <a:extLst>
                <a:ext uri="{FF2B5EF4-FFF2-40B4-BE49-F238E27FC236}">
                  <a16:creationId xmlns:a16="http://schemas.microsoft.com/office/drawing/2014/main" id="{F3BC5726-1C08-4F05-B026-F3EFEB5D15A7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7" name="Rechte verbindingslijn 26">
              <a:extLst>
                <a:ext uri="{FF2B5EF4-FFF2-40B4-BE49-F238E27FC236}">
                  <a16:creationId xmlns:a16="http://schemas.microsoft.com/office/drawing/2014/main" id="{710F43EA-6B64-44B0-A291-485624C9AE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8" name="Rechte verbindingslijn 27">
              <a:extLst>
                <a:ext uri="{FF2B5EF4-FFF2-40B4-BE49-F238E27FC236}">
                  <a16:creationId xmlns:a16="http://schemas.microsoft.com/office/drawing/2014/main" id="{E09EE25D-EE60-42D7-A9E7-C5DD7B052EB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16A7D4DE-E8D0-42C4-82F1-6E9D4792E020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1277217" eaLnBrk="1" fontAlgn="auto" latinLnBrk="0" hangingPunct="1">
                <a:lnSpc>
                  <a:spcPct val="90000"/>
                </a:lnSpc>
                <a:spcBef>
                  <a:spcPts val="839"/>
                </a:spcBef>
                <a:spcAft>
                  <a:spcPts val="839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het bestaande SmartArt object d.m.v. de 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knop</a:t>
              </a: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Klik op het pictogram om een nieuw object in te voegen. </a:t>
              </a:r>
              <a:r>
                <a:rPr kumimoji="0" lang="nl-NL" sz="1537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153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0" name="Rechte verbindingslijn 29">
              <a:extLst>
                <a:ext uri="{FF2B5EF4-FFF2-40B4-BE49-F238E27FC236}">
                  <a16:creationId xmlns:a16="http://schemas.microsoft.com/office/drawing/2014/main" id="{3DAC510A-CCEA-4C67-80F5-91B5DB4266B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947846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1" name="Ovaal 30">
              <a:extLst>
                <a:ext uri="{FF2B5EF4-FFF2-40B4-BE49-F238E27FC236}">
                  <a16:creationId xmlns:a16="http://schemas.microsoft.com/office/drawing/2014/main" id="{599A7A1A-AC9F-4335-9BBF-F7F10ACE59B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2" name="Rechthoek 31">
              <a:extLst>
                <a:ext uri="{FF2B5EF4-FFF2-40B4-BE49-F238E27FC236}">
                  <a16:creationId xmlns:a16="http://schemas.microsoft.com/office/drawing/2014/main" id="{FC429184-DD71-4C45-9AE9-EC6D4DDF83A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1277217" eaLnBrk="1" fontAlgn="auto" latinLnBrk="0" hangingPunct="1">
                <a:lnSpc>
                  <a:spcPct val="90000"/>
                </a:lnSpc>
                <a:spcBef>
                  <a:spcPts val="839"/>
                </a:spcBef>
                <a:spcAft>
                  <a:spcPts val="839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aan de linker kant van het venster het gewenste type en vervolgens het gewenste objecten klik op 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537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3" name="Groep 32">
              <a:extLst>
                <a:ext uri="{FF2B5EF4-FFF2-40B4-BE49-F238E27FC236}">
                  <a16:creationId xmlns:a16="http://schemas.microsoft.com/office/drawing/2014/main" id="{AF3004DB-BC64-4750-94C3-119F8F8A0392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60" name="Rechthoek 59">
                <a:extLst>
                  <a:ext uri="{FF2B5EF4-FFF2-40B4-BE49-F238E27FC236}">
                    <a16:creationId xmlns:a16="http://schemas.microsoft.com/office/drawing/2014/main" id="{8117F592-BBC9-433D-A383-3FAA32C7BB0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839"/>
                  </a:spcBef>
                  <a:spcAft>
                    <a:spcPts val="839"/>
                  </a:spcAft>
                </a:pPr>
                <a:r>
                  <a:rPr lang="nl-NL" sz="1117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61" name="Rechte verbindingslijn 60">
                <a:extLst>
                  <a:ext uri="{FF2B5EF4-FFF2-40B4-BE49-F238E27FC236}">
                    <a16:creationId xmlns:a16="http://schemas.microsoft.com/office/drawing/2014/main" id="{64C97D7B-D416-4CB8-988A-E030848DB9F9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62" name="Gelijkbenige driehoek 61">
                <a:extLst>
                  <a:ext uri="{FF2B5EF4-FFF2-40B4-BE49-F238E27FC236}">
                    <a16:creationId xmlns:a16="http://schemas.microsoft.com/office/drawing/2014/main" id="{E9931FC1-FE37-449E-85C9-20F1E0A2A853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398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5" name="Ovaal 34">
              <a:extLst>
                <a:ext uri="{FF2B5EF4-FFF2-40B4-BE49-F238E27FC236}">
                  <a16:creationId xmlns:a16="http://schemas.microsoft.com/office/drawing/2014/main" id="{403294EC-1214-4265-BF57-7F02819C38B2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" name="Rechthoek 35">
              <a:extLst>
                <a:ext uri="{FF2B5EF4-FFF2-40B4-BE49-F238E27FC236}">
                  <a16:creationId xmlns:a16="http://schemas.microsoft.com/office/drawing/2014/main" id="{7CCC7F87-B043-4C9B-962A-2BFE1EC696DF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1277217" eaLnBrk="1" fontAlgn="auto" latinLnBrk="0" hangingPunct="1">
                <a:lnSpc>
                  <a:spcPct val="90000"/>
                </a:lnSpc>
                <a:spcBef>
                  <a:spcPts val="839"/>
                </a:spcBef>
                <a:spcAft>
                  <a:spcPts val="839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der de tab 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ulpmiddelen voor SmartArt - Opmaak’</a:t>
              </a: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kunnen opvulkleuren en lijnkleuren aangepast worden.</a:t>
              </a:r>
              <a:b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b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der de tab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tart’</a:t>
              </a: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kan o.a. de tekstopmaak worden gewijzigd.</a:t>
              </a:r>
              <a:endParaRPr kumimoji="0" lang="nl-NL" sz="1537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" name="Rechte verbindingslijn 36">
              <a:extLst>
                <a:ext uri="{FF2B5EF4-FFF2-40B4-BE49-F238E27FC236}">
                  <a16:creationId xmlns:a16="http://schemas.microsoft.com/office/drawing/2014/main" id="{4EA2C6E2-1BD9-4FC0-9202-F35C5F46679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" name="Groep 37">
              <a:extLst>
                <a:ext uri="{FF2B5EF4-FFF2-40B4-BE49-F238E27FC236}">
                  <a16:creationId xmlns:a16="http://schemas.microsoft.com/office/drawing/2014/main" id="{20880509-B8A3-4761-B4E3-14EEE63E71A9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39" name="Pijl: punthaak 38">
                <a:extLst>
                  <a:ext uri="{FF2B5EF4-FFF2-40B4-BE49-F238E27FC236}">
                    <a16:creationId xmlns:a16="http://schemas.microsoft.com/office/drawing/2014/main" id="{F82DBB84-5BFC-4D76-A29E-E1030376D7D0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398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A8F93624-F9B6-420B-AEFC-DAA83308AE10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398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42" name="Groep 41">
                <a:extLst>
                  <a:ext uri="{FF2B5EF4-FFF2-40B4-BE49-F238E27FC236}">
                    <a16:creationId xmlns:a16="http://schemas.microsoft.com/office/drawing/2014/main" id="{6D01A9BB-A323-4B22-94AA-B37B07E22AD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49" name="Ovaal 48">
                  <a:extLst>
                    <a:ext uri="{FF2B5EF4-FFF2-40B4-BE49-F238E27FC236}">
                      <a16:creationId xmlns:a16="http://schemas.microsoft.com/office/drawing/2014/main" id="{E258FA11-22E2-49D3-A8E5-83DA1680A660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398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57" name="Rechte verbindingslijn 56">
                  <a:extLst>
                    <a:ext uri="{FF2B5EF4-FFF2-40B4-BE49-F238E27FC236}">
                      <a16:creationId xmlns:a16="http://schemas.microsoft.com/office/drawing/2014/main" id="{7ACF1F81-6476-4EEC-8068-788F2A7ACD30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43" name="Groep 42">
                <a:extLst>
                  <a:ext uri="{FF2B5EF4-FFF2-40B4-BE49-F238E27FC236}">
                    <a16:creationId xmlns:a16="http://schemas.microsoft.com/office/drawing/2014/main" id="{EF97AA14-53A2-4BFC-B45F-476F5004D488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47" name="Ovaal 46">
                  <a:extLst>
                    <a:ext uri="{FF2B5EF4-FFF2-40B4-BE49-F238E27FC236}">
                      <a16:creationId xmlns:a16="http://schemas.microsoft.com/office/drawing/2014/main" id="{32C1C2A0-E77D-4E49-9818-18CA943D6700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398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48" name="Rechte verbindingslijn 47">
                  <a:extLst>
                    <a:ext uri="{FF2B5EF4-FFF2-40B4-BE49-F238E27FC236}">
                      <a16:creationId xmlns:a16="http://schemas.microsoft.com/office/drawing/2014/main" id="{219F074F-C4DC-40EC-A4E3-73D2F77F52C7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44" name="Groep 43">
                <a:extLst>
                  <a:ext uri="{FF2B5EF4-FFF2-40B4-BE49-F238E27FC236}">
                    <a16:creationId xmlns:a16="http://schemas.microsoft.com/office/drawing/2014/main" id="{30A68E1B-82DB-4868-BC90-521430CA2057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45" name="Ovaal 44">
                  <a:extLst>
                    <a:ext uri="{FF2B5EF4-FFF2-40B4-BE49-F238E27FC236}">
                      <a16:creationId xmlns:a16="http://schemas.microsoft.com/office/drawing/2014/main" id="{DCED931A-9F11-4F84-B19A-DB412A998567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398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46" name="Rechte verbindingslijn 45">
                  <a:extLst>
                    <a:ext uri="{FF2B5EF4-FFF2-40B4-BE49-F238E27FC236}">
                      <a16:creationId xmlns:a16="http://schemas.microsoft.com/office/drawing/2014/main" id="{A0679111-00FC-40BF-8A13-5C1FE834D7B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63" name="Afbeelding 62">
            <a:extLst>
              <a:ext uri="{FF2B5EF4-FFF2-40B4-BE49-F238E27FC236}">
                <a16:creationId xmlns:a16="http://schemas.microsoft.com/office/drawing/2014/main" id="{520D55F0-1946-40CA-BE77-284D34AB78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5" y="831727"/>
            <a:ext cx="9249575" cy="4281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9066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 Balken 8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-5562" y="6476689"/>
            <a:ext cx="42767255" cy="23798532"/>
          </a:xfrm>
          <a:solidFill>
            <a:schemeClr val="bg1">
              <a:lumMod val="95000"/>
            </a:schemeClr>
          </a:solidFill>
        </p:spPr>
        <p:txBody>
          <a:bodyPr tIns="1080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677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42378" y="1766065"/>
            <a:ext cx="32281087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0" name="Tijdelijke aanduiding voor voettekst 4">
            <a:extLst>
              <a:ext uri="{FF2B5EF4-FFF2-40B4-BE49-F238E27FC236}">
                <a16:creationId xmlns:a16="http://schemas.microsoft.com/office/drawing/2014/main" id="{1DA20FBD-9D0F-4EAB-B12C-126591D8B7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7" y="27345278"/>
            <a:ext cx="1802756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6644E39-2AF2-4EA0-9C3F-28C89D5A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6" y="27329717"/>
            <a:ext cx="851959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7" name="Tijdelijke aanduiding voor tekst 14">
            <a:extLst>
              <a:ext uri="{FF2B5EF4-FFF2-40B4-BE49-F238E27FC236}">
                <a16:creationId xmlns:a16="http://schemas.microsoft.com/office/drawing/2014/main" id="{A6BF4B27-7FC5-4896-80CE-3BA6119B83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78" y="3469430"/>
            <a:ext cx="32281087" cy="1195424"/>
          </a:xfrm>
        </p:spPr>
        <p:txBody>
          <a:bodyPr>
            <a:noAutofit/>
          </a:bodyPr>
          <a:lstStyle>
            <a:lvl1pPr marL="0" indent="0">
              <a:buNone/>
              <a:defRPr sz="2794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32" name="Tijdelijke aanduiding voor tekst 3">
            <a:extLst>
              <a:ext uri="{FF2B5EF4-FFF2-40B4-BE49-F238E27FC236}">
                <a16:creationId xmlns:a16="http://schemas.microsoft.com/office/drawing/2014/main" id="{54C989E9-FA4D-4EA9-9D83-ACEFB86E984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2673480" y="14733974"/>
            <a:ext cx="18310781" cy="2416919"/>
          </a:xfrm>
          <a:custGeom>
            <a:avLst/>
            <a:gdLst>
              <a:gd name="connsiteX0" fmla="*/ 0 w 6336000"/>
              <a:gd name="connsiteY0" fmla="*/ 34052 h 547200"/>
              <a:gd name="connsiteX1" fmla="*/ 34052 w 6336000"/>
              <a:gd name="connsiteY1" fmla="*/ 0 h 547200"/>
              <a:gd name="connsiteX2" fmla="*/ 6301948 w 6336000"/>
              <a:gd name="connsiteY2" fmla="*/ 0 h 547200"/>
              <a:gd name="connsiteX3" fmla="*/ 6336000 w 6336000"/>
              <a:gd name="connsiteY3" fmla="*/ 34052 h 547200"/>
              <a:gd name="connsiteX4" fmla="*/ 6336000 w 6336000"/>
              <a:gd name="connsiteY4" fmla="*/ 513148 h 547200"/>
              <a:gd name="connsiteX5" fmla="*/ 6301948 w 6336000"/>
              <a:gd name="connsiteY5" fmla="*/ 547200 h 547200"/>
              <a:gd name="connsiteX6" fmla="*/ 34052 w 6336000"/>
              <a:gd name="connsiteY6" fmla="*/ 547200 h 547200"/>
              <a:gd name="connsiteX7" fmla="*/ 0 w 6336000"/>
              <a:gd name="connsiteY7" fmla="*/ 513148 h 547200"/>
              <a:gd name="connsiteX8" fmla="*/ 0 w 6336000"/>
              <a:gd name="connsiteY8" fmla="*/ 34052 h 547200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0 w 6336000"/>
              <a:gd name="connsiteY0" fmla="*/ 44015 h 557163"/>
              <a:gd name="connsiteX1" fmla="*/ 4390 w 6336000"/>
              <a:gd name="connsiteY1" fmla="*/ 17721 h 557163"/>
              <a:gd name="connsiteX2" fmla="*/ 34052 w 6336000"/>
              <a:gd name="connsiteY2" fmla="*/ 9963 h 557163"/>
              <a:gd name="connsiteX3" fmla="*/ 6301948 w 6336000"/>
              <a:gd name="connsiteY3" fmla="*/ 9963 h 557163"/>
              <a:gd name="connsiteX4" fmla="*/ 6336000 w 6336000"/>
              <a:gd name="connsiteY4" fmla="*/ 44015 h 557163"/>
              <a:gd name="connsiteX5" fmla="*/ 6336000 w 6336000"/>
              <a:gd name="connsiteY5" fmla="*/ 523111 h 557163"/>
              <a:gd name="connsiteX6" fmla="*/ 6301948 w 6336000"/>
              <a:gd name="connsiteY6" fmla="*/ 557163 h 557163"/>
              <a:gd name="connsiteX7" fmla="*/ 34052 w 6336000"/>
              <a:gd name="connsiteY7" fmla="*/ 557163 h 557163"/>
              <a:gd name="connsiteX8" fmla="*/ 0 w 6336000"/>
              <a:gd name="connsiteY8" fmla="*/ 523111 h 557163"/>
              <a:gd name="connsiteX9" fmla="*/ 0 w 6336000"/>
              <a:gd name="connsiteY9" fmla="*/ 44015 h 557163"/>
              <a:gd name="connsiteX0" fmla="*/ 325 w 6336325"/>
              <a:gd name="connsiteY0" fmla="*/ 34265 h 547413"/>
              <a:gd name="connsiteX1" fmla="*/ 4715 w 6336325"/>
              <a:gd name="connsiteY1" fmla="*/ 7971 h 547413"/>
              <a:gd name="connsiteX2" fmla="*/ 34377 w 6336325"/>
              <a:gd name="connsiteY2" fmla="*/ 213 h 547413"/>
              <a:gd name="connsiteX3" fmla="*/ 6302273 w 6336325"/>
              <a:gd name="connsiteY3" fmla="*/ 213 h 547413"/>
              <a:gd name="connsiteX4" fmla="*/ 6336325 w 6336325"/>
              <a:gd name="connsiteY4" fmla="*/ 34265 h 547413"/>
              <a:gd name="connsiteX5" fmla="*/ 6336325 w 6336325"/>
              <a:gd name="connsiteY5" fmla="*/ 513361 h 547413"/>
              <a:gd name="connsiteX6" fmla="*/ 6302273 w 6336325"/>
              <a:gd name="connsiteY6" fmla="*/ 547413 h 547413"/>
              <a:gd name="connsiteX7" fmla="*/ 34377 w 6336325"/>
              <a:gd name="connsiteY7" fmla="*/ 547413 h 547413"/>
              <a:gd name="connsiteX8" fmla="*/ 325 w 6336325"/>
              <a:gd name="connsiteY8" fmla="*/ 513361 h 547413"/>
              <a:gd name="connsiteX9" fmla="*/ 325 w 6336325"/>
              <a:gd name="connsiteY9" fmla="*/ 34265 h 547413"/>
              <a:gd name="connsiteX0" fmla="*/ 2320 w 6338320"/>
              <a:gd name="connsiteY0" fmla="*/ 545788 h 579840"/>
              <a:gd name="connsiteX1" fmla="*/ 6710 w 6338320"/>
              <a:gd name="connsiteY1" fmla="*/ 40398 h 579840"/>
              <a:gd name="connsiteX2" fmla="*/ 36372 w 6338320"/>
              <a:gd name="connsiteY2" fmla="*/ 32640 h 579840"/>
              <a:gd name="connsiteX3" fmla="*/ 6304268 w 6338320"/>
              <a:gd name="connsiteY3" fmla="*/ 32640 h 579840"/>
              <a:gd name="connsiteX4" fmla="*/ 6338320 w 6338320"/>
              <a:gd name="connsiteY4" fmla="*/ 66692 h 579840"/>
              <a:gd name="connsiteX5" fmla="*/ 6338320 w 6338320"/>
              <a:gd name="connsiteY5" fmla="*/ 545788 h 579840"/>
              <a:gd name="connsiteX6" fmla="*/ 6304268 w 6338320"/>
              <a:gd name="connsiteY6" fmla="*/ 579840 h 579840"/>
              <a:gd name="connsiteX7" fmla="*/ 36372 w 6338320"/>
              <a:gd name="connsiteY7" fmla="*/ 579840 h 579840"/>
              <a:gd name="connsiteX8" fmla="*/ 2320 w 6338320"/>
              <a:gd name="connsiteY8" fmla="*/ 545788 h 579840"/>
              <a:gd name="connsiteX0" fmla="*/ 440580 w 6776580"/>
              <a:gd name="connsiteY0" fmla="*/ 545209 h 579261"/>
              <a:gd name="connsiteX1" fmla="*/ 440208 w 6776580"/>
              <a:gd name="connsiteY1" fmla="*/ 39819 h 579261"/>
              <a:gd name="connsiteX2" fmla="*/ 474632 w 6776580"/>
              <a:gd name="connsiteY2" fmla="*/ 32061 h 579261"/>
              <a:gd name="connsiteX3" fmla="*/ 6742528 w 6776580"/>
              <a:gd name="connsiteY3" fmla="*/ 32061 h 579261"/>
              <a:gd name="connsiteX4" fmla="*/ 6776580 w 6776580"/>
              <a:gd name="connsiteY4" fmla="*/ 66113 h 579261"/>
              <a:gd name="connsiteX5" fmla="*/ 6776580 w 6776580"/>
              <a:gd name="connsiteY5" fmla="*/ 545209 h 579261"/>
              <a:gd name="connsiteX6" fmla="*/ 6742528 w 6776580"/>
              <a:gd name="connsiteY6" fmla="*/ 579261 h 579261"/>
              <a:gd name="connsiteX7" fmla="*/ 474632 w 6776580"/>
              <a:gd name="connsiteY7" fmla="*/ 579261 h 579261"/>
              <a:gd name="connsiteX8" fmla="*/ 440580 w 6776580"/>
              <a:gd name="connsiteY8" fmla="*/ 545209 h 579261"/>
              <a:gd name="connsiteX0" fmla="*/ 4188 w 6340188"/>
              <a:gd name="connsiteY0" fmla="*/ 545788 h 579840"/>
              <a:gd name="connsiteX1" fmla="*/ 3816 w 6340188"/>
              <a:gd name="connsiteY1" fmla="*/ 40398 h 579840"/>
              <a:gd name="connsiteX2" fmla="*/ 38240 w 6340188"/>
              <a:gd name="connsiteY2" fmla="*/ 32640 h 579840"/>
              <a:gd name="connsiteX3" fmla="*/ 6306136 w 6340188"/>
              <a:gd name="connsiteY3" fmla="*/ 32640 h 579840"/>
              <a:gd name="connsiteX4" fmla="*/ 6340188 w 6340188"/>
              <a:gd name="connsiteY4" fmla="*/ 66692 h 579840"/>
              <a:gd name="connsiteX5" fmla="*/ 6340188 w 6340188"/>
              <a:gd name="connsiteY5" fmla="*/ 545788 h 579840"/>
              <a:gd name="connsiteX6" fmla="*/ 6306136 w 6340188"/>
              <a:gd name="connsiteY6" fmla="*/ 579840 h 579840"/>
              <a:gd name="connsiteX7" fmla="*/ 38240 w 6340188"/>
              <a:gd name="connsiteY7" fmla="*/ 579840 h 579840"/>
              <a:gd name="connsiteX8" fmla="*/ 4188 w 6340188"/>
              <a:gd name="connsiteY8" fmla="*/ 545788 h 579840"/>
              <a:gd name="connsiteX0" fmla="*/ 1984 w 6337984"/>
              <a:gd name="connsiteY0" fmla="*/ 513434 h 547486"/>
              <a:gd name="connsiteX1" fmla="*/ 1612 w 6337984"/>
              <a:gd name="connsiteY1" fmla="*/ 8044 h 547486"/>
              <a:gd name="connsiteX2" fmla="*/ 36036 w 6337984"/>
              <a:gd name="connsiteY2" fmla="*/ 286 h 547486"/>
              <a:gd name="connsiteX3" fmla="*/ 6303932 w 6337984"/>
              <a:gd name="connsiteY3" fmla="*/ 286 h 547486"/>
              <a:gd name="connsiteX4" fmla="*/ 6337984 w 6337984"/>
              <a:gd name="connsiteY4" fmla="*/ 34338 h 547486"/>
              <a:gd name="connsiteX5" fmla="*/ 6337984 w 6337984"/>
              <a:gd name="connsiteY5" fmla="*/ 513434 h 547486"/>
              <a:gd name="connsiteX6" fmla="*/ 6303932 w 6337984"/>
              <a:gd name="connsiteY6" fmla="*/ 547486 h 547486"/>
              <a:gd name="connsiteX7" fmla="*/ 36036 w 6337984"/>
              <a:gd name="connsiteY7" fmla="*/ 547486 h 547486"/>
              <a:gd name="connsiteX8" fmla="*/ 1984 w 6337984"/>
              <a:gd name="connsiteY8" fmla="*/ 513434 h 547486"/>
              <a:gd name="connsiteX0" fmla="*/ 443038 w 6779038"/>
              <a:gd name="connsiteY0" fmla="*/ 513148 h 547200"/>
              <a:gd name="connsiteX1" fmla="*/ 440285 w 6779038"/>
              <a:gd name="connsiteY1" fmla="*/ 7758 h 547200"/>
              <a:gd name="connsiteX2" fmla="*/ 477090 w 6779038"/>
              <a:gd name="connsiteY2" fmla="*/ 0 h 547200"/>
              <a:gd name="connsiteX3" fmla="*/ 6744986 w 6779038"/>
              <a:gd name="connsiteY3" fmla="*/ 0 h 547200"/>
              <a:gd name="connsiteX4" fmla="*/ 6779038 w 6779038"/>
              <a:gd name="connsiteY4" fmla="*/ 34052 h 547200"/>
              <a:gd name="connsiteX5" fmla="*/ 6779038 w 6779038"/>
              <a:gd name="connsiteY5" fmla="*/ 513148 h 547200"/>
              <a:gd name="connsiteX6" fmla="*/ 6744986 w 6779038"/>
              <a:gd name="connsiteY6" fmla="*/ 547200 h 547200"/>
              <a:gd name="connsiteX7" fmla="*/ 477090 w 6779038"/>
              <a:gd name="connsiteY7" fmla="*/ 547200 h 547200"/>
              <a:gd name="connsiteX8" fmla="*/ 443038 w 6779038"/>
              <a:gd name="connsiteY8" fmla="*/ 513148 h 547200"/>
              <a:gd name="connsiteX0" fmla="*/ 3229 w 6339229"/>
              <a:gd name="connsiteY0" fmla="*/ 513433 h 547485"/>
              <a:gd name="connsiteX1" fmla="*/ 476 w 6339229"/>
              <a:gd name="connsiteY1" fmla="*/ 8043 h 547485"/>
              <a:gd name="connsiteX2" fmla="*/ 37281 w 6339229"/>
              <a:gd name="connsiteY2" fmla="*/ 285 h 547485"/>
              <a:gd name="connsiteX3" fmla="*/ 6305177 w 6339229"/>
              <a:gd name="connsiteY3" fmla="*/ 285 h 547485"/>
              <a:gd name="connsiteX4" fmla="*/ 6339229 w 6339229"/>
              <a:gd name="connsiteY4" fmla="*/ 34337 h 547485"/>
              <a:gd name="connsiteX5" fmla="*/ 6339229 w 6339229"/>
              <a:gd name="connsiteY5" fmla="*/ 513433 h 547485"/>
              <a:gd name="connsiteX6" fmla="*/ 6305177 w 6339229"/>
              <a:gd name="connsiteY6" fmla="*/ 547485 h 547485"/>
              <a:gd name="connsiteX7" fmla="*/ 37281 w 6339229"/>
              <a:gd name="connsiteY7" fmla="*/ 547485 h 547485"/>
              <a:gd name="connsiteX8" fmla="*/ 3229 w 6339229"/>
              <a:gd name="connsiteY8" fmla="*/ 513433 h 547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339229" h="547485">
                <a:moveTo>
                  <a:pt x="3229" y="513433"/>
                </a:moveTo>
                <a:cubicBezTo>
                  <a:pt x="-1715" y="423526"/>
                  <a:pt x="1945" y="14987"/>
                  <a:pt x="476" y="8043"/>
                </a:cubicBezTo>
                <a:cubicBezTo>
                  <a:pt x="-993" y="1099"/>
                  <a:pt x="-1471" y="-803"/>
                  <a:pt x="37281" y="285"/>
                </a:cubicBezTo>
                <a:cubicBezTo>
                  <a:pt x="76033" y="1373"/>
                  <a:pt x="4215878" y="285"/>
                  <a:pt x="6305177" y="285"/>
                </a:cubicBezTo>
                <a:cubicBezTo>
                  <a:pt x="6323983" y="285"/>
                  <a:pt x="6339229" y="15531"/>
                  <a:pt x="6339229" y="34337"/>
                </a:cubicBezTo>
                <a:lnTo>
                  <a:pt x="6339229" y="513433"/>
                </a:lnTo>
                <a:cubicBezTo>
                  <a:pt x="6339229" y="532239"/>
                  <a:pt x="6323983" y="547485"/>
                  <a:pt x="6305177" y="547485"/>
                </a:cubicBezTo>
                <a:lnTo>
                  <a:pt x="37281" y="547485"/>
                </a:lnTo>
                <a:cubicBezTo>
                  <a:pt x="18475" y="547485"/>
                  <a:pt x="3229" y="532239"/>
                  <a:pt x="3229" y="513433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144000" tIns="144000" rIns="216000" bIns="216000"/>
          <a:lstStyle>
            <a:lvl1pPr marL="0" marR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235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marL="0" marR="0" lvl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3" name="Tijdelijke aanduiding voor datum 3">
            <a:extLst>
              <a:ext uri="{FF2B5EF4-FFF2-40B4-BE49-F238E27FC236}">
                <a16:creationId xmlns:a16="http://schemas.microsoft.com/office/drawing/2014/main" id="{BDC78B71-F098-49D0-A82C-26F4C2AFD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50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70796E-DDED-4E27-9226-E9660C071F14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153" name="Tijdelijke aanduiding voor tekst 3">
            <a:extLst>
              <a:ext uri="{FF2B5EF4-FFF2-40B4-BE49-F238E27FC236}">
                <a16:creationId xmlns:a16="http://schemas.microsoft.com/office/drawing/2014/main" id="{8A98C4B6-1A94-4159-9EB3-581D74066A8F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22673480" y="17557279"/>
            <a:ext cx="18310781" cy="2416919"/>
          </a:xfrm>
          <a:custGeom>
            <a:avLst/>
            <a:gdLst>
              <a:gd name="connsiteX0" fmla="*/ 0 w 6336000"/>
              <a:gd name="connsiteY0" fmla="*/ 34052 h 547200"/>
              <a:gd name="connsiteX1" fmla="*/ 34052 w 6336000"/>
              <a:gd name="connsiteY1" fmla="*/ 0 h 547200"/>
              <a:gd name="connsiteX2" fmla="*/ 6301948 w 6336000"/>
              <a:gd name="connsiteY2" fmla="*/ 0 h 547200"/>
              <a:gd name="connsiteX3" fmla="*/ 6336000 w 6336000"/>
              <a:gd name="connsiteY3" fmla="*/ 34052 h 547200"/>
              <a:gd name="connsiteX4" fmla="*/ 6336000 w 6336000"/>
              <a:gd name="connsiteY4" fmla="*/ 513148 h 547200"/>
              <a:gd name="connsiteX5" fmla="*/ 6301948 w 6336000"/>
              <a:gd name="connsiteY5" fmla="*/ 547200 h 547200"/>
              <a:gd name="connsiteX6" fmla="*/ 34052 w 6336000"/>
              <a:gd name="connsiteY6" fmla="*/ 547200 h 547200"/>
              <a:gd name="connsiteX7" fmla="*/ 0 w 6336000"/>
              <a:gd name="connsiteY7" fmla="*/ 513148 h 547200"/>
              <a:gd name="connsiteX8" fmla="*/ 0 w 6336000"/>
              <a:gd name="connsiteY8" fmla="*/ 34052 h 547200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0 w 6336000"/>
              <a:gd name="connsiteY0" fmla="*/ 44015 h 557163"/>
              <a:gd name="connsiteX1" fmla="*/ 4390 w 6336000"/>
              <a:gd name="connsiteY1" fmla="*/ 17721 h 557163"/>
              <a:gd name="connsiteX2" fmla="*/ 34052 w 6336000"/>
              <a:gd name="connsiteY2" fmla="*/ 9963 h 557163"/>
              <a:gd name="connsiteX3" fmla="*/ 6301948 w 6336000"/>
              <a:gd name="connsiteY3" fmla="*/ 9963 h 557163"/>
              <a:gd name="connsiteX4" fmla="*/ 6336000 w 6336000"/>
              <a:gd name="connsiteY4" fmla="*/ 44015 h 557163"/>
              <a:gd name="connsiteX5" fmla="*/ 6336000 w 6336000"/>
              <a:gd name="connsiteY5" fmla="*/ 523111 h 557163"/>
              <a:gd name="connsiteX6" fmla="*/ 6301948 w 6336000"/>
              <a:gd name="connsiteY6" fmla="*/ 557163 h 557163"/>
              <a:gd name="connsiteX7" fmla="*/ 34052 w 6336000"/>
              <a:gd name="connsiteY7" fmla="*/ 557163 h 557163"/>
              <a:gd name="connsiteX8" fmla="*/ 0 w 6336000"/>
              <a:gd name="connsiteY8" fmla="*/ 523111 h 557163"/>
              <a:gd name="connsiteX9" fmla="*/ 0 w 6336000"/>
              <a:gd name="connsiteY9" fmla="*/ 44015 h 557163"/>
              <a:gd name="connsiteX0" fmla="*/ 325 w 6336325"/>
              <a:gd name="connsiteY0" fmla="*/ 34265 h 547413"/>
              <a:gd name="connsiteX1" fmla="*/ 4715 w 6336325"/>
              <a:gd name="connsiteY1" fmla="*/ 7971 h 547413"/>
              <a:gd name="connsiteX2" fmla="*/ 34377 w 6336325"/>
              <a:gd name="connsiteY2" fmla="*/ 213 h 547413"/>
              <a:gd name="connsiteX3" fmla="*/ 6302273 w 6336325"/>
              <a:gd name="connsiteY3" fmla="*/ 213 h 547413"/>
              <a:gd name="connsiteX4" fmla="*/ 6336325 w 6336325"/>
              <a:gd name="connsiteY4" fmla="*/ 34265 h 547413"/>
              <a:gd name="connsiteX5" fmla="*/ 6336325 w 6336325"/>
              <a:gd name="connsiteY5" fmla="*/ 513361 h 547413"/>
              <a:gd name="connsiteX6" fmla="*/ 6302273 w 6336325"/>
              <a:gd name="connsiteY6" fmla="*/ 547413 h 547413"/>
              <a:gd name="connsiteX7" fmla="*/ 34377 w 6336325"/>
              <a:gd name="connsiteY7" fmla="*/ 547413 h 547413"/>
              <a:gd name="connsiteX8" fmla="*/ 325 w 6336325"/>
              <a:gd name="connsiteY8" fmla="*/ 513361 h 547413"/>
              <a:gd name="connsiteX9" fmla="*/ 325 w 6336325"/>
              <a:gd name="connsiteY9" fmla="*/ 34265 h 547413"/>
              <a:gd name="connsiteX0" fmla="*/ 2320 w 6338320"/>
              <a:gd name="connsiteY0" fmla="*/ 545788 h 579840"/>
              <a:gd name="connsiteX1" fmla="*/ 6710 w 6338320"/>
              <a:gd name="connsiteY1" fmla="*/ 40398 h 579840"/>
              <a:gd name="connsiteX2" fmla="*/ 36372 w 6338320"/>
              <a:gd name="connsiteY2" fmla="*/ 32640 h 579840"/>
              <a:gd name="connsiteX3" fmla="*/ 6304268 w 6338320"/>
              <a:gd name="connsiteY3" fmla="*/ 32640 h 579840"/>
              <a:gd name="connsiteX4" fmla="*/ 6338320 w 6338320"/>
              <a:gd name="connsiteY4" fmla="*/ 66692 h 579840"/>
              <a:gd name="connsiteX5" fmla="*/ 6338320 w 6338320"/>
              <a:gd name="connsiteY5" fmla="*/ 545788 h 579840"/>
              <a:gd name="connsiteX6" fmla="*/ 6304268 w 6338320"/>
              <a:gd name="connsiteY6" fmla="*/ 579840 h 579840"/>
              <a:gd name="connsiteX7" fmla="*/ 36372 w 6338320"/>
              <a:gd name="connsiteY7" fmla="*/ 579840 h 579840"/>
              <a:gd name="connsiteX8" fmla="*/ 2320 w 6338320"/>
              <a:gd name="connsiteY8" fmla="*/ 545788 h 579840"/>
              <a:gd name="connsiteX0" fmla="*/ 440580 w 6776580"/>
              <a:gd name="connsiteY0" fmla="*/ 545209 h 579261"/>
              <a:gd name="connsiteX1" fmla="*/ 440208 w 6776580"/>
              <a:gd name="connsiteY1" fmla="*/ 39819 h 579261"/>
              <a:gd name="connsiteX2" fmla="*/ 474632 w 6776580"/>
              <a:gd name="connsiteY2" fmla="*/ 32061 h 579261"/>
              <a:gd name="connsiteX3" fmla="*/ 6742528 w 6776580"/>
              <a:gd name="connsiteY3" fmla="*/ 32061 h 579261"/>
              <a:gd name="connsiteX4" fmla="*/ 6776580 w 6776580"/>
              <a:gd name="connsiteY4" fmla="*/ 66113 h 579261"/>
              <a:gd name="connsiteX5" fmla="*/ 6776580 w 6776580"/>
              <a:gd name="connsiteY5" fmla="*/ 545209 h 579261"/>
              <a:gd name="connsiteX6" fmla="*/ 6742528 w 6776580"/>
              <a:gd name="connsiteY6" fmla="*/ 579261 h 579261"/>
              <a:gd name="connsiteX7" fmla="*/ 474632 w 6776580"/>
              <a:gd name="connsiteY7" fmla="*/ 579261 h 579261"/>
              <a:gd name="connsiteX8" fmla="*/ 440580 w 6776580"/>
              <a:gd name="connsiteY8" fmla="*/ 545209 h 579261"/>
              <a:gd name="connsiteX0" fmla="*/ 4188 w 6340188"/>
              <a:gd name="connsiteY0" fmla="*/ 545788 h 579840"/>
              <a:gd name="connsiteX1" fmla="*/ 3816 w 6340188"/>
              <a:gd name="connsiteY1" fmla="*/ 40398 h 579840"/>
              <a:gd name="connsiteX2" fmla="*/ 38240 w 6340188"/>
              <a:gd name="connsiteY2" fmla="*/ 32640 h 579840"/>
              <a:gd name="connsiteX3" fmla="*/ 6306136 w 6340188"/>
              <a:gd name="connsiteY3" fmla="*/ 32640 h 579840"/>
              <a:gd name="connsiteX4" fmla="*/ 6340188 w 6340188"/>
              <a:gd name="connsiteY4" fmla="*/ 66692 h 579840"/>
              <a:gd name="connsiteX5" fmla="*/ 6340188 w 6340188"/>
              <a:gd name="connsiteY5" fmla="*/ 545788 h 579840"/>
              <a:gd name="connsiteX6" fmla="*/ 6306136 w 6340188"/>
              <a:gd name="connsiteY6" fmla="*/ 579840 h 579840"/>
              <a:gd name="connsiteX7" fmla="*/ 38240 w 6340188"/>
              <a:gd name="connsiteY7" fmla="*/ 579840 h 579840"/>
              <a:gd name="connsiteX8" fmla="*/ 4188 w 6340188"/>
              <a:gd name="connsiteY8" fmla="*/ 545788 h 579840"/>
              <a:gd name="connsiteX0" fmla="*/ 1984 w 6337984"/>
              <a:gd name="connsiteY0" fmla="*/ 513434 h 547486"/>
              <a:gd name="connsiteX1" fmla="*/ 1612 w 6337984"/>
              <a:gd name="connsiteY1" fmla="*/ 8044 h 547486"/>
              <a:gd name="connsiteX2" fmla="*/ 36036 w 6337984"/>
              <a:gd name="connsiteY2" fmla="*/ 286 h 547486"/>
              <a:gd name="connsiteX3" fmla="*/ 6303932 w 6337984"/>
              <a:gd name="connsiteY3" fmla="*/ 286 h 547486"/>
              <a:gd name="connsiteX4" fmla="*/ 6337984 w 6337984"/>
              <a:gd name="connsiteY4" fmla="*/ 34338 h 547486"/>
              <a:gd name="connsiteX5" fmla="*/ 6337984 w 6337984"/>
              <a:gd name="connsiteY5" fmla="*/ 513434 h 547486"/>
              <a:gd name="connsiteX6" fmla="*/ 6303932 w 6337984"/>
              <a:gd name="connsiteY6" fmla="*/ 547486 h 547486"/>
              <a:gd name="connsiteX7" fmla="*/ 36036 w 6337984"/>
              <a:gd name="connsiteY7" fmla="*/ 547486 h 547486"/>
              <a:gd name="connsiteX8" fmla="*/ 1984 w 6337984"/>
              <a:gd name="connsiteY8" fmla="*/ 513434 h 547486"/>
              <a:gd name="connsiteX0" fmla="*/ 443038 w 6779038"/>
              <a:gd name="connsiteY0" fmla="*/ 513148 h 547200"/>
              <a:gd name="connsiteX1" fmla="*/ 440285 w 6779038"/>
              <a:gd name="connsiteY1" fmla="*/ 7758 h 547200"/>
              <a:gd name="connsiteX2" fmla="*/ 477090 w 6779038"/>
              <a:gd name="connsiteY2" fmla="*/ 0 h 547200"/>
              <a:gd name="connsiteX3" fmla="*/ 6744986 w 6779038"/>
              <a:gd name="connsiteY3" fmla="*/ 0 h 547200"/>
              <a:gd name="connsiteX4" fmla="*/ 6779038 w 6779038"/>
              <a:gd name="connsiteY4" fmla="*/ 34052 h 547200"/>
              <a:gd name="connsiteX5" fmla="*/ 6779038 w 6779038"/>
              <a:gd name="connsiteY5" fmla="*/ 513148 h 547200"/>
              <a:gd name="connsiteX6" fmla="*/ 6744986 w 6779038"/>
              <a:gd name="connsiteY6" fmla="*/ 547200 h 547200"/>
              <a:gd name="connsiteX7" fmla="*/ 477090 w 6779038"/>
              <a:gd name="connsiteY7" fmla="*/ 547200 h 547200"/>
              <a:gd name="connsiteX8" fmla="*/ 443038 w 6779038"/>
              <a:gd name="connsiteY8" fmla="*/ 513148 h 547200"/>
              <a:gd name="connsiteX0" fmla="*/ 3229 w 6339229"/>
              <a:gd name="connsiteY0" fmla="*/ 513433 h 547485"/>
              <a:gd name="connsiteX1" fmla="*/ 476 w 6339229"/>
              <a:gd name="connsiteY1" fmla="*/ 8043 h 547485"/>
              <a:gd name="connsiteX2" fmla="*/ 37281 w 6339229"/>
              <a:gd name="connsiteY2" fmla="*/ 285 h 547485"/>
              <a:gd name="connsiteX3" fmla="*/ 6305177 w 6339229"/>
              <a:gd name="connsiteY3" fmla="*/ 285 h 547485"/>
              <a:gd name="connsiteX4" fmla="*/ 6339229 w 6339229"/>
              <a:gd name="connsiteY4" fmla="*/ 34337 h 547485"/>
              <a:gd name="connsiteX5" fmla="*/ 6339229 w 6339229"/>
              <a:gd name="connsiteY5" fmla="*/ 513433 h 547485"/>
              <a:gd name="connsiteX6" fmla="*/ 6305177 w 6339229"/>
              <a:gd name="connsiteY6" fmla="*/ 547485 h 547485"/>
              <a:gd name="connsiteX7" fmla="*/ 37281 w 6339229"/>
              <a:gd name="connsiteY7" fmla="*/ 547485 h 547485"/>
              <a:gd name="connsiteX8" fmla="*/ 3229 w 6339229"/>
              <a:gd name="connsiteY8" fmla="*/ 513433 h 547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339229" h="547485">
                <a:moveTo>
                  <a:pt x="3229" y="513433"/>
                </a:moveTo>
                <a:cubicBezTo>
                  <a:pt x="-1715" y="423526"/>
                  <a:pt x="1945" y="14987"/>
                  <a:pt x="476" y="8043"/>
                </a:cubicBezTo>
                <a:cubicBezTo>
                  <a:pt x="-993" y="1099"/>
                  <a:pt x="-1471" y="-803"/>
                  <a:pt x="37281" y="285"/>
                </a:cubicBezTo>
                <a:cubicBezTo>
                  <a:pt x="76033" y="1373"/>
                  <a:pt x="4215878" y="285"/>
                  <a:pt x="6305177" y="285"/>
                </a:cubicBezTo>
                <a:cubicBezTo>
                  <a:pt x="6323983" y="285"/>
                  <a:pt x="6339229" y="15531"/>
                  <a:pt x="6339229" y="34337"/>
                </a:cubicBezTo>
                <a:lnTo>
                  <a:pt x="6339229" y="513433"/>
                </a:lnTo>
                <a:cubicBezTo>
                  <a:pt x="6339229" y="532239"/>
                  <a:pt x="6323983" y="547485"/>
                  <a:pt x="6305177" y="547485"/>
                </a:cubicBezTo>
                <a:lnTo>
                  <a:pt x="37281" y="547485"/>
                </a:lnTo>
                <a:cubicBezTo>
                  <a:pt x="18475" y="547485"/>
                  <a:pt x="3229" y="532239"/>
                  <a:pt x="3229" y="513433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144000" tIns="144000" rIns="216000" bIns="216000"/>
          <a:lstStyle>
            <a:lvl1pPr marL="0" marR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235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marL="0" marR="0" lvl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54" name="Tijdelijke aanduiding voor tekst 3">
            <a:extLst>
              <a:ext uri="{FF2B5EF4-FFF2-40B4-BE49-F238E27FC236}">
                <a16:creationId xmlns:a16="http://schemas.microsoft.com/office/drawing/2014/main" id="{FD32AE00-24ED-4295-A98C-4052E811CA7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22673480" y="20380589"/>
            <a:ext cx="18310781" cy="2416919"/>
          </a:xfrm>
          <a:custGeom>
            <a:avLst/>
            <a:gdLst>
              <a:gd name="connsiteX0" fmla="*/ 0 w 6336000"/>
              <a:gd name="connsiteY0" fmla="*/ 34052 h 547200"/>
              <a:gd name="connsiteX1" fmla="*/ 34052 w 6336000"/>
              <a:gd name="connsiteY1" fmla="*/ 0 h 547200"/>
              <a:gd name="connsiteX2" fmla="*/ 6301948 w 6336000"/>
              <a:gd name="connsiteY2" fmla="*/ 0 h 547200"/>
              <a:gd name="connsiteX3" fmla="*/ 6336000 w 6336000"/>
              <a:gd name="connsiteY3" fmla="*/ 34052 h 547200"/>
              <a:gd name="connsiteX4" fmla="*/ 6336000 w 6336000"/>
              <a:gd name="connsiteY4" fmla="*/ 513148 h 547200"/>
              <a:gd name="connsiteX5" fmla="*/ 6301948 w 6336000"/>
              <a:gd name="connsiteY5" fmla="*/ 547200 h 547200"/>
              <a:gd name="connsiteX6" fmla="*/ 34052 w 6336000"/>
              <a:gd name="connsiteY6" fmla="*/ 547200 h 547200"/>
              <a:gd name="connsiteX7" fmla="*/ 0 w 6336000"/>
              <a:gd name="connsiteY7" fmla="*/ 513148 h 547200"/>
              <a:gd name="connsiteX8" fmla="*/ 0 w 6336000"/>
              <a:gd name="connsiteY8" fmla="*/ 34052 h 547200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0 w 6336000"/>
              <a:gd name="connsiteY0" fmla="*/ 44015 h 557163"/>
              <a:gd name="connsiteX1" fmla="*/ 4390 w 6336000"/>
              <a:gd name="connsiteY1" fmla="*/ 17721 h 557163"/>
              <a:gd name="connsiteX2" fmla="*/ 34052 w 6336000"/>
              <a:gd name="connsiteY2" fmla="*/ 9963 h 557163"/>
              <a:gd name="connsiteX3" fmla="*/ 6301948 w 6336000"/>
              <a:gd name="connsiteY3" fmla="*/ 9963 h 557163"/>
              <a:gd name="connsiteX4" fmla="*/ 6336000 w 6336000"/>
              <a:gd name="connsiteY4" fmla="*/ 44015 h 557163"/>
              <a:gd name="connsiteX5" fmla="*/ 6336000 w 6336000"/>
              <a:gd name="connsiteY5" fmla="*/ 523111 h 557163"/>
              <a:gd name="connsiteX6" fmla="*/ 6301948 w 6336000"/>
              <a:gd name="connsiteY6" fmla="*/ 557163 h 557163"/>
              <a:gd name="connsiteX7" fmla="*/ 34052 w 6336000"/>
              <a:gd name="connsiteY7" fmla="*/ 557163 h 557163"/>
              <a:gd name="connsiteX8" fmla="*/ 0 w 6336000"/>
              <a:gd name="connsiteY8" fmla="*/ 523111 h 557163"/>
              <a:gd name="connsiteX9" fmla="*/ 0 w 6336000"/>
              <a:gd name="connsiteY9" fmla="*/ 44015 h 557163"/>
              <a:gd name="connsiteX0" fmla="*/ 325 w 6336325"/>
              <a:gd name="connsiteY0" fmla="*/ 34265 h 547413"/>
              <a:gd name="connsiteX1" fmla="*/ 4715 w 6336325"/>
              <a:gd name="connsiteY1" fmla="*/ 7971 h 547413"/>
              <a:gd name="connsiteX2" fmla="*/ 34377 w 6336325"/>
              <a:gd name="connsiteY2" fmla="*/ 213 h 547413"/>
              <a:gd name="connsiteX3" fmla="*/ 6302273 w 6336325"/>
              <a:gd name="connsiteY3" fmla="*/ 213 h 547413"/>
              <a:gd name="connsiteX4" fmla="*/ 6336325 w 6336325"/>
              <a:gd name="connsiteY4" fmla="*/ 34265 h 547413"/>
              <a:gd name="connsiteX5" fmla="*/ 6336325 w 6336325"/>
              <a:gd name="connsiteY5" fmla="*/ 513361 h 547413"/>
              <a:gd name="connsiteX6" fmla="*/ 6302273 w 6336325"/>
              <a:gd name="connsiteY6" fmla="*/ 547413 h 547413"/>
              <a:gd name="connsiteX7" fmla="*/ 34377 w 6336325"/>
              <a:gd name="connsiteY7" fmla="*/ 547413 h 547413"/>
              <a:gd name="connsiteX8" fmla="*/ 325 w 6336325"/>
              <a:gd name="connsiteY8" fmla="*/ 513361 h 547413"/>
              <a:gd name="connsiteX9" fmla="*/ 325 w 6336325"/>
              <a:gd name="connsiteY9" fmla="*/ 34265 h 547413"/>
              <a:gd name="connsiteX0" fmla="*/ 2320 w 6338320"/>
              <a:gd name="connsiteY0" fmla="*/ 545788 h 579840"/>
              <a:gd name="connsiteX1" fmla="*/ 6710 w 6338320"/>
              <a:gd name="connsiteY1" fmla="*/ 40398 h 579840"/>
              <a:gd name="connsiteX2" fmla="*/ 36372 w 6338320"/>
              <a:gd name="connsiteY2" fmla="*/ 32640 h 579840"/>
              <a:gd name="connsiteX3" fmla="*/ 6304268 w 6338320"/>
              <a:gd name="connsiteY3" fmla="*/ 32640 h 579840"/>
              <a:gd name="connsiteX4" fmla="*/ 6338320 w 6338320"/>
              <a:gd name="connsiteY4" fmla="*/ 66692 h 579840"/>
              <a:gd name="connsiteX5" fmla="*/ 6338320 w 6338320"/>
              <a:gd name="connsiteY5" fmla="*/ 545788 h 579840"/>
              <a:gd name="connsiteX6" fmla="*/ 6304268 w 6338320"/>
              <a:gd name="connsiteY6" fmla="*/ 579840 h 579840"/>
              <a:gd name="connsiteX7" fmla="*/ 36372 w 6338320"/>
              <a:gd name="connsiteY7" fmla="*/ 579840 h 579840"/>
              <a:gd name="connsiteX8" fmla="*/ 2320 w 6338320"/>
              <a:gd name="connsiteY8" fmla="*/ 545788 h 579840"/>
              <a:gd name="connsiteX0" fmla="*/ 440580 w 6776580"/>
              <a:gd name="connsiteY0" fmla="*/ 545209 h 579261"/>
              <a:gd name="connsiteX1" fmla="*/ 440208 w 6776580"/>
              <a:gd name="connsiteY1" fmla="*/ 39819 h 579261"/>
              <a:gd name="connsiteX2" fmla="*/ 474632 w 6776580"/>
              <a:gd name="connsiteY2" fmla="*/ 32061 h 579261"/>
              <a:gd name="connsiteX3" fmla="*/ 6742528 w 6776580"/>
              <a:gd name="connsiteY3" fmla="*/ 32061 h 579261"/>
              <a:gd name="connsiteX4" fmla="*/ 6776580 w 6776580"/>
              <a:gd name="connsiteY4" fmla="*/ 66113 h 579261"/>
              <a:gd name="connsiteX5" fmla="*/ 6776580 w 6776580"/>
              <a:gd name="connsiteY5" fmla="*/ 545209 h 579261"/>
              <a:gd name="connsiteX6" fmla="*/ 6742528 w 6776580"/>
              <a:gd name="connsiteY6" fmla="*/ 579261 h 579261"/>
              <a:gd name="connsiteX7" fmla="*/ 474632 w 6776580"/>
              <a:gd name="connsiteY7" fmla="*/ 579261 h 579261"/>
              <a:gd name="connsiteX8" fmla="*/ 440580 w 6776580"/>
              <a:gd name="connsiteY8" fmla="*/ 545209 h 579261"/>
              <a:gd name="connsiteX0" fmla="*/ 4188 w 6340188"/>
              <a:gd name="connsiteY0" fmla="*/ 545788 h 579840"/>
              <a:gd name="connsiteX1" fmla="*/ 3816 w 6340188"/>
              <a:gd name="connsiteY1" fmla="*/ 40398 h 579840"/>
              <a:gd name="connsiteX2" fmla="*/ 38240 w 6340188"/>
              <a:gd name="connsiteY2" fmla="*/ 32640 h 579840"/>
              <a:gd name="connsiteX3" fmla="*/ 6306136 w 6340188"/>
              <a:gd name="connsiteY3" fmla="*/ 32640 h 579840"/>
              <a:gd name="connsiteX4" fmla="*/ 6340188 w 6340188"/>
              <a:gd name="connsiteY4" fmla="*/ 66692 h 579840"/>
              <a:gd name="connsiteX5" fmla="*/ 6340188 w 6340188"/>
              <a:gd name="connsiteY5" fmla="*/ 545788 h 579840"/>
              <a:gd name="connsiteX6" fmla="*/ 6306136 w 6340188"/>
              <a:gd name="connsiteY6" fmla="*/ 579840 h 579840"/>
              <a:gd name="connsiteX7" fmla="*/ 38240 w 6340188"/>
              <a:gd name="connsiteY7" fmla="*/ 579840 h 579840"/>
              <a:gd name="connsiteX8" fmla="*/ 4188 w 6340188"/>
              <a:gd name="connsiteY8" fmla="*/ 545788 h 579840"/>
              <a:gd name="connsiteX0" fmla="*/ 1984 w 6337984"/>
              <a:gd name="connsiteY0" fmla="*/ 513434 h 547486"/>
              <a:gd name="connsiteX1" fmla="*/ 1612 w 6337984"/>
              <a:gd name="connsiteY1" fmla="*/ 8044 h 547486"/>
              <a:gd name="connsiteX2" fmla="*/ 36036 w 6337984"/>
              <a:gd name="connsiteY2" fmla="*/ 286 h 547486"/>
              <a:gd name="connsiteX3" fmla="*/ 6303932 w 6337984"/>
              <a:gd name="connsiteY3" fmla="*/ 286 h 547486"/>
              <a:gd name="connsiteX4" fmla="*/ 6337984 w 6337984"/>
              <a:gd name="connsiteY4" fmla="*/ 34338 h 547486"/>
              <a:gd name="connsiteX5" fmla="*/ 6337984 w 6337984"/>
              <a:gd name="connsiteY5" fmla="*/ 513434 h 547486"/>
              <a:gd name="connsiteX6" fmla="*/ 6303932 w 6337984"/>
              <a:gd name="connsiteY6" fmla="*/ 547486 h 547486"/>
              <a:gd name="connsiteX7" fmla="*/ 36036 w 6337984"/>
              <a:gd name="connsiteY7" fmla="*/ 547486 h 547486"/>
              <a:gd name="connsiteX8" fmla="*/ 1984 w 6337984"/>
              <a:gd name="connsiteY8" fmla="*/ 513434 h 547486"/>
              <a:gd name="connsiteX0" fmla="*/ 443038 w 6779038"/>
              <a:gd name="connsiteY0" fmla="*/ 513148 h 547200"/>
              <a:gd name="connsiteX1" fmla="*/ 440285 w 6779038"/>
              <a:gd name="connsiteY1" fmla="*/ 7758 h 547200"/>
              <a:gd name="connsiteX2" fmla="*/ 477090 w 6779038"/>
              <a:gd name="connsiteY2" fmla="*/ 0 h 547200"/>
              <a:gd name="connsiteX3" fmla="*/ 6744986 w 6779038"/>
              <a:gd name="connsiteY3" fmla="*/ 0 h 547200"/>
              <a:gd name="connsiteX4" fmla="*/ 6779038 w 6779038"/>
              <a:gd name="connsiteY4" fmla="*/ 34052 h 547200"/>
              <a:gd name="connsiteX5" fmla="*/ 6779038 w 6779038"/>
              <a:gd name="connsiteY5" fmla="*/ 513148 h 547200"/>
              <a:gd name="connsiteX6" fmla="*/ 6744986 w 6779038"/>
              <a:gd name="connsiteY6" fmla="*/ 547200 h 547200"/>
              <a:gd name="connsiteX7" fmla="*/ 477090 w 6779038"/>
              <a:gd name="connsiteY7" fmla="*/ 547200 h 547200"/>
              <a:gd name="connsiteX8" fmla="*/ 443038 w 6779038"/>
              <a:gd name="connsiteY8" fmla="*/ 513148 h 547200"/>
              <a:gd name="connsiteX0" fmla="*/ 3229 w 6339229"/>
              <a:gd name="connsiteY0" fmla="*/ 513433 h 547485"/>
              <a:gd name="connsiteX1" fmla="*/ 476 w 6339229"/>
              <a:gd name="connsiteY1" fmla="*/ 8043 h 547485"/>
              <a:gd name="connsiteX2" fmla="*/ 37281 w 6339229"/>
              <a:gd name="connsiteY2" fmla="*/ 285 h 547485"/>
              <a:gd name="connsiteX3" fmla="*/ 6305177 w 6339229"/>
              <a:gd name="connsiteY3" fmla="*/ 285 h 547485"/>
              <a:gd name="connsiteX4" fmla="*/ 6339229 w 6339229"/>
              <a:gd name="connsiteY4" fmla="*/ 34337 h 547485"/>
              <a:gd name="connsiteX5" fmla="*/ 6339229 w 6339229"/>
              <a:gd name="connsiteY5" fmla="*/ 513433 h 547485"/>
              <a:gd name="connsiteX6" fmla="*/ 6305177 w 6339229"/>
              <a:gd name="connsiteY6" fmla="*/ 547485 h 547485"/>
              <a:gd name="connsiteX7" fmla="*/ 37281 w 6339229"/>
              <a:gd name="connsiteY7" fmla="*/ 547485 h 547485"/>
              <a:gd name="connsiteX8" fmla="*/ 3229 w 6339229"/>
              <a:gd name="connsiteY8" fmla="*/ 513433 h 547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339229" h="547485">
                <a:moveTo>
                  <a:pt x="3229" y="513433"/>
                </a:moveTo>
                <a:cubicBezTo>
                  <a:pt x="-1715" y="423526"/>
                  <a:pt x="1945" y="14987"/>
                  <a:pt x="476" y="8043"/>
                </a:cubicBezTo>
                <a:cubicBezTo>
                  <a:pt x="-993" y="1099"/>
                  <a:pt x="-1471" y="-803"/>
                  <a:pt x="37281" y="285"/>
                </a:cubicBezTo>
                <a:cubicBezTo>
                  <a:pt x="76033" y="1373"/>
                  <a:pt x="4215878" y="285"/>
                  <a:pt x="6305177" y="285"/>
                </a:cubicBezTo>
                <a:cubicBezTo>
                  <a:pt x="6323983" y="285"/>
                  <a:pt x="6339229" y="15531"/>
                  <a:pt x="6339229" y="34337"/>
                </a:cubicBezTo>
                <a:lnTo>
                  <a:pt x="6339229" y="513433"/>
                </a:lnTo>
                <a:cubicBezTo>
                  <a:pt x="6339229" y="532239"/>
                  <a:pt x="6323983" y="547485"/>
                  <a:pt x="6305177" y="547485"/>
                </a:cubicBezTo>
                <a:lnTo>
                  <a:pt x="37281" y="547485"/>
                </a:lnTo>
                <a:cubicBezTo>
                  <a:pt x="18475" y="547485"/>
                  <a:pt x="3229" y="532239"/>
                  <a:pt x="3229" y="513433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144000" tIns="144000" rIns="216000" bIns="216000"/>
          <a:lstStyle>
            <a:lvl1pPr marL="0" marR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235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marL="0" marR="0" lvl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55" name="Tijdelijke aanduiding voor tekst 3">
            <a:extLst>
              <a:ext uri="{FF2B5EF4-FFF2-40B4-BE49-F238E27FC236}">
                <a16:creationId xmlns:a16="http://schemas.microsoft.com/office/drawing/2014/main" id="{995A4DD9-A511-424A-A6EF-3EFF4DF1BE8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2673480" y="23203888"/>
            <a:ext cx="18310781" cy="2416919"/>
          </a:xfrm>
          <a:custGeom>
            <a:avLst/>
            <a:gdLst>
              <a:gd name="connsiteX0" fmla="*/ 0 w 6336000"/>
              <a:gd name="connsiteY0" fmla="*/ 34052 h 547200"/>
              <a:gd name="connsiteX1" fmla="*/ 34052 w 6336000"/>
              <a:gd name="connsiteY1" fmla="*/ 0 h 547200"/>
              <a:gd name="connsiteX2" fmla="*/ 6301948 w 6336000"/>
              <a:gd name="connsiteY2" fmla="*/ 0 h 547200"/>
              <a:gd name="connsiteX3" fmla="*/ 6336000 w 6336000"/>
              <a:gd name="connsiteY3" fmla="*/ 34052 h 547200"/>
              <a:gd name="connsiteX4" fmla="*/ 6336000 w 6336000"/>
              <a:gd name="connsiteY4" fmla="*/ 513148 h 547200"/>
              <a:gd name="connsiteX5" fmla="*/ 6301948 w 6336000"/>
              <a:gd name="connsiteY5" fmla="*/ 547200 h 547200"/>
              <a:gd name="connsiteX6" fmla="*/ 34052 w 6336000"/>
              <a:gd name="connsiteY6" fmla="*/ 547200 h 547200"/>
              <a:gd name="connsiteX7" fmla="*/ 0 w 6336000"/>
              <a:gd name="connsiteY7" fmla="*/ 513148 h 547200"/>
              <a:gd name="connsiteX8" fmla="*/ 0 w 6336000"/>
              <a:gd name="connsiteY8" fmla="*/ 34052 h 547200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0 w 6336000"/>
              <a:gd name="connsiteY0" fmla="*/ 44015 h 557163"/>
              <a:gd name="connsiteX1" fmla="*/ 4390 w 6336000"/>
              <a:gd name="connsiteY1" fmla="*/ 17721 h 557163"/>
              <a:gd name="connsiteX2" fmla="*/ 34052 w 6336000"/>
              <a:gd name="connsiteY2" fmla="*/ 9963 h 557163"/>
              <a:gd name="connsiteX3" fmla="*/ 6301948 w 6336000"/>
              <a:gd name="connsiteY3" fmla="*/ 9963 h 557163"/>
              <a:gd name="connsiteX4" fmla="*/ 6336000 w 6336000"/>
              <a:gd name="connsiteY4" fmla="*/ 44015 h 557163"/>
              <a:gd name="connsiteX5" fmla="*/ 6336000 w 6336000"/>
              <a:gd name="connsiteY5" fmla="*/ 523111 h 557163"/>
              <a:gd name="connsiteX6" fmla="*/ 6301948 w 6336000"/>
              <a:gd name="connsiteY6" fmla="*/ 557163 h 557163"/>
              <a:gd name="connsiteX7" fmla="*/ 34052 w 6336000"/>
              <a:gd name="connsiteY7" fmla="*/ 557163 h 557163"/>
              <a:gd name="connsiteX8" fmla="*/ 0 w 6336000"/>
              <a:gd name="connsiteY8" fmla="*/ 523111 h 557163"/>
              <a:gd name="connsiteX9" fmla="*/ 0 w 6336000"/>
              <a:gd name="connsiteY9" fmla="*/ 44015 h 557163"/>
              <a:gd name="connsiteX0" fmla="*/ 325 w 6336325"/>
              <a:gd name="connsiteY0" fmla="*/ 34265 h 547413"/>
              <a:gd name="connsiteX1" fmla="*/ 4715 w 6336325"/>
              <a:gd name="connsiteY1" fmla="*/ 7971 h 547413"/>
              <a:gd name="connsiteX2" fmla="*/ 34377 w 6336325"/>
              <a:gd name="connsiteY2" fmla="*/ 213 h 547413"/>
              <a:gd name="connsiteX3" fmla="*/ 6302273 w 6336325"/>
              <a:gd name="connsiteY3" fmla="*/ 213 h 547413"/>
              <a:gd name="connsiteX4" fmla="*/ 6336325 w 6336325"/>
              <a:gd name="connsiteY4" fmla="*/ 34265 h 547413"/>
              <a:gd name="connsiteX5" fmla="*/ 6336325 w 6336325"/>
              <a:gd name="connsiteY5" fmla="*/ 513361 h 547413"/>
              <a:gd name="connsiteX6" fmla="*/ 6302273 w 6336325"/>
              <a:gd name="connsiteY6" fmla="*/ 547413 h 547413"/>
              <a:gd name="connsiteX7" fmla="*/ 34377 w 6336325"/>
              <a:gd name="connsiteY7" fmla="*/ 547413 h 547413"/>
              <a:gd name="connsiteX8" fmla="*/ 325 w 6336325"/>
              <a:gd name="connsiteY8" fmla="*/ 513361 h 547413"/>
              <a:gd name="connsiteX9" fmla="*/ 325 w 6336325"/>
              <a:gd name="connsiteY9" fmla="*/ 34265 h 547413"/>
              <a:gd name="connsiteX0" fmla="*/ 2320 w 6338320"/>
              <a:gd name="connsiteY0" fmla="*/ 545788 h 579840"/>
              <a:gd name="connsiteX1" fmla="*/ 6710 w 6338320"/>
              <a:gd name="connsiteY1" fmla="*/ 40398 h 579840"/>
              <a:gd name="connsiteX2" fmla="*/ 36372 w 6338320"/>
              <a:gd name="connsiteY2" fmla="*/ 32640 h 579840"/>
              <a:gd name="connsiteX3" fmla="*/ 6304268 w 6338320"/>
              <a:gd name="connsiteY3" fmla="*/ 32640 h 579840"/>
              <a:gd name="connsiteX4" fmla="*/ 6338320 w 6338320"/>
              <a:gd name="connsiteY4" fmla="*/ 66692 h 579840"/>
              <a:gd name="connsiteX5" fmla="*/ 6338320 w 6338320"/>
              <a:gd name="connsiteY5" fmla="*/ 545788 h 579840"/>
              <a:gd name="connsiteX6" fmla="*/ 6304268 w 6338320"/>
              <a:gd name="connsiteY6" fmla="*/ 579840 h 579840"/>
              <a:gd name="connsiteX7" fmla="*/ 36372 w 6338320"/>
              <a:gd name="connsiteY7" fmla="*/ 579840 h 579840"/>
              <a:gd name="connsiteX8" fmla="*/ 2320 w 6338320"/>
              <a:gd name="connsiteY8" fmla="*/ 545788 h 579840"/>
              <a:gd name="connsiteX0" fmla="*/ 440580 w 6776580"/>
              <a:gd name="connsiteY0" fmla="*/ 545209 h 579261"/>
              <a:gd name="connsiteX1" fmla="*/ 440208 w 6776580"/>
              <a:gd name="connsiteY1" fmla="*/ 39819 h 579261"/>
              <a:gd name="connsiteX2" fmla="*/ 474632 w 6776580"/>
              <a:gd name="connsiteY2" fmla="*/ 32061 h 579261"/>
              <a:gd name="connsiteX3" fmla="*/ 6742528 w 6776580"/>
              <a:gd name="connsiteY3" fmla="*/ 32061 h 579261"/>
              <a:gd name="connsiteX4" fmla="*/ 6776580 w 6776580"/>
              <a:gd name="connsiteY4" fmla="*/ 66113 h 579261"/>
              <a:gd name="connsiteX5" fmla="*/ 6776580 w 6776580"/>
              <a:gd name="connsiteY5" fmla="*/ 545209 h 579261"/>
              <a:gd name="connsiteX6" fmla="*/ 6742528 w 6776580"/>
              <a:gd name="connsiteY6" fmla="*/ 579261 h 579261"/>
              <a:gd name="connsiteX7" fmla="*/ 474632 w 6776580"/>
              <a:gd name="connsiteY7" fmla="*/ 579261 h 579261"/>
              <a:gd name="connsiteX8" fmla="*/ 440580 w 6776580"/>
              <a:gd name="connsiteY8" fmla="*/ 545209 h 579261"/>
              <a:gd name="connsiteX0" fmla="*/ 4188 w 6340188"/>
              <a:gd name="connsiteY0" fmla="*/ 545788 h 579840"/>
              <a:gd name="connsiteX1" fmla="*/ 3816 w 6340188"/>
              <a:gd name="connsiteY1" fmla="*/ 40398 h 579840"/>
              <a:gd name="connsiteX2" fmla="*/ 38240 w 6340188"/>
              <a:gd name="connsiteY2" fmla="*/ 32640 h 579840"/>
              <a:gd name="connsiteX3" fmla="*/ 6306136 w 6340188"/>
              <a:gd name="connsiteY3" fmla="*/ 32640 h 579840"/>
              <a:gd name="connsiteX4" fmla="*/ 6340188 w 6340188"/>
              <a:gd name="connsiteY4" fmla="*/ 66692 h 579840"/>
              <a:gd name="connsiteX5" fmla="*/ 6340188 w 6340188"/>
              <a:gd name="connsiteY5" fmla="*/ 545788 h 579840"/>
              <a:gd name="connsiteX6" fmla="*/ 6306136 w 6340188"/>
              <a:gd name="connsiteY6" fmla="*/ 579840 h 579840"/>
              <a:gd name="connsiteX7" fmla="*/ 38240 w 6340188"/>
              <a:gd name="connsiteY7" fmla="*/ 579840 h 579840"/>
              <a:gd name="connsiteX8" fmla="*/ 4188 w 6340188"/>
              <a:gd name="connsiteY8" fmla="*/ 545788 h 579840"/>
              <a:gd name="connsiteX0" fmla="*/ 1984 w 6337984"/>
              <a:gd name="connsiteY0" fmla="*/ 513434 h 547486"/>
              <a:gd name="connsiteX1" fmla="*/ 1612 w 6337984"/>
              <a:gd name="connsiteY1" fmla="*/ 8044 h 547486"/>
              <a:gd name="connsiteX2" fmla="*/ 36036 w 6337984"/>
              <a:gd name="connsiteY2" fmla="*/ 286 h 547486"/>
              <a:gd name="connsiteX3" fmla="*/ 6303932 w 6337984"/>
              <a:gd name="connsiteY3" fmla="*/ 286 h 547486"/>
              <a:gd name="connsiteX4" fmla="*/ 6337984 w 6337984"/>
              <a:gd name="connsiteY4" fmla="*/ 34338 h 547486"/>
              <a:gd name="connsiteX5" fmla="*/ 6337984 w 6337984"/>
              <a:gd name="connsiteY5" fmla="*/ 513434 h 547486"/>
              <a:gd name="connsiteX6" fmla="*/ 6303932 w 6337984"/>
              <a:gd name="connsiteY6" fmla="*/ 547486 h 547486"/>
              <a:gd name="connsiteX7" fmla="*/ 36036 w 6337984"/>
              <a:gd name="connsiteY7" fmla="*/ 547486 h 547486"/>
              <a:gd name="connsiteX8" fmla="*/ 1984 w 6337984"/>
              <a:gd name="connsiteY8" fmla="*/ 513434 h 547486"/>
              <a:gd name="connsiteX0" fmla="*/ 443038 w 6779038"/>
              <a:gd name="connsiteY0" fmla="*/ 513148 h 547200"/>
              <a:gd name="connsiteX1" fmla="*/ 440285 w 6779038"/>
              <a:gd name="connsiteY1" fmla="*/ 7758 h 547200"/>
              <a:gd name="connsiteX2" fmla="*/ 477090 w 6779038"/>
              <a:gd name="connsiteY2" fmla="*/ 0 h 547200"/>
              <a:gd name="connsiteX3" fmla="*/ 6744986 w 6779038"/>
              <a:gd name="connsiteY3" fmla="*/ 0 h 547200"/>
              <a:gd name="connsiteX4" fmla="*/ 6779038 w 6779038"/>
              <a:gd name="connsiteY4" fmla="*/ 34052 h 547200"/>
              <a:gd name="connsiteX5" fmla="*/ 6779038 w 6779038"/>
              <a:gd name="connsiteY5" fmla="*/ 513148 h 547200"/>
              <a:gd name="connsiteX6" fmla="*/ 6744986 w 6779038"/>
              <a:gd name="connsiteY6" fmla="*/ 547200 h 547200"/>
              <a:gd name="connsiteX7" fmla="*/ 477090 w 6779038"/>
              <a:gd name="connsiteY7" fmla="*/ 547200 h 547200"/>
              <a:gd name="connsiteX8" fmla="*/ 443038 w 6779038"/>
              <a:gd name="connsiteY8" fmla="*/ 513148 h 547200"/>
              <a:gd name="connsiteX0" fmla="*/ 3229 w 6339229"/>
              <a:gd name="connsiteY0" fmla="*/ 513433 h 547485"/>
              <a:gd name="connsiteX1" fmla="*/ 476 w 6339229"/>
              <a:gd name="connsiteY1" fmla="*/ 8043 h 547485"/>
              <a:gd name="connsiteX2" fmla="*/ 37281 w 6339229"/>
              <a:gd name="connsiteY2" fmla="*/ 285 h 547485"/>
              <a:gd name="connsiteX3" fmla="*/ 6305177 w 6339229"/>
              <a:gd name="connsiteY3" fmla="*/ 285 h 547485"/>
              <a:gd name="connsiteX4" fmla="*/ 6339229 w 6339229"/>
              <a:gd name="connsiteY4" fmla="*/ 34337 h 547485"/>
              <a:gd name="connsiteX5" fmla="*/ 6339229 w 6339229"/>
              <a:gd name="connsiteY5" fmla="*/ 513433 h 547485"/>
              <a:gd name="connsiteX6" fmla="*/ 6305177 w 6339229"/>
              <a:gd name="connsiteY6" fmla="*/ 547485 h 547485"/>
              <a:gd name="connsiteX7" fmla="*/ 37281 w 6339229"/>
              <a:gd name="connsiteY7" fmla="*/ 547485 h 547485"/>
              <a:gd name="connsiteX8" fmla="*/ 3229 w 6339229"/>
              <a:gd name="connsiteY8" fmla="*/ 513433 h 547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339229" h="547485">
                <a:moveTo>
                  <a:pt x="3229" y="513433"/>
                </a:moveTo>
                <a:cubicBezTo>
                  <a:pt x="-1715" y="423526"/>
                  <a:pt x="1945" y="14987"/>
                  <a:pt x="476" y="8043"/>
                </a:cubicBezTo>
                <a:cubicBezTo>
                  <a:pt x="-993" y="1099"/>
                  <a:pt x="-1471" y="-803"/>
                  <a:pt x="37281" y="285"/>
                </a:cubicBezTo>
                <a:cubicBezTo>
                  <a:pt x="76033" y="1373"/>
                  <a:pt x="4215878" y="285"/>
                  <a:pt x="6305177" y="285"/>
                </a:cubicBezTo>
                <a:cubicBezTo>
                  <a:pt x="6323983" y="285"/>
                  <a:pt x="6339229" y="15531"/>
                  <a:pt x="6339229" y="34337"/>
                </a:cubicBezTo>
                <a:lnTo>
                  <a:pt x="6339229" y="513433"/>
                </a:lnTo>
                <a:cubicBezTo>
                  <a:pt x="6339229" y="532239"/>
                  <a:pt x="6323983" y="547485"/>
                  <a:pt x="6305177" y="547485"/>
                </a:cubicBezTo>
                <a:lnTo>
                  <a:pt x="37281" y="547485"/>
                </a:lnTo>
                <a:cubicBezTo>
                  <a:pt x="18475" y="547485"/>
                  <a:pt x="3229" y="532239"/>
                  <a:pt x="3229" y="513433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144000" tIns="144000" rIns="216000" bIns="216000"/>
          <a:lstStyle>
            <a:lvl1pPr marL="0" marR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235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marL="0" marR="0" lvl="0" indent="0" algn="l" defTabSz="1277217" rtl="0" eaLnBrk="1" fontAlgn="auto" latinLnBrk="0" hangingPunct="1">
              <a:lnSpc>
                <a:spcPct val="120000"/>
              </a:lnSpc>
              <a:spcBef>
                <a:spcPts val="839"/>
              </a:spcBef>
              <a:spcAft>
                <a:spcPts val="839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grpSp>
        <p:nvGrpSpPr>
          <p:cNvPr id="167" name="Groep 258">
            <a:extLst>
              <a:ext uri="{FF2B5EF4-FFF2-40B4-BE49-F238E27FC236}">
                <a16:creationId xmlns:a16="http://schemas.microsoft.com/office/drawing/2014/main" id="{FE18E7C9-5F3C-41EF-BF34-D683CD93781B}"/>
              </a:ext>
            </a:extLst>
          </p:cNvPr>
          <p:cNvGrpSpPr/>
          <p:nvPr userDrawn="1"/>
        </p:nvGrpSpPr>
        <p:grpSpPr>
          <a:xfrm>
            <a:off x="43467422" y="9"/>
            <a:ext cx="11167745" cy="23084356"/>
            <a:chOff x="12391601" y="0"/>
            <a:chExt cx="3183678" cy="5229113"/>
          </a:xfrm>
        </p:grpSpPr>
        <p:grpSp>
          <p:nvGrpSpPr>
            <p:cNvPr id="168" name="Meer informatie">
              <a:extLst>
                <a:ext uri="{FF2B5EF4-FFF2-40B4-BE49-F238E27FC236}">
                  <a16:creationId xmlns:a16="http://schemas.microsoft.com/office/drawing/2014/main" id="{0F7A2FB2-D7BB-48FE-8D4F-62B9A176ED81}"/>
                </a:ext>
              </a:extLst>
            </p:cNvPr>
            <p:cNvGrpSpPr/>
            <p:nvPr userDrawn="1"/>
          </p:nvGrpSpPr>
          <p:grpSpPr>
            <a:xfrm>
              <a:off x="12396764" y="4445840"/>
              <a:ext cx="3178515" cy="783273"/>
              <a:chOff x="-3741486" y="3386444"/>
              <a:chExt cx="3178515" cy="783273"/>
            </a:xfrm>
          </p:grpSpPr>
          <p:sp>
            <p:nvSpPr>
              <p:cNvPr id="229" name="Freeform 101">
                <a:extLst>
                  <a:ext uri="{FF2B5EF4-FFF2-40B4-BE49-F238E27FC236}">
                    <a16:creationId xmlns:a16="http://schemas.microsoft.com/office/drawing/2014/main" id="{0031DDF7-C28C-4806-A86F-2013C6A9F7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537" noProof="0"/>
              </a:p>
            </p:txBody>
          </p:sp>
          <p:sp>
            <p:nvSpPr>
              <p:cNvPr id="230" name="Rechthoek 306">
                <a:extLst>
                  <a:ext uri="{FF2B5EF4-FFF2-40B4-BE49-F238E27FC236}">
                    <a16:creationId xmlns:a16="http://schemas.microsoft.com/office/drawing/2014/main" id="{4B4FF802-0062-4182-A927-B60762328980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1277217" eaLnBrk="1" fontAlgn="auto" latinLnBrk="0" hangingPunct="1">
                  <a:lnSpc>
                    <a:spcPct val="90000"/>
                  </a:lnSpc>
                  <a:spcBef>
                    <a:spcPts val="839"/>
                  </a:spcBef>
                  <a:spcAft>
                    <a:spcPts val="839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537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537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537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537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1537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45" name="Rechte verbindingslijn 307">
                <a:extLst>
                  <a:ext uri="{FF2B5EF4-FFF2-40B4-BE49-F238E27FC236}">
                    <a16:creationId xmlns:a16="http://schemas.microsoft.com/office/drawing/2014/main" id="{3A2592B0-6D7A-45E7-8F22-0323E512F1A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9" name="Rechthoek 260">
              <a:extLst>
                <a:ext uri="{FF2B5EF4-FFF2-40B4-BE49-F238E27FC236}">
                  <a16:creationId xmlns:a16="http://schemas.microsoft.com/office/drawing/2014/main" id="{52C54B33-0E6F-4900-A56F-19F0B351850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1277217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957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170" name="Ovaal 261">
              <a:extLst>
                <a:ext uri="{FF2B5EF4-FFF2-40B4-BE49-F238E27FC236}">
                  <a16:creationId xmlns:a16="http://schemas.microsoft.com/office/drawing/2014/main" id="{2B842E25-22E9-4681-AE1C-387696989BB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1" name="Rechte verbindingslijn 262">
              <a:extLst>
                <a:ext uri="{FF2B5EF4-FFF2-40B4-BE49-F238E27FC236}">
                  <a16:creationId xmlns:a16="http://schemas.microsoft.com/office/drawing/2014/main" id="{1620D41F-AB81-46F9-99BE-1B9124F7B8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7" name="Rechte verbindingslijn 263">
              <a:extLst>
                <a:ext uri="{FF2B5EF4-FFF2-40B4-BE49-F238E27FC236}">
                  <a16:creationId xmlns:a16="http://schemas.microsoft.com/office/drawing/2014/main" id="{60989F6B-E889-44B7-8FF9-52DAAC264D1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88" name="Rechthoek 264">
              <a:extLst>
                <a:ext uri="{FF2B5EF4-FFF2-40B4-BE49-F238E27FC236}">
                  <a16:creationId xmlns:a16="http://schemas.microsoft.com/office/drawing/2014/main" id="{5C7E4C0C-182F-4B9E-AE82-C28502245921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1277217" eaLnBrk="1" fontAlgn="auto" latinLnBrk="0" hangingPunct="1">
                <a:lnSpc>
                  <a:spcPct val="90000"/>
                </a:lnSpc>
                <a:spcBef>
                  <a:spcPts val="839"/>
                </a:spcBef>
                <a:spcAft>
                  <a:spcPts val="839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oor deze te selecteren en op de 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om een nieuwe afbeelding in te voegen. </a:t>
              </a:r>
              <a:r>
                <a:rPr kumimoji="0" lang="nl-NL" sz="1537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153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89" name="Rechte verbindingslijn 265">
              <a:extLst>
                <a:ext uri="{FF2B5EF4-FFF2-40B4-BE49-F238E27FC236}">
                  <a16:creationId xmlns:a16="http://schemas.microsoft.com/office/drawing/2014/main" id="{0E852508-8CBA-43BD-8D2D-72E14BEDE5C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4327957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90" name="Ovaal 266">
              <a:extLst>
                <a:ext uri="{FF2B5EF4-FFF2-40B4-BE49-F238E27FC236}">
                  <a16:creationId xmlns:a16="http://schemas.microsoft.com/office/drawing/2014/main" id="{B3EA64D6-D0B9-42B9-A0E7-1E9CE13B131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91" name="Rechthoek 267">
              <a:extLst>
                <a:ext uri="{FF2B5EF4-FFF2-40B4-BE49-F238E27FC236}">
                  <a16:creationId xmlns:a16="http://schemas.microsoft.com/office/drawing/2014/main" id="{D94D0B71-4AD1-444D-A3C1-D84F41870101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1277217" eaLnBrk="1" fontAlgn="auto" latinLnBrk="0" hangingPunct="1">
                <a:lnSpc>
                  <a:spcPct val="90000"/>
                </a:lnSpc>
                <a:spcBef>
                  <a:spcPts val="839"/>
                </a:spcBef>
                <a:spcAft>
                  <a:spcPts val="839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537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92" name="Groep 268">
              <a:extLst>
                <a:ext uri="{FF2B5EF4-FFF2-40B4-BE49-F238E27FC236}">
                  <a16:creationId xmlns:a16="http://schemas.microsoft.com/office/drawing/2014/main" id="{C3AE59F1-5BCF-4C25-B665-F056FB35F7D1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26" name="Rechthoek 302">
                <a:extLst>
                  <a:ext uri="{FF2B5EF4-FFF2-40B4-BE49-F238E27FC236}">
                    <a16:creationId xmlns:a16="http://schemas.microsoft.com/office/drawing/2014/main" id="{CF7490C1-4857-4F62-9534-0289BB759C7D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839"/>
                  </a:spcBef>
                  <a:spcAft>
                    <a:spcPts val="839"/>
                  </a:spcAft>
                </a:pPr>
                <a:r>
                  <a:rPr lang="nl-NL" sz="1117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227" name="Rechte verbindingslijn 303">
                <a:extLst>
                  <a:ext uri="{FF2B5EF4-FFF2-40B4-BE49-F238E27FC236}">
                    <a16:creationId xmlns:a16="http://schemas.microsoft.com/office/drawing/2014/main" id="{D8B49E5E-9784-4489-90CA-AC197D62229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28" name="Gelijkbenige driehoek 304">
                <a:extLst>
                  <a:ext uri="{FF2B5EF4-FFF2-40B4-BE49-F238E27FC236}">
                    <a16:creationId xmlns:a16="http://schemas.microsoft.com/office/drawing/2014/main" id="{1E92FB0C-DCB1-4FD2-9390-00C4DB0B0E3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398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93" name="Groep 269">
              <a:extLst>
                <a:ext uri="{FF2B5EF4-FFF2-40B4-BE49-F238E27FC236}">
                  <a16:creationId xmlns:a16="http://schemas.microsoft.com/office/drawing/2014/main" id="{E772412E-F4EA-4570-9686-E3FEC98EEE9A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220" name="Rechthoek 296">
                <a:extLst>
                  <a:ext uri="{FF2B5EF4-FFF2-40B4-BE49-F238E27FC236}">
                    <a16:creationId xmlns:a16="http://schemas.microsoft.com/office/drawing/2014/main" id="{A5213E24-7215-48EA-8BB0-CC7435242DA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839"/>
                  </a:spcBef>
                  <a:spcAft>
                    <a:spcPts val="839"/>
                  </a:spcAft>
                </a:pPr>
                <a:endParaRPr lang="nl-NL" sz="1117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1" name="Ovaal 297">
                <a:extLst>
                  <a:ext uri="{FF2B5EF4-FFF2-40B4-BE49-F238E27FC236}">
                    <a16:creationId xmlns:a16="http://schemas.microsoft.com/office/drawing/2014/main" id="{DD5060DB-DF93-4FAB-8006-F1A519E6461D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398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2" name="Vrije vorm: vorm 298">
                <a:extLst>
                  <a:ext uri="{FF2B5EF4-FFF2-40B4-BE49-F238E27FC236}">
                    <a16:creationId xmlns:a16="http://schemas.microsoft.com/office/drawing/2014/main" id="{B0B2F49B-3A69-452B-A23D-32B8D39B30CF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398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3" name="Rechthoek: afgeronde hoeken 299">
                <a:extLst>
                  <a:ext uri="{FF2B5EF4-FFF2-40B4-BE49-F238E27FC236}">
                    <a16:creationId xmlns:a16="http://schemas.microsoft.com/office/drawing/2014/main" id="{67CEDE91-2011-4A0A-9C72-C29BE7EC087A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839"/>
                  </a:spcBef>
                  <a:spcAft>
                    <a:spcPts val="839"/>
                  </a:spcAft>
                </a:pPr>
                <a:endParaRPr lang="nl-NL" sz="1117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224" name="Rechte verbindingslijn 300">
                <a:extLst>
                  <a:ext uri="{FF2B5EF4-FFF2-40B4-BE49-F238E27FC236}">
                    <a16:creationId xmlns:a16="http://schemas.microsoft.com/office/drawing/2014/main" id="{18932C09-A93A-46A3-BC20-77AAC16A3F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25" name="Rechte verbindingslijn 301">
                <a:extLst>
                  <a:ext uri="{FF2B5EF4-FFF2-40B4-BE49-F238E27FC236}">
                    <a16:creationId xmlns:a16="http://schemas.microsoft.com/office/drawing/2014/main" id="{3B5E5436-3EAE-413F-ABA5-1756E7C8674E}"/>
                  </a:ext>
                </a:extLst>
              </p:cNvPr>
              <p:cNvCxnSpPr>
                <a:cxnSpLocks/>
                <a:stCxn id="223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94" name="Ovaal 270">
              <a:extLst>
                <a:ext uri="{FF2B5EF4-FFF2-40B4-BE49-F238E27FC236}">
                  <a16:creationId xmlns:a16="http://schemas.microsoft.com/office/drawing/2014/main" id="{2419888C-19B6-481E-B2FF-C4DC63D52977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77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95" name="Rechthoek 271">
              <a:extLst>
                <a:ext uri="{FF2B5EF4-FFF2-40B4-BE49-F238E27FC236}">
                  <a16:creationId xmlns:a16="http://schemas.microsoft.com/office/drawing/2014/main" id="{84D765E4-A791-4119-BA2B-5C4D7918047F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43320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1277217" eaLnBrk="1" fontAlgn="auto" latinLnBrk="0" hangingPunct="1">
                <a:lnSpc>
                  <a:spcPct val="90000"/>
                </a:lnSpc>
                <a:spcBef>
                  <a:spcPts val="839"/>
                </a:spcBef>
                <a:spcAft>
                  <a:spcPts val="839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aan de linker kant van het scherm en kies 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537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96" name="Rechte verbindingslijn 272">
              <a:extLst>
                <a:ext uri="{FF2B5EF4-FFF2-40B4-BE49-F238E27FC236}">
                  <a16:creationId xmlns:a16="http://schemas.microsoft.com/office/drawing/2014/main" id="{F476E69D-E8BF-4595-8E00-C2E4F7C220D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97" name="Rechthoek 273">
              <a:extLst>
                <a:ext uri="{FF2B5EF4-FFF2-40B4-BE49-F238E27FC236}">
                  <a16:creationId xmlns:a16="http://schemas.microsoft.com/office/drawing/2014/main" id="{5EA26063-7526-462C-87B0-58492330FAB4}"/>
                </a:ext>
              </a:extLst>
            </p:cNvPr>
            <p:cNvSpPr/>
            <p:nvPr userDrawn="1"/>
          </p:nvSpPr>
          <p:spPr>
            <a:xfrm>
              <a:off x="12654153" y="3238910"/>
              <a:ext cx="1624926" cy="805220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1398" b="0" i="1" noProof="0">
                <a:solidFill>
                  <a:schemeClr val="tx1"/>
                </a:solidFill>
              </a:endParaRPr>
            </a:p>
          </p:txBody>
        </p:sp>
        <p:grpSp>
          <p:nvGrpSpPr>
            <p:cNvPr id="198" name="Groep 274">
              <a:extLst>
                <a:ext uri="{FF2B5EF4-FFF2-40B4-BE49-F238E27FC236}">
                  <a16:creationId xmlns:a16="http://schemas.microsoft.com/office/drawing/2014/main" id="{4D87C859-C297-43C7-887B-2EB1DE1E3DB5}"/>
                </a:ext>
              </a:extLst>
            </p:cNvPr>
            <p:cNvGrpSpPr/>
            <p:nvPr userDrawn="1"/>
          </p:nvGrpSpPr>
          <p:grpSpPr>
            <a:xfrm>
              <a:off x="13614067" y="3535184"/>
              <a:ext cx="1195438" cy="678267"/>
              <a:chOff x="12757284" y="3224292"/>
              <a:chExt cx="1195438" cy="678267"/>
            </a:xfrm>
          </p:grpSpPr>
          <p:sp>
            <p:nvSpPr>
              <p:cNvPr id="199" name="Rechthoek 275">
                <a:extLst>
                  <a:ext uri="{FF2B5EF4-FFF2-40B4-BE49-F238E27FC236}">
                    <a16:creationId xmlns:a16="http://schemas.microsoft.com/office/drawing/2014/main" id="{49CA24D3-8532-4674-B98A-8296E6528AF2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839"/>
                  </a:spcBef>
                  <a:spcAft>
                    <a:spcPts val="839"/>
                  </a:spcAft>
                </a:pPr>
                <a:endParaRPr lang="nl-NL" sz="1117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00" name="Rechthoek 276">
                <a:extLst>
                  <a:ext uri="{FF2B5EF4-FFF2-40B4-BE49-F238E27FC236}">
                    <a16:creationId xmlns:a16="http://schemas.microsoft.com/office/drawing/2014/main" id="{4B8939E3-92C3-44F4-9BD5-1DB7FB0A66B8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1398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01" name="Groep 277">
                <a:extLst>
                  <a:ext uri="{FF2B5EF4-FFF2-40B4-BE49-F238E27FC236}">
                    <a16:creationId xmlns:a16="http://schemas.microsoft.com/office/drawing/2014/main" id="{855C3FD2-D5A3-4C68-BAA6-B45D3AB5AD00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214" name="Rechthoek: afgeronde hoeken 290">
                  <a:extLst>
                    <a:ext uri="{FF2B5EF4-FFF2-40B4-BE49-F238E27FC236}">
                      <a16:creationId xmlns:a16="http://schemas.microsoft.com/office/drawing/2014/main" id="{D6592CD7-4960-4B26-A3A8-7BD365991DBB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839"/>
                    </a:spcBef>
                    <a:spcAft>
                      <a:spcPts val="839"/>
                    </a:spcAft>
                  </a:pPr>
                  <a:endParaRPr lang="nl-NL" sz="1117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5" name="Rechthoek 291">
                  <a:extLst>
                    <a:ext uri="{FF2B5EF4-FFF2-40B4-BE49-F238E27FC236}">
                      <a16:creationId xmlns:a16="http://schemas.microsoft.com/office/drawing/2014/main" id="{AA4A7C17-FB54-4CFF-82FD-8E2CE35D7C39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398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6" name="Rechthoek 292">
                  <a:extLst>
                    <a:ext uri="{FF2B5EF4-FFF2-40B4-BE49-F238E27FC236}">
                      <a16:creationId xmlns:a16="http://schemas.microsoft.com/office/drawing/2014/main" id="{A244A498-0425-4308-8955-DFB58DF90D1A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398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7" name="Rechthoek 293">
                  <a:extLst>
                    <a:ext uri="{FF2B5EF4-FFF2-40B4-BE49-F238E27FC236}">
                      <a16:creationId xmlns:a16="http://schemas.microsoft.com/office/drawing/2014/main" id="{4FCDD622-0C8B-4364-BE92-D9FC5CB0ACB1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398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8" name="Rechthoek 294">
                  <a:extLst>
                    <a:ext uri="{FF2B5EF4-FFF2-40B4-BE49-F238E27FC236}">
                      <a16:creationId xmlns:a16="http://schemas.microsoft.com/office/drawing/2014/main" id="{D1802FA6-02D6-47CD-8382-93A10D0ED1B7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398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9" name="Rechthoek 295">
                  <a:extLst>
                    <a:ext uri="{FF2B5EF4-FFF2-40B4-BE49-F238E27FC236}">
                      <a16:creationId xmlns:a16="http://schemas.microsoft.com/office/drawing/2014/main" id="{7CCAE6D6-0960-47F2-A8FF-5C4236C3F017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1398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202" name="Groep 278">
                <a:extLst>
                  <a:ext uri="{FF2B5EF4-FFF2-40B4-BE49-F238E27FC236}">
                    <a16:creationId xmlns:a16="http://schemas.microsoft.com/office/drawing/2014/main" id="{0A65F830-9A93-416D-A8DE-4C626A5808C8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206" name="Groep 282">
                  <a:extLst>
                    <a:ext uri="{FF2B5EF4-FFF2-40B4-BE49-F238E27FC236}">
                      <a16:creationId xmlns:a16="http://schemas.microsoft.com/office/drawing/2014/main" id="{EAE90E13-348A-43A8-A4E6-B5466EE74C3E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208" name="Rechthoek: afgeronde hoeken 284">
                    <a:extLst>
                      <a:ext uri="{FF2B5EF4-FFF2-40B4-BE49-F238E27FC236}">
                        <a16:creationId xmlns:a16="http://schemas.microsoft.com/office/drawing/2014/main" id="{5F77DA0A-C183-478A-B017-0410985F7C4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839"/>
                      </a:spcBef>
                      <a:spcAft>
                        <a:spcPts val="839"/>
                      </a:spcAft>
                    </a:pPr>
                    <a:endParaRPr lang="nl-NL" sz="1117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09" name="Rechthoek 285">
                    <a:extLst>
                      <a:ext uri="{FF2B5EF4-FFF2-40B4-BE49-F238E27FC236}">
                        <a16:creationId xmlns:a16="http://schemas.microsoft.com/office/drawing/2014/main" id="{96A832AB-F720-4677-A58E-304A99A962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398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0" name="Rechthoek 286">
                    <a:extLst>
                      <a:ext uri="{FF2B5EF4-FFF2-40B4-BE49-F238E27FC236}">
                        <a16:creationId xmlns:a16="http://schemas.microsoft.com/office/drawing/2014/main" id="{B64019D6-18FD-4935-AE7E-4A41AEBB1C7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398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1" name="Rechthoek 287">
                    <a:extLst>
                      <a:ext uri="{FF2B5EF4-FFF2-40B4-BE49-F238E27FC236}">
                        <a16:creationId xmlns:a16="http://schemas.microsoft.com/office/drawing/2014/main" id="{AF896FF2-4F79-4B3A-B16F-303DB01B99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398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2" name="Rechthoek 288">
                    <a:extLst>
                      <a:ext uri="{FF2B5EF4-FFF2-40B4-BE49-F238E27FC236}">
                        <a16:creationId xmlns:a16="http://schemas.microsoft.com/office/drawing/2014/main" id="{5C2A8C0D-0583-42B3-8C7A-07A28E797ED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398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3" name="Rechthoek 289">
                    <a:extLst>
                      <a:ext uri="{FF2B5EF4-FFF2-40B4-BE49-F238E27FC236}">
                        <a16:creationId xmlns:a16="http://schemas.microsoft.com/office/drawing/2014/main" id="{E4C9D569-FA79-4D56-ADDE-25FDBCBD504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1398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207" name="Boog 283">
                  <a:extLst>
                    <a:ext uri="{FF2B5EF4-FFF2-40B4-BE49-F238E27FC236}">
                      <a16:creationId xmlns:a16="http://schemas.microsoft.com/office/drawing/2014/main" id="{5A56BBA6-F562-421F-9337-19ECAC422E00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sz="2515" noProof="0"/>
                </a:p>
              </p:txBody>
            </p:sp>
          </p:grpSp>
          <p:sp>
            <p:nvSpPr>
              <p:cNvPr id="203" name="Tekstvak 279">
                <a:extLst>
                  <a:ext uri="{FF2B5EF4-FFF2-40B4-BE49-F238E27FC236}">
                    <a16:creationId xmlns:a16="http://schemas.microsoft.com/office/drawing/2014/main" id="{3EB31D65-4EFE-415F-8BFB-3EC9FDDC22A3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559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700599" rtl="0" eaLnBrk="1" latinLnBrk="0" hangingPunct="1">
                  <a:lnSpc>
                    <a:spcPct val="90000"/>
                  </a:lnSpc>
                  <a:spcBef>
                    <a:spcPts val="839"/>
                  </a:spcBef>
                  <a:spcAft>
                    <a:spcPts val="839"/>
                  </a:spcAft>
                </a:pPr>
                <a:r>
                  <a:rPr lang="nl-NL" sz="1117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204" name="Tekstvak 280">
                <a:extLst>
                  <a:ext uri="{FF2B5EF4-FFF2-40B4-BE49-F238E27FC236}">
                    <a16:creationId xmlns:a16="http://schemas.microsoft.com/office/drawing/2014/main" id="{B7EF83F3-2B7D-4A64-B8C2-61227520E238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559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700599" rtl="0" eaLnBrk="1" latinLnBrk="0" hangingPunct="1">
                  <a:lnSpc>
                    <a:spcPct val="90000"/>
                  </a:lnSpc>
                  <a:spcBef>
                    <a:spcPts val="839"/>
                  </a:spcBef>
                  <a:spcAft>
                    <a:spcPts val="839"/>
                  </a:spcAft>
                </a:pPr>
                <a:r>
                  <a:rPr lang="nl-NL" sz="1117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205" name="Picture 3">
                <a:extLst>
                  <a:ext uri="{FF2B5EF4-FFF2-40B4-BE49-F238E27FC236}">
                    <a16:creationId xmlns:a16="http://schemas.microsoft.com/office/drawing/2014/main" id="{6ECEF6A9-F446-4E57-8697-B8562D0E271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810206" y="3671228"/>
                <a:ext cx="14251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grpSp>
        <p:nvGrpSpPr>
          <p:cNvPr id="87" name="Instructie">
            <a:extLst>
              <a:ext uri="{FF2B5EF4-FFF2-40B4-BE49-F238E27FC236}">
                <a16:creationId xmlns:a16="http://schemas.microsoft.com/office/drawing/2014/main" id="{1FB51ED4-F5DD-486A-9E36-11EBE1FBB0B7}"/>
              </a:ext>
            </a:extLst>
          </p:cNvPr>
          <p:cNvGrpSpPr/>
          <p:nvPr userDrawn="1"/>
        </p:nvGrpSpPr>
        <p:grpSpPr>
          <a:xfrm>
            <a:off x="-11761544" y="0"/>
            <a:ext cx="11164510" cy="11743958"/>
            <a:chOff x="-3426088" y="4512342"/>
            <a:chExt cx="3182755" cy="2660264"/>
          </a:xfrm>
        </p:grpSpPr>
        <p:sp>
          <p:nvSpPr>
            <p:cNvPr id="88" name="Rechthoek 127">
              <a:extLst>
                <a:ext uri="{FF2B5EF4-FFF2-40B4-BE49-F238E27FC236}">
                  <a16:creationId xmlns:a16="http://schemas.microsoft.com/office/drawing/2014/main" id="{90A476DB-9B4A-476C-B3CD-A1A5C8C09EE2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1277217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957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89" name="Rechte verbindingslijn 128">
              <a:extLst>
                <a:ext uri="{FF2B5EF4-FFF2-40B4-BE49-F238E27FC236}">
                  <a16:creationId xmlns:a16="http://schemas.microsoft.com/office/drawing/2014/main" id="{3661848B-C261-4C32-891C-F024942F9F2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0" name="Rechthoek 130">
              <a:extLst>
                <a:ext uri="{FF2B5EF4-FFF2-40B4-BE49-F238E27FC236}">
                  <a16:creationId xmlns:a16="http://schemas.microsoft.com/office/drawing/2014/main" id="{856D4C44-35AF-488D-8B4A-5F819DDDEB62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1277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91" name="Rechthoek 133">
              <a:extLst>
                <a:ext uri="{FF2B5EF4-FFF2-40B4-BE49-F238E27FC236}">
                  <a16:creationId xmlns:a16="http://schemas.microsoft.com/office/drawing/2014/main" id="{1371B4DB-163F-4863-BACE-D948DECA21BC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239479" marR="0" lvl="0" indent="-239479" algn="l" defTabSz="1277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1537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92" name="Rechthoek 136">
              <a:extLst>
                <a:ext uri="{FF2B5EF4-FFF2-40B4-BE49-F238E27FC236}">
                  <a16:creationId xmlns:a16="http://schemas.microsoft.com/office/drawing/2014/main" id="{11876C2B-3DFA-4771-8C36-791C16CF633D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239479" marR="0" lvl="0" indent="-239479" algn="l" defTabSz="1277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1537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93" name="Rechthoek 139">
              <a:extLst>
                <a:ext uri="{FF2B5EF4-FFF2-40B4-BE49-F238E27FC236}">
                  <a16:creationId xmlns:a16="http://schemas.microsoft.com/office/drawing/2014/main" id="{20E38BB6-2FC6-4BD7-94CD-82F88AD296C5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239479" marR="0" lvl="0" indent="-239479" algn="l" defTabSz="1277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153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153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537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94" name="Rechte verbindingslijn 140">
              <a:extLst>
                <a:ext uri="{FF2B5EF4-FFF2-40B4-BE49-F238E27FC236}">
                  <a16:creationId xmlns:a16="http://schemas.microsoft.com/office/drawing/2014/main" id="{0D45D1BD-1E6B-41C3-AA27-B8A834AC400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71" name="Afbeelding 70">
            <a:extLst>
              <a:ext uri="{FF2B5EF4-FFF2-40B4-BE49-F238E27FC236}">
                <a16:creationId xmlns:a16="http://schemas.microsoft.com/office/drawing/2014/main" id="{EBAD7435-810D-4257-965C-E74C034C95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5" y="831727"/>
            <a:ext cx="9249575" cy="4281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711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5109804-C4A5-4054-BDB0-2C03463245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DFDFEE6D-4D33-40DD-B1C2-0AE692AAB0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38BD4FE-ABBE-4282-A9BF-B77229F162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672439-8434-4D6F-9293-691EE3028D26}" type="datetimeFigureOut">
              <a:rPr lang="nl-NL" smtClean="0"/>
              <a:t>26-6-2023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90C98232-D48F-471F-B737-38060DAA0E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A1027E8C-5521-42DC-A795-54F6F39C46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05957-3AF2-40A4-9DE9-9508B5289916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1816212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Instructie">
            <a:extLst>
              <a:ext uri="{FF2B5EF4-FFF2-40B4-BE49-F238E27FC236}">
                <a16:creationId xmlns:a16="http://schemas.microsoft.com/office/drawing/2014/main" id="{D5E8EF87-B02C-4C6C-90C8-D7C17E25FCC5}"/>
              </a:ext>
            </a:extLst>
          </p:cNvPr>
          <p:cNvGrpSpPr/>
          <p:nvPr userDrawn="1"/>
        </p:nvGrpSpPr>
        <p:grpSpPr>
          <a:xfrm>
            <a:off x="-11879069" y="0"/>
            <a:ext cx="11304947" cy="9880756"/>
            <a:chOff x="-3428327" y="4512342"/>
            <a:chExt cx="3222791" cy="2238208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63EA60B4-85E3-4F49-9206-3E0CB959F555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ettekst wijzigen</a:t>
              </a:r>
            </a:p>
          </p:txBody>
        </p:sp>
        <p:cxnSp>
          <p:nvCxnSpPr>
            <p:cNvPr id="20" name="Rechte verbindingslijn 19">
              <a:extLst>
                <a:ext uri="{FF2B5EF4-FFF2-40B4-BE49-F238E27FC236}">
                  <a16:creationId xmlns:a16="http://schemas.microsoft.com/office/drawing/2014/main" id="{77C1EF7D-EFC8-447F-8B5D-929F29A96FB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" name="Ovaal 20">
              <a:extLst>
                <a:ext uri="{FF2B5EF4-FFF2-40B4-BE49-F238E27FC236}">
                  <a16:creationId xmlns:a16="http://schemas.microsoft.com/office/drawing/2014/main" id="{E87DD442-5E0D-43FD-A7B2-815E2103B9E9}"/>
                </a:ext>
              </a:extLst>
            </p:cNvPr>
            <p:cNvSpPr/>
            <p:nvPr userDrawn="1"/>
          </p:nvSpPr>
          <p:spPr>
            <a:xfrm>
              <a:off x="-3428327" y="489302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50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22" name="Rechthoek 21">
              <a:extLst>
                <a:ext uri="{FF2B5EF4-FFF2-40B4-BE49-F238E27FC236}">
                  <a16:creationId xmlns:a16="http://schemas.microsoft.com/office/drawing/2014/main" id="{49AFB772-31D2-4D09-87E1-B7CC4FFC5DB2}"/>
                </a:ext>
              </a:extLst>
            </p:cNvPr>
            <p:cNvSpPr/>
            <p:nvPr userDrawn="1"/>
          </p:nvSpPr>
          <p:spPr>
            <a:xfrm>
              <a:off x="-3062646" y="4959088"/>
              <a:ext cx="2247687" cy="82820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Ga naa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I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nvoeg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b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lik op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op- en voettekst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.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ink de box voo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ettekst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an om deze zichtbaar te maken.</a:t>
              </a:r>
            </a:p>
          </p:txBody>
        </p:sp>
        <p:cxnSp>
          <p:nvCxnSpPr>
            <p:cNvPr id="23" name="Rechte verbindingslijn 22">
              <a:extLst>
                <a:ext uri="{FF2B5EF4-FFF2-40B4-BE49-F238E27FC236}">
                  <a16:creationId xmlns:a16="http://schemas.microsoft.com/office/drawing/2014/main" id="{DC8C399E-4AE3-44A0-8778-EC90420C6A1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787288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4" name="Ovaal 23">
              <a:extLst>
                <a:ext uri="{FF2B5EF4-FFF2-40B4-BE49-F238E27FC236}">
                  <a16:creationId xmlns:a16="http://schemas.microsoft.com/office/drawing/2014/main" id="{5101A021-9595-4403-AAC2-DBB328463133}"/>
                </a:ext>
              </a:extLst>
            </p:cNvPr>
            <p:cNvSpPr/>
            <p:nvPr userDrawn="1"/>
          </p:nvSpPr>
          <p:spPr>
            <a:xfrm>
              <a:off x="-3428327" y="59089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50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5" name="Rechthoek 24">
              <a:extLst>
                <a:ext uri="{FF2B5EF4-FFF2-40B4-BE49-F238E27FC236}">
                  <a16:creationId xmlns:a16="http://schemas.microsoft.com/office/drawing/2014/main" id="{A76E70CF-6246-444C-87EB-E324464EDA0F}"/>
                </a:ext>
              </a:extLst>
            </p:cNvPr>
            <p:cNvSpPr/>
            <p:nvPr userDrawn="1"/>
          </p:nvSpPr>
          <p:spPr>
            <a:xfrm>
              <a:off x="-3062645" y="5974980"/>
              <a:ext cx="2817996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Typ de gewenste voettekst in het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angegeven tekstkader.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vervolgens op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veral toepass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b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de gegevens op elke slide toe te passen.</a:t>
              </a:r>
            </a:p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350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26" name="Rechte verbindingslijn 25">
              <a:extLst>
                <a:ext uri="{FF2B5EF4-FFF2-40B4-BE49-F238E27FC236}">
                  <a16:creationId xmlns:a16="http://schemas.microsoft.com/office/drawing/2014/main" id="{474FE3ED-3EC5-46D2-8BF1-9E695001801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675055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7" name="Groep 26">
              <a:extLst>
                <a:ext uri="{FF2B5EF4-FFF2-40B4-BE49-F238E27FC236}">
                  <a16:creationId xmlns:a16="http://schemas.microsoft.com/office/drawing/2014/main" id="{3ECD38D8-6580-42F2-95A1-2AFD451A5F19}"/>
                </a:ext>
              </a:extLst>
            </p:cNvPr>
            <p:cNvGrpSpPr/>
            <p:nvPr userDrawn="1"/>
          </p:nvGrpSpPr>
          <p:grpSpPr>
            <a:xfrm>
              <a:off x="-886669" y="4993966"/>
              <a:ext cx="681133" cy="750023"/>
              <a:chOff x="-910573" y="4987990"/>
              <a:chExt cx="681133" cy="750023"/>
            </a:xfrm>
          </p:grpSpPr>
          <p:grpSp>
            <p:nvGrpSpPr>
              <p:cNvPr id="29" name="Groep 28">
                <a:extLst>
                  <a:ext uri="{FF2B5EF4-FFF2-40B4-BE49-F238E27FC236}">
                    <a16:creationId xmlns:a16="http://schemas.microsoft.com/office/drawing/2014/main" id="{399AD2D2-8AF2-4610-BBAD-F7FC1EB9276B}"/>
                  </a:ext>
                </a:extLst>
              </p:cNvPr>
              <p:cNvGrpSpPr/>
              <p:nvPr userDrawn="1"/>
            </p:nvGrpSpPr>
            <p:grpSpPr>
              <a:xfrm>
                <a:off x="-713542" y="4987990"/>
                <a:ext cx="287071" cy="379107"/>
                <a:chOff x="-4050578" y="288410"/>
                <a:chExt cx="322125" cy="379107"/>
              </a:xfrm>
            </p:grpSpPr>
            <p:sp>
              <p:nvSpPr>
                <p:cNvPr id="32" name="Rechthoek met één afgeknipte en afgeronde hoek 47">
                  <a:extLst>
                    <a:ext uri="{FF2B5EF4-FFF2-40B4-BE49-F238E27FC236}">
                      <a16:creationId xmlns:a16="http://schemas.microsoft.com/office/drawing/2014/main" id="{43A6D2FC-3164-4919-8E6C-8EFCE3358913}"/>
                    </a:ext>
                  </a:extLst>
                </p:cNvPr>
                <p:cNvSpPr/>
                <p:nvPr userDrawn="1"/>
              </p:nvSpPr>
              <p:spPr>
                <a:xfrm>
                  <a:off x="-4050578" y="288410"/>
                  <a:ext cx="322125" cy="379107"/>
                </a:xfrm>
                <a:prstGeom prst="snipRoundRect">
                  <a:avLst>
                    <a:gd name="adj1" fmla="val 0"/>
                    <a:gd name="adj2" fmla="val 33753"/>
                  </a:avLst>
                </a:prstGeom>
                <a:solidFill>
                  <a:sysClr val="window" lastClr="FFFFFF"/>
                </a:solidFill>
                <a:ln w="12700" cap="flat" cmpd="sng" algn="ctr">
                  <a:solidFill>
                    <a:srgbClr val="FFFFFF">
                      <a:lumMod val="65000"/>
                    </a:srgbClr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3207489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4911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  <p:sp>
              <p:nvSpPr>
                <p:cNvPr id="33" name="Rechthoekige driehoek 32">
                  <a:extLst>
                    <a:ext uri="{FF2B5EF4-FFF2-40B4-BE49-F238E27FC236}">
                      <a16:creationId xmlns:a16="http://schemas.microsoft.com/office/drawing/2014/main" id="{A1FB10E2-833B-4A59-A608-CD0D3ADFF6B1}"/>
                    </a:ext>
                  </a:extLst>
                </p:cNvPr>
                <p:cNvSpPr/>
                <p:nvPr userDrawn="1"/>
              </p:nvSpPr>
              <p:spPr>
                <a:xfrm>
                  <a:off x="-3833537" y="291656"/>
                  <a:ext cx="103133" cy="93757"/>
                </a:xfrm>
                <a:prstGeom prst="rtTriangle">
                  <a:avLst/>
                </a:prstGeom>
                <a:solidFill>
                  <a:sysClr val="window" lastClr="FFFFFF"/>
                </a:solidFill>
                <a:ln w="12700" cap="flat" cmpd="sng" algn="ctr">
                  <a:solidFill>
                    <a:srgbClr val="FFFFFF">
                      <a:lumMod val="65000"/>
                    </a:srgbClr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3207489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4911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Rechthoek 33">
                  <a:extLst>
                    <a:ext uri="{FF2B5EF4-FFF2-40B4-BE49-F238E27FC236}">
                      <a16:creationId xmlns:a16="http://schemas.microsoft.com/office/drawing/2014/main" id="{B2E39825-570F-4F57-876F-6095E3E102BF}"/>
                    </a:ext>
                  </a:extLst>
                </p:cNvPr>
                <p:cNvSpPr/>
                <p:nvPr userDrawn="1"/>
              </p:nvSpPr>
              <p:spPr>
                <a:xfrm>
                  <a:off x="-4013673" y="314848"/>
                  <a:ext cx="140930" cy="70565"/>
                </a:xfrm>
                <a:prstGeom prst="rect">
                  <a:avLst/>
                </a:prstGeom>
                <a:solidFill>
                  <a:srgbClr val="EDC87E"/>
                </a:solidFill>
                <a:ln w="12700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3207489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4911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  <p:sp>
              <p:nvSpPr>
                <p:cNvPr id="35" name="Rechthoek 34">
                  <a:extLst>
                    <a:ext uri="{FF2B5EF4-FFF2-40B4-BE49-F238E27FC236}">
                      <a16:creationId xmlns:a16="http://schemas.microsoft.com/office/drawing/2014/main" id="{63A4E748-AD95-4386-A068-20C1DAB6317B}"/>
                    </a:ext>
                  </a:extLst>
                </p:cNvPr>
                <p:cNvSpPr/>
                <p:nvPr userDrawn="1"/>
              </p:nvSpPr>
              <p:spPr>
                <a:xfrm>
                  <a:off x="-4020379" y="586428"/>
                  <a:ext cx="261727" cy="61406"/>
                </a:xfrm>
                <a:prstGeom prst="rect">
                  <a:avLst/>
                </a:prstGeom>
                <a:solidFill>
                  <a:srgbClr val="EDC87E"/>
                </a:solidFill>
                <a:ln w="12700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R="0" lvl="0" indent="0" algn="ctr" defTabSz="3207489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nl-NL" sz="4911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C6833428-E8A1-4528-AAAA-ED03CB49B8B1}"/>
                  </a:ext>
                </a:extLst>
              </p:cNvPr>
              <p:cNvSpPr/>
              <p:nvPr userDrawn="1"/>
            </p:nvSpPr>
            <p:spPr>
              <a:xfrm>
                <a:off x="-910573" y="5352063"/>
                <a:ext cx="681133" cy="385950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32074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2455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+mn-lt"/>
                    <a:ea typeface="+mn-ea"/>
                    <a:cs typeface="Segoe UI Light" panose="020B0502040204020203" pitchFamily="34" charset="0"/>
                  </a:rPr>
                  <a:t>Koptekst en voettekst</a:t>
                </a:r>
              </a:p>
            </p:txBody>
          </p:sp>
        </p:grpSp>
      </p:grpSp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22C8233F-3E7B-49DC-AC22-FB28BF26342E}"/>
              </a:ext>
            </a:extLst>
          </p:cNvPr>
          <p:cNvSpPr>
            <a:spLocks noGrp="1"/>
          </p:cNvSpPr>
          <p:nvPr userDrawn="1">
            <p:ph type="pic" sz="quarter" idx="35" hasCustomPrompt="1"/>
          </p:nvPr>
        </p:nvSpPr>
        <p:spPr>
          <a:xfrm>
            <a:off x="-5566" y="2543961"/>
            <a:ext cx="38729979" cy="22727432"/>
          </a:xfrm>
          <a:solidFill>
            <a:schemeClr val="bg1">
              <a:lumMod val="95000"/>
            </a:schemeClr>
          </a:solidFill>
        </p:spPr>
        <p:txBody>
          <a:bodyPr vert="horz" lIns="0" tIns="2880000" rIns="0" bIns="0" rtlCol="0">
            <a:normAutofit/>
          </a:bodyPr>
          <a:lstStyle>
            <a:lvl1pPr marL="801872" indent="-801872" algn="ctr">
              <a:spcBef>
                <a:spcPts val="0"/>
              </a:spcBef>
              <a:spcAft>
                <a:spcPts val="0"/>
              </a:spcAft>
              <a:buFont typeface="+mj-lt"/>
              <a:buNone/>
              <a:defRPr lang="nl-NL"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801872" lvl="0" indent="-801872" algn="ctr"/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815D2346-2389-418D-A441-59E88FFEBE24}"/>
              </a:ext>
            </a:extLst>
          </p:cNvPr>
          <p:cNvSpPr>
            <a:spLocks noGrp="1"/>
          </p:cNvSpPr>
          <p:nvPr userDrawn="1">
            <p:ph type="body" sz="quarter" idx="31"/>
          </p:nvPr>
        </p:nvSpPr>
        <p:spPr>
          <a:xfrm>
            <a:off x="-3408" y="0"/>
            <a:ext cx="42770656" cy="25428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351">
                <a:solidFill>
                  <a:schemeClr val="bg1"/>
                </a:solidFill>
              </a:defRPr>
            </a:lvl1pPr>
          </a:lstStyle>
          <a:p>
            <a:pPr lvl="0"/>
            <a:endParaRPr lang="nl-NL" noProof="0"/>
          </a:p>
        </p:txBody>
      </p:sp>
      <p:sp>
        <p:nvSpPr>
          <p:cNvPr id="28" name="Tijdelijke aanduiding voor tekst 2">
            <a:extLst>
              <a:ext uri="{FF2B5EF4-FFF2-40B4-BE49-F238E27FC236}">
                <a16:creationId xmlns:a16="http://schemas.microsoft.com/office/drawing/2014/main" id="{7BDE5674-83BE-4E1D-873D-42FE9FEB8D5C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38726250" y="0"/>
            <a:ext cx="4041000" cy="30306998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351">
                <a:solidFill>
                  <a:schemeClr val="bg1"/>
                </a:solidFill>
              </a:defRPr>
            </a:lvl1pPr>
          </a:lstStyle>
          <a:p>
            <a:pPr lvl="0"/>
            <a:endParaRPr lang="nl-NL" noProof="0"/>
          </a:p>
        </p:txBody>
      </p:sp>
      <p:sp>
        <p:nvSpPr>
          <p:cNvPr id="30" name="Tijdelijke aanduiding voor tekst 2">
            <a:extLst>
              <a:ext uri="{FF2B5EF4-FFF2-40B4-BE49-F238E27FC236}">
                <a16:creationId xmlns:a16="http://schemas.microsoft.com/office/drawing/2014/main" id="{ED88654C-2F09-42A2-8633-BAD63AF9F763}"/>
              </a:ext>
            </a:extLst>
          </p:cNvPr>
          <p:cNvSpPr>
            <a:spLocks noGrp="1"/>
          </p:cNvSpPr>
          <p:nvPr userDrawn="1">
            <p:ph type="body" sz="quarter" idx="33"/>
          </p:nvPr>
        </p:nvSpPr>
        <p:spPr>
          <a:xfrm rot="16200000">
            <a:off x="18842930" y="6346683"/>
            <a:ext cx="5085600" cy="42771459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351">
                <a:solidFill>
                  <a:schemeClr val="bg1"/>
                </a:solidFill>
              </a:defRPr>
            </a:lvl1pPr>
          </a:lstStyle>
          <a:p>
            <a:pPr lvl="0"/>
            <a:endParaRPr lang="nl-NL" noProof="0"/>
          </a:p>
        </p:txBody>
      </p:sp>
      <p:sp>
        <p:nvSpPr>
          <p:cNvPr id="17" name="Tijdelijke aanduiding voor tekst 15">
            <a:extLst>
              <a:ext uri="{FF2B5EF4-FFF2-40B4-BE49-F238E27FC236}">
                <a16:creationId xmlns:a16="http://schemas.microsoft.com/office/drawing/2014/main" id="{7D35ADBF-F5AF-4BEF-A048-07416BC1D671}"/>
              </a:ext>
            </a:extLst>
          </p:cNvPr>
          <p:cNvSpPr>
            <a:spLocks noGrp="1"/>
          </p:cNvSpPr>
          <p:nvPr userDrawn="1">
            <p:ph type="body" sz="quarter" idx="43" hasCustomPrompt="1"/>
          </p:nvPr>
        </p:nvSpPr>
        <p:spPr>
          <a:xfrm>
            <a:off x="2596218" y="4421477"/>
            <a:ext cx="15869579" cy="8579805"/>
          </a:xfrm>
          <a:custGeom>
            <a:avLst/>
            <a:gdLst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4067 w 4524067"/>
              <a:gd name="connsiteY3" fmla="*/ 1604261 h 1943514"/>
              <a:gd name="connsiteX4" fmla="*/ 374342 w 4524067"/>
              <a:gd name="connsiteY4" fmla="*/ 1604261 h 1943514"/>
              <a:gd name="connsiteX5" fmla="*/ 374342 w 4524067"/>
              <a:gd name="connsiteY5" fmla="*/ 1604495 h 1943514"/>
              <a:gd name="connsiteX6" fmla="*/ 372031 w 4524067"/>
              <a:gd name="connsiteY6" fmla="*/ 1604262 h 1943514"/>
              <a:gd name="connsiteX7" fmla="*/ 7555 w 4524067"/>
              <a:gd name="connsiteY7" fmla="*/ 1901319 h 1943514"/>
              <a:gd name="connsiteX8" fmla="*/ 3301 w 4524067"/>
              <a:gd name="connsiteY8" fmla="*/ 1943514 h 1943514"/>
              <a:gd name="connsiteX9" fmla="*/ 0 w 4524067"/>
              <a:gd name="connsiteY9" fmla="*/ 1935545 h 1943514"/>
              <a:gd name="connsiteX10" fmla="*/ 0 w 4524067"/>
              <a:gd name="connsiteY10" fmla="*/ 71054 h 1943514"/>
              <a:gd name="connsiteX11" fmla="*/ 71054 w 4524067"/>
              <a:gd name="connsiteY11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524067 w 4524067"/>
              <a:gd name="connsiteY4" fmla="*/ 160426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524067 w 4524067"/>
              <a:gd name="connsiteY4" fmla="*/ 1604261 h 1943514"/>
              <a:gd name="connsiteX5" fmla="*/ 4481998 w 4524067"/>
              <a:gd name="connsiteY5" fmla="*/ 1606550 h 1943514"/>
              <a:gd name="connsiteX6" fmla="*/ 374342 w 4524067"/>
              <a:gd name="connsiteY6" fmla="*/ 1604261 h 1943514"/>
              <a:gd name="connsiteX7" fmla="*/ 374342 w 4524067"/>
              <a:gd name="connsiteY7" fmla="*/ 1604495 h 1943514"/>
              <a:gd name="connsiteX8" fmla="*/ 372031 w 4524067"/>
              <a:gd name="connsiteY8" fmla="*/ 1604262 h 1943514"/>
              <a:gd name="connsiteX9" fmla="*/ 7555 w 4524067"/>
              <a:gd name="connsiteY9" fmla="*/ 1901319 h 1943514"/>
              <a:gd name="connsiteX10" fmla="*/ 3301 w 4524067"/>
              <a:gd name="connsiteY10" fmla="*/ 1943514 h 1943514"/>
              <a:gd name="connsiteX11" fmla="*/ 0 w 4524067"/>
              <a:gd name="connsiteY11" fmla="*/ 1935545 h 1943514"/>
              <a:gd name="connsiteX12" fmla="*/ 0 w 4524067"/>
              <a:gd name="connsiteY12" fmla="*/ 71054 h 1943514"/>
              <a:gd name="connsiteX13" fmla="*/ 71054 w 4524067"/>
              <a:gd name="connsiteY13" fmla="*/ 0 h 1943514"/>
              <a:gd name="connsiteX0" fmla="*/ 71054 w 4799095"/>
              <a:gd name="connsiteY0" fmla="*/ 0 h 1943514"/>
              <a:gd name="connsiteX1" fmla="*/ 4453013 w 4799095"/>
              <a:gd name="connsiteY1" fmla="*/ 0 h 1943514"/>
              <a:gd name="connsiteX2" fmla="*/ 4524067 w 4799095"/>
              <a:gd name="connsiteY2" fmla="*/ 71054 h 1943514"/>
              <a:gd name="connsiteX3" fmla="*/ 4522480 w 4799095"/>
              <a:gd name="connsiteY3" fmla="*/ 1547019 h 1943514"/>
              <a:gd name="connsiteX4" fmla="*/ 4524067 w 4799095"/>
              <a:gd name="connsiteY4" fmla="*/ 1604261 h 1943514"/>
              <a:gd name="connsiteX5" fmla="*/ 4481998 w 4799095"/>
              <a:gd name="connsiteY5" fmla="*/ 1606550 h 1943514"/>
              <a:gd name="connsiteX6" fmla="*/ 374342 w 4799095"/>
              <a:gd name="connsiteY6" fmla="*/ 1604261 h 1943514"/>
              <a:gd name="connsiteX7" fmla="*/ 374342 w 4799095"/>
              <a:gd name="connsiteY7" fmla="*/ 1604495 h 1943514"/>
              <a:gd name="connsiteX8" fmla="*/ 372031 w 4799095"/>
              <a:gd name="connsiteY8" fmla="*/ 1604262 h 1943514"/>
              <a:gd name="connsiteX9" fmla="*/ 7555 w 4799095"/>
              <a:gd name="connsiteY9" fmla="*/ 1901319 h 1943514"/>
              <a:gd name="connsiteX10" fmla="*/ 3301 w 4799095"/>
              <a:gd name="connsiteY10" fmla="*/ 1943514 h 1943514"/>
              <a:gd name="connsiteX11" fmla="*/ 0 w 4799095"/>
              <a:gd name="connsiteY11" fmla="*/ 1935545 h 1943514"/>
              <a:gd name="connsiteX12" fmla="*/ 0 w 4799095"/>
              <a:gd name="connsiteY12" fmla="*/ 71054 h 1943514"/>
              <a:gd name="connsiteX13" fmla="*/ 71054 w 4799095"/>
              <a:gd name="connsiteY13" fmla="*/ 0 h 1943514"/>
              <a:gd name="connsiteX0" fmla="*/ 71054 w 4798479"/>
              <a:gd name="connsiteY0" fmla="*/ 0 h 1943514"/>
              <a:gd name="connsiteX1" fmla="*/ 4453013 w 4798479"/>
              <a:gd name="connsiteY1" fmla="*/ 0 h 1943514"/>
              <a:gd name="connsiteX2" fmla="*/ 4524067 w 4798479"/>
              <a:gd name="connsiteY2" fmla="*/ 71054 h 1943514"/>
              <a:gd name="connsiteX3" fmla="*/ 4522480 w 4798479"/>
              <a:gd name="connsiteY3" fmla="*/ 1547019 h 1943514"/>
              <a:gd name="connsiteX4" fmla="*/ 4481998 w 4798479"/>
              <a:gd name="connsiteY4" fmla="*/ 1606550 h 1943514"/>
              <a:gd name="connsiteX5" fmla="*/ 374342 w 4798479"/>
              <a:gd name="connsiteY5" fmla="*/ 1604261 h 1943514"/>
              <a:gd name="connsiteX6" fmla="*/ 374342 w 4798479"/>
              <a:gd name="connsiteY6" fmla="*/ 1604495 h 1943514"/>
              <a:gd name="connsiteX7" fmla="*/ 372031 w 4798479"/>
              <a:gd name="connsiteY7" fmla="*/ 1604262 h 1943514"/>
              <a:gd name="connsiteX8" fmla="*/ 7555 w 4798479"/>
              <a:gd name="connsiteY8" fmla="*/ 1901319 h 1943514"/>
              <a:gd name="connsiteX9" fmla="*/ 3301 w 4798479"/>
              <a:gd name="connsiteY9" fmla="*/ 1943514 h 1943514"/>
              <a:gd name="connsiteX10" fmla="*/ 0 w 4798479"/>
              <a:gd name="connsiteY10" fmla="*/ 1935545 h 1943514"/>
              <a:gd name="connsiteX11" fmla="*/ 0 w 4798479"/>
              <a:gd name="connsiteY11" fmla="*/ 71054 h 1943514"/>
              <a:gd name="connsiteX12" fmla="*/ 71054 w 4798479"/>
              <a:gd name="connsiteY12" fmla="*/ 0 h 1943514"/>
              <a:gd name="connsiteX0" fmla="*/ 71054 w 4801282"/>
              <a:gd name="connsiteY0" fmla="*/ 0 h 1943514"/>
              <a:gd name="connsiteX1" fmla="*/ 4453013 w 4801282"/>
              <a:gd name="connsiteY1" fmla="*/ 0 h 1943514"/>
              <a:gd name="connsiteX2" fmla="*/ 4524067 w 4801282"/>
              <a:gd name="connsiteY2" fmla="*/ 71054 h 1943514"/>
              <a:gd name="connsiteX3" fmla="*/ 4522480 w 4801282"/>
              <a:gd name="connsiteY3" fmla="*/ 1547019 h 1943514"/>
              <a:gd name="connsiteX4" fmla="*/ 4481998 w 4801282"/>
              <a:gd name="connsiteY4" fmla="*/ 1606550 h 1943514"/>
              <a:gd name="connsiteX5" fmla="*/ 374342 w 4801282"/>
              <a:gd name="connsiteY5" fmla="*/ 1604261 h 1943514"/>
              <a:gd name="connsiteX6" fmla="*/ 374342 w 4801282"/>
              <a:gd name="connsiteY6" fmla="*/ 1604495 h 1943514"/>
              <a:gd name="connsiteX7" fmla="*/ 372031 w 4801282"/>
              <a:gd name="connsiteY7" fmla="*/ 1604262 h 1943514"/>
              <a:gd name="connsiteX8" fmla="*/ 7555 w 4801282"/>
              <a:gd name="connsiteY8" fmla="*/ 1901319 h 1943514"/>
              <a:gd name="connsiteX9" fmla="*/ 3301 w 4801282"/>
              <a:gd name="connsiteY9" fmla="*/ 1943514 h 1943514"/>
              <a:gd name="connsiteX10" fmla="*/ 0 w 4801282"/>
              <a:gd name="connsiteY10" fmla="*/ 1935545 h 1943514"/>
              <a:gd name="connsiteX11" fmla="*/ 0 w 4801282"/>
              <a:gd name="connsiteY11" fmla="*/ 71054 h 1943514"/>
              <a:gd name="connsiteX12" fmla="*/ 71054 w 4801282"/>
              <a:gd name="connsiteY12" fmla="*/ 0 h 1943514"/>
              <a:gd name="connsiteX0" fmla="*/ 71054 w 4527104"/>
              <a:gd name="connsiteY0" fmla="*/ 0 h 1943514"/>
              <a:gd name="connsiteX1" fmla="*/ 4453013 w 4527104"/>
              <a:gd name="connsiteY1" fmla="*/ 0 h 1943514"/>
              <a:gd name="connsiteX2" fmla="*/ 4524067 w 4527104"/>
              <a:gd name="connsiteY2" fmla="*/ 71054 h 1943514"/>
              <a:gd name="connsiteX3" fmla="*/ 4522480 w 4527104"/>
              <a:gd name="connsiteY3" fmla="*/ 1547019 h 1943514"/>
              <a:gd name="connsiteX4" fmla="*/ 4481998 w 4527104"/>
              <a:gd name="connsiteY4" fmla="*/ 1606550 h 1943514"/>
              <a:gd name="connsiteX5" fmla="*/ 374342 w 4527104"/>
              <a:gd name="connsiteY5" fmla="*/ 1604261 h 1943514"/>
              <a:gd name="connsiteX6" fmla="*/ 374342 w 4527104"/>
              <a:gd name="connsiteY6" fmla="*/ 1604495 h 1943514"/>
              <a:gd name="connsiteX7" fmla="*/ 372031 w 4527104"/>
              <a:gd name="connsiteY7" fmla="*/ 1604262 h 1943514"/>
              <a:gd name="connsiteX8" fmla="*/ 7555 w 4527104"/>
              <a:gd name="connsiteY8" fmla="*/ 1901319 h 1943514"/>
              <a:gd name="connsiteX9" fmla="*/ 3301 w 4527104"/>
              <a:gd name="connsiteY9" fmla="*/ 1943514 h 1943514"/>
              <a:gd name="connsiteX10" fmla="*/ 0 w 4527104"/>
              <a:gd name="connsiteY10" fmla="*/ 1935545 h 1943514"/>
              <a:gd name="connsiteX11" fmla="*/ 0 w 4527104"/>
              <a:gd name="connsiteY11" fmla="*/ 71054 h 1943514"/>
              <a:gd name="connsiteX12" fmla="*/ 71054 w 4527104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81998 w 4524067"/>
              <a:gd name="connsiteY4" fmla="*/ 1606550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81998 w 4524067"/>
              <a:gd name="connsiteY4" fmla="*/ 1606550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81998 w 4524067"/>
              <a:gd name="connsiteY4" fmla="*/ 1606550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16062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16062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16062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524067" h="1943514">
                <a:moveTo>
                  <a:pt x="71054" y="0"/>
                </a:moveTo>
                <a:lnTo>
                  <a:pt x="4453013" y="0"/>
                </a:lnTo>
                <a:cubicBezTo>
                  <a:pt x="4492255" y="0"/>
                  <a:pt x="4524067" y="31812"/>
                  <a:pt x="4524067" y="71054"/>
                </a:cubicBezTo>
                <a:cubicBezTo>
                  <a:pt x="4523538" y="552723"/>
                  <a:pt x="4522346" y="1479221"/>
                  <a:pt x="4522480" y="1516062"/>
                </a:cubicBezTo>
                <a:cubicBezTo>
                  <a:pt x="4522614" y="1552903"/>
                  <a:pt x="4525654" y="1606535"/>
                  <a:pt x="4458185" y="1608931"/>
                </a:cubicBezTo>
                <a:cubicBezTo>
                  <a:pt x="4390716" y="1611327"/>
                  <a:pt x="1735623" y="1605818"/>
                  <a:pt x="374342" y="1604261"/>
                </a:cubicBezTo>
                <a:lnTo>
                  <a:pt x="374342" y="1604495"/>
                </a:lnTo>
                <a:lnTo>
                  <a:pt x="372031" y="1604262"/>
                </a:lnTo>
                <a:cubicBezTo>
                  <a:pt x="192246" y="1604262"/>
                  <a:pt x="42246" y="1731789"/>
                  <a:pt x="7555" y="1901319"/>
                </a:cubicBezTo>
                <a:lnTo>
                  <a:pt x="3301" y="1943514"/>
                </a:lnTo>
                <a:lnTo>
                  <a:pt x="0" y="1935545"/>
                </a:lnTo>
                <a:lnTo>
                  <a:pt x="0" y="71054"/>
                </a:lnTo>
                <a:cubicBezTo>
                  <a:pt x="0" y="31812"/>
                  <a:pt x="31812" y="0"/>
                  <a:pt x="71054" y="0"/>
                </a:cubicBezTo>
                <a:close/>
              </a:path>
            </a:pathLst>
          </a:custGeom>
          <a:solidFill>
            <a:schemeClr val="bg2">
              <a:alpha val="85000"/>
            </a:schemeClr>
          </a:solidFill>
        </p:spPr>
        <p:txBody>
          <a:bodyPr wrap="square" lIns="360000" tIns="144000" rIns="360000" bIns="180000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31" b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8419" b="0">
                <a:solidFill>
                  <a:schemeClr val="bg1"/>
                </a:solidFill>
              </a:defRPr>
            </a:lvl5pPr>
            <a:lvl9pPr>
              <a:defRPr sz="12628">
                <a:solidFill>
                  <a:schemeClr val="bg1"/>
                </a:solidFill>
              </a:defRPr>
            </a:lvl9pPr>
          </a:lstStyle>
          <a:p>
            <a:pPr lvl="0"/>
            <a:r>
              <a:rPr lang="nl-NL" noProof="0"/>
              <a:t>Klik om tekst in te voegen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B5843EA3-8D9E-4442-9E97-1352961F62DC}"/>
              </a:ext>
            </a:extLst>
          </p:cNvPr>
          <p:cNvSpPr>
            <a:spLocks noGrp="1"/>
          </p:cNvSpPr>
          <p:nvPr userDrawn="1">
            <p:ph type="body" sz="quarter" idx="44" hasCustomPrompt="1"/>
          </p:nvPr>
        </p:nvSpPr>
        <p:spPr>
          <a:xfrm>
            <a:off x="3903630" y="26698989"/>
            <a:ext cx="14562168" cy="905995"/>
          </a:xfrm>
        </p:spPr>
        <p:txBody>
          <a:bodyPr/>
          <a:lstStyle>
            <a:lvl1pPr marL="0" indent="0">
              <a:buFontTx/>
              <a:buNone/>
              <a:defRPr sz="4209" b="0">
                <a:solidFill>
                  <a:schemeClr val="tx2"/>
                </a:solidFill>
              </a:defRPr>
            </a:lvl1pPr>
          </a:lstStyle>
          <a:p>
            <a:r>
              <a:rPr lang="nl-NL"/>
              <a:t>Naam   l   Afdeling   l   Datum</a:t>
            </a:r>
          </a:p>
          <a:p>
            <a:endParaRPr lang="nl-NL"/>
          </a:p>
        </p:txBody>
      </p:sp>
      <p:grpSp>
        <p:nvGrpSpPr>
          <p:cNvPr id="94" name="Instructie">
            <a:extLst>
              <a:ext uri="{FF2B5EF4-FFF2-40B4-BE49-F238E27FC236}">
                <a16:creationId xmlns:a16="http://schemas.microsoft.com/office/drawing/2014/main" id="{14CA3848-BE43-4020-B86D-05EA71058B48}"/>
              </a:ext>
            </a:extLst>
          </p:cNvPr>
          <p:cNvGrpSpPr/>
          <p:nvPr userDrawn="1"/>
        </p:nvGrpSpPr>
        <p:grpSpPr>
          <a:xfrm>
            <a:off x="-11761540" y="10988781"/>
            <a:ext cx="11164508" cy="11743958"/>
            <a:chOff x="-3426088" y="4512342"/>
            <a:chExt cx="3182755" cy="2660264"/>
          </a:xfrm>
        </p:grpSpPr>
        <p:sp>
          <p:nvSpPr>
            <p:cNvPr id="95" name="Rechthoek 127">
              <a:extLst>
                <a:ext uri="{FF2B5EF4-FFF2-40B4-BE49-F238E27FC236}">
                  <a16:creationId xmlns:a16="http://schemas.microsoft.com/office/drawing/2014/main" id="{4279C20D-829E-423F-8499-A6385B2E49AE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96" name="Rechte verbindingslijn 128">
              <a:extLst>
                <a:ext uri="{FF2B5EF4-FFF2-40B4-BE49-F238E27FC236}">
                  <a16:creationId xmlns:a16="http://schemas.microsoft.com/office/drawing/2014/main" id="{51111279-137B-46DE-9ECD-343D45C3E1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7" name="Rechthoek 130">
              <a:extLst>
                <a:ext uri="{FF2B5EF4-FFF2-40B4-BE49-F238E27FC236}">
                  <a16:creationId xmlns:a16="http://schemas.microsoft.com/office/drawing/2014/main" id="{E7FCE7BD-78A5-4814-83D7-478A506813C4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98" name="Rechthoek 133">
              <a:extLst>
                <a:ext uri="{FF2B5EF4-FFF2-40B4-BE49-F238E27FC236}">
                  <a16:creationId xmlns:a16="http://schemas.microsoft.com/office/drawing/2014/main" id="{D0D214C4-790E-4593-8B35-91F20D6F06AF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99" name="Rechthoek 136">
              <a:extLst>
                <a:ext uri="{FF2B5EF4-FFF2-40B4-BE49-F238E27FC236}">
                  <a16:creationId xmlns:a16="http://schemas.microsoft.com/office/drawing/2014/main" id="{9EC0B7F9-1033-4BD1-8CC1-90BF61EA9A92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00" name="Rechthoek 139">
              <a:extLst>
                <a:ext uri="{FF2B5EF4-FFF2-40B4-BE49-F238E27FC236}">
                  <a16:creationId xmlns:a16="http://schemas.microsoft.com/office/drawing/2014/main" id="{3197B3B6-CEF7-45C7-9A0B-38449A205632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40">
              <a:extLst>
                <a:ext uri="{FF2B5EF4-FFF2-40B4-BE49-F238E27FC236}">
                  <a16:creationId xmlns:a16="http://schemas.microsoft.com/office/drawing/2014/main" id="{C911901A-E702-4600-805D-C002276448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93" name="Tijdelijke aanduiding voor tekst 3">
            <a:extLst>
              <a:ext uri="{FF2B5EF4-FFF2-40B4-BE49-F238E27FC236}">
                <a16:creationId xmlns:a16="http://schemas.microsoft.com/office/drawing/2014/main" id="{ABD8BE62-C6E3-4AF1-BB04-29678FB69637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34060473" y="24070399"/>
            <a:ext cx="6635238" cy="3534585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51"/>
            </a:lvl1pPr>
          </a:lstStyle>
          <a:p>
            <a:pPr lvl="0"/>
            <a:endParaRPr lang="nl-NL"/>
          </a:p>
        </p:txBody>
      </p:sp>
      <p:grpSp>
        <p:nvGrpSpPr>
          <p:cNvPr id="2" name="Groep 1">
            <a:extLst>
              <a:ext uri="{FF2B5EF4-FFF2-40B4-BE49-F238E27FC236}">
                <a16:creationId xmlns:a16="http://schemas.microsoft.com/office/drawing/2014/main" id="{E43AE0DE-633C-4F50-96D8-70DDBA2C0AFC}"/>
              </a:ext>
            </a:extLst>
          </p:cNvPr>
          <p:cNvGrpSpPr/>
          <p:nvPr userDrawn="1"/>
        </p:nvGrpSpPr>
        <p:grpSpPr>
          <a:xfrm>
            <a:off x="43467416" y="5"/>
            <a:ext cx="11167745" cy="23084356"/>
            <a:chOff x="12391601" y="0"/>
            <a:chExt cx="3183678" cy="5229113"/>
          </a:xfrm>
        </p:grpSpPr>
        <p:grpSp>
          <p:nvGrpSpPr>
            <p:cNvPr id="103" name="Meer informatie">
              <a:extLst>
                <a:ext uri="{FF2B5EF4-FFF2-40B4-BE49-F238E27FC236}">
                  <a16:creationId xmlns:a16="http://schemas.microsoft.com/office/drawing/2014/main" id="{BDBD27CD-0043-4BB6-BD33-EEF2499AFD9E}"/>
                </a:ext>
              </a:extLst>
            </p:cNvPr>
            <p:cNvGrpSpPr/>
            <p:nvPr userDrawn="1"/>
          </p:nvGrpSpPr>
          <p:grpSpPr>
            <a:xfrm>
              <a:off x="12396764" y="4445840"/>
              <a:ext cx="3178515" cy="783273"/>
              <a:chOff x="-3741486" y="3386444"/>
              <a:chExt cx="3178515" cy="783273"/>
            </a:xfrm>
          </p:grpSpPr>
          <p:sp>
            <p:nvSpPr>
              <p:cNvPr id="154" name="Freeform 101">
                <a:extLst>
                  <a:ext uri="{FF2B5EF4-FFF2-40B4-BE49-F238E27FC236}">
                    <a16:creationId xmlns:a16="http://schemas.microsoft.com/office/drawing/2014/main" id="{2503363B-F8CF-41C0-832F-8E04CAC8AFA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155" name="Rechthoek 306">
                <a:extLst>
                  <a:ext uri="{FF2B5EF4-FFF2-40B4-BE49-F238E27FC236}">
                    <a16:creationId xmlns:a16="http://schemas.microsoft.com/office/drawing/2014/main" id="{A3172913-5730-4C6C-8A10-7C54CE850A97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56" name="Rechte verbindingslijn 307">
                <a:extLst>
                  <a:ext uri="{FF2B5EF4-FFF2-40B4-BE49-F238E27FC236}">
                    <a16:creationId xmlns:a16="http://schemas.microsoft.com/office/drawing/2014/main" id="{39AD1594-DD0A-461B-B5EE-E5CF6BBBB67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04" name="Rechthoek 260">
              <a:extLst>
                <a:ext uri="{FF2B5EF4-FFF2-40B4-BE49-F238E27FC236}">
                  <a16:creationId xmlns:a16="http://schemas.microsoft.com/office/drawing/2014/main" id="{FB7641D9-6761-4D37-AB13-4BDA36CF75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105" name="Ovaal 261">
              <a:extLst>
                <a:ext uri="{FF2B5EF4-FFF2-40B4-BE49-F238E27FC236}">
                  <a16:creationId xmlns:a16="http://schemas.microsoft.com/office/drawing/2014/main" id="{EB109169-0138-405F-9D67-D7D705E47D9E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6" name="Rechte verbindingslijn 262">
              <a:extLst>
                <a:ext uri="{FF2B5EF4-FFF2-40B4-BE49-F238E27FC236}">
                  <a16:creationId xmlns:a16="http://schemas.microsoft.com/office/drawing/2014/main" id="{4FD0CF49-6B70-4B2D-B14A-DAFD1E4CF0F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7" name="Rechte verbindingslijn 263">
              <a:extLst>
                <a:ext uri="{FF2B5EF4-FFF2-40B4-BE49-F238E27FC236}">
                  <a16:creationId xmlns:a16="http://schemas.microsoft.com/office/drawing/2014/main" id="{E6E61A7D-10C6-407D-81F7-7134DF0A5C9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8" name="Rechthoek 264">
              <a:extLst>
                <a:ext uri="{FF2B5EF4-FFF2-40B4-BE49-F238E27FC236}">
                  <a16:creationId xmlns:a16="http://schemas.microsoft.com/office/drawing/2014/main" id="{1DC5448A-24AF-427D-ABC4-CE91659175B7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oor deze te selecteren en op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om een nieuwe afbeelding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9" name="Rechte verbindingslijn 265">
              <a:extLst>
                <a:ext uri="{FF2B5EF4-FFF2-40B4-BE49-F238E27FC236}">
                  <a16:creationId xmlns:a16="http://schemas.microsoft.com/office/drawing/2014/main" id="{9A185AB6-9B06-4E26-A371-81C56AC4FA1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4327957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0" name="Ovaal 266">
              <a:extLst>
                <a:ext uri="{FF2B5EF4-FFF2-40B4-BE49-F238E27FC236}">
                  <a16:creationId xmlns:a16="http://schemas.microsoft.com/office/drawing/2014/main" id="{08A2A3AD-7E09-4C6B-9A53-BB3B874D535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1" name="Rechthoek 267">
              <a:extLst>
                <a:ext uri="{FF2B5EF4-FFF2-40B4-BE49-F238E27FC236}">
                  <a16:creationId xmlns:a16="http://schemas.microsoft.com/office/drawing/2014/main" id="{CF1A3137-5EBC-4410-9717-E4D8B9F6ADA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12" name="Groep 268">
              <a:extLst>
                <a:ext uri="{FF2B5EF4-FFF2-40B4-BE49-F238E27FC236}">
                  <a16:creationId xmlns:a16="http://schemas.microsoft.com/office/drawing/2014/main" id="{45E121F8-1934-4F7C-9D71-5A8A38BB663C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51" name="Rechthoek 302">
                <a:extLst>
                  <a:ext uri="{FF2B5EF4-FFF2-40B4-BE49-F238E27FC236}">
                    <a16:creationId xmlns:a16="http://schemas.microsoft.com/office/drawing/2014/main" id="{9AD37789-AEF6-4EFE-8EFE-63E6276F5591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152" name="Rechte verbindingslijn 303">
                <a:extLst>
                  <a:ext uri="{FF2B5EF4-FFF2-40B4-BE49-F238E27FC236}">
                    <a16:creationId xmlns:a16="http://schemas.microsoft.com/office/drawing/2014/main" id="{FACC0A2C-B19A-4434-8469-B6988FD70AD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53" name="Gelijkbenige driehoek 304">
                <a:extLst>
                  <a:ext uri="{FF2B5EF4-FFF2-40B4-BE49-F238E27FC236}">
                    <a16:creationId xmlns:a16="http://schemas.microsoft.com/office/drawing/2014/main" id="{799FE67C-DB5A-442A-A296-C4C50E93C3F1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13" name="Groep 269">
              <a:extLst>
                <a:ext uri="{FF2B5EF4-FFF2-40B4-BE49-F238E27FC236}">
                  <a16:creationId xmlns:a16="http://schemas.microsoft.com/office/drawing/2014/main" id="{88CED179-DEBF-469B-BF1B-2818FCB990C4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145" name="Rechthoek 296">
                <a:extLst>
                  <a:ext uri="{FF2B5EF4-FFF2-40B4-BE49-F238E27FC236}">
                    <a16:creationId xmlns:a16="http://schemas.microsoft.com/office/drawing/2014/main" id="{670346D2-50EC-482A-AE54-D6681782ADED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6" name="Ovaal 297">
                <a:extLst>
                  <a:ext uri="{FF2B5EF4-FFF2-40B4-BE49-F238E27FC236}">
                    <a16:creationId xmlns:a16="http://schemas.microsoft.com/office/drawing/2014/main" id="{7D086B27-2CBE-4DC4-A301-2AEAB95B7FFF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7" name="Vrije vorm: vorm 298">
                <a:extLst>
                  <a:ext uri="{FF2B5EF4-FFF2-40B4-BE49-F238E27FC236}">
                    <a16:creationId xmlns:a16="http://schemas.microsoft.com/office/drawing/2014/main" id="{26DC9FAD-7C4F-4026-B038-53045BB9A126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8" name="Rechthoek: afgeronde hoeken 299">
                <a:extLst>
                  <a:ext uri="{FF2B5EF4-FFF2-40B4-BE49-F238E27FC236}">
                    <a16:creationId xmlns:a16="http://schemas.microsoft.com/office/drawing/2014/main" id="{66DFA944-5E60-4BA8-8808-C5E07141960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49" name="Rechte verbindingslijn 300">
                <a:extLst>
                  <a:ext uri="{FF2B5EF4-FFF2-40B4-BE49-F238E27FC236}">
                    <a16:creationId xmlns:a16="http://schemas.microsoft.com/office/drawing/2014/main" id="{7A81856E-BA51-4B64-893F-0E97958E7BD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50" name="Rechte verbindingslijn 301">
                <a:extLst>
                  <a:ext uri="{FF2B5EF4-FFF2-40B4-BE49-F238E27FC236}">
                    <a16:creationId xmlns:a16="http://schemas.microsoft.com/office/drawing/2014/main" id="{583BDEA5-CB62-44E5-9EBB-A4F8203B58A0}"/>
                  </a:ext>
                </a:extLst>
              </p:cNvPr>
              <p:cNvCxnSpPr>
                <a:cxnSpLocks/>
                <a:stCxn id="148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14" name="Ovaal 270">
              <a:extLst>
                <a:ext uri="{FF2B5EF4-FFF2-40B4-BE49-F238E27FC236}">
                  <a16:creationId xmlns:a16="http://schemas.microsoft.com/office/drawing/2014/main" id="{EB9A639A-ADD6-4BAA-983F-CCB3E1A2848B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5" name="Rechthoek 271">
              <a:extLst>
                <a:ext uri="{FF2B5EF4-FFF2-40B4-BE49-F238E27FC236}">
                  <a16:creationId xmlns:a16="http://schemas.microsoft.com/office/drawing/2014/main" id="{A1BD53A9-44DA-478F-AA4A-2C8E361588F2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43320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aan de linker kant van het scherm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16" name="Rechte verbindingslijn 272">
              <a:extLst>
                <a:ext uri="{FF2B5EF4-FFF2-40B4-BE49-F238E27FC236}">
                  <a16:creationId xmlns:a16="http://schemas.microsoft.com/office/drawing/2014/main" id="{62E23F7B-B42B-4711-8E0E-59042E0E9D1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7" name="Rechthoek 273">
              <a:extLst>
                <a:ext uri="{FF2B5EF4-FFF2-40B4-BE49-F238E27FC236}">
                  <a16:creationId xmlns:a16="http://schemas.microsoft.com/office/drawing/2014/main" id="{E145748E-10A3-4B74-B9BC-F6BFD75A738B}"/>
                </a:ext>
              </a:extLst>
            </p:cNvPr>
            <p:cNvSpPr/>
            <p:nvPr userDrawn="1"/>
          </p:nvSpPr>
          <p:spPr>
            <a:xfrm>
              <a:off x="12654153" y="3238910"/>
              <a:ext cx="1624926" cy="805220"/>
            </a:xfrm>
            <a:prstGeom prst="rect">
              <a:avLst/>
            </a:prstGeom>
            <a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3509" b="0" i="1" noProof="0">
                <a:solidFill>
                  <a:schemeClr val="tx1"/>
                </a:solidFill>
              </a:endParaRPr>
            </a:p>
          </p:txBody>
        </p:sp>
        <p:grpSp>
          <p:nvGrpSpPr>
            <p:cNvPr id="118" name="Groep 274">
              <a:extLst>
                <a:ext uri="{FF2B5EF4-FFF2-40B4-BE49-F238E27FC236}">
                  <a16:creationId xmlns:a16="http://schemas.microsoft.com/office/drawing/2014/main" id="{56E43DF0-01D0-464B-9C93-3B14E04B6D30}"/>
                </a:ext>
              </a:extLst>
            </p:cNvPr>
            <p:cNvGrpSpPr/>
            <p:nvPr userDrawn="1"/>
          </p:nvGrpSpPr>
          <p:grpSpPr>
            <a:xfrm>
              <a:off x="13614067" y="3535184"/>
              <a:ext cx="1195438" cy="678267"/>
              <a:chOff x="12757284" y="3224292"/>
              <a:chExt cx="1195438" cy="678267"/>
            </a:xfrm>
          </p:grpSpPr>
          <p:sp>
            <p:nvSpPr>
              <p:cNvPr id="124" name="Rechthoek 275">
                <a:extLst>
                  <a:ext uri="{FF2B5EF4-FFF2-40B4-BE49-F238E27FC236}">
                    <a16:creationId xmlns:a16="http://schemas.microsoft.com/office/drawing/2014/main" id="{6F2E7C5E-8E67-457C-ABAF-6F338BD04625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5" name="Rechthoek 276">
                <a:extLst>
                  <a:ext uri="{FF2B5EF4-FFF2-40B4-BE49-F238E27FC236}">
                    <a16:creationId xmlns:a16="http://schemas.microsoft.com/office/drawing/2014/main" id="{FD3B2D5A-8960-4DFC-BF44-9C9128604F79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6" name="Groep 277">
                <a:extLst>
                  <a:ext uri="{FF2B5EF4-FFF2-40B4-BE49-F238E27FC236}">
                    <a16:creationId xmlns:a16="http://schemas.microsoft.com/office/drawing/2014/main" id="{E6985C94-85C3-417D-8FB8-4A1E787A9A29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39" name="Rechthoek: afgeronde hoeken 290">
                  <a:extLst>
                    <a:ext uri="{FF2B5EF4-FFF2-40B4-BE49-F238E27FC236}">
                      <a16:creationId xmlns:a16="http://schemas.microsoft.com/office/drawing/2014/main" id="{451E584A-EF18-41B4-96C5-9B126BA61560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endPara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0" name="Rechthoek 291">
                  <a:extLst>
                    <a:ext uri="{FF2B5EF4-FFF2-40B4-BE49-F238E27FC236}">
                      <a16:creationId xmlns:a16="http://schemas.microsoft.com/office/drawing/2014/main" id="{CED5484F-2DBC-4E86-A034-DB27E4B726FE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1" name="Rechthoek 292">
                  <a:extLst>
                    <a:ext uri="{FF2B5EF4-FFF2-40B4-BE49-F238E27FC236}">
                      <a16:creationId xmlns:a16="http://schemas.microsoft.com/office/drawing/2014/main" id="{96C10C4D-5DAA-4297-AB0A-73D9D7307029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2" name="Rechthoek 293">
                  <a:extLst>
                    <a:ext uri="{FF2B5EF4-FFF2-40B4-BE49-F238E27FC236}">
                      <a16:creationId xmlns:a16="http://schemas.microsoft.com/office/drawing/2014/main" id="{894E025F-705C-4AF9-9A92-DF8DBC5BB694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3" name="Rechthoek 294">
                  <a:extLst>
                    <a:ext uri="{FF2B5EF4-FFF2-40B4-BE49-F238E27FC236}">
                      <a16:creationId xmlns:a16="http://schemas.microsoft.com/office/drawing/2014/main" id="{F63EBC1E-6700-40B1-BCC5-8ED3C247361C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4" name="Rechthoek 295">
                  <a:extLst>
                    <a:ext uri="{FF2B5EF4-FFF2-40B4-BE49-F238E27FC236}">
                      <a16:creationId xmlns:a16="http://schemas.microsoft.com/office/drawing/2014/main" id="{9BF1CED8-F647-4A48-BE87-A95EA5882C3B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27" name="Groep 278">
                <a:extLst>
                  <a:ext uri="{FF2B5EF4-FFF2-40B4-BE49-F238E27FC236}">
                    <a16:creationId xmlns:a16="http://schemas.microsoft.com/office/drawing/2014/main" id="{565AE2C8-0D0E-4460-8C9D-16856F09DFBD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31" name="Groep 282">
                  <a:extLst>
                    <a:ext uri="{FF2B5EF4-FFF2-40B4-BE49-F238E27FC236}">
                      <a16:creationId xmlns:a16="http://schemas.microsoft.com/office/drawing/2014/main" id="{A3ED2192-EAC7-4800-AF27-82725F37A48C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33" name="Rechthoek: afgeronde hoeken 284">
                    <a:extLst>
                      <a:ext uri="{FF2B5EF4-FFF2-40B4-BE49-F238E27FC236}">
                        <a16:creationId xmlns:a16="http://schemas.microsoft.com/office/drawing/2014/main" id="{161103DF-AA91-40C2-B827-AB96A390E561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2105"/>
                      </a:spcBef>
                      <a:spcAft>
                        <a:spcPts val="2105"/>
                      </a:spcAft>
                    </a:pPr>
                    <a:endParaRPr lang="nl-NL" sz="280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34" name="Rechthoek 285">
                    <a:extLst>
                      <a:ext uri="{FF2B5EF4-FFF2-40B4-BE49-F238E27FC236}">
                        <a16:creationId xmlns:a16="http://schemas.microsoft.com/office/drawing/2014/main" id="{CCD507C7-2C64-4D4C-A492-3614F9A16B5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5" name="Rechthoek 286">
                    <a:extLst>
                      <a:ext uri="{FF2B5EF4-FFF2-40B4-BE49-F238E27FC236}">
                        <a16:creationId xmlns:a16="http://schemas.microsoft.com/office/drawing/2014/main" id="{80EB8E6D-E61D-4956-BA80-6CFC87F9A5E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6" name="Rechthoek 287">
                    <a:extLst>
                      <a:ext uri="{FF2B5EF4-FFF2-40B4-BE49-F238E27FC236}">
                        <a16:creationId xmlns:a16="http://schemas.microsoft.com/office/drawing/2014/main" id="{A3028B7B-3FA7-4267-BA5B-AE500A9CB10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7" name="Rechthoek 288">
                    <a:extLst>
                      <a:ext uri="{FF2B5EF4-FFF2-40B4-BE49-F238E27FC236}">
                        <a16:creationId xmlns:a16="http://schemas.microsoft.com/office/drawing/2014/main" id="{282EC25C-927D-446B-94DD-04AB5D8D0C3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8" name="Rechthoek 289">
                    <a:extLst>
                      <a:ext uri="{FF2B5EF4-FFF2-40B4-BE49-F238E27FC236}">
                        <a16:creationId xmlns:a16="http://schemas.microsoft.com/office/drawing/2014/main" id="{1595B18F-E2A6-4D5D-8B98-5D440FBB500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132" name="Boog 283">
                  <a:extLst>
                    <a:ext uri="{FF2B5EF4-FFF2-40B4-BE49-F238E27FC236}">
                      <a16:creationId xmlns:a16="http://schemas.microsoft.com/office/drawing/2014/main" id="{CECB4D93-22DF-4D05-ACC5-5A888B420F51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</p:grpSp>
          <p:sp>
            <p:nvSpPr>
              <p:cNvPr id="128" name="Tekstvak 279">
                <a:extLst>
                  <a:ext uri="{FF2B5EF4-FFF2-40B4-BE49-F238E27FC236}">
                    <a16:creationId xmlns:a16="http://schemas.microsoft.com/office/drawing/2014/main" id="{C32DAE91-90D9-4111-A91A-8B96DB1E03B5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29" name="Tekstvak 280">
                <a:extLst>
                  <a:ext uri="{FF2B5EF4-FFF2-40B4-BE49-F238E27FC236}">
                    <a16:creationId xmlns:a16="http://schemas.microsoft.com/office/drawing/2014/main" id="{7ABA1DC7-053B-47F2-8313-49D022A2A49B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30" name="Picture 3">
                <a:extLst>
                  <a:ext uri="{FF2B5EF4-FFF2-40B4-BE49-F238E27FC236}">
                    <a16:creationId xmlns:a16="http://schemas.microsoft.com/office/drawing/2014/main" id="{13BA7E26-066D-4C49-82D5-7F5E392325D3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810206" y="3671228"/>
                <a:ext cx="14251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1334749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4250" fill="hold"/>
                                        <p:tgtEl>
                                          <p:spTgt spid="7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7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/Inhou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7FC8C1DB-5A16-4DC5-BE9E-D1DB67A9F5BF}"/>
              </a:ext>
            </a:extLst>
          </p:cNvPr>
          <p:cNvSpPr/>
          <p:nvPr userDrawn="1"/>
        </p:nvSpPr>
        <p:spPr>
          <a:xfrm>
            <a:off x="-5567" y="22482154"/>
            <a:ext cx="42767250" cy="78246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78844" tIns="378844" rIns="378844" bIns="378844" rtlCol="0" anchor="ctr"/>
          <a:lstStyle/>
          <a:p>
            <a:pPr algn="ctr"/>
            <a:endParaRPr lang="nl-NL" sz="4911" noProof="0"/>
          </a:p>
        </p:txBody>
      </p:sp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-5567" y="-31537"/>
            <a:ext cx="42767257" cy="30306755"/>
          </a:xfrm>
          <a:solidFill>
            <a:schemeClr val="bg1">
              <a:lumMod val="95000"/>
            </a:schemeClr>
          </a:solidFill>
        </p:spPr>
        <p:txBody>
          <a:bodyPr tIns="100800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209" b="0" i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B0FACCAB-FC4B-4AA0-B92F-53F1DD2A892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685526" y="1766054"/>
            <a:ext cx="11962419" cy="22233608"/>
          </a:xfrm>
          <a:custGeom>
            <a:avLst/>
            <a:gdLst>
              <a:gd name="connsiteX0" fmla="*/ 0 w 3384000"/>
              <a:gd name="connsiteY0" fmla="*/ 122061 h 5036400"/>
              <a:gd name="connsiteX1" fmla="*/ 122061 w 3384000"/>
              <a:gd name="connsiteY1" fmla="*/ 0 h 5036400"/>
              <a:gd name="connsiteX2" fmla="*/ 3261939 w 3384000"/>
              <a:gd name="connsiteY2" fmla="*/ 0 h 5036400"/>
              <a:gd name="connsiteX3" fmla="*/ 3384000 w 3384000"/>
              <a:gd name="connsiteY3" fmla="*/ 122061 h 5036400"/>
              <a:gd name="connsiteX4" fmla="*/ 3384000 w 3384000"/>
              <a:gd name="connsiteY4" fmla="*/ 4914339 h 5036400"/>
              <a:gd name="connsiteX5" fmla="*/ 3261939 w 3384000"/>
              <a:gd name="connsiteY5" fmla="*/ 5036400 h 5036400"/>
              <a:gd name="connsiteX6" fmla="*/ 122061 w 3384000"/>
              <a:gd name="connsiteY6" fmla="*/ 5036400 h 5036400"/>
              <a:gd name="connsiteX7" fmla="*/ 0 w 3384000"/>
              <a:gd name="connsiteY7" fmla="*/ 4914339 h 5036400"/>
              <a:gd name="connsiteX8" fmla="*/ 0 w 3384000"/>
              <a:gd name="connsiteY8" fmla="*/ 122061 h 5036400"/>
              <a:gd name="connsiteX0" fmla="*/ 139014 w 3523014"/>
              <a:gd name="connsiteY0" fmla="*/ 381655 h 5295994"/>
              <a:gd name="connsiteX1" fmla="*/ 167589 w 3523014"/>
              <a:gd name="connsiteY1" fmla="*/ 291344 h 5295994"/>
              <a:gd name="connsiteX2" fmla="*/ 261075 w 3523014"/>
              <a:gd name="connsiteY2" fmla="*/ 259594 h 5295994"/>
              <a:gd name="connsiteX3" fmla="*/ 3400953 w 3523014"/>
              <a:gd name="connsiteY3" fmla="*/ 259594 h 5295994"/>
              <a:gd name="connsiteX4" fmla="*/ 3523014 w 3523014"/>
              <a:gd name="connsiteY4" fmla="*/ 381655 h 5295994"/>
              <a:gd name="connsiteX5" fmla="*/ 3523014 w 3523014"/>
              <a:gd name="connsiteY5" fmla="*/ 5173933 h 5295994"/>
              <a:gd name="connsiteX6" fmla="*/ 3400953 w 3523014"/>
              <a:gd name="connsiteY6" fmla="*/ 5295994 h 5295994"/>
              <a:gd name="connsiteX7" fmla="*/ 261075 w 3523014"/>
              <a:gd name="connsiteY7" fmla="*/ 5295994 h 5295994"/>
              <a:gd name="connsiteX8" fmla="*/ 139014 w 3523014"/>
              <a:gd name="connsiteY8" fmla="*/ 5173933 h 5295994"/>
              <a:gd name="connsiteX9" fmla="*/ 139014 w 3523014"/>
              <a:gd name="connsiteY9" fmla="*/ 381655 h 5295994"/>
              <a:gd name="connsiteX0" fmla="*/ 139014 w 3523014"/>
              <a:gd name="connsiteY0" fmla="*/ 381655 h 5295994"/>
              <a:gd name="connsiteX1" fmla="*/ 167589 w 3523014"/>
              <a:gd name="connsiteY1" fmla="*/ 291344 h 5295994"/>
              <a:gd name="connsiteX2" fmla="*/ 261075 w 3523014"/>
              <a:gd name="connsiteY2" fmla="*/ 259594 h 5295994"/>
              <a:gd name="connsiteX3" fmla="*/ 3400953 w 3523014"/>
              <a:gd name="connsiteY3" fmla="*/ 259594 h 5295994"/>
              <a:gd name="connsiteX4" fmla="*/ 3523014 w 3523014"/>
              <a:gd name="connsiteY4" fmla="*/ 381655 h 5295994"/>
              <a:gd name="connsiteX5" fmla="*/ 3523014 w 3523014"/>
              <a:gd name="connsiteY5" fmla="*/ 5173933 h 5295994"/>
              <a:gd name="connsiteX6" fmla="*/ 3400953 w 3523014"/>
              <a:gd name="connsiteY6" fmla="*/ 5295994 h 5295994"/>
              <a:gd name="connsiteX7" fmla="*/ 261075 w 3523014"/>
              <a:gd name="connsiteY7" fmla="*/ 5295994 h 5295994"/>
              <a:gd name="connsiteX8" fmla="*/ 139014 w 3523014"/>
              <a:gd name="connsiteY8" fmla="*/ 5173933 h 5295994"/>
              <a:gd name="connsiteX9" fmla="*/ 139014 w 3523014"/>
              <a:gd name="connsiteY9" fmla="*/ 381655 h 5295994"/>
              <a:gd name="connsiteX0" fmla="*/ 148137 w 3532137"/>
              <a:gd name="connsiteY0" fmla="*/ 390093 h 5304432"/>
              <a:gd name="connsiteX1" fmla="*/ 148137 w 3532137"/>
              <a:gd name="connsiteY1" fmla="*/ 271207 h 5304432"/>
              <a:gd name="connsiteX2" fmla="*/ 270198 w 3532137"/>
              <a:gd name="connsiteY2" fmla="*/ 268032 h 5304432"/>
              <a:gd name="connsiteX3" fmla="*/ 3410076 w 3532137"/>
              <a:gd name="connsiteY3" fmla="*/ 268032 h 5304432"/>
              <a:gd name="connsiteX4" fmla="*/ 3532137 w 3532137"/>
              <a:gd name="connsiteY4" fmla="*/ 390093 h 5304432"/>
              <a:gd name="connsiteX5" fmla="*/ 3532137 w 3532137"/>
              <a:gd name="connsiteY5" fmla="*/ 5182371 h 5304432"/>
              <a:gd name="connsiteX6" fmla="*/ 3410076 w 3532137"/>
              <a:gd name="connsiteY6" fmla="*/ 5304432 h 5304432"/>
              <a:gd name="connsiteX7" fmla="*/ 270198 w 3532137"/>
              <a:gd name="connsiteY7" fmla="*/ 5304432 h 5304432"/>
              <a:gd name="connsiteX8" fmla="*/ 148137 w 3532137"/>
              <a:gd name="connsiteY8" fmla="*/ 5182371 h 5304432"/>
              <a:gd name="connsiteX9" fmla="*/ 148137 w 3532137"/>
              <a:gd name="connsiteY9" fmla="*/ 390093 h 5304432"/>
              <a:gd name="connsiteX0" fmla="*/ 8072 w 3392072"/>
              <a:gd name="connsiteY0" fmla="*/ 390093 h 5304432"/>
              <a:gd name="connsiteX1" fmla="*/ 8072 w 3392072"/>
              <a:gd name="connsiteY1" fmla="*/ 271207 h 5304432"/>
              <a:gd name="connsiteX2" fmla="*/ 130133 w 3392072"/>
              <a:gd name="connsiteY2" fmla="*/ 268032 h 5304432"/>
              <a:gd name="connsiteX3" fmla="*/ 3270011 w 3392072"/>
              <a:gd name="connsiteY3" fmla="*/ 268032 h 5304432"/>
              <a:gd name="connsiteX4" fmla="*/ 3392072 w 3392072"/>
              <a:gd name="connsiteY4" fmla="*/ 390093 h 5304432"/>
              <a:gd name="connsiteX5" fmla="*/ 3392072 w 3392072"/>
              <a:gd name="connsiteY5" fmla="*/ 5182371 h 5304432"/>
              <a:gd name="connsiteX6" fmla="*/ 3270011 w 3392072"/>
              <a:gd name="connsiteY6" fmla="*/ 5304432 h 5304432"/>
              <a:gd name="connsiteX7" fmla="*/ 130133 w 3392072"/>
              <a:gd name="connsiteY7" fmla="*/ 5304432 h 5304432"/>
              <a:gd name="connsiteX8" fmla="*/ 8072 w 3392072"/>
              <a:gd name="connsiteY8" fmla="*/ 5182371 h 5304432"/>
              <a:gd name="connsiteX9" fmla="*/ 8072 w 3392072"/>
              <a:gd name="connsiteY9" fmla="*/ 390093 h 5304432"/>
              <a:gd name="connsiteX0" fmla="*/ 8072 w 3392072"/>
              <a:gd name="connsiteY0" fmla="*/ 129113 h 5043452"/>
              <a:gd name="connsiteX1" fmla="*/ 8072 w 3392072"/>
              <a:gd name="connsiteY1" fmla="*/ 10227 h 5043452"/>
              <a:gd name="connsiteX2" fmla="*/ 130133 w 3392072"/>
              <a:gd name="connsiteY2" fmla="*/ 7052 h 5043452"/>
              <a:gd name="connsiteX3" fmla="*/ 3270011 w 3392072"/>
              <a:gd name="connsiteY3" fmla="*/ 7052 h 5043452"/>
              <a:gd name="connsiteX4" fmla="*/ 3392072 w 3392072"/>
              <a:gd name="connsiteY4" fmla="*/ 129113 h 5043452"/>
              <a:gd name="connsiteX5" fmla="*/ 3392072 w 3392072"/>
              <a:gd name="connsiteY5" fmla="*/ 4921391 h 5043452"/>
              <a:gd name="connsiteX6" fmla="*/ 3270011 w 3392072"/>
              <a:gd name="connsiteY6" fmla="*/ 5043452 h 5043452"/>
              <a:gd name="connsiteX7" fmla="*/ 130133 w 3392072"/>
              <a:gd name="connsiteY7" fmla="*/ 5043452 h 5043452"/>
              <a:gd name="connsiteX8" fmla="*/ 8072 w 3392072"/>
              <a:gd name="connsiteY8" fmla="*/ 4921391 h 5043452"/>
              <a:gd name="connsiteX9" fmla="*/ 8072 w 3392072"/>
              <a:gd name="connsiteY9" fmla="*/ 129113 h 5043452"/>
              <a:gd name="connsiteX0" fmla="*/ 7649 w 3391649"/>
              <a:gd name="connsiteY0" fmla="*/ 129113 h 5043452"/>
              <a:gd name="connsiteX1" fmla="*/ 7649 w 3391649"/>
              <a:gd name="connsiteY1" fmla="*/ 10227 h 5043452"/>
              <a:gd name="connsiteX2" fmla="*/ 129710 w 3391649"/>
              <a:gd name="connsiteY2" fmla="*/ 7052 h 5043452"/>
              <a:gd name="connsiteX3" fmla="*/ 3269588 w 3391649"/>
              <a:gd name="connsiteY3" fmla="*/ 7052 h 5043452"/>
              <a:gd name="connsiteX4" fmla="*/ 3391649 w 3391649"/>
              <a:gd name="connsiteY4" fmla="*/ 129113 h 5043452"/>
              <a:gd name="connsiteX5" fmla="*/ 3391649 w 3391649"/>
              <a:gd name="connsiteY5" fmla="*/ 4921391 h 5043452"/>
              <a:gd name="connsiteX6" fmla="*/ 3269588 w 3391649"/>
              <a:gd name="connsiteY6" fmla="*/ 5043452 h 5043452"/>
              <a:gd name="connsiteX7" fmla="*/ 129710 w 3391649"/>
              <a:gd name="connsiteY7" fmla="*/ 5043452 h 5043452"/>
              <a:gd name="connsiteX8" fmla="*/ 7649 w 3391649"/>
              <a:gd name="connsiteY8" fmla="*/ 4921391 h 5043452"/>
              <a:gd name="connsiteX9" fmla="*/ 7649 w 3391649"/>
              <a:gd name="connsiteY9" fmla="*/ 129113 h 5043452"/>
              <a:gd name="connsiteX0" fmla="*/ 7649 w 3391649"/>
              <a:gd name="connsiteY0" fmla="*/ 122287 h 5036626"/>
              <a:gd name="connsiteX1" fmla="*/ 7649 w 3391649"/>
              <a:gd name="connsiteY1" fmla="*/ 3401 h 5036626"/>
              <a:gd name="connsiteX2" fmla="*/ 129710 w 3391649"/>
              <a:gd name="connsiteY2" fmla="*/ 226 h 5036626"/>
              <a:gd name="connsiteX3" fmla="*/ 3269588 w 3391649"/>
              <a:gd name="connsiteY3" fmla="*/ 226 h 5036626"/>
              <a:gd name="connsiteX4" fmla="*/ 3391649 w 3391649"/>
              <a:gd name="connsiteY4" fmla="*/ 122287 h 5036626"/>
              <a:gd name="connsiteX5" fmla="*/ 3391649 w 3391649"/>
              <a:gd name="connsiteY5" fmla="*/ 4914565 h 5036626"/>
              <a:gd name="connsiteX6" fmla="*/ 3269588 w 3391649"/>
              <a:gd name="connsiteY6" fmla="*/ 5036626 h 5036626"/>
              <a:gd name="connsiteX7" fmla="*/ 129710 w 3391649"/>
              <a:gd name="connsiteY7" fmla="*/ 5036626 h 5036626"/>
              <a:gd name="connsiteX8" fmla="*/ 7649 w 3391649"/>
              <a:gd name="connsiteY8" fmla="*/ 4914565 h 5036626"/>
              <a:gd name="connsiteX9" fmla="*/ 7649 w 3391649"/>
              <a:gd name="connsiteY9" fmla="*/ 122287 h 5036626"/>
              <a:gd name="connsiteX0" fmla="*/ 7649 w 3391649"/>
              <a:gd name="connsiteY0" fmla="*/ 127836 h 5042175"/>
              <a:gd name="connsiteX1" fmla="*/ 7649 w 3391649"/>
              <a:gd name="connsiteY1" fmla="*/ 8950 h 5042175"/>
              <a:gd name="connsiteX2" fmla="*/ 129710 w 3391649"/>
              <a:gd name="connsiteY2" fmla="*/ 5775 h 5042175"/>
              <a:gd name="connsiteX3" fmla="*/ 3269588 w 3391649"/>
              <a:gd name="connsiteY3" fmla="*/ 5775 h 5042175"/>
              <a:gd name="connsiteX4" fmla="*/ 3391649 w 3391649"/>
              <a:gd name="connsiteY4" fmla="*/ 127836 h 5042175"/>
              <a:gd name="connsiteX5" fmla="*/ 3391649 w 3391649"/>
              <a:gd name="connsiteY5" fmla="*/ 4920114 h 5042175"/>
              <a:gd name="connsiteX6" fmla="*/ 3269588 w 3391649"/>
              <a:gd name="connsiteY6" fmla="*/ 5042175 h 5042175"/>
              <a:gd name="connsiteX7" fmla="*/ 129710 w 3391649"/>
              <a:gd name="connsiteY7" fmla="*/ 5042175 h 5042175"/>
              <a:gd name="connsiteX8" fmla="*/ 7649 w 3391649"/>
              <a:gd name="connsiteY8" fmla="*/ 4920114 h 5042175"/>
              <a:gd name="connsiteX9" fmla="*/ 7649 w 3391649"/>
              <a:gd name="connsiteY9" fmla="*/ 127836 h 5042175"/>
              <a:gd name="connsiteX0" fmla="*/ 7649 w 3391649"/>
              <a:gd name="connsiteY0" fmla="*/ 127836 h 5042175"/>
              <a:gd name="connsiteX1" fmla="*/ 7649 w 3391649"/>
              <a:gd name="connsiteY1" fmla="*/ 8950 h 5042175"/>
              <a:gd name="connsiteX2" fmla="*/ 129710 w 3391649"/>
              <a:gd name="connsiteY2" fmla="*/ 5775 h 5042175"/>
              <a:gd name="connsiteX3" fmla="*/ 3269588 w 3391649"/>
              <a:gd name="connsiteY3" fmla="*/ 5775 h 5042175"/>
              <a:gd name="connsiteX4" fmla="*/ 3391649 w 3391649"/>
              <a:gd name="connsiteY4" fmla="*/ 127836 h 5042175"/>
              <a:gd name="connsiteX5" fmla="*/ 3391649 w 3391649"/>
              <a:gd name="connsiteY5" fmla="*/ 4920114 h 5042175"/>
              <a:gd name="connsiteX6" fmla="*/ 3269588 w 3391649"/>
              <a:gd name="connsiteY6" fmla="*/ 5042175 h 5042175"/>
              <a:gd name="connsiteX7" fmla="*/ 129710 w 3391649"/>
              <a:gd name="connsiteY7" fmla="*/ 5042175 h 5042175"/>
              <a:gd name="connsiteX8" fmla="*/ 7649 w 3391649"/>
              <a:gd name="connsiteY8" fmla="*/ 4920114 h 5042175"/>
              <a:gd name="connsiteX9" fmla="*/ 7649 w 3391649"/>
              <a:gd name="connsiteY9" fmla="*/ 127836 h 5042175"/>
              <a:gd name="connsiteX0" fmla="*/ 15257 w 3399257"/>
              <a:gd name="connsiteY0" fmla="*/ 5276782 h 5398843"/>
              <a:gd name="connsiteX1" fmla="*/ 15257 w 3399257"/>
              <a:gd name="connsiteY1" fmla="*/ 365618 h 5398843"/>
              <a:gd name="connsiteX2" fmla="*/ 137318 w 3399257"/>
              <a:gd name="connsiteY2" fmla="*/ 362443 h 5398843"/>
              <a:gd name="connsiteX3" fmla="*/ 3277196 w 3399257"/>
              <a:gd name="connsiteY3" fmla="*/ 362443 h 5398843"/>
              <a:gd name="connsiteX4" fmla="*/ 3399257 w 3399257"/>
              <a:gd name="connsiteY4" fmla="*/ 484504 h 5398843"/>
              <a:gd name="connsiteX5" fmla="*/ 3399257 w 3399257"/>
              <a:gd name="connsiteY5" fmla="*/ 5276782 h 5398843"/>
              <a:gd name="connsiteX6" fmla="*/ 3277196 w 3399257"/>
              <a:gd name="connsiteY6" fmla="*/ 5398843 h 5398843"/>
              <a:gd name="connsiteX7" fmla="*/ 137318 w 3399257"/>
              <a:gd name="connsiteY7" fmla="*/ 5398843 h 5398843"/>
              <a:gd name="connsiteX8" fmla="*/ 15257 w 3399257"/>
              <a:gd name="connsiteY8" fmla="*/ 5276782 h 5398843"/>
              <a:gd name="connsiteX0" fmla="*/ 10990 w 3394990"/>
              <a:gd name="connsiteY0" fmla="*/ 5276782 h 5398843"/>
              <a:gd name="connsiteX1" fmla="*/ 10990 w 3394990"/>
              <a:gd name="connsiteY1" fmla="*/ 365618 h 5398843"/>
              <a:gd name="connsiteX2" fmla="*/ 133051 w 3394990"/>
              <a:gd name="connsiteY2" fmla="*/ 362443 h 5398843"/>
              <a:gd name="connsiteX3" fmla="*/ 3272929 w 3394990"/>
              <a:gd name="connsiteY3" fmla="*/ 362443 h 5398843"/>
              <a:gd name="connsiteX4" fmla="*/ 3394990 w 3394990"/>
              <a:gd name="connsiteY4" fmla="*/ 484504 h 5398843"/>
              <a:gd name="connsiteX5" fmla="*/ 3394990 w 3394990"/>
              <a:gd name="connsiteY5" fmla="*/ 5276782 h 5398843"/>
              <a:gd name="connsiteX6" fmla="*/ 3272929 w 3394990"/>
              <a:gd name="connsiteY6" fmla="*/ 5398843 h 5398843"/>
              <a:gd name="connsiteX7" fmla="*/ 133051 w 3394990"/>
              <a:gd name="connsiteY7" fmla="*/ 5398843 h 5398843"/>
              <a:gd name="connsiteX8" fmla="*/ 10990 w 3394990"/>
              <a:gd name="connsiteY8" fmla="*/ 5276782 h 5398843"/>
              <a:gd name="connsiteX0" fmla="*/ 10990 w 3394990"/>
              <a:gd name="connsiteY0" fmla="*/ 4918814 h 5040875"/>
              <a:gd name="connsiteX1" fmla="*/ 10990 w 3394990"/>
              <a:gd name="connsiteY1" fmla="*/ 7650 h 5040875"/>
              <a:gd name="connsiteX2" fmla="*/ 133051 w 3394990"/>
              <a:gd name="connsiteY2" fmla="*/ 4475 h 5040875"/>
              <a:gd name="connsiteX3" fmla="*/ 3272929 w 3394990"/>
              <a:gd name="connsiteY3" fmla="*/ 4475 h 5040875"/>
              <a:gd name="connsiteX4" fmla="*/ 3394990 w 3394990"/>
              <a:gd name="connsiteY4" fmla="*/ 126536 h 5040875"/>
              <a:gd name="connsiteX5" fmla="*/ 3394990 w 3394990"/>
              <a:gd name="connsiteY5" fmla="*/ 4918814 h 5040875"/>
              <a:gd name="connsiteX6" fmla="*/ 3272929 w 3394990"/>
              <a:gd name="connsiteY6" fmla="*/ 5040875 h 5040875"/>
              <a:gd name="connsiteX7" fmla="*/ 133051 w 3394990"/>
              <a:gd name="connsiteY7" fmla="*/ 5040875 h 5040875"/>
              <a:gd name="connsiteX8" fmla="*/ 10990 w 3394990"/>
              <a:gd name="connsiteY8" fmla="*/ 4918814 h 5040875"/>
              <a:gd name="connsiteX0" fmla="*/ 158635 w 3542635"/>
              <a:gd name="connsiteY0" fmla="*/ 4917578 h 5039639"/>
              <a:gd name="connsiteX1" fmla="*/ 146729 w 3542635"/>
              <a:gd name="connsiteY1" fmla="*/ 6414 h 5039639"/>
              <a:gd name="connsiteX2" fmla="*/ 280696 w 3542635"/>
              <a:gd name="connsiteY2" fmla="*/ 3239 h 5039639"/>
              <a:gd name="connsiteX3" fmla="*/ 3420574 w 3542635"/>
              <a:gd name="connsiteY3" fmla="*/ 3239 h 5039639"/>
              <a:gd name="connsiteX4" fmla="*/ 3542635 w 3542635"/>
              <a:gd name="connsiteY4" fmla="*/ 125300 h 5039639"/>
              <a:gd name="connsiteX5" fmla="*/ 3542635 w 3542635"/>
              <a:gd name="connsiteY5" fmla="*/ 4917578 h 5039639"/>
              <a:gd name="connsiteX6" fmla="*/ 3420574 w 3542635"/>
              <a:gd name="connsiteY6" fmla="*/ 5039639 h 5039639"/>
              <a:gd name="connsiteX7" fmla="*/ 280696 w 3542635"/>
              <a:gd name="connsiteY7" fmla="*/ 5039639 h 5039639"/>
              <a:gd name="connsiteX8" fmla="*/ 158635 w 3542635"/>
              <a:gd name="connsiteY8" fmla="*/ 4917578 h 5039639"/>
              <a:gd name="connsiteX0" fmla="*/ 160634 w 3544634"/>
              <a:gd name="connsiteY0" fmla="*/ 4917578 h 5039639"/>
              <a:gd name="connsiteX1" fmla="*/ 143965 w 3544634"/>
              <a:gd name="connsiteY1" fmla="*/ 6414 h 5039639"/>
              <a:gd name="connsiteX2" fmla="*/ 282695 w 3544634"/>
              <a:gd name="connsiteY2" fmla="*/ 3239 h 5039639"/>
              <a:gd name="connsiteX3" fmla="*/ 3422573 w 3544634"/>
              <a:gd name="connsiteY3" fmla="*/ 3239 h 5039639"/>
              <a:gd name="connsiteX4" fmla="*/ 3544634 w 3544634"/>
              <a:gd name="connsiteY4" fmla="*/ 125300 h 5039639"/>
              <a:gd name="connsiteX5" fmla="*/ 3544634 w 3544634"/>
              <a:gd name="connsiteY5" fmla="*/ 4917578 h 5039639"/>
              <a:gd name="connsiteX6" fmla="*/ 3422573 w 3544634"/>
              <a:gd name="connsiteY6" fmla="*/ 5039639 h 5039639"/>
              <a:gd name="connsiteX7" fmla="*/ 282695 w 3544634"/>
              <a:gd name="connsiteY7" fmla="*/ 5039639 h 5039639"/>
              <a:gd name="connsiteX8" fmla="*/ 160634 w 3544634"/>
              <a:gd name="connsiteY8" fmla="*/ 4917578 h 5039639"/>
              <a:gd name="connsiteX0" fmla="*/ 164685 w 3548685"/>
              <a:gd name="connsiteY0" fmla="*/ 4917578 h 5039639"/>
              <a:gd name="connsiteX1" fmla="*/ 138491 w 3548685"/>
              <a:gd name="connsiteY1" fmla="*/ 6414 h 5039639"/>
              <a:gd name="connsiteX2" fmla="*/ 286746 w 3548685"/>
              <a:gd name="connsiteY2" fmla="*/ 3239 h 5039639"/>
              <a:gd name="connsiteX3" fmla="*/ 3426624 w 3548685"/>
              <a:gd name="connsiteY3" fmla="*/ 3239 h 5039639"/>
              <a:gd name="connsiteX4" fmla="*/ 3548685 w 3548685"/>
              <a:gd name="connsiteY4" fmla="*/ 125300 h 5039639"/>
              <a:gd name="connsiteX5" fmla="*/ 3548685 w 3548685"/>
              <a:gd name="connsiteY5" fmla="*/ 4917578 h 5039639"/>
              <a:gd name="connsiteX6" fmla="*/ 3426624 w 3548685"/>
              <a:gd name="connsiteY6" fmla="*/ 5039639 h 5039639"/>
              <a:gd name="connsiteX7" fmla="*/ 286746 w 3548685"/>
              <a:gd name="connsiteY7" fmla="*/ 5039639 h 5039639"/>
              <a:gd name="connsiteX8" fmla="*/ 164685 w 3548685"/>
              <a:gd name="connsiteY8" fmla="*/ 4917578 h 5039639"/>
              <a:gd name="connsiteX0" fmla="*/ 163666 w 3547666"/>
              <a:gd name="connsiteY0" fmla="*/ 4917578 h 5039639"/>
              <a:gd name="connsiteX1" fmla="*/ 139854 w 3547666"/>
              <a:gd name="connsiteY1" fmla="*/ 6414 h 5039639"/>
              <a:gd name="connsiteX2" fmla="*/ 285727 w 3547666"/>
              <a:gd name="connsiteY2" fmla="*/ 3239 h 5039639"/>
              <a:gd name="connsiteX3" fmla="*/ 3425605 w 3547666"/>
              <a:gd name="connsiteY3" fmla="*/ 3239 h 5039639"/>
              <a:gd name="connsiteX4" fmla="*/ 3547666 w 3547666"/>
              <a:gd name="connsiteY4" fmla="*/ 125300 h 5039639"/>
              <a:gd name="connsiteX5" fmla="*/ 3547666 w 3547666"/>
              <a:gd name="connsiteY5" fmla="*/ 4917578 h 5039639"/>
              <a:gd name="connsiteX6" fmla="*/ 3425605 w 3547666"/>
              <a:gd name="connsiteY6" fmla="*/ 5039639 h 5039639"/>
              <a:gd name="connsiteX7" fmla="*/ 285727 w 3547666"/>
              <a:gd name="connsiteY7" fmla="*/ 5039639 h 5039639"/>
              <a:gd name="connsiteX8" fmla="*/ 163666 w 3547666"/>
              <a:gd name="connsiteY8" fmla="*/ 4917578 h 5039639"/>
              <a:gd name="connsiteX0" fmla="*/ 161641 w 3545641"/>
              <a:gd name="connsiteY0" fmla="*/ 4917578 h 5039639"/>
              <a:gd name="connsiteX1" fmla="*/ 142591 w 3545641"/>
              <a:gd name="connsiteY1" fmla="*/ 6414 h 5039639"/>
              <a:gd name="connsiteX2" fmla="*/ 283702 w 3545641"/>
              <a:gd name="connsiteY2" fmla="*/ 3239 h 5039639"/>
              <a:gd name="connsiteX3" fmla="*/ 3423580 w 3545641"/>
              <a:gd name="connsiteY3" fmla="*/ 3239 h 5039639"/>
              <a:gd name="connsiteX4" fmla="*/ 3545641 w 3545641"/>
              <a:gd name="connsiteY4" fmla="*/ 125300 h 5039639"/>
              <a:gd name="connsiteX5" fmla="*/ 3545641 w 3545641"/>
              <a:gd name="connsiteY5" fmla="*/ 4917578 h 5039639"/>
              <a:gd name="connsiteX6" fmla="*/ 3423580 w 3545641"/>
              <a:gd name="connsiteY6" fmla="*/ 5039639 h 5039639"/>
              <a:gd name="connsiteX7" fmla="*/ 283702 w 3545641"/>
              <a:gd name="connsiteY7" fmla="*/ 5039639 h 5039639"/>
              <a:gd name="connsiteX8" fmla="*/ 161641 w 3545641"/>
              <a:gd name="connsiteY8" fmla="*/ 4917578 h 5039639"/>
              <a:gd name="connsiteX0" fmla="*/ 158636 w 3542636"/>
              <a:gd name="connsiteY0" fmla="*/ 4917578 h 5039639"/>
              <a:gd name="connsiteX1" fmla="*/ 146730 w 3542636"/>
              <a:gd name="connsiteY1" fmla="*/ 6414 h 5039639"/>
              <a:gd name="connsiteX2" fmla="*/ 280697 w 3542636"/>
              <a:gd name="connsiteY2" fmla="*/ 3239 h 5039639"/>
              <a:gd name="connsiteX3" fmla="*/ 3420575 w 3542636"/>
              <a:gd name="connsiteY3" fmla="*/ 3239 h 5039639"/>
              <a:gd name="connsiteX4" fmla="*/ 3542636 w 3542636"/>
              <a:gd name="connsiteY4" fmla="*/ 125300 h 5039639"/>
              <a:gd name="connsiteX5" fmla="*/ 3542636 w 3542636"/>
              <a:gd name="connsiteY5" fmla="*/ 4917578 h 5039639"/>
              <a:gd name="connsiteX6" fmla="*/ 3420575 w 3542636"/>
              <a:gd name="connsiteY6" fmla="*/ 5039639 h 5039639"/>
              <a:gd name="connsiteX7" fmla="*/ 280697 w 3542636"/>
              <a:gd name="connsiteY7" fmla="*/ 5039639 h 5039639"/>
              <a:gd name="connsiteX8" fmla="*/ 158636 w 3542636"/>
              <a:gd name="connsiteY8" fmla="*/ 4917578 h 5039639"/>
              <a:gd name="connsiteX0" fmla="*/ 160634 w 3544634"/>
              <a:gd name="connsiteY0" fmla="*/ 4917578 h 5039639"/>
              <a:gd name="connsiteX1" fmla="*/ 143965 w 3544634"/>
              <a:gd name="connsiteY1" fmla="*/ 6414 h 5039639"/>
              <a:gd name="connsiteX2" fmla="*/ 282695 w 3544634"/>
              <a:gd name="connsiteY2" fmla="*/ 3239 h 5039639"/>
              <a:gd name="connsiteX3" fmla="*/ 3422573 w 3544634"/>
              <a:gd name="connsiteY3" fmla="*/ 3239 h 5039639"/>
              <a:gd name="connsiteX4" fmla="*/ 3544634 w 3544634"/>
              <a:gd name="connsiteY4" fmla="*/ 125300 h 5039639"/>
              <a:gd name="connsiteX5" fmla="*/ 3544634 w 3544634"/>
              <a:gd name="connsiteY5" fmla="*/ 4917578 h 5039639"/>
              <a:gd name="connsiteX6" fmla="*/ 3422573 w 3544634"/>
              <a:gd name="connsiteY6" fmla="*/ 5039639 h 5039639"/>
              <a:gd name="connsiteX7" fmla="*/ 282695 w 3544634"/>
              <a:gd name="connsiteY7" fmla="*/ 5039639 h 5039639"/>
              <a:gd name="connsiteX8" fmla="*/ 160634 w 3544634"/>
              <a:gd name="connsiteY8" fmla="*/ 4917578 h 5039639"/>
              <a:gd name="connsiteX0" fmla="*/ 162650 w 3546650"/>
              <a:gd name="connsiteY0" fmla="*/ 4917578 h 5039639"/>
              <a:gd name="connsiteX1" fmla="*/ 141219 w 3546650"/>
              <a:gd name="connsiteY1" fmla="*/ 6414 h 5039639"/>
              <a:gd name="connsiteX2" fmla="*/ 284711 w 3546650"/>
              <a:gd name="connsiteY2" fmla="*/ 3239 h 5039639"/>
              <a:gd name="connsiteX3" fmla="*/ 3424589 w 3546650"/>
              <a:gd name="connsiteY3" fmla="*/ 3239 h 5039639"/>
              <a:gd name="connsiteX4" fmla="*/ 3546650 w 3546650"/>
              <a:gd name="connsiteY4" fmla="*/ 125300 h 5039639"/>
              <a:gd name="connsiteX5" fmla="*/ 3546650 w 3546650"/>
              <a:gd name="connsiteY5" fmla="*/ 4917578 h 5039639"/>
              <a:gd name="connsiteX6" fmla="*/ 3424589 w 3546650"/>
              <a:gd name="connsiteY6" fmla="*/ 5039639 h 5039639"/>
              <a:gd name="connsiteX7" fmla="*/ 284711 w 3546650"/>
              <a:gd name="connsiteY7" fmla="*/ 5039639 h 5039639"/>
              <a:gd name="connsiteX8" fmla="*/ 162650 w 3546650"/>
              <a:gd name="connsiteY8" fmla="*/ 4917578 h 5039639"/>
              <a:gd name="connsiteX0" fmla="*/ 164685 w 3548685"/>
              <a:gd name="connsiteY0" fmla="*/ 4917578 h 5039639"/>
              <a:gd name="connsiteX1" fmla="*/ 138491 w 3548685"/>
              <a:gd name="connsiteY1" fmla="*/ 6414 h 5039639"/>
              <a:gd name="connsiteX2" fmla="*/ 286746 w 3548685"/>
              <a:gd name="connsiteY2" fmla="*/ 3239 h 5039639"/>
              <a:gd name="connsiteX3" fmla="*/ 3426624 w 3548685"/>
              <a:gd name="connsiteY3" fmla="*/ 3239 h 5039639"/>
              <a:gd name="connsiteX4" fmla="*/ 3548685 w 3548685"/>
              <a:gd name="connsiteY4" fmla="*/ 125300 h 5039639"/>
              <a:gd name="connsiteX5" fmla="*/ 3548685 w 3548685"/>
              <a:gd name="connsiteY5" fmla="*/ 4917578 h 5039639"/>
              <a:gd name="connsiteX6" fmla="*/ 3426624 w 3548685"/>
              <a:gd name="connsiteY6" fmla="*/ 5039639 h 5039639"/>
              <a:gd name="connsiteX7" fmla="*/ 286746 w 3548685"/>
              <a:gd name="connsiteY7" fmla="*/ 5039639 h 5039639"/>
              <a:gd name="connsiteX8" fmla="*/ 164685 w 3548685"/>
              <a:gd name="connsiteY8" fmla="*/ 4917578 h 5039639"/>
              <a:gd name="connsiteX0" fmla="*/ 162651 w 3546651"/>
              <a:gd name="connsiteY0" fmla="*/ 4917578 h 5039639"/>
              <a:gd name="connsiteX1" fmla="*/ 141220 w 3546651"/>
              <a:gd name="connsiteY1" fmla="*/ 6414 h 5039639"/>
              <a:gd name="connsiteX2" fmla="*/ 284712 w 3546651"/>
              <a:gd name="connsiteY2" fmla="*/ 3239 h 5039639"/>
              <a:gd name="connsiteX3" fmla="*/ 3424590 w 3546651"/>
              <a:gd name="connsiteY3" fmla="*/ 3239 h 5039639"/>
              <a:gd name="connsiteX4" fmla="*/ 3546651 w 3546651"/>
              <a:gd name="connsiteY4" fmla="*/ 125300 h 5039639"/>
              <a:gd name="connsiteX5" fmla="*/ 3546651 w 3546651"/>
              <a:gd name="connsiteY5" fmla="*/ 4917578 h 5039639"/>
              <a:gd name="connsiteX6" fmla="*/ 3424590 w 3546651"/>
              <a:gd name="connsiteY6" fmla="*/ 5039639 h 5039639"/>
              <a:gd name="connsiteX7" fmla="*/ 284712 w 3546651"/>
              <a:gd name="connsiteY7" fmla="*/ 5039639 h 5039639"/>
              <a:gd name="connsiteX8" fmla="*/ 162651 w 3546651"/>
              <a:gd name="connsiteY8" fmla="*/ 4917578 h 5039639"/>
              <a:gd name="connsiteX0" fmla="*/ 164685 w 3548685"/>
              <a:gd name="connsiteY0" fmla="*/ 4917578 h 5039639"/>
              <a:gd name="connsiteX1" fmla="*/ 138491 w 3548685"/>
              <a:gd name="connsiteY1" fmla="*/ 6414 h 5039639"/>
              <a:gd name="connsiteX2" fmla="*/ 286746 w 3548685"/>
              <a:gd name="connsiteY2" fmla="*/ 3239 h 5039639"/>
              <a:gd name="connsiteX3" fmla="*/ 3426624 w 3548685"/>
              <a:gd name="connsiteY3" fmla="*/ 3239 h 5039639"/>
              <a:gd name="connsiteX4" fmla="*/ 3548685 w 3548685"/>
              <a:gd name="connsiteY4" fmla="*/ 125300 h 5039639"/>
              <a:gd name="connsiteX5" fmla="*/ 3548685 w 3548685"/>
              <a:gd name="connsiteY5" fmla="*/ 4917578 h 5039639"/>
              <a:gd name="connsiteX6" fmla="*/ 3426624 w 3548685"/>
              <a:gd name="connsiteY6" fmla="*/ 5039639 h 5039639"/>
              <a:gd name="connsiteX7" fmla="*/ 286746 w 3548685"/>
              <a:gd name="connsiteY7" fmla="*/ 5039639 h 5039639"/>
              <a:gd name="connsiteX8" fmla="*/ 164685 w 3548685"/>
              <a:gd name="connsiteY8" fmla="*/ 4917578 h 5039639"/>
              <a:gd name="connsiteX0" fmla="*/ 28361 w 3412361"/>
              <a:gd name="connsiteY0" fmla="*/ 4917578 h 5039639"/>
              <a:gd name="connsiteX1" fmla="*/ 2167 w 3412361"/>
              <a:gd name="connsiteY1" fmla="*/ 6414 h 5039639"/>
              <a:gd name="connsiteX2" fmla="*/ 150422 w 3412361"/>
              <a:gd name="connsiteY2" fmla="*/ 3239 h 5039639"/>
              <a:gd name="connsiteX3" fmla="*/ 3290300 w 3412361"/>
              <a:gd name="connsiteY3" fmla="*/ 3239 h 5039639"/>
              <a:gd name="connsiteX4" fmla="*/ 3412361 w 3412361"/>
              <a:gd name="connsiteY4" fmla="*/ 125300 h 5039639"/>
              <a:gd name="connsiteX5" fmla="*/ 3412361 w 3412361"/>
              <a:gd name="connsiteY5" fmla="*/ 4917578 h 5039639"/>
              <a:gd name="connsiteX6" fmla="*/ 3290300 w 3412361"/>
              <a:gd name="connsiteY6" fmla="*/ 5039639 h 5039639"/>
              <a:gd name="connsiteX7" fmla="*/ 150422 w 3412361"/>
              <a:gd name="connsiteY7" fmla="*/ 5039639 h 5039639"/>
              <a:gd name="connsiteX8" fmla="*/ 28361 w 3412361"/>
              <a:gd name="connsiteY8" fmla="*/ 4917578 h 5039639"/>
              <a:gd name="connsiteX0" fmla="*/ 28361 w 3412361"/>
              <a:gd name="connsiteY0" fmla="*/ 4917578 h 5039639"/>
              <a:gd name="connsiteX1" fmla="*/ 2167 w 3412361"/>
              <a:gd name="connsiteY1" fmla="*/ 6414 h 5039639"/>
              <a:gd name="connsiteX2" fmla="*/ 150422 w 3412361"/>
              <a:gd name="connsiteY2" fmla="*/ 3239 h 5039639"/>
              <a:gd name="connsiteX3" fmla="*/ 3290300 w 3412361"/>
              <a:gd name="connsiteY3" fmla="*/ 3239 h 5039639"/>
              <a:gd name="connsiteX4" fmla="*/ 3412361 w 3412361"/>
              <a:gd name="connsiteY4" fmla="*/ 125300 h 5039639"/>
              <a:gd name="connsiteX5" fmla="*/ 3412361 w 3412361"/>
              <a:gd name="connsiteY5" fmla="*/ 4917578 h 5039639"/>
              <a:gd name="connsiteX6" fmla="*/ 3290300 w 3412361"/>
              <a:gd name="connsiteY6" fmla="*/ 5039639 h 5039639"/>
              <a:gd name="connsiteX7" fmla="*/ 150422 w 3412361"/>
              <a:gd name="connsiteY7" fmla="*/ 5039639 h 5039639"/>
              <a:gd name="connsiteX8" fmla="*/ 28361 w 3412361"/>
              <a:gd name="connsiteY8" fmla="*/ 4917578 h 5039639"/>
              <a:gd name="connsiteX0" fmla="*/ 33210 w 3417210"/>
              <a:gd name="connsiteY0" fmla="*/ 4916549 h 5038610"/>
              <a:gd name="connsiteX1" fmla="*/ 7016 w 3417210"/>
              <a:gd name="connsiteY1" fmla="*/ 5385 h 5038610"/>
              <a:gd name="connsiteX2" fmla="*/ 155271 w 3417210"/>
              <a:gd name="connsiteY2" fmla="*/ 2210 h 5038610"/>
              <a:gd name="connsiteX3" fmla="*/ 3295149 w 3417210"/>
              <a:gd name="connsiteY3" fmla="*/ 2210 h 5038610"/>
              <a:gd name="connsiteX4" fmla="*/ 3417210 w 3417210"/>
              <a:gd name="connsiteY4" fmla="*/ 124271 h 5038610"/>
              <a:gd name="connsiteX5" fmla="*/ 3417210 w 3417210"/>
              <a:gd name="connsiteY5" fmla="*/ 4916549 h 5038610"/>
              <a:gd name="connsiteX6" fmla="*/ 3295149 w 3417210"/>
              <a:gd name="connsiteY6" fmla="*/ 5038610 h 5038610"/>
              <a:gd name="connsiteX7" fmla="*/ 155271 w 3417210"/>
              <a:gd name="connsiteY7" fmla="*/ 5038610 h 5038610"/>
              <a:gd name="connsiteX8" fmla="*/ 33210 w 3417210"/>
              <a:gd name="connsiteY8" fmla="*/ 4916549 h 5038610"/>
              <a:gd name="connsiteX0" fmla="*/ 26222 w 3410222"/>
              <a:gd name="connsiteY0" fmla="*/ 4914339 h 5036400"/>
              <a:gd name="connsiteX1" fmla="*/ 28 w 3410222"/>
              <a:gd name="connsiteY1" fmla="*/ 3175 h 5036400"/>
              <a:gd name="connsiteX2" fmla="*/ 148283 w 3410222"/>
              <a:gd name="connsiteY2" fmla="*/ 0 h 5036400"/>
              <a:gd name="connsiteX3" fmla="*/ 3288161 w 3410222"/>
              <a:gd name="connsiteY3" fmla="*/ 0 h 5036400"/>
              <a:gd name="connsiteX4" fmla="*/ 3410222 w 3410222"/>
              <a:gd name="connsiteY4" fmla="*/ 122061 h 5036400"/>
              <a:gd name="connsiteX5" fmla="*/ 3410222 w 3410222"/>
              <a:gd name="connsiteY5" fmla="*/ 4914339 h 5036400"/>
              <a:gd name="connsiteX6" fmla="*/ 3288161 w 3410222"/>
              <a:gd name="connsiteY6" fmla="*/ 5036400 h 5036400"/>
              <a:gd name="connsiteX7" fmla="*/ 148283 w 3410222"/>
              <a:gd name="connsiteY7" fmla="*/ 5036400 h 5036400"/>
              <a:gd name="connsiteX8" fmla="*/ 26222 w 3410222"/>
              <a:gd name="connsiteY8" fmla="*/ 4914339 h 503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10222" h="5036400">
                <a:moveTo>
                  <a:pt x="26222" y="4914339"/>
                </a:moveTo>
                <a:cubicBezTo>
                  <a:pt x="5879" y="4075468"/>
                  <a:pt x="1910" y="6256"/>
                  <a:pt x="28" y="3175"/>
                </a:cubicBezTo>
                <a:cubicBezTo>
                  <a:pt x="-1854" y="94"/>
                  <a:pt x="93180" y="529"/>
                  <a:pt x="148283" y="0"/>
                </a:cubicBezTo>
                <a:lnTo>
                  <a:pt x="3288161" y="0"/>
                </a:lnTo>
                <a:cubicBezTo>
                  <a:pt x="3355573" y="0"/>
                  <a:pt x="3410222" y="54649"/>
                  <a:pt x="3410222" y="122061"/>
                </a:cubicBezTo>
                <a:lnTo>
                  <a:pt x="3410222" y="4914339"/>
                </a:lnTo>
                <a:cubicBezTo>
                  <a:pt x="3410222" y="4981751"/>
                  <a:pt x="3355573" y="5036400"/>
                  <a:pt x="3288161" y="5036400"/>
                </a:cubicBezTo>
                <a:lnTo>
                  <a:pt x="148283" y="5036400"/>
                </a:lnTo>
                <a:cubicBezTo>
                  <a:pt x="80871" y="5036400"/>
                  <a:pt x="26222" y="4981751"/>
                  <a:pt x="26222" y="4914339"/>
                </a:cubicBezTo>
                <a:close/>
              </a:path>
            </a:pathLst>
          </a:custGeom>
          <a:solidFill>
            <a:schemeClr val="bg1"/>
          </a:solidFill>
        </p:spPr>
        <p:txBody>
          <a:bodyPr lIns="576000" tIns="1224000" rIns="576000" bIns="576000"/>
          <a:lstStyle>
            <a:lvl1pPr marL="0" indent="0">
              <a:spcAft>
                <a:spcPts val="0"/>
              </a:spcAft>
              <a:buNone/>
              <a:defRPr sz="6314" b="0">
                <a:solidFill>
                  <a:schemeClr val="bg2"/>
                </a:solidFill>
              </a:defRPr>
            </a:lvl1pPr>
            <a:lvl2pPr marL="1275202" indent="-1275202">
              <a:spcAft>
                <a:spcPts val="0"/>
              </a:spcAft>
              <a:buClr>
                <a:schemeClr val="bg2"/>
              </a:buClr>
              <a:buFont typeface="+mj-lt"/>
              <a:buAutoNum type="arabicPeriod"/>
              <a:defRPr sz="6314">
                <a:solidFill>
                  <a:schemeClr val="bg2"/>
                </a:solidFill>
              </a:defRPr>
            </a:lvl2pPr>
            <a:lvl3pPr marL="1002340" indent="-1002340">
              <a:spcAft>
                <a:spcPts val="0"/>
              </a:spcAft>
              <a:buFont typeface="Arial" panose="020B0604020202020204" pitchFamily="34" charset="0"/>
              <a:buChar char="•"/>
              <a:defRPr sz="6314">
                <a:solidFill>
                  <a:schemeClr val="bg2"/>
                </a:solidFill>
              </a:defRPr>
            </a:lvl3pPr>
            <a:lvl4pPr marL="634816" indent="0">
              <a:spcAft>
                <a:spcPts val="0"/>
              </a:spcAft>
              <a:buNone/>
              <a:defRPr sz="6314">
                <a:solidFill>
                  <a:schemeClr val="tx2"/>
                </a:solidFill>
              </a:defRPr>
            </a:lvl4pPr>
            <a:lvl5pPr marL="0" indent="0">
              <a:spcBef>
                <a:spcPts val="2806"/>
              </a:spcBef>
              <a:spcAft>
                <a:spcPts val="0"/>
              </a:spcAft>
              <a:buNone/>
              <a:defRPr sz="12628" b="0">
                <a:solidFill>
                  <a:schemeClr val="tx2"/>
                </a:solidFill>
              </a:defRPr>
            </a:lvl5pPr>
          </a:lstStyle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145" name="Tijdelijke aanduiding voor verticale tekst 2">
            <a:extLst>
              <a:ext uri="{FF2B5EF4-FFF2-40B4-BE49-F238E27FC236}">
                <a16:creationId xmlns:a16="http://schemas.microsoft.com/office/drawing/2014/main" id="{9001FD48-79F0-4F0E-AB81-634459ED5BE7}"/>
              </a:ext>
            </a:extLst>
          </p:cNvPr>
          <p:cNvSpPr>
            <a:spLocks noGrp="1"/>
          </p:cNvSpPr>
          <p:nvPr>
            <p:ph type="body" orient="vert" idx="30" hasCustomPrompt="1"/>
          </p:nvPr>
        </p:nvSpPr>
        <p:spPr>
          <a:xfrm>
            <a:off x="3673386" y="4706259"/>
            <a:ext cx="6882851" cy="2325638"/>
          </a:xfrm>
        </p:spPr>
        <p:txBody>
          <a:bodyPr vert="horz" anchor="b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Tx/>
              <a:buNone/>
              <a:defRPr sz="12628" b="0" baseline="0">
                <a:solidFill>
                  <a:schemeClr val="tx2"/>
                </a:solidFill>
                <a:latin typeface="+mj-lt"/>
              </a:defRPr>
            </a:lvl1pPr>
            <a:lvl2pPr algn="r">
              <a:lnSpc>
                <a:spcPct val="100000"/>
              </a:lnSpc>
              <a:defRPr>
                <a:latin typeface="+mj-lt"/>
              </a:defRPr>
            </a:lvl2pPr>
            <a:lvl3pPr algn="r">
              <a:lnSpc>
                <a:spcPct val="100000"/>
              </a:lnSpc>
              <a:defRPr>
                <a:latin typeface="+mj-lt"/>
              </a:defRPr>
            </a:lvl3pPr>
            <a:lvl4pPr algn="r">
              <a:lnSpc>
                <a:spcPct val="100000"/>
              </a:lnSpc>
              <a:defRPr sz="16838">
                <a:solidFill>
                  <a:schemeClr val="tx2"/>
                </a:solidFill>
                <a:latin typeface="+mj-lt"/>
              </a:defRPr>
            </a:lvl4pPr>
            <a:lvl5pPr algn="r">
              <a:lnSpc>
                <a:spcPct val="100000"/>
              </a:lnSpc>
              <a:defRPr>
                <a:latin typeface="+mj-lt"/>
              </a:defRPr>
            </a:lvl5pPr>
          </a:lstStyle>
          <a:p>
            <a:pPr lvl="0"/>
            <a:r>
              <a:rPr lang="nl-NL" noProof="0"/>
              <a:t>Typ Titel</a:t>
            </a:r>
          </a:p>
        </p:txBody>
      </p:sp>
      <p:grpSp>
        <p:nvGrpSpPr>
          <p:cNvPr id="2" name="Groep 1">
            <a:extLst>
              <a:ext uri="{FF2B5EF4-FFF2-40B4-BE49-F238E27FC236}">
                <a16:creationId xmlns:a16="http://schemas.microsoft.com/office/drawing/2014/main" id="{900C9842-CD09-4A8A-AB84-5E6126572BB8}"/>
              </a:ext>
            </a:extLst>
          </p:cNvPr>
          <p:cNvGrpSpPr/>
          <p:nvPr userDrawn="1"/>
        </p:nvGrpSpPr>
        <p:grpSpPr>
          <a:xfrm>
            <a:off x="43467415" y="5"/>
            <a:ext cx="13081583" cy="23084356"/>
            <a:chOff x="12391601" y="0"/>
            <a:chExt cx="3729271" cy="5229113"/>
          </a:xfrm>
        </p:grpSpPr>
        <p:grpSp>
          <p:nvGrpSpPr>
            <p:cNvPr id="125" name="Meer informatie">
              <a:extLst>
                <a:ext uri="{FF2B5EF4-FFF2-40B4-BE49-F238E27FC236}">
                  <a16:creationId xmlns:a16="http://schemas.microsoft.com/office/drawing/2014/main" id="{BBB63082-3390-4523-ABC6-2696FEAF78BE}"/>
                </a:ext>
              </a:extLst>
            </p:cNvPr>
            <p:cNvGrpSpPr/>
            <p:nvPr userDrawn="1"/>
          </p:nvGrpSpPr>
          <p:grpSpPr>
            <a:xfrm>
              <a:off x="12396764" y="4445840"/>
              <a:ext cx="3178515" cy="783273"/>
              <a:chOff x="-3741486" y="3386444"/>
              <a:chExt cx="3178515" cy="783273"/>
            </a:xfrm>
          </p:grpSpPr>
          <p:sp>
            <p:nvSpPr>
              <p:cNvPr id="216" name="Freeform 101">
                <a:extLst>
                  <a:ext uri="{FF2B5EF4-FFF2-40B4-BE49-F238E27FC236}">
                    <a16:creationId xmlns:a16="http://schemas.microsoft.com/office/drawing/2014/main" id="{8EC7D39B-6986-4BCE-94CA-81C2E574CFE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2684365E-23C2-4B87-996C-6D3AF800D9AE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9035E986-2FB4-4DD0-B21F-4F9974A26D4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26" name="Rechthoek 125">
              <a:extLst>
                <a:ext uri="{FF2B5EF4-FFF2-40B4-BE49-F238E27FC236}">
                  <a16:creationId xmlns:a16="http://schemas.microsoft.com/office/drawing/2014/main" id="{E143865B-B592-4ECC-8682-2E16D6D8836C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3A6833BB-28EB-45F9-9586-E31822CB6BDA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8" name="Rechte verbindingslijn 127">
              <a:extLst>
                <a:ext uri="{FF2B5EF4-FFF2-40B4-BE49-F238E27FC236}">
                  <a16:creationId xmlns:a16="http://schemas.microsoft.com/office/drawing/2014/main" id="{6252EA7E-B03C-4297-8853-E25D3F1281C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9" name="Rechte verbindingslijn 128">
              <a:extLst>
                <a:ext uri="{FF2B5EF4-FFF2-40B4-BE49-F238E27FC236}">
                  <a16:creationId xmlns:a16="http://schemas.microsoft.com/office/drawing/2014/main" id="{372B8B2C-3747-40B2-88B6-E3AD69419DA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30" name="Rechthoek 129">
              <a:extLst>
                <a:ext uri="{FF2B5EF4-FFF2-40B4-BE49-F238E27FC236}">
                  <a16:creationId xmlns:a16="http://schemas.microsoft.com/office/drawing/2014/main" id="{3D2C872C-737F-43CC-9155-EF2C8BDA4469}"/>
                </a:ext>
              </a:extLst>
            </p:cNvPr>
            <p:cNvSpPr/>
            <p:nvPr userDrawn="1"/>
          </p:nvSpPr>
          <p:spPr>
            <a:xfrm>
              <a:off x="12757282" y="432552"/>
              <a:ext cx="3363590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fbeelding door deze te selecteren en op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ictogram om een nieuwe afbeelding in t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31" name="Rechte verbindingslijn 130">
              <a:extLst>
                <a:ext uri="{FF2B5EF4-FFF2-40B4-BE49-F238E27FC236}">
                  <a16:creationId xmlns:a16="http://schemas.microsoft.com/office/drawing/2014/main" id="{082273A7-ED5D-4991-A72A-C5441D109DC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4327957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32" name="Ovaal 131">
              <a:extLst>
                <a:ext uri="{FF2B5EF4-FFF2-40B4-BE49-F238E27FC236}">
                  <a16:creationId xmlns:a16="http://schemas.microsoft.com/office/drawing/2014/main" id="{94EACF4D-16DD-43B4-882D-BCC4562D3C4A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33" name="Rechthoek 132">
              <a:extLst>
                <a:ext uri="{FF2B5EF4-FFF2-40B4-BE49-F238E27FC236}">
                  <a16:creationId xmlns:a16="http://schemas.microsoft.com/office/drawing/2014/main" id="{52E983BF-9DB1-45B1-BBBA-68D13631872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34" name="Groep 133">
              <a:extLst>
                <a:ext uri="{FF2B5EF4-FFF2-40B4-BE49-F238E27FC236}">
                  <a16:creationId xmlns:a16="http://schemas.microsoft.com/office/drawing/2014/main" id="{4BC194DD-F272-4A9F-85B8-19F8EB253E35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3" name="Rechthoek 212">
                <a:extLst>
                  <a:ext uri="{FF2B5EF4-FFF2-40B4-BE49-F238E27FC236}">
                    <a16:creationId xmlns:a16="http://schemas.microsoft.com/office/drawing/2014/main" id="{B93BB912-913D-4163-9DE4-63D8F07A76B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214" name="Rechte verbindingslijn 213">
                <a:extLst>
                  <a:ext uri="{FF2B5EF4-FFF2-40B4-BE49-F238E27FC236}">
                    <a16:creationId xmlns:a16="http://schemas.microsoft.com/office/drawing/2014/main" id="{95B8D08F-6C30-4203-B92A-7B1ED0A5F37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5" name="Gelijkbenige driehoek 214">
                <a:extLst>
                  <a:ext uri="{FF2B5EF4-FFF2-40B4-BE49-F238E27FC236}">
                    <a16:creationId xmlns:a16="http://schemas.microsoft.com/office/drawing/2014/main" id="{EF00DF5B-908A-45CC-B8FC-93658BFB6F53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35" name="Groep 134">
              <a:extLst>
                <a:ext uri="{FF2B5EF4-FFF2-40B4-BE49-F238E27FC236}">
                  <a16:creationId xmlns:a16="http://schemas.microsoft.com/office/drawing/2014/main" id="{59988593-9727-44C7-89AE-CAE331A61E23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163" name="Rechthoek 162">
                <a:extLst>
                  <a:ext uri="{FF2B5EF4-FFF2-40B4-BE49-F238E27FC236}">
                    <a16:creationId xmlns:a16="http://schemas.microsoft.com/office/drawing/2014/main" id="{9EB71EED-B216-47A2-B153-CD9CFBCCC03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64" name="Ovaal 163">
                <a:extLst>
                  <a:ext uri="{FF2B5EF4-FFF2-40B4-BE49-F238E27FC236}">
                    <a16:creationId xmlns:a16="http://schemas.microsoft.com/office/drawing/2014/main" id="{8A7EB0B9-A016-45DE-AB96-CE87C5555E87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Vrije vorm: vorm 208">
                <a:extLst>
                  <a:ext uri="{FF2B5EF4-FFF2-40B4-BE49-F238E27FC236}">
                    <a16:creationId xmlns:a16="http://schemas.microsoft.com/office/drawing/2014/main" id="{A4FAEEEE-ED9C-43D6-8A17-897A2409434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0" name="Rechthoek: afgeronde hoeken 209">
                <a:extLst>
                  <a:ext uri="{FF2B5EF4-FFF2-40B4-BE49-F238E27FC236}">
                    <a16:creationId xmlns:a16="http://schemas.microsoft.com/office/drawing/2014/main" id="{FE471931-879F-45E5-B6A7-3C11496A5B4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211" name="Rechte verbindingslijn 210">
                <a:extLst>
                  <a:ext uri="{FF2B5EF4-FFF2-40B4-BE49-F238E27FC236}">
                    <a16:creationId xmlns:a16="http://schemas.microsoft.com/office/drawing/2014/main" id="{CB18C8E0-F9D8-4AFA-ACFF-FBB610AF96C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12" name="Rechte verbindingslijn 211">
                <a:extLst>
                  <a:ext uri="{FF2B5EF4-FFF2-40B4-BE49-F238E27FC236}">
                    <a16:creationId xmlns:a16="http://schemas.microsoft.com/office/drawing/2014/main" id="{37348C0B-D0FC-4A1D-ABCE-CA0CE67AF76A}"/>
                  </a:ext>
                </a:extLst>
              </p:cNvPr>
              <p:cNvCxnSpPr>
                <a:cxnSpLocks/>
                <a:stCxn id="210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36" name="Ovaal 135">
              <a:extLst>
                <a:ext uri="{FF2B5EF4-FFF2-40B4-BE49-F238E27FC236}">
                  <a16:creationId xmlns:a16="http://schemas.microsoft.com/office/drawing/2014/main" id="{1597AB0A-7C93-4C42-AE97-D5AC8B7FF940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7" name="Rechthoek 136">
              <a:extLst>
                <a:ext uri="{FF2B5EF4-FFF2-40B4-BE49-F238E27FC236}">
                  <a16:creationId xmlns:a16="http://schemas.microsoft.com/office/drawing/2014/main" id="{ADCE3908-9FF0-47CD-9F76-6442D5E69568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43320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aan de linker kant van het scherm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38" name="Rechte verbindingslijn 137">
              <a:extLst>
                <a:ext uri="{FF2B5EF4-FFF2-40B4-BE49-F238E27FC236}">
                  <a16:creationId xmlns:a16="http://schemas.microsoft.com/office/drawing/2014/main" id="{217B14F2-FA89-4438-9777-A070DA3B798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39" name="Rechthoek 138">
              <a:extLst>
                <a:ext uri="{FF2B5EF4-FFF2-40B4-BE49-F238E27FC236}">
                  <a16:creationId xmlns:a16="http://schemas.microsoft.com/office/drawing/2014/main" id="{90B6B336-8BB4-4E04-8A30-873C5456AA9B}"/>
                </a:ext>
              </a:extLst>
            </p:cNvPr>
            <p:cNvSpPr/>
            <p:nvPr userDrawn="1"/>
          </p:nvSpPr>
          <p:spPr>
            <a:xfrm>
              <a:off x="12654153" y="3238910"/>
              <a:ext cx="1624926" cy="805220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3509" b="0" i="1" noProof="0">
                <a:solidFill>
                  <a:schemeClr val="tx1"/>
                </a:solidFill>
              </a:endParaRPr>
            </a:p>
          </p:txBody>
        </p:sp>
        <p:grpSp>
          <p:nvGrpSpPr>
            <p:cNvPr id="140" name="Groep 139">
              <a:extLst>
                <a:ext uri="{FF2B5EF4-FFF2-40B4-BE49-F238E27FC236}">
                  <a16:creationId xmlns:a16="http://schemas.microsoft.com/office/drawing/2014/main" id="{5A3313DA-A832-464F-B037-A7050F7D6240}"/>
                </a:ext>
              </a:extLst>
            </p:cNvPr>
            <p:cNvGrpSpPr/>
            <p:nvPr userDrawn="1"/>
          </p:nvGrpSpPr>
          <p:grpSpPr>
            <a:xfrm>
              <a:off x="13614067" y="3535184"/>
              <a:ext cx="1195438" cy="678267"/>
              <a:chOff x="12757284" y="3224292"/>
              <a:chExt cx="1195438" cy="678267"/>
            </a:xfrm>
          </p:grpSpPr>
          <p:sp>
            <p:nvSpPr>
              <p:cNvPr id="141" name="Rechthoek 140">
                <a:extLst>
                  <a:ext uri="{FF2B5EF4-FFF2-40B4-BE49-F238E27FC236}">
                    <a16:creationId xmlns:a16="http://schemas.microsoft.com/office/drawing/2014/main" id="{A1E3542D-5AE9-4E27-8C04-EA4C7162432A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2" name="Rechthoek 141">
                <a:extLst>
                  <a:ext uri="{FF2B5EF4-FFF2-40B4-BE49-F238E27FC236}">
                    <a16:creationId xmlns:a16="http://schemas.microsoft.com/office/drawing/2014/main" id="{A72F7DF5-C58D-4879-8C7F-B5CF9481B218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43" name="Groep 142">
                <a:extLst>
                  <a:ext uri="{FF2B5EF4-FFF2-40B4-BE49-F238E27FC236}">
                    <a16:creationId xmlns:a16="http://schemas.microsoft.com/office/drawing/2014/main" id="{13A570A6-9346-4889-A953-B2439A791DB0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57" name="Rechthoek: afgeronde hoeken 156">
                  <a:extLst>
                    <a:ext uri="{FF2B5EF4-FFF2-40B4-BE49-F238E27FC236}">
                      <a16:creationId xmlns:a16="http://schemas.microsoft.com/office/drawing/2014/main" id="{4993A129-673B-47CF-A74E-CA2BD8F91D82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endPara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8" name="Rechthoek 157">
                  <a:extLst>
                    <a:ext uri="{FF2B5EF4-FFF2-40B4-BE49-F238E27FC236}">
                      <a16:creationId xmlns:a16="http://schemas.microsoft.com/office/drawing/2014/main" id="{B7EAA5DA-7CFD-49FA-91D5-5038AAFFFD60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9" name="Rechthoek 158">
                  <a:extLst>
                    <a:ext uri="{FF2B5EF4-FFF2-40B4-BE49-F238E27FC236}">
                      <a16:creationId xmlns:a16="http://schemas.microsoft.com/office/drawing/2014/main" id="{BA2673FB-2F64-46BB-86D7-518DC6E6516B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0" name="Rechthoek 159">
                  <a:extLst>
                    <a:ext uri="{FF2B5EF4-FFF2-40B4-BE49-F238E27FC236}">
                      <a16:creationId xmlns:a16="http://schemas.microsoft.com/office/drawing/2014/main" id="{99FC5D7C-59CA-44AF-8546-AB239B3882D3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1" name="Rechthoek 160">
                  <a:extLst>
                    <a:ext uri="{FF2B5EF4-FFF2-40B4-BE49-F238E27FC236}">
                      <a16:creationId xmlns:a16="http://schemas.microsoft.com/office/drawing/2014/main" id="{DAA8396A-FAEC-4A1E-A848-20F43496F72B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2" name="Rechthoek 161">
                  <a:extLst>
                    <a:ext uri="{FF2B5EF4-FFF2-40B4-BE49-F238E27FC236}">
                      <a16:creationId xmlns:a16="http://schemas.microsoft.com/office/drawing/2014/main" id="{7EC26D0D-9B1F-411E-907A-F8E916079E09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44" name="Groep 143">
                <a:extLst>
                  <a:ext uri="{FF2B5EF4-FFF2-40B4-BE49-F238E27FC236}">
                    <a16:creationId xmlns:a16="http://schemas.microsoft.com/office/drawing/2014/main" id="{0C3A5C85-9087-42F8-8B29-DFFA60657E69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49" name="Groep 148">
                  <a:extLst>
                    <a:ext uri="{FF2B5EF4-FFF2-40B4-BE49-F238E27FC236}">
                      <a16:creationId xmlns:a16="http://schemas.microsoft.com/office/drawing/2014/main" id="{4EDB1857-AA39-4D2D-8DE8-EF48B83444D5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51" name="Rechthoek: afgeronde hoeken 150">
                    <a:extLst>
                      <a:ext uri="{FF2B5EF4-FFF2-40B4-BE49-F238E27FC236}">
                        <a16:creationId xmlns:a16="http://schemas.microsoft.com/office/drawing/2014/main" id="{9C8735E9-C8E5-4574-9324-84E0176BB9B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2105"/>
                      </a:spcBef>
                      <a:spcAft>
                        <a:spcPts val="2105"/>
                      </a:spcAft>
                    </a:pPr>
                    <a:endParaRPr lang="nl-NL" sz="280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52" name="Rechthoek 151">
                    <a:extLst>
                      <a:ext uri="{FF2B5EF4-FFF2-40B4-BE49-F238E27FC236}">
                        <a16:creationId xmlns:a16="http://schemas.microsoft.com/office/drawing/2014/main" id="{73C6832B-FEA3-463A-9CD1-8ADB75B7AD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53" name="Rechthoek 152">
                    <a:extLst>
                      <a:ext uri="{FF2B5EF4-FFF2-40B4-BE49-F238E27FC236}">
                        <a16:creationId xmlns:a16="http://schemas.microsoft.com/office/drawing/2014/main" id="{0A9DB9F8-7C11-4F03-8051-8501C15B57E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54" name="Rechthoek 153">
                    <a:extLst>
                      <a:ext uri="{FF2B5EF4-FFF2-40B4-BE49-F238E27FC236}">
                        <a16:creationId xmlns:a16="http://schemas.microsoft.com/office/drawing/2014/main" id="{E6FB0339-C99B-43AA-9D03-84A94950BCC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55" name="Rechthoek 154">
                    <a:extLst>
                      <a:ext uri="{FF2B5EF4-FFF2-40B4-BE49-F238E27FC236}">
                        <a16:creationId xmlns:a16="http://schemas.microsoft.com/office/drawing/2014/main" id="{2CE38CCC-473B-4D91-9B1C-6775BF0B659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56" name="Rechthoek 155">
                    <a:extLst>
                      <a:ext uri="{FF2B5EF4-FFF2-40B4-BE49-F238E27FC236}">
                        <a16:creationId xmlns:a16="http://schemas.microsoft.com/office/drawing/2014/main" id="{633BA9F4-D1A5-40B6-9D8D-074314E86371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150" name="Boog 149">
                  <a:extLst>
                    <a:ext uri="{FF2B5EF4-FFF2-40B4-BE49-F238E27FC236}">
                      <a16:creationId xmlns:a16="http://schemas.microsoft.com/office/drawing/2014/main" id="{025103BD-8A11-4D38-ADED-FBB1689F859C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</p:grpSp>
          <p:sp>
            <p:nvSpPr>
              <p:cNvPr id="146" name="Tekstvak 145">
                <a:extLst>
                  <a:ext uri="{FF2B5EF4-FFF2-40B4-BE49-F238E27FC236}">
                    <a16:creationId xmlns:a16="http://schemas.microsoft.com/office/drawing/2014/main" id="{E187F113-A1A3-4C37-B3D0-200B6FE12299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47" name="Tekstvak 146">
                <a:extLst>
                  <a:ext uri="{FF2B5EF4-FFF2-40B4-BE49-F238E27FC236}">
                    <a16:creationId xmlns:a16="http://schemas.microsoft.com/office/drawing/2014/main" id="{4A72C297-1416-48B8-AEFB-7F5B40A4E713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48" name="Picture 3">
                <a:extLst>
                  <a:ext uri="{FF2B5EF4-FFF2-40B4-BE49-F238E27FC236}">
                    <a16:creationId xmlns:a16="http://schemas.microsoft.com/office/drawing/2014/main" id="{48E9B399-5E03-4347-ABE1-9D7D02B61F5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810206" y="3671228"/>
                <a:ext cx="14251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grpSp>
        <p:nvGrpSpPr>
          <p:cNvPr id="165" name="Groep 101">
            <a:extLst>
              <a:ext uri="{FF2B5EF4-FFF2-40B4-BE49-F238E27FC236}">
                <a16:creationId xmlns:a16="http://schemas.microsoft.com/office/drawing/2014/main" id="{F9ECD4A6-0A37-49D8-843D-3894BB26030E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166" name="Rechthoek 102">
              <a:extLst>
                <a:ext uri="{FF2B5EF4-FFF2-40B4-BE49-F238E27FC236}">
                  <a16:creationId xmlns:a16="http://schemas.microsoft.com/office/drawing/2014/main" id="{B2D02ACB-A212-4F6E-A563-653CBAD8B71E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167" name="Ovaal 103">
              <a:extLst>
                <a:ext uri="{FF2B5EF4-FFF2-40B4-BE49-F238E27FC236}">
                  <a16:creationId xmlns:a16="http://schemas.microsoft.com/office/drawing/2014/main" id="{8A3D5FF1-9E86-48A4-87EE-0FC05C78E866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68" name="Rechte verbindingslijn 104">
              <a:extLst>
                <a:ext uri="{FF2B5EF4-FFF2-40B4-BE49-F238E27FC236}">
                  <a16:creationId xmlns:a16="http://schemas.microsoft.com/office/drawing/2014/main" id="{A05F631B-6768-464D-8878-71965C006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69" name="Groep 105">
              <a:extLst>
                <a:ext uri="{FF2B5EF4-FFF2-40B4-BE49-F238E27FC236}">
                  <a16:creationId xmlns:a16="http://schemas.microsoft.com/office/drawing/2014/main" id="{79D8BCBE-AB9E-479F-A514-B2DABE8BA10C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94" name="Rechthoek 130">
                <a:extLst>
                  <a:ext uri="{FF2B5EF4-FFF2-40B4-BE49-F238E27FC236}">
                    <a16:creationId xmlns:a16="http://schemas.microsoft.com/office/drawing/2014/main" id="{D783573A-B61F-4B8A-8538-B8CF83C34005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195" name="Rechte verbindingslijn 131">
                <a:extLst>
                  <a:ext uri="{FF2B5EF4-FFF2-40B4-BE49-F238E27FC236}">
                    <a16:creationId xmlns:a16="http://schemas.microsoft.com/office/drawing/2014/main" id="{4936BC54-A12C-4A5C-9411-64347F211F5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" name="Rechte verbindingslijn 132">
                <a:extLst>
                  <a:ext uri="{FF2B5EF4-FFF2-40B4-BE49-F238E27FC236}">
                    <a16:creationId xmlns:a16="http://schemas.microsoft.com/office/drawing/2014/main" id="{C7B2E183-2334-459F-8280-8541C808371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7" name="Rechthoek 133">
                <a:extLst>
                  <a:ext uri="{FF2B5EF4-FFF2-40B4-BE49-F238E27FC236}">
                    <a16:creationId xmlns:a16="http://schemas.microsoft.com/office/drawing/2014/main" id="{892F2A31-82E1-4223-896D-69850D53646B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98" name="Groep 134">
                <a:extLst>
                  <a:ext uri="{FF2B5EF4-FFF2-40B4-BE49-F238E27FC236}">
                    <a16:creationId xmlns:a16="http://schemas.microsoft.com/office/drawing/2014/main" id="{E2E6CF8F-D1EC-44A2-AA6D-804297A5A047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47" name="Groep 175">
                  <a:extLst>
                    <a:ext uri="{FF2B5EF4-FFF2-40B4-BE49-F238E27FC236}">
                      <a16:creationId xmlns:a16="http://schemas.microsoft.com/office/drawing/2014/main" id="{EDB62064-463D-4FBD-AAED-E6920D8EFB71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51" name="Rechte verbindingslijn 179">
                    <a:extLst>
                      <a:ext uri="{FF2B5EF4-FFF2-40B4-BE49-F238E27FC236}">
                        <a16:creationId xmlns:a16="http://schemas.microsoft.com/office/drawing/2014/main" id="{4E189D6E-E3F9-40B7-87E8-EA4A6589F98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2" name="Rechte verbindingslijn 180">
                    <a:extLst>
                      <a:ext uri="{FF2B5EF4-FFF2-40B4-BE49-F238E27FC236}">
                        <a16:creationId xmlns:a16="http://schemas.microsoft.com/office/drawing/2014/main" id="{1393A148-7A0F-4C9F-8114-F0AB8DA31C0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3" name="Rechte verbindingslijn 181">
                    <a:extLst>
                      <a:ext uri="{FF2B5EF4-FFF2-40B4-BE49-F238E27FC236}">
                        <a16:creationId xmlns:a16="http://schemas.microsoft.com/office/drawing/2014/main" id="{67049322-2BDA-4D74-9490-4FC311CBAB8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4" name="Rechte verbindingslijn 182">
                    <a:extLst>
                      <a:ext uri="{FF2B5EF4-FFF2-40B4-BE49-F238E27FC236}">
                        <a16:creationId xmlns:a16="http://schemas.microsoft.com/office/drawing/2014/main" id="{23C9BB9A-2FF1-42CD-A72A-F1C73FEE16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5" name="Rechte verbindingslijn 183">
                    <a:extLst>
                      <a:ext uri="{FF2B5EF4-FFF2-40B4-BE49-F238E27FC236}">
                        <a16:creationId xmlns:a16="http://schemas.microsoft.com/office/drawing/2014/main" id="{BF77AA8E-7F2E-47D2-AB88-E6E70CEAD4F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8" name="Groep 176">
                  <a:extLst>
                    <a:ext uri="{FF2B5EF4-FFF2-40B4-BE49-F238E27FC236}">
                      <a16:creationId xmlns:a16="http://schemas.microsoft.com/office/drawing/2014/main" id="{2BF2DFEC-86D0-4F65-9C44-07BB096C670B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49" name="Rechthoek 177">
                    <a:extLst>
                      <a:ext uri="{FF2B5EF4-FFF2-40B4-BE49-F238E27FC236}">
                        <a16:creationId xmlns:a16="http://schemas.microsoft.com/office/drawing/2014/main" id="{7B3472E2-0C32-494A-AC9A-3B8866F7F38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50" name="Pijl: punthaak 178">
                    <a:extLst>
                      <a:ext uri="{FF2B5EF4-FFF2-40B4-BE49-F238E27FC236}">
                        <a16:creationId xmlns:a16="http://schemas.microsoft.com/office/drawing/2014/main" id="{0947D013-7E6D-4145-9F37-5C01EA64170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99" name="Groep 135">
                <a:extLst>
                  <a:ext uri="{FF2B5EF4-FFF2-40B4-BE49-F238E27FC236}">
                    <a16:creationId xmlns:a16="http://schemas.microsoft.com/office/drawing/2014/main" id="{4B015EFC-BE7D-4100-A6C9-0D7EC060FAD5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38" name="Groep 166">
                  <a:extLst>
                    <a:ext uri="{FF2B5EF4-FFF2-40B4-BE49-F238E27FC236}">
                      <a16:creationId xmlns:a16="http://schemas.microsoft.com/office/drawing/2014/main" id="{B460E8E7-7BD8-4217-BC2B-8DF5F2DD1828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42" name="Rechte verbindingslijn 170">
                    <a:extLst>
                      <a:ext uri="{FF2B5EF4-FFF2-40B4-BE49-F238E27FC236}">
                        <a16:creationId xmlns:a16="http://schemas.microsoft.com/office/drawing/2014/main" id="{B6A575FA-39B7-47D6-A93C-B44AAE05CF8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3" name="Rechte verbindingslijn 171">
                    <a:extLst>
                      <a:ext uri="{FF2B5EF4-FFF2-40B4-BE49-F238E27FC236}">
                        <a16:creationId xmlns:a16="http://schemas.microsoft.com/office/drawing/2014/main" id="{D20DF913-3213-41B3-926A-7D0ADD54EC0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4" name="Rechte verbindingslijn 172">
                    <a:extLst>
                      <a:ext uri="{FF2B5EF4-FFF2-40B4-BE49-F238E27FC236}">
                        <a16:creationId xmlns:a16="http://schemas.microsoft.com/office/drawing/2014/main" id="{4F50A8F7-AC55-4661-8111-D4417F7BE52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5" name="Rechte verbindingslijn 173">
                    <a:extLst>
                      <a:ext uri="{FF2B5EF4-FFF2-40B4-BE49-F238E27FC236}">
                        <a16:creationId xmlns:a16="http://schemas.microsoft.com/office/drawing/2014/main" id="{D284C25D-9D83-4D16-B35F-3513589AE53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6" name="Rechte verbindingslijn 174">
                    <a:extLst>
                      <a:ext uri="{FF2B5EF4-FFF2-40B4-BE49-F238E27FC236}">
                        <a16:creationId xmlns:a16="http://schemas.microsoft.com/office/drawing/2014/main" id="{DF2F0267-6346-4788-AA9A-F0B5D4919D0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39" name="Groep 167">
                  <a:extLst>
                    <a:ext uri="{FF2B5EF4-FFF2-40B4-BE49-F238E27FC236}">
                      <a16:creationId xmlns:a16="http://schemas.microsoft.com/office/drawing/2014/main" id="{1FA6F108-F8CF-4EE3-9FAC-A76D74192E05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40" name="Rechthoek 168">
                    <a:extLst>
                      <a:ext uri="{FF2B5EF4-FFF2-40B4-BE49-F238E27FC236}">
                        <a16:creationId xmlns:a16="http://schemas.microsoft.com/office/drawing/2014/main" id="{0CA52176-B5A0-4673-AC71-7A1AE9D4EC1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41" name="Pijl: punthaak 169">
                    <a:extLst>
                      <a:ext uri="{FF2B5EF4-FFF2-40B4-BE49-F238E27FC236}">
                        <a16:creationId xmlns:a16="http://schemas.microsoft.com/office/drawing/2014/main" id="{F9A7E74D-27FB-4685-B7F0-D613D106CAB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00" name="Rechte verbindingslijn 136">
                <a:extLst>
                  <a:ext uri="{FF2B5EF4-FFF2-40B4-BE49-F238E27FC236}">
                    <a16:creationId xmlns:a16="http://schemas.microsoft.com/office/drawing/2014/main" id="{713CBDBF-45E9-4129-A785-86AD5B6DDFF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01" name="Rechte verbindingslijn 137">
                <a:extLst>
                  <a:ext uri="{FF2B5EF4-FFF2-40B4-BE49-F238E27FC236}">
                    <a16:creationId xmlns:a16="http://schemas.microsoft.com/office/drawing/2014/main" id="{76AAA43F-76E2-4B0E-839C-A6BA79CED9D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02" name="Groep 138">
                <a:extLst>
                  <a:ext uri="{FF2B5EF4-FFF2-40B4-BE49-F238E27FC236}">
                    <a16:creationId xmlns:a16="http://schemas.microsoft.com/office/drawing/2014/main" id="{7E731776-22DD-40CE-851F-3F18853D3252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27" name="Rechthoek 155">
                  <a:extLst>
                    <a:ext uri="{FF2B5EF4-FFF2-40B4-BE49-F238E27FC236}">
                      <a16:creationId xmlns:a16="http://schemas.microsoft.com/office/drawing/2014/main" id="{E16CAED0-DF5E-4BD1-9A1D-66D6CC44E213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28" name="Groep 156">
                  <a:extLst>
                    <a:ext uri="{FF2B5EF4-FFF2-40B4-BE49-F238E27FC236}">
                      <a16:creationId xmlns:a16="http://schemas.microsoft.com/office/drawing/2014/main" id="{FE14CFB6-2DDD-4B95-BC61-09515188F297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29" name="Groep 157">
                    <a:extLst>
                      <a:ext uri="{FF2B5EF4-FFF2-40B4-BE49-F238E27FC236}">
                        <a16:creationId xmlns:a16="http://schemas.microsoft.com/office/drawing/2014/main" id="{18E5EFD2-6935-49D4-AB32-70D6C3B1D8F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33" name="Rechte verbindingslijn 161">
                      <a:extLst>
                        <a:ext uri="{FF2B5EF4-FFF2-40B4-BE49-F238E27FC236}">
                          <a16:creationId xmlns:a16="http://schemas.microsoft.com/office/drawing/2014/main" id="{FFFEE55F-C0B9-4408-AAB2-DB777FBBEED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4" name="Rechte verbindingslijn 162">
                      <a:extLst>
                        <a:ext uri="{FF2B5EF4-FFF2-40B4-BE49-F238E27FC236}">
                          <a16:creationId xmlns:a16="http://schemas.microsoft.com/office/drawing/2014/main" id="{20C8E876-1B9F-4526-9F83-2C7C2041F65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5" name="Rechte verbindingslijn 163">
                      <a:extLst>
                        <a:ext uri="{FF2B5EF4-FFF2-40B4-BE49-F238E27FC236}">
                          <a16:creationId xmlns:a16="http://schemas.microsoft.com/office/drawing/2014/main" id="{72F2E03A-F42B-4A2D-9F8A-BA674206C7C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6" name="Rechte verbindingslijn 164">
                      <a:extLst>
                        <a:ext uri="{FF2B5EF4-FFF2-40B4-BE49-F238E27FC236}">
                          <a16:creationId xmlns:a16="http://schemas.microsoft.com/office/drawing/2014/main" id="{7B8E03BF-F579-4F2B-8B86-4F31A93E37C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7" name="Rechte verbindingslijn 165">
                      <a:extLst>
                        <a:ext uri="{FF2B5EF4-FFF2-40B4-BE49-F238E27FC236}">
                          <a16:creationId xmlns:a16="http://schemas.microsoft.com/office/drawing/2014/main" id="{37C60834-E219-4E53-8C67-CA5D5DB8A9C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30" name="Groep 158">
                    <a:extLst>
                      <a:ext uri="{FF2B5EF4-FFF2-40B4-BE49-F238E27FC236}">
                        <a16:creationId xmlns:a16="http://schemas.microsoft.com/office/drawing/2014/main" id="{818F9B71-2356-4863-A90F-068189AF64F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31" name="Rechthoek 159">
                      <a:extLst>
                        <a:ext uri="{FF2B5EF4-FFF2-40B4-BE49-F238E27FC236}">
                          <a16:creationId xmlns:a16="http://schemas.microsoft.com/office/drawing/2014/main" id="{1395A027-B603-4896-8FCB-8CE1DFABDBD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32" name="Pijl: punthaak 160">
                      <a:extLst>
                        <a:ext uri="{FF2B5EF4-FFF2-40B4-BE49-F238E27FC236}">
                          <a16:creationId xmlns:a16="http://schemas.microsoft.com/office/drawing/2014/main" id="{A69781C0-C5B8-4008-BBBF-0CAE4628934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03" name="Groep 139">
                <a:extLst>
                  <a:ext uri="{FF2B5EF4-FFF2-40B4-BE49-F238E27FC236}">
                    <a16:creationId xmlns:a16="http://schemas.microsoft.com/office/drawing/2014/main" id="{0FC94D04-F1D1-4E55-8B53-8B6D40C1DACA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06" name="Rechthoek 142">
                  <a:extLst>
                    <a:ext uri="{FF2B5EF4-FFF2-40B4-BE49-F238E27FC236}">
                      <a16:creationId xmlns:a16="http://schemas.microsoft.com/office/drawing/2014/main" id="{B94CF787-2424-4D81-A0D8-420FB067D4A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7" name="Groep 143">
                  <a:extLst>
                    <a:ext uri="{FF2B5EF4-FFF2-40B4-BE49-F238E27FC236}">
                      <a16:creationId xmlns:a16="http://schemas.microsoft.com/office/drawing/2014/main" id="{A0ACBC95-770F-44DE-9695-A08696634646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08" name="Groep 144">
                    <a:extLst>
                      <a:ext uri="{FF2B5EF4-FFF2-40B4-BE49-F238E27FC236}">
                        <a16:creationId xmlns:a16="http://schemas.microsoft.com/office/drawing/2014/main" id="{5D591872-8042-49D1-9DDE-8AA8155C867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22" name="Rechte verbindingslijn 150">
                      <a:extLst>
                        <a:ext uri="{FF2B5EF4-FFF2-40B4-BE49-F238E27FC236}">
                          <a16:creationId xmlns:a16="http://schemas.microsoft.com/office/drawing/2014/main" id="{8067C99C-E11F-4FB7-97E3-616F878F8DE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3" name="Rechte verbindingslijn 151">
                      <a:extLst>
                        <a:ext uri="{FF2B5EF4-FFF2-40B4-BE49-F238E27FC236}">
                          <a16:creationId xmlns:a16="http://schemas.microsoft.com/office/drawing/2014/main" id="{05345F06-0ABB-43ED-A295-465D650E7BC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4" name="Rechte verbindingslijn 152">
                      <a:extLst>
                        <a:ext uri="{FF2B5EF4-FFF2-40B4-BE49-F238E27FC236}">
                          <a16:creationId xmlns:a16="http://schemas.microsoft.com/office/drawing/2014/main" id="{59BE8C5C-2DFD-48EB-B0E0-D0963C6FD8A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5" name="Rechte verbindingslijn 153">
                      <a:extLst>
                        <a:ext uri="{FF2B5EF4-FFF2-40B4-BE49-F238E27FC236}">
                          <a16:creationId xmlns:a16="http://schemas.microsoft.com/office/drawing/2014/main" id="{9414D88F-8EED-4A19-8CFC-FF3C7D91381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6" name="Rechte verbindingslijn 154">
                      <a:extLst>
                        <a:ext uri="{FF2B5EF4-FFF2-40B4-BE49-F238E27FC236}">
                          <a16:creationId xmlns:a16="http://schemas.microsoft.com/office/drawing/2014/main" id="{1DC76651-C7EA-4FDD-98CF-6C643D089C6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9" name="Groep 147">
                    <a:extLst>
                      <a:ext uri="{FF2B5EF4-FFF2-40B4-BE49-F238E27FC236}">
                        <a16:creationId xmlns:a16="http://schemas.microsoft.com/office/drawing/2014/main" id="{AE9B4F12-C1E7-4F81-8684-1F7927F72E99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20" name="Rechthoek 148">
                      <a:extLst>
                        <a:ext uri="{FF2B5EF4-FFF2-40B4-BE49-F238E27FC236}">
                          <a16:creationId xmlns:a16="http://schemas.microsoft.com/office/drawing/2014/main" id="{E881A11D-B889-4E04-A903-A3D076C4377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21" name="Pijl: punthaak 149">
                      <a:extLst>
                        <a:ext uri="{FF2B5EF4-FFF2-40B4-BE49-F238E27FC236}">
                          <a16:creationId xmlns:a16="http://schemas.microsoft.com/office/drawing/2014/main" id="{D63CDC6C-A0F0-4D4D-8AD9-CAAADD75EA00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04" name="Rechthoek 140">
                <a:extLst>
                  <a:ext uri="{FF2B5EF4-FFF2-40B4-BE49-F238E27FC236}">
                    <a16:creationId xmlns:a16="http://schemas.microsoft.com/office/drawing/2014/main" id="{D3F533FE-5BC6-4A62-8E18-FCECACD7525D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205" name="Rechthoek 141">
                <a:extLst>
                  <a:ext uri="{FF2B5EF4-FFF2-40B4-BE49-F238E27FC236}">
                    <a16:creationId xmlns:a16="http://schemas.microsoft.com/office/drawing/2014/main" id="{FCE37D86-E777-4454-8248-657B3403A8EA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170" name="Rechte verbindingslijn 106">
              <a:extLst>
                <a:ext uri="{FF2B5EF4-FFF2-40B4-BE49-F238E27FC236}">
                  <a16:creationId xmlns:a16="http://schemas.microsoft.com/office/drawing/2014/main" id="{E90C6994-8D4A-4ED7-AC25-D300093DE51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1" name="Rechthoek 107">
              <a:extLst>
                <a:ext uri="{FF2B5EF4-FFF2-40B4-BE49-F238E27FC236}">
                  <a16:creationId xmlns:a16="http://schemas.microsoft.com/office/drawing/2014/main" id="{58B9825E-BE05-4DC1-9C5B-9B15E154A93A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172" name="Ovaal 108">
              <a:extLst>
                <a:ext uri="{FF2B5EF4-FFF2-40B4-BE49-F238E27FC236}">
                  <a16:creationId xmlns:a16="http://schemas.microsoft.com/office/drawing/2014/main" id="{76CD06BD-D823-4A1C-9FE3-7A41FE1B1139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3" name="Rechthoek 109">
              <a:extLst>
                <a:ext uri="{FF2B5EF4-FFF2-40B4-BE49-F238E27FC236}">
                  <a16:creationId xmlns:a16="http://schemas.microsoft.com/office/drawing/2014/main" id="{71D3578A-E167-4CD9-85B5-4DAC4B510263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174" name="Ovaal 110">
              <a:extLst>
                <a:ext uri="{FF2B5EF4-FFF2-40B4-BE49-F238E27FC236}">
                  <a16:creationId xmlns:a16="http://schemas.microsoft.com/office/drawing/2014/main" id="{6BA67B2A-E067-4065-86BB-796AEB404E16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5" name="Rechthoek 111">
              <a:extLst>
                <a:ext uri="{FF2B5EF4-FFF2-40B4-BE49-F238E27FC236}">
                  <a16:creationId xmlns:a16="http://schemas.microsoft.com/office/drawing/2014/main" id="{AE163EBF-1964-4AF6-8483-E7770AE4F22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76" name="Ovaal 112">
              <a:extLst>
                <a:ext uri="{FF2B5EF4-FFF2-40B4-BE49-F238E27FC236}">
                  <a16:creationId xmlns:a16="http://schemas.microsoft.com/office/drawing/2014/main" id="{76007322-A747-43E9-A7ED-9C65C4EC6F30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7" name="Rechthoek 113">
              <a:extLst>
                <a:ext uri="{FF2B5EF4-FFF2-40B4-BE49-F238E27FC236}">
                  <a16:creationId xmlns:a16="http://schemas.microsoft.com/office/drawing/2014/main" id="{80912AC0-4017-401F-9F31-622F1C5FCD2C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178" name="Ovaal 114">
              <a:extLst>
                <a:ext uri="{FF2B5EF4-FFF2-40B4-BE49-F238E27FC236}">
                  <a16:creationId xmlns:a16="http://schemas.microsoft.com/office/drawing/2014/main" id="{7CC4F57D-1F48-4949-9CD9-1844FEB9E4D8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79" name="Rechthoek 115">
              <a:extLst>
                <a:ext uri="{FF2B5EF4-FFF2-40B4-BE49-F238E27FC236}">
                  <a16:creationId xmlns:a16="http://schemas.microsoft.com/office/drawing/2014/main" id="{37398F1F-65D5-4DE5-9182-137DA58F37FD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180" name="Rechte verbindingslijn 116">
              <a:extLst>
                <a:ext uri="{FF2B5EF4-FFF2-40B4-BE49-F238E27FC236}">
                  <a16:creationId xmlns:a16="http://schemas.microsoft.com/office/drawing/2014/main" id="{93C13042-F204-42A8-8A50-483B70D3ED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81" name="Meer informatie">
              <a:extLst>
                <a:ext uri="{FF2B5EF4-FFF2-40B4-BE49-F238E27FC236}">
                  <a16:creationId xmlns:a16="http://schemas.microsoft.com/office/drawing/2014/main" id="{22FD3E15-36BB-4C15-9B26-D30B2D57D5FA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191" name="Freeform 101">
                <a:extLst>
                  <a:ext uri="{FF2B5EF4-FFF2-40B4-BE49-F238E27FC236}">
                    <a16:creationId xmlns:a16="http://schemas.microsoft.com/office/drawing/2014/main" id="{2569138D-D439-480C-970E-35329EF4A63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192" name="Rechthoek 128">
                <a:extLst>
                  <a:ext uri="{FF2B5EF4-FFF2-40B4-BE49-F238E27FC236}">
                    <a16:creationId xmlns:a16="http://schemas.microsoft.com/office/drawing/2014/main" id="{13443DFE-622F-433D-90BD-52E7CE88569C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93" name="Rechte verbindingslijn 129">
                <a:extLst>
                  <a:ext uri="{FF2B5EF4-FFF2-40B4-BE49-F238E27FC236}">
                    <a16:creationId xmlns:a16="http://schemas.microsoft.com/office/drawing/2014/main" id="{1001C1F7-B8E2-4542-9441-F96D9E2E2FA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82" name="Rechthoek 118">
              <a:extLst>
                <a:ext uri="{FF2B5EF4-FFF2-40B4-BE49-F238E27FC236}">
                  <a16:creationId xmlns:a16="http://schemas.microsoft.com/office/drawing/2014/main" id="{46EF52B7-1D82-4475-9BAC-C53939CE631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183" name="Ovaal 119">
              <a:extLst>
                <a:ext uri="{FF2B5EF4-FFF2-40B4-BE49-F238E27FC236}">
                  <a16:creationId xmlns:a16="http://schemas.microsoft.com/office/drawing/2014/main" id="{8C34CEE4-E64D-4B27-B4FF-772874297C0E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84" name="Rechthoek 120">
              <a:extLst>
                <a:ext uri="{FF2B5EF4-FFF2-40B4-BE49-F238E27FC236}">
                  <a16:creationId xmlns:a16="http://schemas.microsoft.com/office/drawing/2014/main" id="{A534DAF2-1F48-4E70-AC05-CCC727FE659E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85" name="Ovaal 121">
              <a:extLst>
                <a:ext uri="{FF2B5EF4-FFF2-40B4-BE49-F238E27FC236}">
                  <a16:creationId xmlns:a16="http://schemas.microsoft.com/office/drawing/2014/main" id="{34F45EA7-0894-41A9-8919-EF78D6E6824C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86" name="Rechthoek 122">
              <a:extLst>
                <a:ext uri="{FF2B5EF4-FFF2-40B4-BE49-F238E27FC236}">
                  <a16:creationId xmlns:a16="http://schemas.microsoft.com/office/drawing/2014/main" id="{AC5E3F93-F66D-4811-A9B9-4B5886154DC5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187" name="Ovaal 123">
              <a:extLst>
                <a:ext uri="{FF2B5EF4-FFF2-40B4-BE49-F238E27FC236}">
                  <a16:creationId xmlns:a16="http://schemas.microsoft.com/office/drawing/2014/main" id="{77DA8BF5-F680-4404-9EC0-48A5535767B7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88" name="Rechthoek 124">
              <a:extLst>
                <a:ext uri="{FF2B5EF4-FFF2-40B4-BE49-F238E27FC236}">
                  <a16:creationId xmlns:a16="http://schemas.microsoft.com/office/drawing/2014/main" id="{39A67F82-7300-4A42-8870-ADC3D52590ED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89" name="Rechthoek 125">
              <a:extLst>
                <a:ext uri="{FF2B5EF4-FFF2-40B4-BE49-F238E27FC236}">
                  <a16:creationId xmlns:a16="http://schemas.microsoft.com/office/drawing/2014/main" id="{8FF48D29-3354-40D7-99B1-18635C83E12A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190" name="Ovaal 126">
              <a:extLst>
                <a:ext uri="{FF2B5EF4-FFF2-40B4-BE49-F238E27FC236}">
                  <a16:creationId xmlns:a16="http://schemas.microsoft.com/office/drawing/2014/main" id="{61338291-80D6-4B7E-B592-61ECE966A928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  <p:sp>
        <p:nvSpPr>
          <p:cNvPr id="256" name="Tijdelijke aanduiding voor tekst 3">
            <a:extLst>
              <a:ext uri="{FF2B5EF4-FFF2-40B4-BE49-F238E27FC236}">
                <a16:creationId xmlns:a16="http://schemas.microsoft.com/office/drawing/2014/main" id="{3CE98F57-4E31-4AA0-A992-55245B424F3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504415" y="1449454"/>
            <a:ext cx="6635238" cy="3534585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51"/>
            </a:lvl1pPr>
          </a:lstStyle>
          <a:p>
            <a:pPr lvl="0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41509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6" presetClass="emp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4250" fill="hold"/>
                                        <p:tgtEl>
                                          <p:spTgt spid="10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4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5" grpId="0" uiExpand="1" build="p">
        <p:tmplLst>
          <p:tmpl lvl="1">
            <p:tnLst>
              <p:par>
                <p:cTn presetID="2" presetClass="entr" presetSubtype="8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2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3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4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5">
            <p:tnLst>
              <p:par>
                <p:cTn presetID="2" presetClass="entr" presetSubtype="2" decel="100000" fill="hold" nodeType="withEffect" nodePh="1">
                  <p:stCondLst>
                    <p:cond delay="5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ofdstu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jdelijke aanduiding voor afbeelding 17">
            <a:extLst>
              <a:ext uri="{FF2B5EF4-FFF2-40B4-BE49-F238E27FC236}">
                <a16:creationId xmlns:a16="http://schemas.microsoft.com/office/drawing/2014/main" id="{FCE83ED8-1632-45C0-9776-66D7AE22C04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" y="-31537"/>
            <a:ext cx="29224288" cy="3030675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1116000" anchor="ctr">
            <a:noAutofit/>
          </a:bodyPr>
          <a:lstStyle>
            <a:lvl1pPr marL="801872" indent="-801872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801872" lvl="0" indent="-801872" algn="ctr"/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6" name="Tijdelijke aanduiding voor verticale tekst 2">
            <a:extLst>
              <a:ext uri="{FF2B5EF4-FFF2-40B4-BE49-F238E27FC236}">
                <a16:creationId xmlns:a16="http://schemas.microsoft.com/office/drawing/2014/main" id="{5A35BD7A-B3CF-4DC4-9F54-201CE6D20B37}"/>
              </a:ext>
            </a:extLst>
          </p:cNvPr>
          <p:cNvSpPr>
            <a:spLocks noGrp="1"/>
          </p:cNvSpPr>
          <p:nvPr>
            <p:ph type="body" orient="vert" idx="27" hasCustomPrompt="1"/>
          </p:nvPr>
        </p:nvSpPr>
        <p:spPr>
          <a:xfrm>
            <a:off x="31332216" y="18091585"/>
            <a:ext cx="8494785" cy="5513364"/>
          </a:xfrm>
        </p:spPr>
        <p:txBody>
          <a:bodyPr vert="horz" anchor="t"/>
          <a:lstStyle>
            <a:lvl1pPr marL="0" indent="0" algn="r">
              <a:buFontTx/>
              <a:buNone/>
              <a:defRPr sz="5612" b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  <a:lvl6pPr marL="0" indent="0" algn="r">
              <a:buFontTx/>
              <a:buNone/>
              <a:defRPr>
                <a:latin typeface="+mj-lt"/>
              </a:defRPr>
            </a:lvl6pPr>
          </a:lstStyle>
          <a:p>
            <a:pPr lvl="0"/>
            <a:r>
              <a:rPr lang="nl-NL" noProof="0"/>
              <a:t>Platte tekst</a:t>
            </a:r>
          </a:p>
        </p:txBody>
      </p:sp>
      <p:sp>
        <p:nvSpPr>
          <p:cNvPr id="30" name="Tijdelijke aanduiding voor voettekst 4">
            <a:extLst>
              <a:ext uri="{FF2B5EF4-FFF2-40B4-BE49-F238E27FC236}">
                <a16:creationId xmlns:a16="http://schemas.microsoft.com/office/drawing/2014/main" id="{88E1252C-995D-4324-9AF2-1F90A93410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22298DC-FFF2-4203-A156-2D5C52D8F1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8"/>
            <a:ext cx="707315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6" name="Tijdelijke aanduiding voor verticale tekst 2">
            <a:extLst>
              <a:ext uri="{FF2B5EF4-FFF2-40B4-BE49-F238E27FC236}">
                <a16:creationId xmlns:a16="http://schemas.microsoft.com/office/drawing/2014/main" id="{0C2BFF95-BE2F-4339-9C65-620ECC5A9CA8}"/>
              </a:ext>
            </a:extLst>
          </p:cNvPr>
          <p:cNvSpPr>
            <a:spLocks noGrp="1"/>
          </p:cNvSpPr>
          <p:nvPr>
            <p:ph type="body" orient="vert" idx="29" hasCustomPrompt="1"/>
          </p:nvPr>
        </p:nvSpPr>
        <p:spPr>
          <a:xfrm>
            <a:off x="31332216" y="12578224"/>
            <a:ext cx="8494785" cy="5513364"/>
          </a:xfrm>
        </p:spPr>
        <p:txBody>
          <a:bodyPr vert="horz" anchor="b"/>
          <a:lstStyle>
            <a:lvl1pPr marL="0" indent="0" algn="r">
              <a:lnSpc>
                <a:spcPct val="100000"/>
              </a:lnSpc>
              <a:buFontTx/>
              <a:buNone/>
              <a:defRPr sz="16838" b="0" baseline="0">
                <a:solidFill>
                  <a:schemeClr val="tx2"/>
                </a:solidFill>
                <a:latin typeface="+mj-lt"/>
              </a:defRPr>
            </a:lvl1pPr>
            <a:lvl2pPr algn="r">
              <a:lnSpc>
                <a:spcPct val="100000"/>
              </a:lnSpc>
              <a:defRPr>
                <a:latin typeface="+mj-lt"/>
              </a:defRPr>
            </a:lvl2pPr>
            <a:lvl3pPr algn="r">
              <a:lnSpc>
                <a:spcPct val="100000"/>
              </a:lnSpc>
              <a:defRPr>
                <a:latin typeface="+mj-lt"/>
              </a:defRPr>
            </a:lvl3pPr>
            <a:lvl4pPr algn="r">
              <a:lnSpc>
                <a:spcPct val="100000"/>
              </a:lnSpc>
              <a:defRPr sz="16838">
                <a:solidFill>
                  <a:schemeClr val="tx2"/>
                </a:solidFill>
                <a:latin typeface="+mj-lt"/>
              </a:defRPr>
            </a:lvl4pPr>
            <a:lvl5pPr algn="r">
              <a:lnSpc>
                <a:spcPct val="100000"/>
              </a:lnSpc>
              <a:defRPr>
                <a:latin typeface="+mj-lt"/>
              </a:defRPr>
            </a:lvl5pPr>
          </a:lstStyle>
          <a:p>
            <a:pPr lvl="0"/>
            <a:r>
              <a:rPr lang="nl-NL" noProof="0"/>
              <a:t>Typ titel</a:t>
            </a:r>
          </a:p>
        </p:txBody>
      </p:sp>
      <p:sp>
        <p:nvSpPr>
          <p:cNvPr id="28" name="Tijdelijke aanduiding voor tekst 2">
            <a:extLst>
              <a:ext uri="{FF2B5EF4-FFF2-40B4-BE49-F238E27FC236}">
                <a16:creationId xmlns:a16="http://schemas.microsoft.com/office/drawing/2014/main" id="{96BEB92E-F202-471F-B7E9-FE333D4C057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399513" y="17837431"/>
            <a:ext cx="15877931" cy="8554531"/>
          </a:xfrm>
          <a:custGeom>
            <a:avLst/>
            <a:gdLst>
              <a:gd name="connsiteX0" fmla="*/ 0 w 4524067"/>
              <a:gd name="connsiteY0" fmla="*/ 42969 h 1602140"/>
              <a:gd name="connsiteX1" fmla="*/ 42969 w 4524067"/>
              <a:gd name="connsiteY1" fmla="*/ 0 h 1602140"/>
              <a:gd name="connsiteX2" fmla="*/ 4481098 w 4524067"/>
              <a:gd name="connsiteY2" fmla="*/ 0 h 1602140"/>
              <a:gd name="connsiteX3" fmla="*/ 4524067 w 4524067"/>
              <a:gd name="connsiteY3" fmla="*/ 42969 h 1602140"/>
              <a:gd name="connsiteX4" fmla="*/ 4524067 w 4524067"/>
              <a:gd name="connsiteY4" fmla="*/ 1559171 h 1602140"/>
              <a:gd name="connsiteX5" fmla="*/ 4481098 w 4524067"/>
              <a:gd name="connsiteY5" fmla="*/ 1602140 h 1602140"/>
              <a:gd name="connsiteX6" fmla="*/ 42969 w 4524067"/>
              <a:gd name="connsiteY6" fmla="*/ 1602140 h 1602140"/>
              <a:gd name="connsiteX7" fmla="*/ 0 w 4524067"/>
              <a:gd name="connsiteY7" fmla="*/ 1559171 h 1602140"/>
              <a:gd name="connsiteX8" fmla="*/ 0 w 4524067"/>
              <a:gd name="connsiteY8" fmla="*/ 42969 h 1602140"/>
              <a:gd name="connsiteX0" fmla="*/ 0 w 4524067"/>
              <a:gd name="connsiteY0" fmla="*/ 43141 h 1602312"/>
              <a:gd name="connsiteX1" fmla="*/ 42969 w 4524067"/>
              <a:gd name="connsiteY1" fmla="*/ 172 h 1602312"/>
              <a:gd name="connsiteX2" fmla="*/ 4136478 w 4524067"/>
              <a:gd name="connsiteY2" fmla="*/ 0 h 1602312"/>
              <a:gd name="connsiteX3" fmla="*/ 4481098 w 4524067"/>
              <a:gd name="connsiteY3" fmla="*/ 172 h 1602312"/>
              <a:gd name="connsiteX4" fmla="*/ 4524067 w 4524067"/>
              <a:gd name="connsiteY4" fmla="*/ 43141 h 1602312"/>
              <a:gd name="connsiteX5" fmla="*/ 4524067 w 4524067"/>
              <a:gd name="connsiteY5" fmla="*/ 1559343 h 1602312"/>
              <a:gd name="connsiteX6" fmla="*/ 4481098 w 4524067"/>
              <a:gd name="connsiteY6" fmla="*/ 1602312 h 1602312"/>
              <a:gd name="connsiteX7" fmla="*/ 42969 w 4524067"/>
              <a:gd name="connsiteY7" fmla="*/ 1602312 h 1602312"/>
              <a:gd name="connsiteX8" fmla="*/ 0 w 4524067"/>
              <a:gd name="connsiteY8" fmla="*/ 1559343 h 1602312"/>
              <a:gd name="connsiteX9" fmla="*/ 0 w 4524067"/>
              <a:gd name="connsiteY9" fmla="*/ 43141 h 1602312"/>
              <a:gd name="connsiteX0" fmla="*/ 0 w 4524067"/>
              <a:gd name="connsiteY0" fmla="*/ 43141 h 1602312"/>
              <a:gd name="connsiteX1" fmla="*/ 42969 w 4524067"/>
              <a:gd name="connsiteY1" fmla="*/ 172 h 1602312"/>
              <a:gd name="connsiteX2" fmla="*/ 4136478 w 4524067"/>
              <a:gd name="connsiteY2" fmla="*/ 0 h 1602312"/>
              <a:gd name="connsiteX3" fmla="*/ 4524067 w 4524067"/>
              <a:gd name="connsiteY3" fmla="*/ 43141 h 1602312"/>
              <a:gd name="connsiteX4" fmla="*/ 4524067 w 4524067"/>
              <a:gd name="connsiteY4" fmla="*/ 1559343 h 1602312"/>
              <a:gd name="connsiteX5" fmla="*/ 4481098 w 4524067"/>
              <a:gd name="connsiteY5" fmla="*/ 1602312 h 1602312"/>
              <a:gd name="connsiteX6" fmla="*/ 42969 w 4524067"/>
              <a:gd name="connsiteY6" fmla="*/ 1602312 h 1602312"/>
              <a:gd name="connsiteX7" fmla="*/ 0 w 4524067"/>
              <a:gd name="connsiteY7" fmla="*/ 1559343 h 1602312"/>
              <a:gd name="connsiteX8" fmla="*/ 0 w 4524067"/>
              <a:gd name="connsiteY8" fmla="*/ 43141 h 1602312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680"/>
              <a:gd name="connsiteY0" fmla="*/ 376237 h 1935408"/>
              <a:gd name="connsiteX1" fmla="*/ 42969 w 4526680"/>
              <a:gd name="connsiteY1" fmla="*/ 333268 h 1935408"/>
              <a:gd name="connsiteX2" fmla="*/ 4136478 w 4526680"/>
              <a:gd name="connsiteY2" fmla="*/ 333096 h 1935408"/>
              <a:gd name="connsiteX3" fmla="*/ 4526448 w 4526680"/>
              <a:gd name="connsiteY3" fmla="*/ 0 h 1935408"/>
              <a:gd name="connsiteX4" fmla="*/ 4524067 w 4526680"/>
              <a:gd name="connsiteY4" fmla="*/ 1892439 h 1935408"/>
              <a:gd name="connsiteX5" fmla="*/ 4481098 w 4526680"/>
              <a:gd name="connsiteY5" fmla="*/ 1935408 h 1935408"/>
              <a:gd name="connsiteX6" fmla="*/ 42969 w 4526680"/>
              <a:gd name="connsiteY6" fmla="*/ 1935408 h 1935408"/>
              <a:gd name="connsiteX7" fmla="*/ 0 w 4526680"/>
              <a:gd name="connsiteY7" fmla="*/ 1892439 h 1935408"/>
              <a:gd name="connsiteX8" fmla="*/ 0 w 4526680"/>
              <a:gd name="connsiteY8" fmla="*/ 376237 h 1935408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448"/>
              <a:gd name="connsiteY0" fmla="*/ 378618 h 1937789"/>
              <a:gd name="connsiteX1" fmla="*/ 42969 w 4526448"/>
              <a:gd name="connsiteY1" fmla="*/ 335649 h 1937789"/>
              <a:gd name="connsiteX2" fmla="*/ 4136478 w 4526448"/>
              <a:gd name="connsiteY2" fmla="*/ 335477 h 1937789"/>
              <a:gd name="connsiteX3" fmla="*/ 4526448 w 4526448"/>
              <a:gd name="connsiteY3" fmla="*/ 0 h 1937789"/>
              <a:gd name="connsiteX4" fmla="*/ 4524067 w 4526448"/>
              <a:gd name="connsiteY4" fmla="*/ 1894820 h 1937789"/>
              <a:gd name="connsiteX5" fmla="*/ 4481098 w 4526448"/>
              <a:gd name="connsiteY5" fmla="*/ 1937789 h 1937789"/>
              <a:gd name="connsiteX6" fmla="*/ 42969 w 4526448"/>
              <a:gd name="connsiteY6" fmla="*/ 1937789 h 1937789"/>
              <a:gd name="connsiteX7" fmla="*/ 0 w 4526448"/>
              <a:gd name="connsiteY7" fmla="*/ 1894820 h 1937789"/>
              <a:gd name="connsiteX8" fmla="*/ 0 w 4526448"/>
              <a:gd name="connsiteY8" fmla="*/ 378618 h 1937789"/>
              <a:gd name="connsiteX0" fmla="*/ 0 w 4526448"/>
              <a:gd name="connsiteY0" fmla="*/ 378618 h 1937789"/>
              <a:gd name="connsiteX1" fmla="*/ 42969 w 4526448"/>
              <a:gd name="connsiteY1" fmla="*/ 335649 h 1937789"/>
              <a:gd name="connsiteX2" fmla="*/ 4136478 w 4526448"/>
              <a:gd name="connsiteY2" fmla="*/ 335477 h 1937789"/>
              <a:gd name="connsiteX3" fmla="*/ 4526448 w 4526448"/>
              <a:gd name="connsiteY3" fmla="*/ 0 h 1937789"/>
              <a:gd name="connsiteX4" fmla="*/ 4524067 w 4526448"/>
              <a:gd name="connsiteY4" fmla="*/ 1894820 h 1937789"/>
              <a:gd name="connsiteX5" fmla="*/ 4481098 w 4526448"/>
              <a:gd name="connsiteY5" fmla="*/ 1937789 h 1937789"/>
              <a:gd name="connsiteX6" fmla="*/ 42969 w 4526448"/>
              <a:gd name="connsiteY6" fmla="*/ 1937789 h 1937789"/>
              <a:gd name="connsiteX7" fmla="*/ 0 w 4526448"/>
              <a:gd name="connsiteY7" fmla="*/ 1894820 h 1937789"/>
              <a:gd name="connsiteX8" fmla="*/ 0 w 4526448"/>
              <a:gd name="connsiteY8" fmla="*/ 378618 h 1937789"/>
              <a:gd name="connsiteX0" fmla="*/ 0 w 4526448"/>
              <a:gd name="connsiteY0" fmla="*/ 378618 h 1937789"/>
              <a:gd name="connsiteX1" fmla="*/ 42969 w 4526448"/>
              <a:gd name="connsiteY1" fmla="*/ 335649 h 1937789"/>
              <a:gd name="connsiteX2" fmla="*/ 4136478 w 4526448"/>
              <a:gd name="connsiteY2" fmla="*/ 335477 h 1937789"/>
              <a:gd name="connsiteX3" fmla="*/ 4526448 w 4526448"/>
              <a:gd name="connsiteY3" fmla="*/ 0 h 1937789"/>
              <a:gd name="connsiteX4" fmla="*/ 4524067 w 4526448"/>
              <a:gd name="connsiteY4" fmla="*/ 1894820 h 1937789"/>
              <a:gd name="connsiteX5" fmla="*/ 4481098 w 4526448"/>
              <a:gd name="connsiteY5" fmla="*/ 1937789 h 1937789"/>
              <a:gd name="connsiteX6" fmla="*/ 42969 w 4526448"/>
              <a:gd name="connsiteY6" fmla="*/ 1937789 h 1937789"/>
              <a:gd name="connsiteX7" fmla="*/ 0 w 4526448"/>
              <a:gd name="connsiteY7" fmla="*/ 1894820 h 1937789"/>
              <a:gd name="connsiteX8" fmla="*/ 0 w 4526448"/>
              <a:gd name="connsiteY8" fmla="*/ 378618 h 1937789"/>
              <a:gd name="connsiteX0" fmla="*/ 0 w 4526448"/>
              <a:gd name="connsiteY0" fmla="*/ 378618 h 1937789"/>
              <a:gd name="connsiteX1" fmla="*/ 42969 w 4526448"/>
              <a:gd name="connsiteY1" fmla="*/ 335649 h 1937789"/>
              <a:gd name="connsiteX2" fmla="*/ 4136478 w 4526448"/>
              <a:gd name="connsiteY2" fmla="*/ 335477 h 1937789"/>
              <a:gd name="connsiteX3" fmla="*/ 4526448 w 4526448"/>
              <a:gd name="connsiteY3" fmla="*/ 0 h 1937789"/>
              <a:gd name="connsiteX4" fmla="*/ 4524067 w 4526448"/>
              <a:gd name="connsiteY4" fmla="*/ 1894820 h 1937789"/>
              <a:gd name="connsiteX5" fmla="*/ 4481098 w 4526448"/>
              <a:gd name="connsiteY5" fmla="*/ 1937789 h 1937789"/>
              <a:gd name="connsiteX6" fmla="*/ 42969 w 4526448"/>
              <a:gd name="connsiteY6" fmla="*/ 1937789 h 1937789"/>
              <a:gd name="connsiteX7" fmla="*/ 0 w 4526448"/>
              <a:gd name="connsiteY7" fmla="*/ 1894820 h 1937789"/>
              <a:gd name="connsiteX8" fmla="*/ 0 w 4526448"/>
              <a:gd name="connsiteY8" fmla="*/ 378618 h 1937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26448" h="1937789">
                <a:moveTo>
                  <a:pt x="0" y="378618"/>
                </a:moveTo>
                <a:cubicBezTo>
                  <a:pt x="0" y="354887"/>
                  <a:pt x="19238" y="335649"/>
                  <a:pt x="42969" y="335649"/>
                </a:cubicBezTo>
                <a:lnTo>
                  <a:pt x="4136478" y="335477"/>
                </a:lnTo>
                <a:cubicBezTo>
                  <a:pt x="4337111" y="333983"/>
                  <a:pt x="4486946" y="218189"/>
                  <a:pt x="4526448" y="0"/>
                </a:cubicBezTo>
                <a:cubicBezTo>
                  <a:pt x="4525654" y="630813"/>
                  <a:pt x="4524861" y="1264007"/>
                  <a:pt x="4524067" y="1894820"/>
                </a:cubicBezTo>
                <a:cubicBezTo>
                  <a:pt x="4524067" y="1918551"/>
                  <a:pt x="4504829" y="1937789"/>
                  <a:pt x="4481098" y="1937789"/>
                </a:cubicBezTo>
                <a:lnTo>
                  <a:pt x="42969" y="1937789"/>
                </a:lnTo>
                <a:cubicBezTo>
                  <a:pt x="19238" y="1937789"/>
                  <a:pt x="0" y="1918551"/>
                  <a:pt x="0" y="1894820"/>
                </a:cubicBezTo>
                <a:lnTo>
                  <a:pt x="0" y="378618"/>
                </a:lnTo>
                <a:close/>
              </a:path>
            </a:pathLst>
          </a:custGeom>
          <a:solidFill>
            <a:schemeClr val="bg2">
              <a:alpha val="85000"/>
            </a:schemeClr>
          </a:solidFill>
        </p:spPr>
        <p:txBody>
          <a:bodyPr vert="horz" wrap="square" lIns="360000" tIns="576000" rIns="576000" bIns="180000" rtlCol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lang="nl-NL" sz="8419" b="0" dirty="0">
                <a:solidFill>
                  <a:schemeClr val="bg1"/>
                </a:solidFill>
                <a:latin typeface="+mj-lt"/>
              </a:defRPr>
            </a:lvl1pPr>
            <a:lvl2pPr>
              <a:defRPr lang="nl-NL" dirty="0">
                <a:solidFill>
                  <a:schemeClr val="bg1"/>
                </a:solidFill>
                <a:latin typeface="+mj-lt"/>
              </a:defRPr>
            </a:lvl2pPr>
            <a:lvl3pPr>
              <a:defRPr lang="nl-NL" dirty="0">
                <a:solidFill>
                  <a:schemeClr val="bg1"/>
                </a:solidFill>
                <a:latin typeface="+mj-lt"/>
              </a:defRPr>
            </a:lvl3pPr>
            <a:lvl4pPr>
              <a:defRPr lang="nl-NL" dirty="0">
                <a:solidFill>
                  <a:schemeClr val="bg1"/>
                </a:solidFill>
                <a:latin typeface="+mj-lt"/>
              </a:defRPr>
            </a:lvl4pPr>
            <a:lvl5pPr>
              <a:lnSpc>
                <a:spcPct val="100000"/>
              </a:lnSpc>
              <a:defRPr lang="nl-NL" sz="8419" b="0" dirty="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nl-NL" noProof="0"/>
              <a:t>Klik om tekst in te voegen</a:t>
            </a:r>
          </a:p>
        </p:txBody>
      </p:sp>
      <p:sp>
        <p:nvSpPr>
          <p:cNvPr id="29" name="Tijdelijke aanduiding voor datum 3">
            <a:extLst>
              <a:ext uri="{FF2B5EF4-FFF2-40B4-BE49-F238E27FC236}">
                <a16:creationId xmlns:a16="http://schemas.microsoft.com/office/drawing/2014/main" id="{0C185B4F-039F-4078-960F-6ACF6F50FA8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845E9234-8709-4007-9880-8F50EB01A15C}" type="datetime1">
              <a:rPr lang="nl-NL" noProof="0" smtClean="0"/>
              <a:t>26-6-2023</a:t>
            </a:fld>
            <a:endParaRPr lang="nl-NL" noProof="0"/>
          </a:p>
        </p:txBody>
      </p:sp>
      <p:grpSp>
        <p:nvGrpSpPr>
          <p:cNvPr id="179" name="Groep 178">
            <a:extLst>
              <a:ext uri="{FF2B5EF4-FFF2-40B4-BE49-F238E27FC236}">
                <a16:creationId xmlns:a16="http://schemas.microsoft.com/office/drawing/2014/main" id="{4C84DCD6-D7D8-4BD9-844C-58B8FB7FD3AF}"/>
              </a:ext>
            </a:extLst>
          </p:cNvPr>
          <p:cNvGrpSpPr/>
          <p:nvPr userDrawn="1"/>
        </p:nvGrpSpPr>
        <p:grpSpPr>
          <a:xfrm>
            <a:off x="43467416" y="5"/>
            <a:ext cx="11167745" cy="23084356"/>
            <a:chOff x="12391601" y="0"/>
            <a:chExt cx="3183678" cy="5229113"/>
          </a:xfrm>
        </p:grpSpPr>
        <p:grpSp>
          <p:nvGrpSpPr>
            <p:cNvPr id="180" name="Meer informatie">
              <a:extLst>
                <a:ext uri="{FF2B5EF4-FFF2-40B4-BE49-F238E27FC236}">
                  <a16:creationId xmlns:a16="http://schemas.microsoft.com/office/drawing/2014/main" id="{0845994B-CE25-425B-861D-B5FF1BC60294}"/>
                </a:ext>
              </a:extLst>
            </p:cNvPr>
            <p:cNvGrpSpPr/>
            <p:nvPr userDrawn="1"/>
          </p:nvGrpSpPr>
          <p:grpSpPr>
            <a:xfrm>
              <a:off x="12396764" y="4445840"/>
              <a:ext cx="3178515" cy="783273"/>
              <a:chOff x="-3741486" y="3386444"/>
              <a:chExt cx="3178515" cy="783273"/>
            </a:xfrm>
          </p:grpSpPr>
          <p:sp>
            <p:nvSpPr>
              <p:cNvPr id="226" name="Freeform 101">
                <a:extLst>
                  <a:ext uri="{FF2B5EF4-FFF2-40B4-BE49-F238E27FC236}">
                    <a16:creationId xmlns:a16="http://schemas.microsoft.com/office/drawing/2014/main" id="{70E022F7-05C1-482F-9FB7-2182A4771D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227" name="Rechthoek 226">
                <a:extLst>
                  <a:ext uri="{FF2B5EF4-FFF2-40B4-BE49-F238E27FC236}">
                    <a16:creationId xmlns:a16="http://schemas.microsoft.com/office/drawing/2014/main" id="{F78E0E1E-942D-4098-A407-2DA73DDEE38E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28" name="Rechte verbindingslijn 227">
                <a:extLst>
                  <a:ext uri="{FF2B5EF4-FFF2-40B4-BE49-F238E27FC236}">
                    <a16:creationId xmlns:a16="http://schemas.microsoft.com/office/drawing/2014/main" id="{72E1ADE3-A525-46A3-9A81-B0C76C87D99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81" name="Rechthoek 180">
              <a:extLst>
                <a:ext uri="{FF2B5EF4-FFF2-40B4-BE49-F238E27FC236}">
                  <a16:creationId xmlns:a16="http://schemas.microsoft.com/office/drawing/2014/main" id="{80C2EE33-F91D-49BD-8C44-39C35453934F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182" name="Ovaal 181">
              <a:extLst>
                <a:ext uri="{FF2B5EF4-FFF2-40B4-BE49-F238E27FC236}">
                  <a16:creationId xmlns:a16="http://schemas.microsoft.com/office/drawing/2014/main" id="{29BD6E08-F7C1-4810-9325-66F12A1B5F5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83" name="Rechte verbindingslijn 182">
              <a:extLst>
                <a:ext uri="{FF2B5EF4-FFF2-40B4-BE49-F238E27FC236}">
                  <a16:creationId xmlns:a16="http://schemas.microsoft.com/office/drawing/2014/main" id="{7BA7F20B-014A-4E8D-A865-372FF1FBA4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4" name="Rechte verbindingslijn 183">
              <a:extLst>
                <a:ext uri="{FF2B5EF4-FFF2-40B4-BE49-F238E27FC236}">
                  <a16:creationId xmlns:a16="http://schemas.microsoft.com/office/drawing/2014/main" id="{1B80EB81-08CB-4055-8E85-F9C1C5C55EE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85" name="Rechthoek 184">
              <a:extLst>
                <a:ext uri="{FF2B5EF4-FFF2-40B4-BE49-F238E27FC236}">
                  <a16:creationId xmlns:a16="http://schemas.microsoft.com/office/drawing/2014/main" id="{7E1734DD-84F1-4E45-B5E4-3BD7330F8A11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oor deze te selecteren en op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om een nieuwe afbeelding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86" name="Rechte verbindingslijn 185">
              <a:extLst>
                <a:ext uri="{FF2B5EF4-FFF2-40B4-BE49-F238E27FC236}">
                  <a16:creationId xmlns:a16="http://schemas.microsoft.com/office/drawing/2014/main" id="{7278A0BC-9971-431A-8AC5-E0164CC708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4327957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87" name="Ovaal 186">
              <a:extLst>
                <a:ext uri="{FF2B5EF4-FFF2-40B4-BE49-F238E27FC236}">
                  <a16:creationId xmlns:a16="http://schemas.microsoft.com/office/drawing/2014/main" id="{810CCD7B-5058-4658-87F0-480667672180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88" name="Rechthoek 187">
              <a:extLst>
                <a:ext uri="{FF2B5EF4-FFF2-40B4-BE49-F238E27FC236}">
                  <a16:creationId xmlns:a16="http://schemas.microsoft.com/office/drawing/2014/main" id="{A4AB1E73-7EA0-4761-8460-B897E887CF7C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89" name="Groep 188">
              <a:extLst>
                <a:ext uri="{FF2B5EF4-FFF2-40B4-BE49-F238E27FC236}">
                  <a16:creationId xmlns:a16="http://schemas.microsoft.com/office/drawing/2014/main" id="{A509014B-153C-450F-B420-7655B8CCBD10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23" name="Rechthoek 222">
                <a:extLst>
                  <a:ext uri="{FF2B5EF4-FFF2-40B4-BE49-F238E27FC236}">
                    <a16:creationId xmlns:a16="http://schemas.microsoft.com/office/drawing/2014/main" id="{06257FC4-6EE4-40FC-AC7F-53CCCD2BD0CC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224" name="Rechte verbindingslijn 223">
                <a:extLst>
                  <a:ext uri="{FF2B5EF4-FFF2-40B4-BE49-F238E27FC236}">
                    <a16:creationId xmlns:a16="http://schemas.microsoft.com/office/drawing/2014/main" id="{9D67D5A9-C6F9-412E-A94D-F641625DB3BF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25" name="Gelijkbenige driehoek 224">
                <a:extLst>
                  <a:ext uri="{FF2B5EF4-FFF2-40B4-BE49-F238E27FC236}">
                    <a16:creationId xmlns:a16="http://schemas.microsoft.com/office/drawing/2014/main" id="{90BF8A41-FF83-450B-98D0-D44DC6F51FA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90" name="Groep 189">
              <a:extLst>
                <a:ext uri="{FF2B5EF4-FFF2-40B4-BE49-F238E27FC236}">
                  <a16:creationId xmlns:a16="http://schemas.microsoft.com/office/drawing/2014/main" id="{41FD0AD3-759F-48C3-BE92-301441F09AE6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DD34B8C6-1242-442B-B30E-ED63B22EA371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18" name="Ovaal 217">
                <a:extLst>
                  <a:ext uri="{FF2B5EF4-FFF2-40B4-BE49-F238E27FC236}">
                    <a16:creationId xmlns:a16="http://schemas.microsoft.com/office/drawing/2014/main" id="{D4699030-8B5F-449D-835C-1E3CC13D387B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9" name="Vrije vorm: vorm 218">
                <a:extLst>
                  <a:ext uri="{FF2B5EF4-FFF2-40B4-BE49-F238E27FC236}">
                    <a16:creationId xmlns:a16="http://schemas.microsoft.com/office/drawing/2014/main" id="{B7101B8A-52AD-4458-9465-353BC69320E3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Rechthoek: afgeronde hoeken 219">
                <a:extLst>
                  <a:ext uri="{FF2B5EF4-FFF2-40B4-BE49-F238E27FC236}">
                    <a16:creationId xmlns:a16="http://schemas.microsoft.com/office/drawing/2014/main" id="{AB4F5B23-4BFF-4677-80BA-C8E56D51EAF3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221" name="Rechte verbindingslijn 220">
                <a:extLst>
                  <a:ext uri="{FF2B5EF4-FFF2-40B4-BE49-F238E27FC236}">
                    <a16:creationId xmlns:a16="http://schemas.microsoft.com/office/drawing/2014/main" id="{8275ADBD-878C-426B-A061-7F57A9F6ED5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22" name="Rechte verbindingslijn 221">
                <a:extLst>
                  <a:ext uri="{FF2B5EF4-FFF2-40B4-BE49-F238E27FC236}">
                    <a16:creationId xmlns:a16="http://schemas.microsoft.com/office/drawing/2014/main" id="{B4060D02-3695-4FD7-B27A-0FD97EFC4EC9}"/>
                  </a:ext>
                </a:extLst>
              </p:cNvPr>
              <p:cNvCxnSpPr>
                <a:cxnSpLocks/>
                <a:stCxn id="220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91" name="Ovaal 190">
              <a:extLst>
                <a:ext uri="{FF2B5EF4-FFF2-40B4-BE49-F238E27FC236}">
                  <a16:creationId xmlns:a16="http://schemas.microsoft.com/office/drawing/2014/main" id="{A97D7BB5-0924-4ED3-B7B2-15DDAE122E32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92" name="Rechthoek 191">
              <a:extLst>
                <a:ext uri="{FF2B5EF4-FFF2-40B4-BE49-F238E27FC236}">
                  <a16:creationId xmlns:a16="http://schemas.microsoft.com/office/drawing/2014/main" id="{28C11ED3-010D-4097-ABD7-0006E1C08F72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43320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aan de linker kant van het scherm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93" name="Rechte verbindingslijn 192">
              <a:extLst>
                <a:ext uri="{FF2B5EF4-FFF2-40B4-BE49-F238E27FC236}">
                  <a16:creationId xmlns:a16="http://schemas.microsoft.com/office/drawing/2014/main" id="{2A82C1DB-8D25-4099-AA48-25AB31AF13C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94" name="Rechthoek 193">
              <a:extLst>
                <a:ext uri="{FF2B5EF4-FFF2-40B4-BE49-F238E27FC236}">
                  <a16:creationId xmlns:a16="http://schemas.microsoft.com/office/drawing/2014/main" id="{3F89EFC8-6560-43EC-A9E7-129B8972C487}"/>
                </a:ext>
              </a:extLst>
            </p:cNvPr>
            <p:cNvSpPr/>
            <p:nvPr userDrawn="1"/>
          </p:nvSpPr>
          <p:spPr>
            <a:xfrm>
              <a:off x="12654153" y="3238910"/>
              <a:ext cx="1624926" cy="805220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3509" b="0" i="1" noProof="0">
                <a:solidFill>
                  <a:schemeClr val="tx1"/>
                </a:solidFill>
              </a:endParaRPr>
            </a:p>
          </p:txBody>
        </p:sp>
        <p:grpSp>
          <p:nvGrpSpPr>
            <p:cNvPr id="195" name="Groep 194">
              <a:extLst>
                <a:ext uri="{FF2B5EF4-FFF2-40B4-BE49-F238E27FC236}">
                  <a16:creationId xmlns:a16="http://schemas.microsoft.com/office/drawing/2014/main" id="{B8C3F4DA-83ED-4222-B28C-49AB1FEC439B}"/>
                </a:ext>
              </a:extLst>
            </p:cNvPr>
            <p:cNvGrpSpPr/>
            <p:nvPr userDrawn="1"/>
          </p:nvGrpSpPr>
          <p:grpSpPr>
            <a:xfrm>
              <a:off x="13614067" y="3535184"/>
              <a:ext cx="1195438" cy="678267"/>
              <a:chOff x="12757284" y="3224292"/>
              <a:chExt cx="1195438" cy="678267"/>
            </a:xfrm>
          </p:grpSpPr>
          <p:sp>
            <p:nvSpPr>
              <p:cNvPr id="196" name="Rechthoek 195">
                <a:extLst>
                  <a:ext uri="{FF2B5EF4-FFF2-40B4-BE49-F238E27FC236}">
                    <a16:creationId xmlns:a16="http://schemas.microsoft.com/office/drawing/2014/main" id="{A517EB42-BAF4-4590-8F9B-4AF47E8264B1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7" name="Rechthoek 196">
                <a:extLst>
                  <a:ext uri="{FF2B5EF4-FFF2-40B4-BE49-F238E27FC236}">
                    <a16:creationId xmlns:a16="http://schemas.microsoft.com/office/drawing/2014/main" id="{84F16C7D-9B7C-47A5-B5D8-A5C0BC057B06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98" name="Groep 197">
                <a:extLst>
                  <a:ext uri="{FF2B5EF4-FFF2-40B4-BE49-F238E27FC236}">
                    <a16:creationId xmlns:a16="http://schemas.microsoft.com/office/drawing/2014/main" id="{20B81935-14B4-4A33-B4B6-6A4CDDDEB4C3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211" name="Rechthoek: afgeronde hoeken 210">
                  <a:extLst>
                    <a:ext uri="{FF2B5EF4-FFF2-40B4-BE49-F238E27FC236}">
                      <a16:creationId xmlns:a16="http://schemas.microsoft.com/office/drawing/2014/main" id="{C126A634-CBD5-45A8-BE07-2676D4D7562E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endPara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2" name="Rechthoek 211">
                  <a:extLst>
                    <a:ext uri="{FF2B5EF4-FFF2-40B4-BE49-F238E27FC236}">
                      <a16:creationId xmlns:a16="http://schemas.microsoft.com/office/drawing/2014/main" id="{A082A3E8-2FC2-4797-B58B-46ACA1E14EE7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3" name="Rechthoek 212">
                  <a:extLst>
                    <a:ext uri="{FF2B5EF4-FFF2-40B4-BE49-F238E27FC236}">
                      <a16:creationId xmlns:a16="http://schemas.microsoft.com/office/drawing/2014/main" id="{FBB5233F-C1F9-446A-AB00-E827B6494B6D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4" name="Rechthoek 213">
                  <a:extLst>
                    <a:ext uri="{FF2B5EF4-FFF2-40B4-BE49-F238E27FC236}">
                      <a16:creationId xmlns:a16="http://schemas.microsoft.com/office/drawing/2014/main" id="{CC071C0B-99B0-42DB-A036-5F77FD074DAD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5" name="Rechthoek 214">
                  <a:extLst>
                    <a:ext uri="{FF2B5EF4-FFF2-40B4-BE49-F238E27FC236}">
                      <a16:creationId xmlns:a16="http://schemas.microsoft.com/office/drawing/2014/main" id="{56681D84-A4CA-46A5-B823-1489E648F95F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6" name="Rechthoek 215">
                  <a:extLst>
                    <a:ext uri="{FF2B5EF4-FFF2-40B4-BE49-F238E27FC236}">
                      <a16:creationId xmlns:a16="http://schemas.microsoft.com/office/drawing/2014/main" id="{6C7FCCFF-B398-4FC4-AAB4-1911AA15CDFB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99" name="Groep 198">
                <a:extLst>
                  <a:ext uri="{FF2B5EF4-FFF2-40B4-BE49-F238E27FC236}">
                    <a16:creationId xmlns:a16="http://schemas.microsoft.com/office/drawing/2014/main" id="{3FF9FE26-B621-4F9F-A282-B772B38C0285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203" name="Groep 202">
                  <a:extLst>
                    <a:ext uri="{FF2B5EF4-FFF2-40B4-BE49-F238E27FC236}">
                      <a16:creationId xmlns:a16="http://schemas.microsoft.com/office/drawing/2014/main" id="{A49F2D2A-EB1F-4B11-8460-EAE9B5C9D7F4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205" name="Rechthoek: afgeronde hoeken 204">
                    <a:extLst>
                      <a:ext uri="{FF2B5EF4-FFF2-40B4-BE49-F238E27FC236}">
                        <a16:creationId xmlns:a16="http://schemas.microsoft.com/office/drawing/2014/main" id="{664D50EE-4504-4C1D-96B5-FBED388CB20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2105"/>
                      </a:spcBef>
                      <a:spcAft>
                        <a:spcPts val="2105"/>
                      </a:spcAft>
                    </a:pPr>
                    <a:endParaRPr lang="nl-NL" sz="280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06" name="Rechthoek 205">
                    <a:extLst>
                      <a:ext uri="{FF2B5EF4-FFF2-40B4-BE49-F238E27FC236}">
                        <a16:creationId xmlns:a16="http://schemas.microsoft.com/office/drawing/2014/main" id="{3DD754A7-A0DE-4942-95BD-7B462C19A83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7" name="Rechthoek 206">
                    <a:extLst>
                      <a:ext uri="{FF2B5EF4-FFF2-40B4-BE49-F238E27FC236}">
                        <a16:creationId xmlns:a16="http://schemas.microsoft.com/office/drawing/2014/main" id="{66FC2A77-50B1-49F4-967E-588DC8AB6FF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8" name="Rechthoek 207">
                    <a:extLst>
                      <a:ext uri="{FF2B5EF4-FFF2-40B4-BE49-F238E27FC236}">
                        <a16:creationId xmlns:a16="http://schemas.microsoft.com/office/drawing/2014/main" id="{AFFA62CC-0F50-4149-A82E-70778FEC3F4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9" name="Rechthoek 208">
                    <a:extLst>
                      <a:ext uri="{FF2B5EF4-FFF2-40B4-BE49-F238E27FC236}">
                        <a16:creationId xmlns:a16="http://schemas.microsoft.com/office/drawing/2014/main" id="{EBB99AC0-6B6D-469D-8091-FCC19CC2994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0" name="Rechthoek 209">
                    <a:extLst>
                      <a:ext uri="{FF2B5EF4-FFF2-40B4-BE49-F238E27FC236}">
                        <a16:creationId xmlns:a16="http://schemas.microsoft.com/office/drawing/2014/main" id="{E0A341F6-3386-4623-A8CC-C5035A34F53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204" name="Boog 203">
                  <a:extLst>
                    <a:ext uri="{FF2B5EF4-FFF2-40B4-BE49-F238E27FC236}">
                      <a16:creationId xmlns:a16="http://schemas.microsoft.com/office/drawing/2014/main" id="{A87041D2-BC28-4448-BD70-2A54101035B4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</p:grpSp>
          <p:sp>
            <p:nvSpPr>
              <p:cNvPr id="200" name="Tekstvak 199">
                <a:extLst>
                  <a:ext uri="{FF2B5EF4-FFF2-40B4-BE49-F238E27FC236}">
                    <a16:creationId xmlns:a16="http://schemas.microsoft.com/office/drawing/2014/main" id="{F448D96F-29C2-4F72-B7BB-F2FAF451A6FB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201" name="Tekstvak 200">
                <a:extLst>
                  <a:ext uri="{FF2B5EF4-FFF2-40B4-BE49-F238E27FC236}">
                    <a16:creationId xmlns:a16="http://schemas.microsoft.com/office/drawing/2014/main" id="{29503B0A-6BD4-4DD0-AA22-DF71968C73E6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202" name="Picture 3">
                <a:extLst>
                  <a:ext uri="{FF2B5EF4-FFF2-40B4-BE49-F238E27FC236}">
                    <a16:creationId xmlns:a16="http://schemas.microsoft.com/office/drawing/2014/main" id="{3C056423-79E0-4EBE-837E-160C9CADC0C8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810206" y="3671228"/>
                <a:ext cx="14251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grpSp>
        <p:nvGrpSpPr>
          <p:cNvPr id="76" name="Instructie">
            <a:extLst>
              <a:ext uri="{FF2B5EF4-FFF2-40B4-BE49-F238E27FC236}">
                <a16:creationId xmlns:a16="http://schemas.microsoft.com/office/drawing/2014/main" id="{87BB9FB2-8C0C-4F10-A48E-5CA59B460F35}"/>
              </a:ext>
            </a:extLst>
          </p:cNvPr>
          <p:cNvGrpSpPr/>
          <p:nvPr userDrawn="1"/>
        </p:nvGrpSpPr>
        <p:grpSpPr>
          <a:xfrm>
            <a:off x="-11761540" y="0"/>
            <a:ext cx="11164508" cy="11743958"/>
            <a:chOff x="-3426088" y="4512342"/>
            <a:chExt cx="3182755" cy="2660264"/>
          </a:xfrm>
        </p:grpSpPr>
        <p:sp>
          <p:nvSpPr>
            <p:cNvPr id="77" name="Rechthoek 127">
              <a:extLst>
                <a:ext uri="{FF2B5EF4-FFF2-40B4-BE49-F238E27FC236}">
                  <a16:creationId xmlns:a16="http://schemas.microsoft.com/office/drawing/2014/main" id="{6C7900BF-A70D-4DEE-A754-1D58ABEBEE88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78" name="Rechte verbindingslijn 128">
              <a:extLst>
                <a:ext uri="{FF2B5EF4-FFF2-40B4-BE49-F238E27FC236}">
                  <a16:creationId xmlns:a16="http://schemas.microsoft.com/office/drawing/2014/main" id="{E93E0665-4654-469D-ABF5-8929B8496CB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79" name="Rechthoek 130">
              <a:extLst>
                <a:ext uri="{FF2B5EF4-FFF2-40B4-BE49-F238E27FC236}">
                  <a16:creationId xmlns:a16="http://schemas.microsoft.com/office/drawing/2014/main" id="{24B54986-FE87-4F9E-8682-14CCBF3B9289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80" name="Rechthoek 133">
              <a:extLst>
                <a:ext uri="{FF2B5EF4-FFF2-40B4-BE49-F238E27FC236}">
                  <a16:creationId xmlns:a16="http://schemas.microsoft.com/office/drawing/2014/main" id="{D4B0A9D8-B085-4B6E-A133-2D706A5A538A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1" name="Rechthoek 136">
              <a:extLst>
                <a:ext uri="{FF2B5EF4-FFF2-40B4-BE49-F238E27FC236}">
                  <a16:creationId xmlns:a16="http://schemas.microsoft.com/office/drawing/2014/main" id="{386DDFBE-0074-43D6-AC5C-1D0331C3E901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2" name="Rechthoek 139">
              <a:extLst>
                <a:ext uri="{FF2B5EF4-FFF2-40B4-BE49-F238E27FC236}">
                  <a16:creationId xmlns:a16="http://schemas.microsoft.com/office/drawing/2014/main" id="{CF33AE50-8FFD-4484-870D-7E177C3F78C4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83" name="Rechte verbindingslijn 140">
              <a:extLst>
                <a:ext uri="{FF2B5EF4-FFF2-40B4-BE49-F238E27FC236}">
                  <a16:creationId xmlns:a16="http://schemas.microsoft.com/office/drawing/2014/main" id="{D9CC6865-0DAB-4EA6-BB67-3324ACC9F9A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69" name="Afbeelding 68">
            <a:extLst>
              <a:ext uri="{FF2B5EF4-FFF2-40B4-BE49-F238E27FC236}">
                <a16:creationId xmlns:a16="http://schemas.microsoft.com/office/drawing/2014/main" id="{01F347DF-1A12-48D1-89CE-4FB17CBFE6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5997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uiExpand="1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2"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3"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4"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5">
            <p:tnLst>
              <p:par>
                <p:cTn presetID="2" presetClass="entr" presetSubtype="2" decel="100000" fill="hold" nodeType="withEffect" nodePh="1">
                  <p:stCondLst>
                    <p:cond delay="10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6" grpId="0" uiExpand="1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2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3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4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5">
            <p:tnLst>
              <p:par>
                <p:cTn presetID="2" presetClass="entr" presetSubtype="2" decel="100000" fill="hold" nodeType="withEffect" nodePh="1">
                  <p:stCondLst>
                    <p:cond delay="5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8" grpId="0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2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2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100%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1742374" y="6476677"/>
            <a:ext cx="39282480" cy="19046186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 marL="1269631" indent="-634816">
              <a:buFont typeface="Arial" panose="020B0604020202020204" pitchFamily="34" charset="0"/>
              <a:buChar char="•"/>
              <a:defRPr sz="4911" baseline="0">
                <a:latin typeface="+mj-lt"/>
              </a:defRPr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D493E421-713B-4AD0-8E5B-41C84D6EBA53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2" y="27329718"/>
            <a:ext cx="857527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grpSp>
        <p:nvGrpSpPr>
          <p:cNvPr id="90" name="Groep 101">
            <a:extLst>
              <a:ext uri="{FF2B5EF4-FFF2-40B4-BE49-F238E27FC236}">
                <a16:creationId xmlns:a16="http://schemas.microsoft.com/office/drawing/2014/main" id="{7D9D6E6F-BF3A-44DC-88FE-CF4E8F628DDE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91" name="Rechthoek 102">
              <a:extLst>
                <a:ext uri="{FF2B5EF4-FFF2-40B4-BE49-F238E27FC236}">
                  <a16:creationId xmlns:a16="http://schemas.microsoft.com/office/drawing/2014/main" id="{37CA0D0F-12A5-4201-976F-06942DBCFFFA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92" name="Ovaal 103">
              <a:extLst>
                <a:ext uri="{FF2B5EF4-FFF2-40B4-BE49-F238E27FC236}">
                  <a16:creationId xmlns:a16="http://schemas.microsoft.com/office/drawing/2014/main" id="{0646EDFD-6373-4F6F-8E31-14F73E60EA1E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3" name="Rechte verbindingslijn 104">
              <a:extLst>
                <a:ext uri="{FF2B5EF4-FFF2-40B4-BE49-F238E27FC236}">
                  <a16:creationId xmlns:a16="http://schemas.microsoft.com/office/drawing/2014/main" id="{0E087D4F-B08D-4F9A-B39E-332FC4922B1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94" name="Groep 105">
              <a:extLst>
                <a:ext uri="{FF2B5EF4-FFF2-40B4-BE49-F238E27FC236}">
                  <a16:creationId xmlns:a16="http://schemas.microsoft.com/office/drawing/2014/main" id="{7F6F8995-7C86-430C-BD63-9B055553949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00" name="Rechthoek 130">
                <a:extLst>
                  <a:ext uri="{FF2B5EF4-FFF2-40B4-BE49-F238E27FC236}">
                    <a16:creationId xmlns:a16="http://schemas.microsoft.com/office/drawing/2014/main" id="{4B74CFD1-5C3C-4C56-A9B9-94F691BF4391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201" name="Rechte verbindingslijn 131">
                <a:extLst>
                  <a:ext uri="{FF2B5EF4-FFF2-40B4-BE49-F238E27FC236}">
                    <a16:creationId xmlns:a16="http://schemas.microsoft.com/office/drawing/2014/main" id="{76DEC1FA-47A6-47A9-B779-81092037771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2" name="Rechte verbindingslijn 132">
                <a:extLst>
                  <a:ext uri="{FF2B5EF4-FFF2-40B4-BE49-F238E27FC236}">
                    <a16:creationId xmlns:a16="http://schemas.microsoft.com/office/drawing/2014/main" id="{85D77F55-989B-4AC7-B452-73FC8199E20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03" name="Rechthoek 133">
                <a:extLst>
                  <a:ext uri="{FF2B5EF4-FFF2-40B4-BE49-F238E27FC236}">
                    <a16:creationId xmlns:a16="http://schemas.microsoft.com/office/drawing/2014/main" id="{A39CBC68-AB8A-4992-A0D2-E9BC4FF7109D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04" name="Groep 134">
                <a:extLst>
                  <a:ext uri="{FF2B5EF4-FFF2-40B4-BE49-F238E27FC236}">
                    <a16:creationId xmlns:a16="http://schemas.microsoft.com/office/drawing/2014/main" id="{7BB51017-C6F1-44ED-96D2-951EBF69CADD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43" name="Groep 175">
                  <a:extLst>
                    <a:ext uri="{FF2B5EF4-FFF2-40B4-BE49-F238E27FC236}">
                      <a16:creationId xmlns:a16="http://schemas.microsoft.com/office/drawing/2014/main" id="{1953400F-9E56-491B-B43A-09778411514B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47" name="Rechte verbindingslijn 179">
                    <a:extLst>
                      <a:ext uri="{FF2B5EF4-FFF2-40B4-BE49-F238E27FC236}">
                        <a16:creationId xmlns:a16="http://schemas.microsoft.com/office/drawing/2014/main" id="{D0810279-FF56-4F22-95BF-5E9E9B896F6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8" name="Rechte verbindingslijn 180">
                    <a:extLst>
                      <a:ext uri="{FF2B5EF4-FFF2-40B4-BE49-F238E27FC236}">
                        <a16:creationId xmlns:a16="http://schemas.microsoft.com/office/drawing/2014/main" id="{14CB314A-88CC-4861-8B93-1E3B2B3DEDA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9" name="Rechte verbindingslijn 181">
                    <a:extLst>
                      <a:ext uri="{FF2B5EF4-FFF2-40B4-BE49-F238E27FC236}">
                        <a16:creationId xmlns:a16="http://schemas.microsoft.com/office/drawing/2014/main" id="{B7E55AE2-3AFA-40F5-AFBB-D5547CF731B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0" name="Rechte verbindingslijn 182">
                    <a:extLst>
                      <a:ext uri="{FF2B5EF4-FFF2-40B4-BE49-F238E27FC236}">
                        <a16:creationId xmlns:a16="http://schemas.microsoft.com/office/drawing/2014/main" id="{5B11E2AD-0A4F-4F26-82F1-27B9EF0EF11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1" name="Rechte verbindingslijn 183">
                    <a:extLst>
                      <a:ext uri="{FF2B5EF4-FFF2-40B4-BE49-F238E27FC236}">
                        <a16:creationId xmlns:a16="http://schemas.microsoft.com/office/drawing/2014/main" id="{4303D616-939B-4FE8-BF77-0D97FD15CB0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4" name="Groep 176">
                  <a:extLst>
                    <a:ext uri="{FF2B5EF4-FFF2-40B4-BE49-F238E27FC236}">
                      <a16:creationId xmlns:a16="http://schemas.microsoft.com/office/drawing/2014/main" id="{1ADDFCFD-6575-449A-A687-DCDC5E86E65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45" name="Rechthoek 177">
                    <a:extLst>
                      <a:ext uri="{FF2B5EF4-FFF2-40B4-BE49-F238E27FC236}">
                        <a16:creationId xmlns:a16="http://schemas.microsoft.com/office/drawing/2014/main" id="{3BDF6D58-83EC-4BB0-BEB8-C430AAEF44A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46" name="Pijl: punthaak 178">
                    <a:extLst>
                      <a:ext uri="{FF2B5EF4-FFF2-40B4-BE49-F238E27FC236}">
                        <a16:creationId xmlns:a16="http://schemas.microsoft.com/office/drawing/2014/main" id="{68141BD0-EC99-4FE3-A1B7-69F1A2DCC6F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05" name="Groep 135">
                <a:extLst>
                  <a:ext uri="{FF2B5EF4-FFF2-40B4-BE49-F238E27FC236}">
                    <a16:creationId xmlns:a16="http://schemas.microsoft.com/office/drawing/2014/main" id="{8706C9C8-B566-483E-8002-435BEACCE63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34" name="Groep 166">
                  <a:extLst>
                    <a:ext uri="{FF2B5EF4-FFF2-40B4-BE49-F238E27FC236}">
                      <a16:creationId xmlns:a16="http://schemas.microsoft.com/office/drawing/2014/main" id="{9297A6C5-5392-4349-A2E4-C0C563C91354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38" name="Rechte verbindingslijn 170">
                    <a:extLst>
                      <a:ext uri="{FF2B5EF4-FFF2-40B4-BE49-F238E27FC236}">
                        <a16:creationId xmlns:a16="http://schemas.microsoft.com/office/drawing/2014/main" id="{ADB6CEB5-72F6-4771-BA16-322D2E559E8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9" name="Rechte verbindingslijn 171">
                    <a:extLst>
                      <a:ext uri="{FF2B5EF4-FFF2-40B4-BE49-F238E27FC236}">
                        <a16:creationId xmlns:a16="http://schemas.microsoft.com/office/drawing/2014/main" id="{0D11CCD3-62E7-4777-9F29-563AA2BE268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0" name="Rechte verbindingslijn 172">
                    <a:extLst>
                      <a:ext uri="{FF2B5EF4-FFF2-40B4-BE49-F238E27FC236}">
                        <a16:creationId xmlns:a16="http://schemas.microsoft.com/office/drawing/2014/main" id="{DE0A8448-2EB9-43E1-9726-9F3C33A0734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1" name="Rechte verbindingslijn 173">
                    <a:extLst>
                      <a:ext uri="{FF2B5EF4-FFF2-40B4-BE49-F238E27FC236}">
                        <a16:creationId xmlns:a16="http://schemas.microsoft.com/office/drawing/2014/main" id="{4D0C8DE6-6462-49C9-9BF6-60F1DA0518E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2" name="Rechte verbindingslijn 174">
                    <a:extLst>
                      <a:ext uri="{FF2B5EF4-FFF2-40B4-BE49-F238E27FC236}">
                        <a16:creationId xmlns:a16="http://schemas.microsoft.com/office/drawing/2014/main" id="{C9706186-5410-47AB-9DA4-388F29E96E2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35" name="Groep 167">
                  <a:extLst>
                    <a:ext uri="{FF2B5EF4-FFF2-40B4-BE49-F238E27FC236}">
                      <a16:creationId xmlns:a16="http://schemas.microsoft.com/office/drawing/2014/main" id="{B60952FD-B219-4DF7-AF41-1C75876F83BF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36" name="Rechthoek 168">
                    <a:extLst>
                      <a:ext uri="{FF2B5EF4-FFF2-40B4-BE49-F238E27FC236}">
                        <a16:creationId xmlns:a16="http://schemas.microsoft.com/office/drawing/2014/main" id="{08019ECC-11EB-43DC-AFCD-DF3199F0D4E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7" name="Pijl: punthaak 169">
                    <a:extLst>
                      <a:ext uri="{FF2B5EF4-FFF2-40B4-BE49-F238E27FC236}">
                        <a16:creationId xmlns:a16="http://schemas.microsoft.com/office/drawing/2014/main" id="{02328CFC-DD90-403D-BC10-5270E3C2230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06" name="Rechte verbindingslijn 136">
                <a:extLst>
                  <a:ext uri="{FF2B5EF4-FFF2-40B4-BE49-F238E27FC236}">
                    <a16:creationId xmlns:a16="http://schemas.microsoft.com/office/drawing/2014/main" id="{A7B7677D-36AA-4199-AF03-12CBF827734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07" name="Rechte verbindingslijn 137">
                <a:extLst>
                  <a:ext uri="{FF2B5EF4-FFF2-40B4-BE49-F238E27FC236}">
                    <a16:creationId xmlns:a16="http://schemas.microsoft.com/office/drawing/2014/main" id="{03F1E014-F753-4665-BC0E-C427E567ED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08" name="Groep 138">
                <a:extLst>
                  <a:ext uri="{FF2B5EF4-FFF2-40B4-BE49-F238E27FC236}">
                    <a16:creationId xmlns:a16="http://schemas.microsoft.com/office/drawing/2014/main" id="{37C75C16-9D37-4E0A-9D4E-21533047CC79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23" name="Rechthoek 155">
                  <a:extLst>
                    <a:ext uri="{FF2B5EF4-FFF2-40B4-BE49-F238E27FC236}">
                      <a16:creationId xmlns:a16="http://schemas.microsoft.com/office/drawing/2014/main" id="{52C858E4-FE31-4CD4-ADDA-136162DD82F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24" name="Groep 156">
                  <a:extLst>
                    <a:ext uri="{FF2B5EF4-FFF2-40B4-BE49-F238E27FC236}">
                      <a16:creationId xmlns:a16="http://schemas.microsoft.com/office/drawing/2014/main" id="{035E6949-6E16-4EF3-B780-EBD4E4BE9AB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25" name="Groep 157">
                    <a:extLst>
                      <a:ext uri="{FF2B5EF4-FFF2-40B4-BE49-F238E27FC236}">
                        <a16:creationId xmlns:a16="http://schemas.microsoft.com/office/drawing/2014/main" id="{1FE1CF85-D831-4AC9-ABF0-34F2DD8731F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29" name="Rechte verbindingslijn 161">
                      <a:extLst>
                        <a:ext uri="{FF2B5EF4-FFF2-40B4-BE49-F238E27FC236}">
                          <a16:creationId xmlns:a16="http://schemas.microsoft.com/office/drawing/2014/main" id="{B1B3F67C-30BE-403B-9B24-5B41CE1A4AA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0" name="Rechte verbindingslijn 162">
                      <a:extLst>
                        <a:ext uri="{FF2B5EF4-FFF2-40B4-BE49-F238E27FC236}">
                          <a16:creationId xmlns:a16="http://schemas.microsoft.com/office/drawing/2014/main" id="{0DE943F8-99ED-4D38-A644-354A5460941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1" name="Rechte verbindingslijn 163">
                      <a:extLst>
                        <a:ext uri="{FF2B5EF4-FFF2-40B4-BE49-F238E27FC236}">
                          <a16:creationId xmlns:a16="http://schemas.microsoft.com/office/drawing/2014/main" id="{9AB9DF86-CAE4-4DF1-B828-A7297CE082E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2" name="Rechte verbindingslijn 164">
                      <a:extLst>
                        <a:ext uri="{FF2B5EF4-FFF2-40B4-BE49-F238E27FC236}">
                          <a16:creationId xmlns:a16="http://schemas.microsoft.com/office/drawing/2014/main" id="{561AF589-D0BA-4A9B-B5ED-ABD1D97E67A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3" name="Rechte verbindingslijn 165">
                      <a:extLst>
                        <a:ext uri="{FF2B5EF4-FFF2-40B4-BE49-F238E27FC236}">
                          <a16:creationId xmlns:a16="http://schemas.microsoft.com/office/drawing/2014/main" id="{6BB8F131-26BF-4F0C-952D-C8A88BA140A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26" name="Groep 158">
                    <a:extLst>
                      <a:ext uri="{FF2B5EF4-FFF2-40B4-BE49-F238E27FC236}">
                        <a16:creationId xmlns:a16="http://schemas.microsoft.com/office/drawing/2014/main" id="{9E47C545-2484-454B-8A96-9662D4C7369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27" name="Rechthoek 159">
                      <a:extLst>
                        <a:ext uri="{FF2B5EF4-FFF2-40B4-BE49-F238E27FC236}">
                          <a16:creationId xmlns:a16="http://schemas.microsoft.com/office/drawing/2014/main" id="{9EF16859-1D76-45EA-95D5-1C84EE80F69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28" name="Pijl: punthaak 160">
                      <a:extLst>
                        <a:ext uri="{FF2B5EF4-FFF2-40B4-BE49-F238E27FC236}">
                          <a16:creationId xmlns:a16="http://schemas.microsoft.com/office/drawing/2014/main" id="{7799C6AF-48D4-4D2D-8EB0-99D9E282F8D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09" name="Groep 139">
                <a:extLst>
                  <a:ext uri="{FF2B5EF4-FFF2-40B4-BE49-F238E27FC236}">
                    <a16:creationId xmlns:a16="http://schemas.microsoft.com/office/drawing/2014/main" id="{57FFFA81-2EC7-43ED-81BD-20CC83FDD94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12" name="Rechthoek 142">
                  <a:extLst>
                    <a:ext uri="{FF2B5EF4-FFF2-40B4-BE49-F238E27FC236}">
                      <a16:creationId xmlns:a16="http://schemas.microsoft.com/office/drawing/2014/main" id="{38C31DCD-60DE-4271-B7F6-40150A353702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13" name="Groep 143">
                  <a:extLst>
                    <a:ext uri="{FF2B5EF4-FFF2-40B4-BE49-F238E27FC236}">
                      <a16:creationId xmlns:a16="http://schemas.microsoft.com/office/drawing/2014/main" id="{EB5D3051-FFA7-4B9A-AAB2-C9107AD33F7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14" name="Groep 144">
                    <a:extLst>
                      <a:ext uri="{FF2B5EF4-FFF2-40B4-BE49-F238E27FC236}">
                        <a16:creationId xmlns:a16="http://schemas.microsoft.com/office/drawing/2014/main" id="{D7C30D4B-9D74-474A-B9E5-3A3CB6098E1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18" name="Rechte verbindingslijn 150">
                      <a:extLst>
                        <a:ext uri="{FF2B5EF4-FFF2-40B4-BE49-F238E27FC236}">
                          <a16:creationId xmlns:a16="http://schemas.microsoft.com/office/drawing/2014/main" id="{5201577B-759A-49DB-9B95-9176C0FA2F9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9" name="Rechte verbindingslijn 151">
                      <a:extLst>
                        <a:ext uri="{FF2B5EF4-FFF2-40B4-BE49-F238E27FC236}">
                          <a16:creationId xmlns:a16="http://schemas.microsoft.com/office/drawing/2014/main" id="{A22F2502-D9F9-4F1C-8F3D-F42C1AF5532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0" name="Rechte verbindingslijn 152">
                      <a:extLst>
                        <a:ext uri="{FF2B5EF4-FFF2-40B4-BE49-F238E27FC236}">
                          <a16:creationId xmlns:a16="http://schemas.microsoft.com/office/drawing/2014/main" id="{2129D23D-5963-4821-86A0-9CF0D9CB0D7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1" name="Rechte verbindingslijn 153">
                      <a:extLst>
                        <a:ext uri="{FF2B5EF4-FFF2-40B4-BE49-F238E27FC236}">
                          <a16:creationId xmlns:a16="http://schemas.microsoft.com/office/drawing/2014/main" id="{A20AA3D3-04E8-492A-B6D8-8BE729286AC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2" name="Rechte verbindingslijn 154">
                      <a:extLst>
                        <a:ext uri="{FF2B5EF4-FFF2-40B4-BE49-F238E27FC236}">
                          <a16:creationId xmlns:a16="http://schemas.microsoft.com/office/drawing/2014/main" id="{E20EBDDC-D8AA-460A-85F4-5817E445CBC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5" name="Groep 147">
                    <a:extLst>
                      <a:ext uri="{FF2B5EF4-FFF2-40B4-BE49-F238E27FC236}">
                        <a16:creationId xmlns:a16="http://schemas.microsoft.com/office/drawing/2014/main" id="{A8D2A786-C025-4816-B13F-7A73A1161D98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6" name="Rechthoek 148">
                      <a:extLst>
                        <a:ext uri="{FF2B5EF4-FFF2-40B4-BE49-F238E27FC236}">
                          <a16:creationId xmlns:a16="http://schemas.microsoft.com/office/drawing/2014/main" id="{EB018AC6-7E0F-478B-9049-05A4AB1CCE1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17" name="Pijl: punthaak 149">
                      <a:extLst>
                        <a:ext uri="{FF2B5EF4-FFF2-40B4-BE49-F238E27FC236}">
                          <a16:creationId xmlns:a16="http://schemas.microsoft.com/office/drawing/2014/main" id="{FBB6F124-B31B-444C-A6B9-55BDD7C6B60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10" name="Rechthoek 140">
                <a:extLst>
                  <a:ext uri="{FF2B5EF4-FFF2-40B4-BE49-F238E27FC236}">
                    <a16:creationId xmlns:a16="http://schemas.microsoft.com/office/drawing/2014/main" id="{C253A169-87E9-4E85-833C-4DA4CC89A103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211" name="Rechthoek 141">
                <a:extLst>
                  <a:ext uri="{FF2B5EF4-FFF2-40B4-BE49-F238E27FC236}">
                    <a16:creationId xmlns:a16="http://schemas.microsoft.com/office/drawing/2014/main" id="{B58B4BB1-2A82-4A05-AAA8-F7CDE955FBCC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95" name="Rechte verbindingslijn 106">
              <a:extLst>
                <a:ext uri="{FF2B5EF4-FFF2-40B4-BE49-F238E27FC236}">
                  <a16:creationId xmlns:a16="http://schemas.microsoft.com/office/drawing/2014/main" id="{CFFBA893-7635-4373-8FE1-1E4FFA41D88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6" name="Rechthoek 107">
              <a:extLst>
                <a:ext uri="{FF2B5EF4-FFF2-40B4-BE49-F238E27FC236}">
                  <a16:creationId xmlns:a16="http://schemas.microsoft.com/office/drawing/2014/main" id="{3C2E566F-715E-46C0-B6EC-4591D7FC1F80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97" name="Ovaal 108">
              <a:extLst>
                <a:ext uri="{FF2B5EF4-FFF2-40B4-BE49-F238E27FC236}">
                  <a16:creationId xmlns:a16="http://schemas.microsoft.com/office/drawing/2014/main" id="{7F707FFA-F730-458D-B71B-1D92EC1DDEF1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98" name="Rechthoek 109">
              <a:extLst>
                <a:ext uri="{FF2B5EF4-FFF2-40B4-BE49-F238E27FC236}">
                  <a16:creationId xmlns:a16="http://schemas.microsoft.com/office/drawing/2014/main" id="{21A190AA-481C-447D-A4CA-9FF7079BAFA1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99" name="Ovaal 110">
              <a:extLst>
                <a:ext uri="{FF2B5EF4-FFF2-40B4-BE49-F238E27FC236}">
                  <a16:creationId xmlns:a16="http://schemas.microsoft.com/office/drawing/2014/main" id="{89FDB587-7218-4128-ADA6-D0B10655E3CD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0" name="Rechthoek 111">
              <a:extLst>
                <a:ext uri="{FF2B5EF4-FFF2-40B4-BE49-F238E27FC236}">
                  <a16:creationId xmlns:a16="http://schemas.microsoft.com/office/drawing/2014/main" id="{40F1166A-B49F-4EEA-8405-7244D5C3AEB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1" name="Ovaal 112">
              <a:extLst>
                <a:ext uri="{FF2B5EF4-FFF2-40B4-BE49-F238E27FC236}">
                  <a16:creationId xmlns:a16="http://schemas.microsoft.com/office/drawing/2014/main" id="{0548718A-613A-4319-948B-72344DB6EA6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113">
              <a:extLst>
                <a:ext uri="{FF2B5EF4-FFF2-40B4-BE49-F238E27FC236}">
                  <a16:creationId xmlns:a16="http://schemas.microsoft.com/office/drawing/2014/main" id="{828F1095-7690-43DE-9F4E-6E30B3C174A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147" name="Ovaal 114">
              <a:extLst>
                <a:ext uri="{FF2B5EF4-FFF2-40B4-BE49-F238E27FC236}">
                  <a16:creationId xmlns:a16="http://schemas.microsoft.com/office/drawing/2014/main" id="{E9ACD3E2-0EEA-4F06-8DF2-2EDF08322D0C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5" name="Rechthoek 115">
              <a:extLst>
                <a:ext uri="{FF2B5EF4-FFF2-40B4-BE49-F238E27FC236}">
                  <a16:creationId xmlns:a16="http://schemas.microsoft.com/office/drawing/2014/main" id="{AC41B43D-08F1-4304-BD38-C8343E5AD754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186" name="Rechte verbindingslijn 116">
              <a:extLst>
                <a:ext uri="{FF2B5EF4-FFF2-40B4-BE49-F238E27FC236}">
                  <a16:creationId xmlns:a16="http://schemas.microsoft.com/office/drawing/2014/main" id="{E5DDCEC0-8EED-4BAC-8B9E-352EEB83970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87" name="Meer informatie">
              <a:extLst>
                <a:ext uri="{FF2B5EF4-FFF2-40B4-BE49-F238E27FC236}">
                  <a16:creationId xmlns:a16="http://schemas.microsoft.com/office/drawing/2014/main" id="{758C865C-C19A-4EFD-893A-027B25014C39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197" name="Freeform 101">
                <a:extLst>
                  <a:ext uri="{FF2B5EF4-FFF2-40B4-BE49-F238E27FC236}">
                    <a16:creationId xmlns:a16="http://schemas.microsoft.com/office/drawing/2014/main" id="{7858FFFD-E549-4B3D-812A-5D7DFD8CB26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198" name="Rechthoek 128">
                <a:extLst>
                  <a:ext uri="{FF2B5EF4-FFF2-40B4-BE49-F238E27FC236}">
                    <a16:creationId xmlns:a16="http://schemas.microsoft.com/office/drawing/2014/main" id="{B0FD782D-F60C-4F03-AC89-7906BFAE3D05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99" name="Rechte verbindingslijn 129">
                <a:extLst>
                  <a:ext uri="{FF2B5EF4-FFF2-40B4-BE49-F238E27FC236}">
                    <a16:creationId xmlns:a16="http://schemas.microsoft.com/office/drawing/2014/main" id="{D0EA2925-AC2F-4560-921B-B62DFF70FBC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88" name="Rechthoek 118">
              <a:extLst>
                <a:ext uri="{FF2B5EF4-FFF2-40B4-BE49-F238E27FC236}">
                  <a16:creationId xmlns:a16="http://schemas.microsoft.com/office/drawing/2014/main" id="{D78844F8-83C2-46CF-96EA-53630A7C6CE3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189" name="Ovaal 119">
              <a:extLst>
                <a:ext uri="{FF2B5EF4-FFF2-40B4-BE49-F238E27FC236}">
                  <a16:creationId xmlns:a16="http://schemas.microsoft.com/office/drawing/2014/main" id="{6822EA46-03B6-432E-99DA-AC78FD55D026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90" name="Rechthoek 120">
              <a:extLst>
                <a:ext uri="{FF2B5EF4-FFF2-40B4-BE49-F238E27FC236}">
                  <a16:creationId xmlns:a16="http://schemas.microsoft.com/office/drawing/2014/main" id="{E52BFE46-0522-4503-8782-CF4ACFB81D20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91" name="Ovaal 121">
              <a:extLst>
                <a:ext uri="{FF2B5EF4-FFF2-40B4-BE49-F238E27FC236}">
                  <a16:creationId xmlns:a16="http://schemas.microsoft.com/office/drawing/2014/main" id="{16194C3D-32D0-4012-BE6F-F6A86344525D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92" name="Rechthoek 122">
              <a:extLst>
                <a:ext uri="{FF2B5EF4-FFF2-40B4-BE49-F238E27FC236}">
                  <a16:creationId xmlns:a16="http://schemas.microsoft.com/office/drawing/2014/main" id="{8F07DAB8-6EB9-488A-A442-F71E57DCFE1A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193" name="Ovaal 123">
              <a:extLst>
                <a:ext uri="{FF2B5EF4-FFF2-40B4-BE49-F238E27FC236}">
                  <a16:creationId xmlns:a16="http://schemas.microsoft.com/office/drawing/2014/main" id="{16D7BF4A-5B99-4627-9634-FC27EE9F0BFD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94" name="Rechthoek 124">
              <a:extLst>
                <a:ext uri="{FF2B5EF4-FFF2-40B4-BE49-F238E27FC236}">
                  <a16:creationId xmlns:a16="http://schemas.microsoft.com/office/drawing/2014/main" id="{8DEE18EE-0F6F-41E2-BC47-3856B49496C7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95" name="Rechthoek 125">
              <a:extLst>
                <a:ext uri="{FF2B5EF4-FFF2-40B4-BE49-F238E27FC236}">
                  <a16:creationId xmlns:a16="http://schemas.microsoft.com/office/drawing/2014/main" id="{8A7506A1-81B2-4033-95DC-64483E8E9EC8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196" name="Ovaal 126">
              <a:extLst>
                <a:ext uri="{FF2B5EF4-FFF2-40B4-BE49-F238E27FC236}">
                  <a16:creationId xmlns:a16="http://schemas.microsoft.com/office/drawing/2014/main" id="{ADE05DBE-5B97-472C-8812-37EA03C7CD71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  <p:pic>
        <p:nvPicPr>
          <p:cNvPr id="103" name="Afbeelding 102">
            <a:extLst>
              <a:ext uri="{FF2B5EF4-FFF2-40B4-BE49-F238E27FC236}">
                <a16:creationId xmlns:a16="http://schemas.microsoft.com/office/drawing/2014/main" id="{8E048147-F86F-41C9-80AF-EAB545EEC3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7782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100% Kolomm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">
            <a:extLst>
              <a:ext uri="{FF2B5EF4-FFF2-40B4-BE49-F238E27FC236}">
                <a16:creationId xmlns:a16="http://schemas.microsoft.com/office/drawing/2014/main" id="{1C9A417D-54A5-4A71-8B81-7526013FD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B97E484-7855-4B8D-9492-641CD9CF34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32" name="Tijdelijke aanduiding voor datum 3">
            <a:extLst>
              <a:ext uri="{FF2B5EF4-FFF2-40B4-BE49-F238E27FC236}">
                <a16:creationId xmlns:a16="http://schemas.microsoft.com/office/drawing/2014/main" id="{6354BF0C-BC33-44FF-BF92-624A7D6DA1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1EB8EFDF-A3EC-46A8-9B15-FE22A84EA0AA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33" name="Tijdelijke aanduiding voor voettekst 4">
            <a:extLst>
              <a:ext uri="{FF2B5EF4-FFF2-40B4-BE49-F238E27FC236}">
                <a16:creationId xmlns:a16="http://schemas.microsoft.com/office/drawing/2014/main" id="{20812B2F-B80B-4623-8A5A-F50D2B9A2D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4" name="Tijdelijke aanduiding voor dianummer 5">
            <a:extLst>
              <a:ext uri="{FF2B5EF4-FFF2-40B4-BE49-F238E27FC236}">
                <a16:creationId xmlns:a16="http://schemas.microsoft.com/office/drawing/2014/main" id="{DF970716-837B-4314-A35A-D69EAD1B74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9" y="27329718"/>
            <a:ext cx="899256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grpSp>
        <p:nvGrpSpPr>
          <p:cNvPr id="95" name="Groep 101">
            <a:extLst>
              <a:ext uri="{FF2B5EF4-FFF2-40B4-BE49-F238E27FC236}">
                <a16:creationId xmlns:a16="http://schemas.microsoft.com/office/drawing/2014/main" id="{25FA3359-1475-43BD-82F1-B0022B09053A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96" name="Rechthoek 102">
              <a:extLst>
                <a:ext uri="{FF2B5EF4-FFF2-40B4-BE49-F238E27FC236}">
                  <a16:creationId xmlns:a16="http://schemas.microsoft.com/office/drawing/2014/main" id="{FF1C0D48-82B7-483A-A757-142584CF0D6E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97" name="Ovaal 103">
              <a:extLst>
                <a:ext uri="{FF2B5EF4-FFF2-40B4-BE49-F238E27FC236}">
                  <a16:creationId xmlns:a16="http://schemas.microsoft.com/office/drawing/2014/main" id="{9435A61C-0FE3-4FE9-ACA9-3443B26E8DA5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104">
              <a:extLst>
                <a:ext uri="{FF2B5EF4-FFF2-40B4-BE49-F238E27FC236}">
                  <a16:creationId xmlns:a16="http://schemas.microsoft.com/office/drawing/2014/main" id="{6DB50E51-89F5-4258-AF41-82B4025CF7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99" name="Groep 105">
              <a:extLst>
                <a:ext uri="{FF2B5EF4-FFF2-40B4-BE49-F238E27FC236}">
                  <a16:creationId xmlns:a16="http://schemas.microsoft.com/office/drawing/2014/main" id="{C5963FBC-B98F-4462-A610-6E3F0A55E63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24" name="Rechthoek 130">
                <a:extLst>
                  <a:ext uri="{FF2B5EF4-FFF2-40B4-BE49-F238E27FC236}">
                    <a16:creationId xmlns:a16="http://schemas.microsoft.com/office/drawing/2014/main" id="{72664264-D5B6-4A0F-83A3-CD3B59E4079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125" name="Rechte verbindingslijn 131">
                <a:extLst>
                  <a:ext uri="{FF2B5EF4-FFF2-40B4-BE49-F238E27FC236}">
                    <a16:creationId xmlns:a16="http://schemas.microsoft.com/office/drawing/2014/main" id="{4DBF7CB1-D920-4084-BBC0-9CA96DBB5FF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Rechte verbindingslijn 132">
                <a:extLst>
                  <a:ext uri="{FF2B5EF4-FFF2-40B4-BE49-F238E27FC236}">
                    <a16:creationId xmlns:a16="http://schemas.microsoft.com/office/drawing/2014/main" id="{AD0FFB3D-E62E-4A65-89DE-E6BF07E0D46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7" name="Rechthoek 133">
                <a:extLst>
                  <a:ext uri="{FF2B5EF4-FFF2-40B4-BE49-F238E27FC236}">
                    <a16:creationId xmlns:a16="http://schemas.microsoft.com/office/drawing/2014/main" id="{898A7F02-A273-40EB-8661-528D06298DCD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8" name="Groep 134">
                <a:extLst>
                  <a:ext uri="{FF2B5EF4-FFF2-40B4-BE49-F238E27FC236}">
                    <a16:creationId xmlns:a16="http://schemas.microsoft.com/office/drawing/2014/main" id="{F88FF70A-4D0E-4882-992E-B87A47696573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67" name="Groep 175">
                  <a:extLst>
                    <a:ext uri="{FF2B5EF4-FFF2-40B4-BE49-F238E27FC236}">
                      <a16:creationId xmlns:a16="http://schemas.microsoft.com/office/drawing/2014/main" id="{054E4156-8B32-40CB-A0BA-8D4D395DBD8E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71" name="Rechte verbindingslijn 179">
                    <a:extLst>
                      <a:ext uri="{FF2B5EF4-FFF2-40B4-BE49-F238E27FC236}">
                        <a16:creationId xmlns:a16="http://schemas.microsoft.com/office/drawing/2014/main" id="{92FEA4B1-7DC4-46F2-933F-C21523AD574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2" name="Rechte verbindingslijn 180">
                    <a:extLst>
                      <a:ext uri="{FF2B5EF4-FFF2-40B4-BE49-F238E27FC236}">
                        <a16:creationId xmlns:a16="http://schemas.microsoft.com/office/drawing/2014/main" id="{4848CF09-3191-4E0B-9C82-B5EC873DD79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3" name="Rechte verbindingslijn 181">
                    <a:extLst>
                      <a:ext uri="{FF2B5EF4-FFF2-40B4-BE49-F238E27FC236}">
                        <a16:creationId xmlns:a16="http://schemas.microsoft.com/office/drawing/2014/main" id="{25DF4ABD-64DA-41AC-993B-65B1D13BD75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4" name="Rechte verbindingslijn 182">
                    <a:extLst>
                      <a:ext uri="{FF2B5EF4-FFF2-40B4-BE49-F238E27FC236}">
                        <a16:creationId xmlns:a16="http://schemas.microsoft.com/office/drawing/2014/main" id="{91464B69-BD3F-475A-8709-80CAD8CDB53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5" name="Rechte verbindingslijn 183">
                    <a:extLst>
                      <a:ext uri="{FF2B5EF4-FFF2-40B4-BE49-F238E27FC236}">
                        <a16:creationId xmlns:a16="http://schemas.microsoft.com/office/drawing/2014/main" id="{4EC84034-3082-4C5C-9459-F01C0B00189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68" name="Groep 176">
                  <a:extLst>
                    <a:ext uri="{FF2B5EF4-FFF2-40B4-BE49-F238E27FC236}">
                      <a16:creationId xmlns:a16="http://schemas.microsoft.com/office/drawing/2014/main" id="{316D08EA-4E38-4C8C-ABA1-1B77EFFACE5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9" name="Rechthoek 177">
                    <a:extLst>
                      <a:ext uri="{FF2B5EF4-FFF2-40B4-BE49-F238E27FC236}">
                        <a16:creationId xmlns:a16="http://schemas.microsoft.com/office/drawing/2014/main" id="{9A6FD9D3-AF5A-403C-BE27-8EBA4E86CB1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70" name="Pijl: punthaak 178">
                    <a:extLst>
                      <a:ext uri="{FF2B5EF4-FFF2-40B4-BE49-F238E27FC236}">
                        <a16:creationId xmlns:a16="http://schemas.microsoft.com/office/drawing/2014/main" id="{B5C38837-555F-421F-A359-F4733C2B9A8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29" name="Groep 135">
                <a:extLst>
                  <a:ext uri="{FF2B5EF4-FFF2-40B4-BE49-F238E27FC236}">
                    <a16:creationId xmlns:a16="http://schemas.microsoft.com/office/drawing/2014/main" id="{B314DAA2-6F97-439F-BC32-C0C86220DEB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58" name="Groep 166">
                  <a:extLst>
                    <a:ext uri="{FF2B5EF4-FFF2-40B4-BE49-F238E27FC236}">
                      <a16:creationId xmlns:a16="http://schemas.microsoft.com/office/drawing/2014/main" id="{5414A868-79C4-4702-A9EF-1DA1458A6B19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62" name="Rechte verbindingslijn 170">
                    <a:extLst>
                      <a:ext uri="{FF2B5EF4-FFF2-40B4-BE49-F238E27FC236}">
                        <a16:creationId xmlns:a16="http://schemas.microsoft.com/office/drawing/2014/main" id="{B876D009-BFB9-4E04-8B71-5315926AD7D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3" name="Rechte verbindingslijn 171">
                    <a:extLst>
                      <a:ext uri="{FF2B5EF4-FFF2-40B4-BE49-F238E27FC236}">
                        <a16:creationId xmlns:a16="http://schemas.microsoft.com/office/drawing/2014/main" id="{06B1F264-F895-42CA-BF2A-03AE63B911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4" name="Rechte verbindingslijn 172">
                    <a:extLst>
                      <a:ext uri="{FF2B5EF4-FFF2-40B4-BE49-F238E27FC236}">
                        <a16:creationId xmlns:a16="http://schemas.microsoft.com/office/drawing/2014/main" id="{325C6925-F009-4C29-8305-83B3E1F98AF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5" name="Rechte verbindingslijn 173">
                    <a:extLst>
                      <a:ext uri="{FF2B5EF4-FFF2-40B4-BE49-F238E27FC236}">
                        <a16:creationId xmlns:a16="http://schemas.microsoft.com/office/drawing/2014/main" id="{A72589D3-090C-4564-9D36-B96B8E66E52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6" name="Rechte verbindingslijn 174">
                    <a:extLst>
                      <a:ext uri="{FF2B5EF4-FFF2-40B4-BE49-F238E27FC236}">
                        <a16:creationId xmlns:a16="http://schemas.microsoft.com/office/drawing/2014/main" id="{41D4C1C1-1BFE-427A-94BD-EB0576D6936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59" name="Groep 167">
                  <a:extLst>
                    <a:ext uri="{FF2B5EF4-FFF2-40B4-BE49-F238E27FC236}">
                      <a16:creationId xmlns:a16="http://schemas.microsoft.com/office/drawing/2014/main" id="{D666937F-C483-44B7-BB75-14BCB8BAACD3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0" name="Rechthoek 168">
                    <a:extLst>
                      <a:ext uri="{FF2B5EF4-FFF2-40B4-BE49-F238E27FC236}">
                        <a16:creationId xmlns:a16="http://schemas.microsoft.com/office/drawing/2014/main" id="{02FA0E87-767E-41E2-80F0-55BBCB52C70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1" name="Pijl: punthaak 169">
                    <a:extLst>
                      <a:ext uri="{FF2B5EF4-FFF2-40B4-BE49-F238E27FC236}">
                        <a16:creationId xmlns:a16="http://schemas.microsoft.com/office/drawing/2014/main" id="{24727E74-B9E2-4452-8447-A51D5FC9701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30" name="Rechte verbindingslijn 136">
                <a:extLst>
                  <a:ext uri="{FF2B5EF4-FFF2-40B4-BE49-F238E27FC236}">
                    <a16:creationId xmlns:a16="http://schemas.microsoft.com/office/drawing/2014/main" id="{B065D754-812F-4A3A-9463-21D5B9B0565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31" name="Rechte verbindingslijn 137">
                <a:extLst>
                  <a:ext uri="{FF2B5EF4-FFF2-40B4-BE49-F238E27FC236}">
                    <a16:creationId xmlns:a16="http://schemas.microsoft.com/office/drawing/2014/main" id="{6A978F65-0AFD-4708-82D1-5AAA514C4F2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32" name="Groep 138">
                <a:extLst>
                  <a:ext uri="{FF2B5EF4-FFF2-40B4-BE49-F238E27FC236}">
                    <a16:creationId xmlns:a16="http://schemas.microsoft.com/office/drawing/2014/main" id="{179E4300-E869-4F3C-9373-3A6C4D088AE3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47" name="Rechthoek 155">
                  <a:extLst>
                    <a:ext uri="{FF2B5EF4-FFF2-40B4-BE49-F238E27FC236}">
                      <a16:creationId xmlns:a16="http://schemas.microsoft.com/office/drawing/2014/main" id="{D7100BF0-DF9A-42BB-B73B-69C7E8F42A22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48" name="Groep 156">
                  <a:extLst>
                    <a:ext uri="{FF2B5EF4-FFF2-40B4-BE49-F238E27FC236}">
                      <a16:creationId xmlns:a16="http://schemas.microsoft.com/office/drawing/2014/main" id="{2ABEDBFB-00FF-4B63-9361-CB7CDD423F21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49" name="Groep 157">
                    <a:extLst>
                      <a:ext uri="{FF2B5EF4-FFF2-40B4-BE49-F238E27FC236}">
                        <a16:creationId xmlns:a16="http://schemas.microsoft.com/office/drawing/2014/main" id="{EB8BCA74-A720-4390-A56A-FCAEE9F8A6F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53" name="Rechte verbindingslijn 161">
                      <a:extLst>
                        <a:ext uri="{FF2B5EF4-FFF2-40B4-BE49-F238E27FC236}">
                          <a16:creationId xmlns:a16="http://schemas.microsoft.com/office/drawing/2014/main" id="{5111F5D0-8C20-4E5A-B846-6E18D14A90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4" name="Rechte verbindingslijn 162">
                      <a:extLst>
                        <a:ext uri="{FF2B5EF4-FFF2-40B4-BE49-F238E27FC236}">
                          <a16:creationId xmlns:a16="http://schemas.microsoft.com/office/drawing/2014/main" id="{68E4990D-D55F-4917-8553-E1F3727312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5" name="Rechte verbindingslijn 163">
                      <a:extLst>
                        <a:ext uri="{FF2B5EF4-FFF2-40B4-BE49-F238E27FC236}">
                          <a16:creationId xmlns:a16="http://schemas.microsoft.com/office/drawing/2014/main" id="{20A3C2DC-45F6-48DD-AEFD-0145456027F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6" name="Rechte verbindingslijn 164">
                      <a:extLst>
                        <a:ext uri="{FF2B5EF4-FFF2-40B4-BE49-F238E27FC236}">
                          <a16:creationId xmlns:a16="http://schemas.microsoft.com/office/drawing/2014/main" id="{76D81C65-0586-42F9-8694-2593C20A22F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7" name="Rechte verbindingslijn 165">
                      <a:extLst>
                        <a:ext uri="{FF2B5EF4-FFF2-40B4-BE49-F238E27FC236}">
                          <a16:creationId xmlns:a16="http://schemas.microsoft.com/office/drawing/2014/main" id="{B68F5959-1407-4DAC-B406-2E63D39F294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50" name="Groep 158">
                    <a:extLst>
                      <a:ext uri="{FF2B5EF4-FFF2-40B4-BE49-F238E27FC236}">
                        <a16:creationId xmlns:a16="http://schemas.microsoft.com/office/drawing/2014/main" id="{C58235CE-61E8-4AB9-8EB2-0495E5EA7F4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51" name="Rechthoek 159">
                      <a:extLst>
                        <a:ext uri="{FF2B5EF4-FFF2-40B4-BE49-F238E27FC236}">
                          <a16:creationId xmlns:a16="http://schemas.microsoft.com/office/drawing/2014/main" id="{A4154A95-515C-4523-8450-1FC3E537B56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2" name="Pijl: punthaak 160">
                      <a:extLst>
                        <a:ext uri="{FF2B5EF4-FFF2-40B4-BE49-F238E27FC236}">
                          <a16:creationId xmlns:a16="http://schemas.microsoft.com/office/drawing/2014/main" id="{0E037ECF-ECF4-4C7F-A7C7-8158902E1A7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33" name="Groep 139">
                <a:extLst>
                  <a:ext uri="{FF2B5EF4-FFF2-40B4-BE49-F238E27FC236}">
                    <a16:creationId xmlns:a16="http://schemas.microsoft.com/office/drawing/2014/main" id="{45E17705-4D09-465E-950D-F31DCB79FE7A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36" name="Rechthoek 142">
                  <a:extLst>
                    <a:ext uri="{FF2B5EF4-FFF2-40B4-BE49-F238E27FC236}">
                      <a16:creationId xmlns:a16="http://schemas.microsoft.com/office/drawing/2014/main" id="{FA840D81-92AB-44A0-AE74-5DA1CC5D94D2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37" name="Groep 143">
                  <a:extLst>
                    <a:ext uri="{FF2B5EF4-FFF2-40B4-BE49-F238E27FC236}">
                      <a16:creationId xmlns:a16="http://schemas.microsoft.com/office/drawing/2014/main" id="{2C700782-113B-4FD8-88E4-9B6510384631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38" name="Groep 144">
                    <a:extLst>
                      <a:ext uri="{FF2B5EF4-FFF2-40B4-BE49-F238E27FC236}">
                        <a16:creationId xmlns:a16="http://schemas.microsoft.com/office/drawing/2014/main" id="{37AC3045-99F3-46E0-9021-79B4815A172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42" name="Rechte verbindingslijn 150">
                      <a:extLst>
                        <a:ext uri="{FF2B5EF4-FFF2-40B4-BE49-F238E27FC236}">
                          <a16:creationId xmlns:a16="http://schemas.microsoft.com/office/drawing/2014/main" id="{780D46D0-F946-4641-A5F7-FFDC8BCFB85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3" name="Rechte verbindingslijn 151">
                      <a:extLst>
                        <a:ext uri="{FF2B5EF4-FFF2-40B4-BE49-F238E27FC236}">
                          <a16:creationId xmlns:a16="http://schemas.microsoft.com/office/drawing/2014/main" id="{CAE80844-B5F0-4D86-95E2-FAE6D0A446A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4" name="Rechte verbindingslijn 152">
                      <a:extLst>
                        <a:ext uri="{FF2B5EF4-FFF2-40B4-BE49-F238E27FC236}">
                          <a16:creationId xmlns:a16="http://schemas.microsoft.com/office/drawing/2014/main" id="{04A02A86-A877-4E49-B879-3A908F4B866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5" name="Rechte verbindingslijn 153">
                      <a:extLst>
                        <a:ext uri="{FF2B5EF4-FFF2-40B4-BE49-F238E27FC236}">
                          <a16:creationId xmlns:a16="http://schemas.microsoft.com/office/drawing/2014/main" id="{F040B603-192E-45FC-9521-08FDEDE21D5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6" name="Rechte verbindingslijn 154">
                      <a:extLst>
                        <a:ext uri="{FF2B5EF4-FFF2-40B4-BE49-F238E27FC236}">
                          <a16:creationId xmlns:a16="http://schemas.microsoft.com/office/drawing/2014/main" id="{82B14A51-95C1-4DCB-8BFC-01DB8B01581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39" name="Groep 147">
                    <a:extLst>
                      <a:ext uri="{FF2B5EF4-FFF2-40B4-BE49-F238E27FC236}">
                        <a16:creationId xmlns:a16="http://schemas.microsoft.com/office/drawing/2014/main" id="{9E5768C7-0682-4CAB-89A8-68CAAC548F5A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40" name="Rechthoek 148">
                      <a:extLst>
                        <a:ext uri="{FF2B5EF4-FFF2-40B4-BE49-F238E27FC236}">
                          <a16:creationId xmlns:a16="http://schemas.microsoft.com/office/drawing/2014/main" id="{C0298C35-72E4-46B8-B2DE-3529D8AA29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41" name="Pijl: punthaak 149">
                      <a:extLst>
                        <a:ext uri="{FF2B5EF4-FFF2-40B4-BE49-F238E27FC236}">
                          <a16:creationId xmlns:a16="http://schemas.microsoft.com/office/drawing/2014/main" id="{C6E0EB1D-01AA-48EB-83EF-72A9DDE5418B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34" name="Rechthoek 140">
                <a:extLst>
                  <a:ext uri="{FF2B5EF4-FFF2-40B4-BE49-F238E27FC236}">
                    <a16:creationId xmlns:a16="http://schemas.microsoft.com/office/drawing/2014/main" id="{457DBA53-C4EA-41E6-BF32-1277C19B8824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135" name="Rechthoek 141">
                <a:extLst>
                  <a:ext uri="{FF2B5EF4-FFF2-40B4-BE49-F238E27FC236}">
                    <a16:creationId xmlns:a16="http://schemas.microsoft.com/office/drawing/2014/main" id="{30FB3E1A-3D27-4EE7-9F60-54BF22BC0ED5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100" name="Rechte verbindingslijn 106">
              <a:extLst>
                <a:ext uri="{FF2B5EF4-FFF2-40B4-BE49-F238E27FC236}">
                  <a16:creationId xmlns:a16="http://schemas.microsoft.com/office/drawing/2014/main" id="{6551E164-CE15-483E-916C-FB6A6DA2338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1" name="Rechthoek 107">
              <a:extLst>
                <a:ext uri="{FF2B5EF4-FFF2-40B4-BE49-F238E27FC236}">
                  <a16:creationId xmlns:a16="http://schemas.microsoft.com/office/drawing/2014/main" id="{718257E2-FB19-487D-A6A0-293C780B5779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102" name="Ovaal 108">
              <a:extLst>
                <a:ext uri="{FF2B5EF4-FFF2-40B4-BE49-F238E27FC236}">
                  <a16:creationId xmlns:a16="http://schemas.microsoft.com/office/drawing/2014/main" id="{C7125CDC-47FA-4F4E-9562-9FC7D654B0E9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9">
              <a:extLst>
                <a:ext uri="{FF2B5EF4-FFF2-40B4-BE49-F238E27FC236}">
                  <a16:creationId xmlns:a16="http://schemas.microsoft.com/office/drawing/2014/main" id="{C94582B4-1D28-47D1-89A3-9D2ED99DF5F3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104" name="Ovaal 110">
              <a:extLst>
                <a:ext uri="{FF2B5EF4-FFF2-40B4-BE49-F238E27FC236}">
                  <a16:creationId xmlns:a16="http://schemas.microsoft.com/office/drawing/2014/main" id="{0005EFCB-853A-44A5-8220-163CCEF4904A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5" name="Rechthoek 111">
              <a:extLst>
                <a:ext uri="{FF2B5EF4-FFF2-40B4-BE49-F238E27FC236}">
                  <a16:creationId xmlns:a16="http://schemas.microsoft.com/office/drawing/2014/main" id="{6430FEE2-B4AD-4D2D-B284-D74C0121299E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6" name="Ovaal 112">
              <a:extLst>
                <a:ext uri="{FF2B5EF4-FFF2-40B4-BE49-F238E27FC236}">
                  <a16:creationId xmlns:a16="http://schemas.microsoft.com/office/drawing/2014/main" id="{46A02CA7-AB6C-4ED5-9403-8CE27DD5B5BB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07" name="Rechthoek 113">
              <a:extLst>
                <a:ext uri="{FF2B5EF4-FFF2-40B4-BE49-F238E27FC236}">
                  <a16:creationId xmlns:a16="http://schemas.microsoft.com/office/drawing/2014/main" id="{485FF167-E60D-4806-981A-41E3B4D13D1A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108" name="Ovaal 114">
              <a:extLst>
                <a:ext uri="{FF2B5EF4-FFF2-40B4-BE49-F238E27FC236}">
                  <a16:creationId xmlns:a16="http://schemas.microsoft.com/office/drawing/2014/main" id="{6B7D75B0-0AC7-455C-8E88-6A62EB873757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09" name="Rechthoek 115">
              <a:extLst>
                <a:ext uri="{FF2B5EF4-FFF2-40B4-BE49-F238E27FC236}">
                  <a16:creationId xmlns:a16="http://schemas.microsoft.com/office/drawing/2014/main" id="{4EFC6EAB-EBE4-4D4D-9865-346778A4C78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110" name="Rechte verbindingslijn 116">
              <a:extLst>
                <a:ext uri="{FF2B5EF4-FFF2-40B4-BE49-F238E27FC236}">
                  <a16:creationId xmlns:a16="http://schemas.microsoft.com/office/drawing/2014/main" id="{BB5E66A4-1362-4C44-8513-6F054E51A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11" name="Meer informatie">
              <a:extLst>
                <a:ext uri="{FF2B5EF4-FFF2-40B4-BE49-F238E27FC236}">
                  <a16:creationId xmlns:a16="http://schemas.microsoft.com/office/drawing/2014/main" id="{3E3BB4BC-B0D2-4D47-93CD-A7B24F5C24C5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121" name="Freeform 101">
                <a:extLst>
                  <a:ext uri="{FF2B5EF4-FFF2-40B4-BE49-F238E27FC236}">
                    <a16:creationId xmlns:a16="http://schemas.microsoft.com/office/drawing/2014/main" id="{DFD340A5-2AA1-4639-AC15-CEF17C4952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122" name="Rechthoek 128">
                <a:extLst>
                  <a:ext uri="{FF2B5EF4-FFF2-40B4-BE49-F238E27FC236}">
                    <a16:creationId xmlns:a16="http://schemas.microsoft.com/office/drawing/2014/main" id="{8AF2751A-52FB-4EC1-A23E-8F9D35D74A9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3" name="Rechte verbindingslijn 129">
                <a:extLst>
                  <a:ext uri="{FF2B5EF4-FFF2-40B4-BE49-F238E27FC236}">
                    <a16:creationId xmlns:a16="http://schemas.microsoft.com/office/drawing/2014/main" id="{C6949D13-4FE4-430E-BA70-C1F7795A3AD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12" name="Rechthoek 118">
              <a:extLst>
                <a:ext uri="{FF2B5EF4-FFF2-40B4-BE49-F238E27FC236}">
                  <a16:creationId xmlns:a16="http://schemas.microsoft.com/office/drawing/2014/main" id="{998B6FB4-8697-4D4C-8378-D30EF48B226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113" name="Ovaal 119">
              <a:extLst>
                <a:ext uri="{FF2B5EF4-FFF2-40B4-BE49-F238E27FC236}">
                  <a16:creationId xmlns:a16="http://schemas.microsoft.com/office/drawing/2014/main" id="{1CCF17F4-62D2-42A3-BE46-FBFE2B96CDB5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14" name="Rechthoek 120">
              <a:extLst>
                <a:ext uri="{FF2B5EF4-FFF2-40B4-BE49-F238E27FC236}">
                  <a16:creationId xmlns:a16="http://schemas.microsoft.com/office/drawing/2014/main" id="{83D59E2F-ABDC-47F5-A608-E3BEB5F0D83F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15" name="Ovaal 121">
              <a:extLst>
                <a:ext uri="{FF2B5EF4-FFF2-40B4-BE49-F238E27FC236}">
                  <a16:creationId xmlns:a16="http://schemas.microsoft.com/office/drawing/2014/main" id="{D8849116-73ED-4C5D-BBEF-20DECB877225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16" name="Rechthoek 122">
              <a:extLst>
                <a:ext uri="{FF2B5EF4-FFF2-40B4-BE49-F238E27FC236}">
                  <a16:creationId xmlns:a16="http://schemas.microsoft.com/office/drawing/2014/main" id="{B3D481FD-5666-4CB5-83C0-C566CB463678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117" name="Ovaal 123">
              <a:extLst>
                <a:ext uri="{FF2B5EF4-FFF2-40B4-BE49-F238E27FC236}">
                  <a16:creationId xmlns:a16="http://schemas.microsoft.com/office/drawing/2014/main" id="{08CB1EA8-EE9D-485D-8B6E-9AE1CD4D13A5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18" name="Rechthoek 124">
              <a:extLst>
                <a:ext uri="{FF2B5EF4-FFF2-40B4-BE49-F238E27FC236}">
                  <a16:creationId xmlns:a16="http://schemas.microsoft.com/office/drawing/2014/main" id="{A8E8EC8E-14FF-4299-9E20-5925C2674DDF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19" name="Rechthoek 125">
              <a:extLst>
                <a:ext uri="{FF2B5EF4-FFF2-40B4-BE49-F238E27FC236}">
                  <a16:creationId xmlns:a16="http://schemas.microsoft.com/office/drawing/2014/main" id="{8090592C-6129-4557-90D7-4A6262B8C795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120" name="Ovaal 126">
              <a:extLst>
                <a:ext uri="{FF2B5EF4-FFF2-40B4-BE49-F238E27FC236}">
                  <a16:creationId xmlns:a16="http://schemas.microsoft.com/office/drawing/2014/main" id="{F06906F1-FF2B-42B0-94E4-BB5AE41D9C0A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  <p:sp>
        <p:nvSpPr>
          <p:cNvPr id="90" name="Tijdelijke aanduiding voor verticale tekst 2">
            <a:extLst>
              <a:ext uri="{FF2B5EF4-FFF2-40B4-BE49-F238E27FC236}">
                <a16:creationId xmlns:a16="http://schemas.microsoft.com/office/drawing/2014/main" id="{BDC964F3-713E-4B53-BB28-52B5ACE9F960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742374" y="6476677"/>
            <a:ext cx="39282480" cy="19046186"/>
          </a:xfrm>
        </p:spPr>
        <p:txBody>
          <a:bodyPr vert="horz" numCol="2" spcCol="576000"/>
          <a:lstStyle>
            <a:lvl1pPr>
              <a:defRPr sz="5612"/>
            </a:lvl1pPr>
            <a:lvl2pPr>
              <a:defRPr sz="4911"/>
            </a:lvl2pPr>
            <a:lvl3pPr>
              <a:defRPr sz="4911"/>
            </a:lvl3pPr>
            <a:lvl4pPr>
              <a:defRPr sz="4911"/>
            </a:lvl4pPr>
            <a:lvl5pPr>
              <a:defRPr sz="4911"/>
            </a:lvl5pPr>
            <a:lvl6pPr marL="1269631" indent="-634816">
              <a:buFont typeface="Arial" panose="020B0604020202020204" pitchFamily="34" charset="0"/>
              <a:buChar char="•"/>
              <a:defRPr sz="4209" baseline="0">
                <a:latin typeface="+mj-lt"/>
              </a:defRPr>
            </a:lvl6pPr>
            <a:lvl7pPr>
              <a:defRPr sz="4911"/>
            </a:lvl7pPr>
            <a:lvl8pPr>
              <a:defRPr sz="4209"/>
            </a:lvl8pPr>
            <a:lvl9pPr>
              <a:defRPr sz="8419"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pic>
        <p:nvPicPr>
          <p:cNvPr id="91" name="Afbeelding 90">
            <a:extLst>
              <a:ext uri="{FF2B5EF4-FFF2-40B4-BE49-F238E27FC236}">
                <a16:creationId xmlns:a16="http://schemas.microsoft.com/office/drawing/2014/main" id="{2BBB23CB-7F4B-419B-AEE2-1E578FE5BA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064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0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9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100% Kolommen + F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">
            <a:extLst>
              <a:ext uri="{FF2B5EF4-FFF2-40B4-BE49-F238E27FC236}">
                <a16:creationId xmlns:a16="http://schemas.microsoft.com/office/drawing/2014/main" id="{1C9A417D-54A5-4A71-8B81-7526013FD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B97E484-7855-4B8D-9492-641CD9CF34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32" name="Tijdelijke aanduiding voor datum 3">
            <a:extLst>
              <a:ext uri="{FF2B5EF4-FFF2-40B4-BE49-F238E27FC236}">
                <a16:creationId xmlns:a16="http://schemas.microsoft.com/office/drawing/2014/main" id="{6354BF0C-BC33-44FF-BF92-624A7D6DA1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F7D9B3A1-AD20-4AC8-A938-A3B5CD41AC74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33" name="Tijdelijke aanduiding voor voettekst 4">
            <a:extLst>
              <a:ext uri="{FF2B5EF4-FFF2-40B4-BE49-F238E27FC236}">
                <a16:creationId xmlns:a16="http://schemas.microsoft.com/office/drawing/2014/main" id="{20812B2F-B80B-4623-8A5A-F50D2B9A2D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4" name="Tijdelijke aanduiding voor dianummer 5">
            <a:extLst>
              <a:ext uri="{FF2B5EF4-FFF2-40B4-BE49-F238E27FC236}">
                <a16:creationId xmlns:a16="http://schemas.microsoft.com/office/drawing/2014/main" id="{DF970716-837B-4314-A35A-D69EAD1B74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9" y="27329718"/>
            <a:ext cx="966080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5" name="Tijdelijke aanduiding voor afbeelding 4">
            <a:extLst>
              <a:ext uri="{FF2B5EF4-FFF2-40B4-BE49-F238E27FC236}">
                <a16:creationId xmlns:a16="http://schemas.microsoft.com/office/drawing/2014/main" id="{4F177409-F5CC-48CA-85EE-1118845B542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2420194" y="16336005"/>
            <a:ext cx="18604073" cy="9215717"/>
          </a:xfrm>
          <a:solidFill>
            <a:schemeClr val="bg1">
              <a:lumMod val="95000"/>
            </a:schemeClr>
          </a:solidFill>
        </p:spPr>
        <p:txBody>
          <a:bodyPr vert="horz" lIns="0" tIns="1260000" rIns="0" bIns="0" rtlCol="0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lang="nl-NL" sz="4209" b="0" i="1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23677" lvl="0" indent="-623677" algn="ctr"/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grpSp>
        <p:nvGrpSpPr>
          <p:cNvPr id="259" name="Groep 258">
            <a:extLst>
              <a:ext uri="{FF2B5EF4-FFF2-40B4-BE49-F238E27FC236}">
                <a16:creationId xmlns:a16="http://schemas.microsoft.com/office/drawing/2014/main" id="{24CEAA6A-AC17-46F9-9B7D-941BA60EBEA3}"/>
              </a:ext>
            </a:extLst>
          </p:cNvPr>
          <p:cNvGrpSpPr/>
          <p:nvPr userDrawn="1"/>
        </p:nvGrpSpPr>
        <p:grpSpPr>
          <a:xfrm>
            <a:off x="43467416" y="5"/>
            <a:ext cx="11167745" cy="23084356"/>
            <a:chOff x="12391601" y="0"/>
            <a:chExt cx="3183678" cy="5229113"/>
          </a:xfrm>
        </p:grpSpPr>
        <p:grpSp>
          <p:nvGrpSpPr>
            <p:cNvPr id="260" name="Meer informatie">
              <a:extLst>
                <a:ext uri="{FF2B5EF4-FFF2-40B4-BE49-F238E27FC236}">
                  <a16:creationId xmlns:a16="http://schemas.microsoft.com/office/drawing/2014/main" id="{9BEC62F2-BD85-43C9-B603-D862489AF3FF}"/>
                </a:ext>
              </a:extLst>
            </p:cNvPr>
            <p:cNvGrpSpPr/>
            <p:nvPr userDrawn="1"/>
          </p:nvGrpSpPr>
          <p:grpSpPr>
            <a:xfrm>
              <a:off x="12396764" y="4445840"/>
              <a:ext cx="3178515" cy="783273"/>
              <a:chOff x="-3741486" y="3386444"/>
              <a:chExt cx="3178515" cy="783273"/>
            </a:xfrm>
          </p:grpSpPr>
          <p:sp>
            <p:nvSpPr>
              <p:cNvPr id="306" name="Freeform 101">
                <a:extLst>
                  <a:ext uri="{FF2B5EF4-FFF2-40B4-BE49-F238E27FC236}">
                    <a16:creationId xmlns:a16="http://schemas.microsoft.com/office/drawing/2014/main" id="{E875B604-4BEB-4955-9379-B5EAE9EB7D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307" name="Rechthoek 306">
                <a:extLst>
                  <a:ext uri="{FF2B5EF4-FFF2-40B4-BE49-F238E27FC236}">
                    <a16:creationId xmlns:a16="http://schemas.microsoft.com/office/drawing/2014/main" id="{B57B25F4-3895-4F3E-9C7E-8F1E9CB36B9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08" name="Rechte verbindingslijn 307">
                <a:extLst>
                  <a:ext uri="{FF2B5EF4-FFF2-40B4-BE49-F238E27FC236}">
                    <a16:creationId xmlns:a16="http://schemas.microsoft.com/office/drawing/2014/main" id="{5F7D4643-B1E9-4798-B3F0-83596585C41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61" name="Rechthoek 260">
              <a:extLst>
                <a:ext uri="{FF2B5EF4-FFF2-40B4-BE49-F238E27FC236}">
                  <a16:creationId xmlns:a16="http://schemas.microsoft.com/office/drawing/2014/main" id="{19ECF3CE-DB2E-4980-92F4-B8E83570DDB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262" name="Ovaal 261">
              <a:extLst>
                <a:ext uri="{FF2B5EF4-FFF2-40B4-BE49-F238E27FC236}">
                  <a16:creationId xmlns:a16="http://schemas.microsoft.com/office/drawing/2014/main" id="{31418D3D-56EC-4F9B-83AD-273AA2D078C9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63" name="Rechte verbindingslijn 262">
              <a:extLst>
                <a:ext uri="{FF2B5EF4-FFF2-40B4-BE49-F238E27FC236}">
                  <a16:creationId xmlns:a16="http://schemas.microsoft.com/office/drawing/2014/main" id="{796501FC-2296-4EBF-98DB-19627B55E40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64" name="Rechte verbindingslijn 263">
              <a:extLst>
                <a:ext uri="{FF2B5EF4-FFF2-40B4-BE49-F238E27FC236}">
                  <a16:creationId xmlns:a16="http://schemas.microsoft.com/office/drawing/2014/main" id="{4FB92C36-439C-4632-A214-58B510AFD96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65" name="Rechthoek 264">
              <a:extLst>
                <a:ext uri="{FF2B5EF4-FFF2-40B4-BE49-F238E27FC236}">
                  <a16:creationId xmlns:a16="http://schemas.microsoft.com/office/drawing/2014/main" id="{5AC634FD-A6CE-4AD8-B4F8-D35EC9B371CB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oor deze te selecteren en op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om een nieuwe afbeelding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266" name="Rechte verbindingslijn 265">
              <a:extLst>
                <a:ext uri="{FF2B5EF4-FFF2-40B4-BE49-F238E27FC236}">
                  <a16:creationId xmlns:a16="http://schemas.microsoft.com/office/drawing/2014/main" id="{43620546-4EFA-422F-9618-01F94F9DF38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4327957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67" name="Ovaal 266">
              <a:extLst>
                <a:ext uri="{FF2B5EF4-FFF2-40B4-BE49-F238E27FC236}">
                  <a16:creationId xmlns:a16="http://schemas.microsoft.com/office/drawing/2014/main" id="{5A5F9744-7F80-4768-959D-B407260D8065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68" name="Rechthoek 267">
              <a:extLst>
                <a:ext uri="{FF2B5EF4-FFF2-40B4-BE49-F238E27FC236}">
                  <a16:creationId xmlns:a16="http://schemas.microsoft.com/office/drawing/2014/main" id="{47EFE198-DF9F-43A4-84A2-6FC84634B6F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69" name="Groep 268">
              <a:extLst>
                <a:ext uri="{FF2B5EF4-FFF2-40B4-BE49-F238E27FC236}">
                  <a16:creationId xmlns:a16="http://schemas.microsoft.com/office/drawing/2014/main" id="{073E9E18-1FE0-4839-AA07-CE173FFE82C8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03" name="Rechthoek 302">
                <a:extLst>
                  <a:ext uri="{FF2B5EF4-FFF2-40B4-BE49-F238E27FC236}">
                    <a16:creationId xmlns:a16="http://schemas.microsoft.com/office/drawing/2014/main" id="{B3CFFD62-46F2-4EF5-AB24-E88B5DA3B62D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304" name="Rechte verbindingslijn 303">
                <a:extLst>
                  <a:ext uri="{FF2B5EF4-FFF2-40B4-BE49-F238E27FC236}">
                    <a16:creationId xmlns:a16="http://schemas.microsoft.com/office/drawing/2014/main" id="{F4180D7B-8530-47B3-9E0D-4528A5C248A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05" name="Gelijkbenige driehoek 304">
                <a:extLst>
                  <a:ext uri="{FF2B5EF4-FFF2-40B4-BE49-F238E27FC236}">
                    <a16:creationId xmlns:a16="http://schemas.microsoft.com/office/drawing/2014/main" id="{9C8F2ABC-2245-45E9-A7D5-334009573BD3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270" name="Groep 269">
              <a:extLst>
                <a:ext uri="{FF2B5EF4-FFF2-40B4-BE49-F238E27FC236}">
                  <a16:creationId xmlns:a16="http://schemas.microsoft.com/office/drawing/2014/main" id="{41D200C0-EEBE-4000-A6FE-F329AE7B686F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297" name="Rechthoek 296">
                <a:extLst>
                  <a:ext uri="{FF2B5EF4-FFF2-40B4-BE49-F238E27FC236}">
                    <a16:creationId xmlns:a16="http://schemas.microsoft.com/office/drawing/2014/main" id="{17F0887B-86A3-45BF-963C-72A51514C1D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98" name="Ovaal 297">
                <a:extLst>
                  <a:ext uri="{FF2B5EF4-FFF2-40B4-BE49-F238E27FC236}">
                    <a16:creationId xmlns:a16="http://schemas.microsoft.com/office/drawing/2014/main" id="{29751E0D-FD67-4DA1-95F3-F3CF5FD01499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99" name="Vrije vorm: vorm 298">
                <a:extLst>
                  <a:ext uri="{FF2B5EF4-FFF2-40B4-BE49-F238E27FC236}">
                    <a16:creationId xmlns:a16="http://schemas.microsoft.com/office/drawing/2014/main" id="{D1969F72-78E8-499B-B208-CB34B89E1AD0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00" name="Rechthoek: afgeronde hoeken 299">
                <a:extLst>
                  <a:ext uri="{FF2B5EF4-FFF2-40B4-BE49-F238E27FC236}">
                    <a16:creationId xmlns:a16="http://schemas.microsoft.com/office/drawing/2014/main" id="{8515B999-B3B3-4A82-B38F-D968E2B0BDDE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01" name="Rechte verbindingslijn 300">
                <a:extLst>
                  <a:ext uri="{FF2B5EF4-FFF2-40B4-BE49-F238E27FC236}">
                    <a16:creationId xmlns:a16="http://schemas.microsoft.com/office/drawing/2014/main" id="{298F767E-5B77-45CD-B84A-258B60DE0EE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02" name="Rechte verbindingslijn 301">
                <a:extLst>
                  <a:ext uri="{FF2B5EF4-FFF2-40B4-BE49-F238E27FC236}">
                    <a16:creationId xmlns:a16="http://schemas.microsoft.com/office/drawing/2014/main" id="{4449D89A-BD73-4B2D-993C-FB9A7D4465C9}"/>
                  </a:ext>
                </a:extLst>
              </p:cNvPr>
              <p:cNvCxnSpPr>
                <a:cxnSpLocks/>
                <a:stCxn id="300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271" name="Ovaal 270">
              <a:extLst>
                <a:ext uri="{FF2B5EF4-FFF2-40B4-BE49-F238E27FC236}">
                  <a16:creationId xmlns:a16="http://schemas.microsoft.com/office/drawing/2014/main" id="{E435A36C-DC61-418C-9945-22190A1E6FB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72" name="Rechthoek 271">
              <a:extLst>
                <a:ext uri="{FF2B5EF4-FFF2-40B4-BE49-F238E27FC236}">
                  <a16:creationId xmlns:a16="http://schemas.microsoft.com/office/drawing/2014/main" id="{287C5D22-2FEB-4C9B-B39A-8B334E24B521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43320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aan de linker kant van het scherm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273" name="Rechte verbindingslijn 272">
              <a:extLst>
                <a:ext uri="{FF2B5EF4-FFF2-40B4-BE49-F238E27FC236}">
                  <a16:creationId xmlns:a16="http://schemas.microsoft.com/office/drawing/2014/main" id="{305D57F4-BC26-462B-A5DA-79FD233E4DF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74" name="Rechthoek 273">
              <a:extLst>
                <a:ext uri="{FF2B5EF4-FFF2-40B4-BE49-F238E27FC236}">
                  <a16:creationId xmlns:a16="http://schemas.microsoft.com/office/drawing/2014/main" id="{C9F6289A-6E11-4783-A15B-128CAA42C229}"/>
                </a:ext>
              </a:extLst>
            </p:cNvPr>
            <p:cNvSpPr/>
            <p:nvPr userDrawn="1"/>
          </p:nvSpPr>
          <p:spPr>
            <a:xfrm>
              <a:off x="12654153" y="3238910"/>
              <a:ext cx="1624926" cy="805220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3509" b="0" i="1" noProof="0">
                <a:solidFill>
                  <a:schemeClr val="tx1"/>
                </a:solidFill>
              </a:endParaRPr>
            </a:p>
          </p:txBody>
        </p:sp>
        <p:grpSp>
          <p:nvGrpSpPr>
            <p:cNvPr id="275" name="Groep 274">
              <a:extLst>
                <a:ext uri="{FF2B5EF4-FFF2-40B4-BE49-F238E27FC236}">
                  <a16:creationId xmlns:a16="http://schemas.microsoft.com/office/drawing/2014/main" id="{CA3E48C5-F472-481E-9E47-1802602A6098}"/>
                </a:ext>
              </a:extLst>
            </p:cNvPr>
            <p:cNvGrpSpPr/>
            <p:nvPr userDrawn="1"/>
          </p:nvGrpSpPr>
          <p:grpSpPr>
            <a:xfrm>
              <a:off x="13614067" y="3535184"/>
              <a:ext cx="1195438" cy="678267"/>
              <a:chOff x="12757284" y="3224292"/>
              <a:chExt cx="1195438" cy="678267"/>
            </a:xfrm>
          </p:grpSpPr>
          <p:sp>
            <p:nvSpPr>
              <p:cNvPr id="276" name="Rechthoek 275">
                <a:extLst>
                  <a:ext uri="{FF2B5EF4-FFF2-40B4-BE49-F238E27FC236}">
                    <a16:creationId xmlns:a16="http://schemas.microsoft.com/office/drawing/2014/main" id="{91D4D78B-84CC-475C-90A7-61533114A9C9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7" name="Rechthoek 276">
                <a:extLst>
                  <a:ext uri="{FF2B5EF4-FFF2-40B4-BE49-F238E27FC236}">
                    <a16:creationId xmlns:a16="http://schemas.microsoft.com/office/drawing/2014/main" id="{37518400-E72D-423B-B691-629F0F31882D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78" name="Groep 277">
                <a:extLst>
                  <a:ext uri="{FF2B5EF4-FFF2-40B4-BE49-F238E27FC236}">
                    <a16:creationId xmlns:a16="http://schemas.microsoft.com/office/drawing/2014/main" id="{160E53B6-BCF2-42AD-9D86-06D37BCBA38F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291" name="Rechthoek: afgeronde hoeken 290">
                  <a:extLst>
                    <a:ext uri="{FF2B5EF4-FFF2-40B4-BE49-F238E27FC236}">
                      <a16:creationId xmlns:a16="http://schemas.microsoft.com/office/drawing/2014/main" id="{514480A2-6A97-4754-B75B-F5367117A142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endPara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92" name="Rechthoek 291">
                  <a:extLst>
                    <a:ext uri="{FF2B5EF4-FFF2-40B4-BE49-F238E27FC236}">
                      <a16:creationId xmlns:a16="http://schemas.microsoft.com/office/drawing/2014/main" id="{3E97B4F0-F481-4713-AEBF-6918E0C41494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93" name="Rechthoek 292">
                  <a:extLst>
                    <a:ext uri="{FF2B5EF4-FFF2-40B4-BE49-F238E27FC236}">
                      <a16:creationId xmlns:a16="http://schemas.microsoft.com/office/drawing/2014/main" id="{0C49D39D-719D-43BD-8066-83A013735528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94" name="Rechthoek 293">
                  <a:extLst>
                    <a:ext uri="{FF2B5EF4-FFF2-40B4-BE49-F238E27FC236}">
                      <a16:creationId xmlns:a16="http://schemas.microsoft.com/office/drawing/2014/main" id="{5BDCFF6A-5D01-4064-B01D-CFB161242EC2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95" name="Rechthoek 294">
                  <a:extLst>
                    <a:ext uri="{FF2B5EF4-FFF2-40B4-BE49-F238E27FC236}">
                      <a16:creationId xmlns:a16="http://schemas.microsoft.com/office/drawing/2014/main" id="{FCE5477B-C83F-4120-BB0C-151A89E3B0F8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96" name="Rechthoek 295">
                  <a:extLst>
                    <a:ext uri="{FF2B5EF4-FFF2-40B4-BE49-F238E27FC236}">
                      <a16:creationId xmlns:a16="http://schemas.microsoft.com/office/drawing/2014/main" id="{485D96BD-71F3-4E65-BB1F-5AD3F59EA2D8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279" name="Groep 278">
                <a:extLst>
                  <a:ext uri="{FF2B5EF4-FFF2-40B4-BE49-F238E27FC236}">
                    <a16:creationId xmlns:a16="http://schemas.microsoft.com/office/drawing/2014/main" id="{8358A8C5-A603-4E8D-9D8D-154A33305049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283" name="Groep 282">
                  <a:extLst>
                    <a:ext uri="{FF2B5EF4-FFF2-40B4-BE49-F238E27FC236}">
                      <a16:creationId xmlns:a16="http://schemas.microsoft.com/office/drawing/2014/main" id="{36E1B45E-5076-4CED-A0D3-A640BADA978D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285" name="Rechthoek: afgeronde hoeken 284">
                    <a:extLst>
                      <a:ext uri="{FF2B5EF4-FFF2-40B4-BE49-F238E27FC236}">
                        <a16:creationId xmlns:a16="http://schemas.microsoft.com/office/drawing/2014/main" id="{9222C949-77BF-4216-BE7C-DA0355A2ED4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2105"/>
                      </a:spcBef>
                      <a:spcAft>
                        <a:spcPts val="2105"/>
                      </a:spcAft>
                    </a:pPr>
                    <a:endParaRPr lang="nl-NL" sz="280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86" name="Rechthoek 285">
                    <a:extLst>
                      <a:ext uri="{FF2B5EF4-FFF2-40B4-BE49-F238E27FC236}">
                        <a16:creationId xmlns:a16="http://schemas.microsoft.com/office/drawing/2014/main" id="{8EE8088F-7690-43B8-B3FB-AA1BF2645C3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87" name="Rechthoek 286">
                    <a:extLst>
                      <a:ext uri="{FF2B5EF4-FFF2-40B4-BE49-F238E27FC236}">
                        <a16:creationId xmlns:a16="http://schemas.microsoft.com/office/drawing/2014/main" id="{941095D5-750F-41F4-B92C-1C607D6D40E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88" name="Rechthoek 287">
                    <a:extLst>
                      <a:ext uri="{FF2B5EF4-FFF2-40B4-BE49-F238E27FC236}">
                        <a16:creationId xmlns:a16="http://schemas.microsoft.com/office/drawing/2014/main" id="{B35DC799-8973-49D9-BF29-EDA32AB6420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89" name="Rechthoek 288">
                    <a:extLst>
                      <a:ext uri="{FF2B5EF4-FFF2-40B4-BE49-F238E27FC236}">
                        <a16:creationId xmlns:a16="http://schemas.microsoft.com/office/drawing/2014/main" id="{1B92DAD1-7A28-4D34-9657-E0DE000CE51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90" name="Rechthoek 289">
                    <a:extLst>
                      <a:ext uri="{FF2B5EF4-FFF2-40B4-BE49-F238E27FC236}">
                        <a16:creationId xmlns:a16="http://schemas.microsoft.com/office/drawing/2014/main" id="{B89E9682-F0E6-49AF-B47D-1E35350B384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284" name="Boog 283">
                  <a:extLst>
                    <a:ext uri="{FF2B5EF4-FFF2-40B4-BE49-F238E27FC236}">
                      <a16:creationId xmlns:a16="http://schemas.microsoft.com/office/drawing/2014/main" id="{D2AEA0F5-2323-4E15-8A8C-327281CA5F2A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</p:grpSp>
          <p:sp>
            <p:nvSpPr>
              <p:cNvPr id="280" name="Tekstvak 279">
                <a:extLst>
                  <a:ext uri="{FF2B5EF4-FFF2-40B4-BE49-F238E27FC236}">
                    <a16:creationId xmlns:a16="http://schemas.microsoft.com/office/drawing/2014/main" id="{BDC038D4-365A-4726-BE20-5356CBFCAB09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281" name="Tekstvak 280">
                <a:extLst>
                  <a:ext uri="{FF2B5EF4-FFF2-40B4-BE49-F238E27FC236}">
                    <a16:creationId xmlns:a16="http://schemas.microsoft.com/office/drawing/2014/main" id="{AD39A8F7-12D3-4E59-BF59-6DE8A98C3940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282" name="Picture 3">
                <a:extLst>
                  <a:ext uri="{FF2B5EF4-FFF2-40B4-BE49-F238E27FC236}">
                    <a16:creationId xmlns:a16="http://schemas.microsoft.com/office/drawing/2014/main" id="{5554E45F-BCD2-499C-A38B-043CBC7A2230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810206" y="3671228"/>
                <a:ext cx="14251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sp>
        <p:nvSpPr>
          <p:cNvPr id="178" name="Tijdelijke aanduiding voor verticale tekst 2">
            <a:extLst>
              <a:ext uri="{FF2B5EF4-FFF2-40B4-BE49-F238E27FC236}">
                <a16:creationId xmlns:a16="http://schemas.microsoft.com/office/drawing/2014/main" id="{D950F2B1-1C5A-4CAD-9B69-36EF3FB38C5C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742374" y="6476677"/>
            <a:ext cx="39282480" cy="19046186"/>
          </a:xfrm>
        </p:spPr>
        <p:txBody>
          <a:bodyPr vert="horz" numCol="2" spcCol="57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 marL="1269631" indent="-634816">
              <a:buFont typeface="Arial" panose="020B0604020202020204" pitchFamily="34" charset="0"/>
              <a:buChar char="•"/>
              <a:defRPr sz="4911" baseline="0">
                <a:latin typeface="+mj-lt"/>
              </a:defRPr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grpSp>
        <p:nvGrpSpPr>
          <p:cNvPr id="179" name="Groep 101">
            <a:extLst>
              <a:ext uri="{FF2B5EF4-FFF2-40B4-BE49-F238E27FC236}">
                <a16:creationId xmlns:a16="http://schemas.microsoft.com/office/drawing/2014/main" id="{4663D63D-CB8F-4B27-8162-B9CCC204155A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180" name="Rechthoek 102">
              <a:extLst>
                <a:ext uri="{FF2B5EF4-FFF2-40B4-BE49-F238E27FC236}">
                  <a16:creationId xmlns:a16="http://schemas.microsoft.com/office/drawing/2014/main" id="{A8B028EA-E65D-4D9C-8AC6-8A377567C623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181" name="Ovaal 103">
              <a:extLst>
                <a:ext uri="{FF2B5EF4-FFF2-40B4-BE49-F238E27FC236}">
                  <a16:creationId xmlns:a16="http://schemas.microsoft.com/office/drawing/2014/main" id="{8EADCB7B-07B4-47CF-99AB-3ECAF5B74BA2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82" name="Rechte verbindingslijn 104">
              <a:extLst>
                <a:ext uri="{FF2B5EF4-FFF2-40B4-BE49-F238E27FC236}">
                  <a16:creationId xmlns:a16="http://schemas.microsoft.com/office/drawing/2014/main" id="{0053344A-F4C3-4722-9B70-4FA7E4C97F5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83" name="Groep 105">
              <a:extLst>
                <a:ext uri="{FF2B5EF4-FFF2-40B4-BE49-F238E27FC236}">
                  <a16:creationId xmlns:a16="http://schemas.microsoft.com/office/drawing/2014/main" id="{B613C32E-0CFE-4E11-8C7E-6EA15444125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08" name="Rechthoek 130">
                <a:extLst>
                  <a:ext uri="{FF2B5EF4-FFF2-40B4-BE49-F238E27FC236}">
                    <a16:creationId xmlns:a16="http://schemas.microsoft.com/office/drawing/2014/main" id="{9B4C4993-67E3-4ABE-975C-B1B3EE8D99B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209" name="Rechte verbindingslijn 131">
                <a:extLst>
                  <a:ext uri="{FF2B5EF4-FFF2-40B4-BE49-F238E27FC236}">
                    <a16:creationId xmlns:a16="http://schemas.microsoft.com/office/drawing/2014/main" id="{1950ED6C-134B-4B67-A4A4-DCABAF050EB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0" name="Rechte verbindingslijn 132">
                <a:extLst>
                  <a:ext uri="{FF2B5EF4-FFF2-40B4-BE49-F238E27FC236}">
                    <a16:creationId xmlns:a16="http://schemas.microsoft.com/office/drawing/2014/main" id="{3DB39A28-79AE-45FF-990A-070C819A9E9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1" name="Rechthoek 133">
                <a:extLst>
                  <a:ext uri="{FF2B5EF4-FFF2-40B4-BE49-F238E27FC236}">
                    <a16:creationId xmlns:a16="http://schemas.microsoft.com/office/drawing/2014/main" id="{E364E132-09C9-417C-8009-79258FCCD0B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12" name="Groep 134">
                <a:extLst>
                  <a:ext uri="{FF2B5EF4-FFF2-40B4-BE49-F238E27FC236}">
                    <a16:creationId xmlns:a16="http://schemas.microsoft.com/office/drawing/2014/main" id="{54A4D77A-4686-474B-860F-F5F8B36ED41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51" name="Groep 175">
                  <a:extLst>
                    <a:ext uri="{FF2B5EF4-FFF2-40B4-BE49-F238E27FC236}">
                      <a16:creationId xmlns:a16="http://schemas.microsoft.com/office/drawing/2014/main" id="{E69A1ED0-19AF-46C3-A5FD-E50C066C4C58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55" name="Rechte verbindingslijn 179">
                    <a:extLst>
                      <a:ext uri="{FF2B5EF4-FFF2-40B4-BE49-F238E27FC236}">
                        <a16:creationId xmlns:a16="http://schemas.microsoft.com/office/drawing/2014/main" id="{AD82EBB2-AE2C-46A1-BB54-F661FCF3E36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6" name="Rechte verbindingslijn 180">
                    <a:extLst>
                      <a:ext uri="{FF2B5EF4-FFF2-40B4-BE49-F238E27FC236}">
                        <a16:creationId xmlns:a16="http://schemas.microsoft.com/office/drawing/2014/main" id="{BAA9E4E3-6246-4AD1-B0E1-A5BF16046E4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7" name="Rechte verbindingslijn 181">
                    <a:extLst>
                      <a:ext uri="{FF2B5EF4-FFF2-40B4-BE49-F238E27FC236}">
                        <a16:creationId xmlns:a16="http://schemas.microsoft.com/office/drawing/2014/main" id="{A752DC75-030A-45F9-B6B2-C3D6132A902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8" name="Rechte verbindingslijn 182">
                    <a:extLst>
                      <a:ext uri="{FF2B5EF4-FFF2-40B4-BE49-F238E27FC236}">
                        <a16:creationId xmlns:a16="http://schemas.microsoft.com/office/drawing/2014/main" id="{4EB040DB-4988-4BA6-B2F5-0561201515A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3" name="Rechte verbindingslijn 183">
                    <a:extLst>
                      <a:ext uri="{FF2B5EF4-FFF2-40B4-BE49-F238E27FC236}">
                        <a16:creationId xmlns:a16="http://schemas.microsoft.com/office/drawing/2014/main" id="{CE3D14E8-716A-41ED-AC29-F23DD81B182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52" name="Groep 176">
                  <a:extLst>
                    <a:ext uri="{FF2B5EF4-FFF2-40B4-BE49-F238E27FC236}">
                      <a16:creationId xmlns:a16="http://schemas.microsoft.com/office/drawing/2014/main" id="{ABE62B7F-E4F6-43B3-AD3F-0D3A63EBBED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3" name="Rechthoek 177">
                    <a:extLst>
                      <a:ext uri="{FF2B5EF4-FFF2-40B4-BE49-F238E27FC236}">
                        <a16:creationId xmlns:a16="http://schemas.microsoft.com/office/drawing/2014/main" id="{733C9D2D-7D86-4F6A-9569-60EC95C5E63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54" name="Pijl: punthaak 178">
                    <a:extLst>
                      <a:ext uri="{FF2B5EF4-FFF2-40B4-BE49-F238E27FC236}">
                        <a16:creationId xmlns:a16="http://schemas.microsoft.com/office/drawing/2014/main" id="{E749600B-05FE-43FA-83BC-E46D8399D3EA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13" name="Groep 135">
                <a:extLst>
                  <a:ext uri="{FF2B5EF4-FFF2-40B4-BE49-F238E27FC236}">
                    <a16:creationId xmlns:a16="http://schemas.microsoft.com/office/drawing/2014/main" id="{8715EB90-0DC8-445B-BEB3-DC9611A865E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42" name="Groep 166">
                  <a:extLst>
                    <a:ext uri="{FF2B5EF4-FFF2-40B4-BE49-F238E27FC236}">
                      <a16:creationId xmlns:a16="http://schemas.microsoft.com/office/drawing/2014/main" id="{EAC6273E-F6D8-4E60-8C5F-FBFBC8E048CA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46" name="Rechte verbindingslijn 170">
                    <a:extLst>
                      <a:ext uri="{FF2B5EF4-FFF2-40B4-BE49-F238E27FC236}">
                        <a16:creationId xmlns:a16="http://schemas.microsoft.com/office/drawing/2014/main" id="{E116EFDF-7844-4BA1-B1B0-E2B9058D2F9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7" name="Rechte verbindingslijn 171">
                    <a:extLst>
                      <a:ext uri="{FF2B5EF4-FFF2-40B4-BE49-F238E27FC236}">
                        <a16:creationId xmlns:a16="http://schemas.microsoft.com/office/drawing/2014/main" id="{9EE0A1AC-F03C-457F-9B4D-427F6B07057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8" name="Rechte verbindingslijn 172">
                    <a:extLst>
                      <a:ext uri="{FF2B5EF4-FFF2-40B4-BE49-F238E27FC236}">
                        <a16:creationId xmlns:a16="http://schemas.microsoft.com/office/drawing/2014/main" id="{49CA15A8-AB45-4A8F-8946-2A89CEF7AEF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9" name="Rechte verbindingslijn 173">
                    <a:extLst>
                      <a:ext uri="{FF2B5EF4-FFF2-40B4-BE49-F238E27FC236}">
                        <a16:creationId xmlns:a16="http://schemas.microsoft.com/office/drawing/2014/main" id="{2585D7EA-C908-4C1A-9D63-D5AC05E4CE7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0" name="Rechte verbindingslijn 174">
                    <a:extLst>
                      <a:ext uri="{FF2B5EF4-FFF2-40B4-BE49-F238E27FC236}">
                        <a16:creationId xmlns:a16="http://schemas.microsoft.com/office/drawing/2014/main" id="{CC242951-FFE8-4677-A4AC-74C0263F5FF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3" name="Groep 167">
                  <a:extLst>
                    <a:ext uri="{FF2B5EF4-FFF2-40B4-BE49-F238E27FC236}">
                      <a16:creationId xmlns:a16="http://schemas.microsoft.com/office/drawing/2014/main" id="{F2CA1497-B0FB-428D-9B56-97C7CFA55334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44" name="Rechthoek 168">
                    <a:extLst>
                      <a:ext uri="{FF2B5EF4-FFF2-40B4-BE49-F238E27FC236}">
                        <a16:creationId xmlns:a16="http://schemas.microsoft.com/office/drawing/2014/main" id="{2FE7C336-A1C6-42FD-9504-BE9206C1CCF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45" name="Pijl: punthaak 169">
                    <a:extLst>
                      <a:ext uri="{FF2B5EF4-FFF2-40B4-BE49-F238E27FC236}">
                        <a16:creationId xmlns:a16="http://schemas.microsoft.com/office/drawing/2014/main" id="{151DBEB7-B2F1-458C-BD4B-F94CE1116039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14" name="Rechte verbindingslijn 136">
                <a:extLst>
                  <a:ext uri="{FF2B5EF4-FFF2-40B4-BE49-F238E27FC236}">
                    <a16:creationId xmlns:a16="http://schemas.microsoft.com/office/drawing/2014/main" id="{E25D8572-4DB0-405B-B680-FB17DEA37C5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15" name="Rechte verbindingslijn 137">
                <a:extLst>
                  <a:ext uri="{FF2B5EF4-FFF2-40B4-BE49-F238E27FC236}">
                    <a16:creationId xmlns:a16="http://schemas.microsoft.com/office/drawing/2014/main" id="{2A2D24B6-5CBC-442A-9B75-361559CABD2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16" name="Groep 138">
                <a:extLst>
                  <a:ext uri="{FF2B5EF4-FFF2-40B4-BE49-F238E27FC236}">
                    <a16:creationId xmlns:a16="http://schemas.microsoft.com/office/drawing/2014/main" id="{08D56E1F-8901-4A9D-9567-7D9D84C5D14D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31" name="Rechthoek 155">
                  <a:extLst>
                    <a:ext uri="{FF2B5EF4-FFF2-40B4-BE49-F238E27FC236}">
                      <a16:creationId xmlns:a16="http://schemas.microsoft.com/office/drawing/2014/main" id="{CE7189BE-B69B-45FD-B6BF-7C75BFFB0347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32" name="Groep 156">
                  <a:extLst>
                    <a:ext uri="{FF2B5EF4-FFF2-40B4-BE49-F238E27FC236}">
                      <a16:creationId xmlns:a16="http://schemas.microsoft.com/office/drawing/2014/main" id="{5B666E5A-82BF-449F-AE8E-A8503612D1F7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33" name="Groep 157">
                    <a:extLst>
                      <a:ext uri="{FF2B5EF4-FFF2-40B4-BE49-F238E27FC236}">
                        <a16:creationId xmlns:a16="http://schemas.microsoft.com/office/drawing/2014/main" id="{B4D3A472-3A75-4669-BFF5-4F4A9E4480D0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37" name="Rechte verbindingslijn 161">
                      <a:extLst>
                        <a:ext uri="{FF2B5EF4-FFF2-40B4-BE49-F238E27FC236}">
                          <a16:creationId xmlns:a16="http://schemas.microsoft.com/office/drawing/2014/main" id="{EDF85249-18DD-47D4-AACC-9529D999228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8" name="Rechte verbindingslijn 162">
                      <a:extLst>
                        <a:ext uri="{FF2B5EF4-FFF2-40B4-BE49-F238E27FC236}">
                          <a16:creationId xmlns:a16="http://schemas.microsoft.com/office/drawing/2014/main" id="{7C817057-2D69-4434-8BDF-A1D0B47AAA4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9" name="Rechte verbindingslijn 163">
                      <a:extLst>
                        <a:ext uri="{FF2B5EF4-FFF2-40B4-BE49-F238E27FC236}">
                          <a16:creationId xmlns:a16="http://schemas.microsoft.com/office/drawing/2014/main" id="{17AC1347-BB3F-4C20-9A0C-D9527B98194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0" name="Rechte verbindingslijn 164">
                      <a:extLst>
                        <a:ext uri="{FF2B5EF4-FFF2-40B4-BE49-F238E27FC236}">
                          <a16:creationId xmlns:a16="http://schemas.microsoft.com/office/drawing/2014/main" id="{8E237A8A-5640-47F9-8FC1-2663E07F181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1" name="Rechte verbindingslijn 165">
                      <a:extLst>
                        <a:ext uri="{FF2B5EF4-FFF2-40B4-BE49-F238E27FC236}">
                          <a16:creationId xmlns:a16="http://schemas.microsoft.com/office/drawing/2014/main" id="{E87E63E9-1FAC-456B-9450-9498D92E971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34" name="Groep 158">
                    <a:extLst>
                      <a:ext uri="{FF2B5EF4-FFF2-40B4-BE49-F238E27FC236}">
                        <a16:creationId xmlns:a16="http://schemas.microsoft.com/office/drawing/2014/main" id="{DA3C5C36-FC89-4BE1-8084-86AA3EE479D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35" name="Rechthoek 159">
                      <a:extLst>
                        <a:ext uri="{FF2B5EF4-FFF2-40B4-BE49-F238E27FC236}">
                          <a16:creationId xmlns:a16="http://schemas.microsoft.com/office/drawing/2014/main" id="{54D56849-19BF-4A5F-87AF-A66608CDF33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36" name="Pijl: punthaak 160">
                      <a:extLst>
                        <a:ext uri="{FF2B5EF4-FFF2-40B4-BE49-F238E27FC236}">
                          <a16:creationId xmlns:a16="http://schemas.microsoft.com/office/drawing/2014/main" id="{3311B7D4-A7B8-4EEE-8AD9-C11F0C24479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17" name="Groep 139">
                <a:extLst>
                  <a:ext uri="{FF2B5EF4-FFF2-40B4-BE49-F238E27FC236}">
                    <a16:creationId xmlns:a16="http://schemas.microsoft.com/office/drawing/2014/main" id="{8306EB8B-9F3C-4D01-845F-7EA95EB72FF5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20" name="Rechthoek 142">
                  <a:extLst>
                    <a:ext uri="{FF2B5EF4-FFF2-40B4-BE49-F238E27FC236}">
                      <a16:creationId xmlns:a16="http://schemas.microsoft.com/office/drawing/2014/main" id="{E54376D7-B951-4CE2-9FEE-4E828A856DD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21" name="Groep 143">
                  <a:extLst>
                    <a:ext uri="{FF2B5EF4-FFF2-40B4-BE49-F238E27FC236}">
                      <a16:creationId xmlns:a16="http://schemas.microsoft.com/office/drawing/2014/main" id="{578F1212-573A-4D3F-8FA0-47C1DACD492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22" name="Groep 144">
                    <a:extLst>
                      <a:ext uri="{FF2B5EF4-FFF2-40B4-BE49-F238E27FC236}">
                        <a16:creationId xmlns:a16="http://schemas.microsoft.com/office/drawing/2014/main" id="{CA61AF81-5C91-4C58-AC4A-47B589A98C5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26" name="Rechte verbindingslijn 150">
                      <a:extLst>
                        <a:ext uri="{FF2B5EF4-FFF2-40B4-BE49-F238E27FC236}">
                          <a16:creationId xmlns:a16="http://schemas.microsoft.com/office/drawing/2014/main" id="{DED0CD1D-A63D-4F4F-A222-6234DA670B2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7" name="Rechte verbindingslijn 151">
                      <a:extLst>
                        <a:ext uri="{FF2B5EF4-FFF2-40B4-BE49-F238E27FC236}">
                          <a16:creationId xmlns:a16="http://schemas.microsoft.com/office/drawing/2014/main" id="{3667FDE1-DCBE-4B55-B49E-A97764B3F13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8" name="Rechte verbindingslijn 152">
                      <a:extLst>
                        <a:ext uri="{FF2B5EF4-FFF2-40B4-BE49-F238E27FC236}">
                          <a16:creationId xmlns:a16="http://schemas.microsoft.com/office/drawing/2014/main" id="{3AE8651B-89D4-4DB9-92D4-5BA71747ABF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9" name="Rechte verbindingslijn 153">
                      <a:extLst>
                        <a:ext uri="{FF2B5EF4-FFF2-40B4-BE49-F238E27FC236}">
                          <a16:creationId xmlns:a16="http://schemas.microsoft.com/office/drawing/2014/main" id="{BC9437C4-010D-40D5-AC90-9674DB20DEF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0" name="Rechte verbindingslijn 154">
                      <a:extLst>
                        <a:ext uri="{FF2B5EF4-FFF2-40B4-BE49-F238E27FC236}">
                          <a16:creationId xmlns:a16="http://schemas.microsoft.com/office/drawing/2014/main" id="{89606B84-1A95-4A17-8A76-780F3176661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23" name="Groep 147">
                    <a:extLst>
                      <a:ext uri="{FF2B5EF4-FFF2-40B4-BE49-F238E27FC236}">
                        <a16:creationId xmlns:a16="http://schemas.microsoft.com/office/drawing/2014/main" id="{993F8D9C-1CB1-4CA4-965A-6EB87F316716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24" name="Rechthoek 148">
                      <a:extLst>
                        <a:ext uri="{FF2B5EF4-FFF2-40B4-BE49-F238E27FC236}">
                          <a16:creationId xmlns:a16="http://schemas.microsoft.com/office/drawing/2014/main" id="{DEE790FB-97B5-4AB2-9BCB-3C15009E585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25" name="Pijl: punthaak 149">
                      <a:extLst>
                        <a:ext uri="{FF2B5EF4-FFF2-40B4-BE49-F238E27FC236}">
                          <a16:creationId xmlns:a16="http://schemas.microsoft.com/office/drawing/2014/main" id="{B84749A9-9173-428F-8E96-84BFCB5E5182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18" name="Rechthoek 140">
                <a:extLst>
                  <a:ext uri="{FF2B5EF4-FFF2-40B4-BE49-F238E27FC236}">
                    <a16:creationId xmlns:a16="http://schemas.microsoft.com/office/drawing/2014/main" id="{BF544B05-3F02-4C9A-B0A6-D7A1731F616A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219" name="Rechthoek 141">
                <a:extLst>
                  <a:ext uri="{FF2B5EF4-FFF2-40B4-BE49-F238E27FC236}">
                    <a16:creationId xmlns:a16="http://schemas.microsoft.com/office/drawing/2014/main" id="{7909C0BF-7C8A-4F39-9AFE-5D60668CCDC2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184" name="Rechte verbindingslijn 106">
              <a:extLst>
                <a:ext uri="{FF2B5EF4-FFF2-40B4-BE49-F238E27FC236}">
                  <a16:creationId xmlns:a16="http://schemas.microsoft.com/office/drawing/2014/main" id="{C6A0E1EE-AFCD-4693-9D13-70BD8651A74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85" name="Rechthoek 107">
              <a:extLst>
                <a:ext uri="{FF2B5EF4-FFF2-40B4-BE49-F238E27FC236}">
                  <a16:creationId xmlns:a16="http://schemas.microsoft.com/office/drawing/2014/main" id="{A86571E3-24B5-443F-9A64-2783B432568F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186" name="Ovaal 108">
              <a:extLst>
                <a:ext uri="{FF2B5EF4-FFF2-40B4-BE49-F238E27FC236}">
                  <a16:creationId xmlns:a16="http://schemas.microsoft.com/office/drawing/2014/main" id="{5406A62F-969B-4173-94E0-2B957F81E3B1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87" name="Rechthoek 109">
              <a:extLst>
                <a:ext uri="{FF2B5EF4-FFF2-40B4-BE49-F238E27FC236}">
                  <a16:creationId xmlns:a16="http://schemas.microsoft.com/office/drawing/2014/main" id="{CD303BDD-084B-4CD2-9697-9C823762392C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188" name="Ovaal 110">
              <a:extLst>
                <a:ext uri="{FF2B5EF4-FFF2-40B4-BE49-F238E27FC236}">
                  <a16:creationId xmlns:a16="http://schemas.microsoft.com/office/drawing/2014/main" id="{FD4FD5F2-080B-43D5-8BE5-6B29BF4AEC71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89" name="Rechthoek 111">
              <a:extLst>
                <a:ext uri="{FF2B5EF4-FFF2-40B4-BE49-F238E27FC236}">
                  <a16:creationId xmlns:a16="http://schemas.microsoft.com/office/drawing/2014/main" id="{4B45314D-57FB-4455-9B7C-01184008A9AB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90" name="Ovaal 112">
              <a:extLst>
                <a:ext uri="{FF2B5EF4-FFF2-40B4-BE49-F238E27FC236}">
                  <a16:creationId xmlns:a16="http://schemas.microsoft.com/office/drawing/2014/main" id="{057C2D33-B857-485D-A71C-A2F1CA6E7F78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91" name="Rechthoek 113">
              <a:extLst>
                <a:ext uri="{FF2B5EF4-FFF2-40B4-BE49-F238E27FC236}">
                  <a16:creationId xmlns:a16="http://schemas.microsoft.com/office/drawing/2014/main" id="{0DCDCE85-4260-42D8-9D12-0E5FE313A5D4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192" name="Ovaal 114">
              <a:extLst>
                <a:ext uri="{FF2B5EF4-FFF2-40B4-BE49-F238E27FC236}">
                  <a16:creationId xmlns:a16="http://schemas.microsoft.com/office/drawing/2014/main" id="{5EB02ACF-40B9-4577-984A-7FA664169E18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93" name="Rechthoek 115">
              <a:extLst>
                <a:ext uri="{FF2B5EF4-FFF2-40B4-BE49-F238E27FC236}">
                  <a16:creationId xmlns:a16="http://schemas.microsoft.com/office/drawing/2014/main" id="{F8DD725C-B4A4-4861-A520-0FD18C737A25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194" name="Rechte verbindingslijn 116">
              <a:extLst>
                <a:ext uri="{FF2B5EF4-FFF2-40B4-BE49-F238E27FC236}">
                  <a16:creationId xmlns:a16="http://schemas.microsoft.com/office/drawing/2014/main" id="{4AA19624-C7C9-47EC-8EDB-93E6EE349CB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95" name="Meer informatie">
              <a:extLst>
                <a:ext uri="{FF2B5EF4-FFF2-40B4-BE49-F238E27FC236}">
                  <a16:creationId xmlns:a16="http://schemas.microsoft.com/office/drawing/2014/main" id="{27BC0280-85AF-49C7-9D07-48E18C4F2A23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205" name="Freeform 101">
                <a:extLst>
                  <a:ext uri="{FF2B5EF4-FFF2-40B4-BE49-F238E27FC236}">
                    <a16:creationId xmlns:a16="http://schemas.microsoft.com/office/drawing/2014/main" id="{2A5ABD04-E31B-4CD1-B017-28FCF356B71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206" name="Rechthoek 128">
                <a:extLst>
                  <a:ext uri="{FF2B5EF4-FFF2-40B4-BE49-F238E27FC236}">
                    <a16:creationId xmlns:a16="http://schemas.microsoft.com/office/drawing/2014/main" id="{CE67077D-E80B-4BD9-BF73-690951FC0800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07" name="Rechte verbindingslijn 129">
                <a:extLst>
                  <a:ext uri="{FF2B5EF4-FFF2-40B4-BE49-F238E27FC236}">
                    <a16:creationId xmlns:a16="http://schemas.microsoft.com/office/drawing/2014/main" id="{F41EFF9B-FA4F-474C-AE62-8557B6B7621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96" name="Rechthoek 118">
              <a:extLst>
                <a:ext uri="{FF2B5EF4-FFF2-40B4-BE49-F238E27FC236}">
                  <a16:creationId xmlns:a16="http://schemas.microsoft.com/office/drawing/2014/main" id="{A709724C-C00F-4445-929F-2BDE5095FF91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197" name="Ovaal 119">
              <a:extLst>
                <a:ext uri="{FF2B5EF4-FFF2-40B4-BE49-F238E27FC236}">
                  <a16:creationId xmlns:a16="http://schemas.microsoft.com/office/drawing/2014/main" id="{2EC6C6B0-D8A3-47C0-BA76-0211A2B180C0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98" name="Rechthoek 120">
              <a:extLst>
                <a:ext uri="{FF2B5EF4-FFF2-40B4-BE49-F238E27FC236}">
                  <a16:creationId xmlns:a16="http://schemas.microsoft.com/office/drawing/2014/main" id="{7446CA2E-BBC7-45EC-83DC-8564C73C8E22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99" name="Ovaal 121">
              <a:extLst>
                <a:ext uri="{FF2B5EF4-FFF2-40B4-BE49-F238E27FC236}">
                  <a16:creationId xmlns:a16="http://schemas.microsoft.com/office/drawing/2014/main" id="{9C3E4377-B78C-4B12-8BC2-E9BAF7057B06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00" name="Rechthoek 122">
              <a:extLst>
                <a:ext uri="{FF2B5EF4-FFF2-40B4-BE49-F238E27FC236}">
                  <a16:creationId xmlns:a16="http://schemas.microsoft.com/office/drawing/2014/main" id="{FC1B63D5-989B-40AC-905E-CEE0BC1F1953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201" name="Ovaal 123">
              <a:extLst>
                <a:ext uri="{FF2B5EF4-FFF2-40B4-BE49-F238E27FC236}">
                  <a16:creationId xmlns:a16="http://schemas.microsoft.com/office/drawing/2014/main" id="{51A54FE4-761B-4C2A-BB9C-488845FA705D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02" name="Rechthoek 124">
              <a:extLst>
                <a:ext uri="{FF2B5EF4-FFF2-40B4-BE49-F238E27FC236}">
                  <a16:creationId xmlns:a16="http://schemas.microsoft.com/office/drawing/2014/main" id="{5A72AF79-10BF-4D4D-8AAD-57AD6FD9DB06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203" name="Rechthoek 125">
              <a:extLst>
                <a:ext uri="{FF2B5EF4-FFF2-40B4-BE49-F238E27FC236}">
                  <a16:creationId xmlns:a16="http://schemas.microsoft.com/office/drawing/2014/main" id="{592EAD23-F8B3-464B-86DF-DCD674ABC04B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204" name="Ovaal 126">
              <a:extLst>
                <a:ext uri="{FF2B5EF4-FFF2-40B4-BE49-F238E27FC236}">
                  <a16:creationId xmlns:a16="http://schemas.microsoft.com/office/drawing/2014/main" id="{880E9E42-0173-4F01-A395-4E21A530D6FE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  <p:pic>
        <p:nvPicPr>
          <p:cNvPr id="354" name="Afbeelding 353">
            <a:extLst>
              <a:ext uri="{FF2B5EF4-FFF2-40B4-BE49-F238E27FC236}">
                <a16:creationId xmlns:a16="http://schemas.microsoft.com/office/drawing/2014/main" id="{C3DC9CDB-7D02-40BA-8347-E5436758DB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5604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1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78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17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100%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1742386" y="6476684"/>
            <a:ext cx="39282479" cy="19046186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 marL="505566" indent="-252781">
              <a:buFont typeface="Arial" panose="020B0604020202020204" pitchFamily="34" charset="0"/>
              <a:buChar char="•"/>
              <a:defRPr sz="1957" baseline="0">
                <a:latin typeface="+mj-lt"/>
              </a:defRPr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78" y="1766065"/>
            <a:ext cx="32281087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78" y="3469430"/>
            <a:ext cx="32281087" cy="1195424"/>
          </a:xfrm>
        </p:spPr>
        <p:txBody>
          <a:bodyPr>
            <a:noAutofit/>
          </a:bodyPr>
          <a:lstStyle>
            <a:lvl1pPr marL="0" indent="0">
              <a:buNone/>
              <a:defRPr sz="2794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503"/>
            <a:ext cx="9622631" cy="1000848"/>
          </a:xfrm>
        </p:spPr>
        <p:txBody>
          <a:bodyPr/>
          <a:lstStyle/>
          <a:p>
            <a:fld id="{D493E421-713B-4AD0-8E5B-41C84D6EBA53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7" y="27345278"/>
            <a:ext cx="18027561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7"/>
            <a:ext cx="857529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pic>
        <p:nvPicPr>
          <p:cNvPr id="103" name="Afbeelding 102">
            <a:extLst>
              <a:ext uri="{FF2B5EF4-FFF2-40B4-BE49-F238E27FC236}">
                <a16:creationId xmlns:a16="http://schemas.microsoft.com/office/drawing/2014/main" id="{8E048147-F86F-41C9-80AF-EAB545EEC3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5" y="831727"/>
            <a:ext cx="9249575" cy="4281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9402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Foto 75%/25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30018937" y="7"/>
            <a:ext cx="12746956" cy="30306751"/>
          </a:xfrm>
          <a:solidFill>
            <a:schemeClr val="bg1">
              <a:lumMod val="95000"/>
            </a:schemeClr>
          </a:solidFill>
        </p:spPr>
        <p:txBody>
          <a:bodyPr tIns="1260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3158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C8A40B12-7E26-4E64-9A7F-C7BE7CAB1C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3" name="Tijdelijke aanduiding voor tekst 14">
            <a:extLst>
              <a:ext uri="{FF2B5EF4-FFF2-40B4-BE49-F238E27FC236}">
                <a16:creationId xmlns:a16="http://schemas.microsoft.com/office/drawing/2014/main" id="{6083995C-1A50-4491-9307-7E1B659A0B1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45" name="Tijdelijke aanduiding voor voettekst 4">
            <a:extLst>
              <a:ext uri="{FF2B5EF4-FFF2-40B4-BE49-F238E27FC236}">
                <a16:creationId xmlns:a16="http://schemas.microsoft.com/office/drawing/2014/main" id="{080EFE03-7FB1-4D06-B653-B56500F8A1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46" name="Tijdelijke aanduiding voor dianummer 5">
            <a:extLst>
              <a:ext uri="{FF2B5EF4-FFF2-40B4-BE49-F238E27FC236}">
                <a16:creationId xmlns:a16="http://schemas.microsoft.com/office/drawing/2014/main" id="{56817633-365A-489C-84DC-22C53FE3A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2" y="27329718"/>
            <a:ext cx="857527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18" name="Tijdelijke aanduiding voor datum 3">
            <a:extLst>
              <a:ext uri="{FF2B5EF4-FFF2-40B4-BE49-F238E27FC236}">
                <a16:creationId xmlns:a16="http://schemas.microsoft.com/office/drawing/2014/main" id="{1660DECE-1BF4-424A-8565-9FDCA21100F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49184B4-41E6-4217-B4F7-E23A450628D2}" type="datetime1">
              <a:rPr lang="nl-NL" noProof="0" smtClean="0"/>
              <a:t>26-6-2023</a:t>
            </a:fld>
            <a:endParaRPr lang="nl-NL" noProof="0"/>
          </a:p>
        </p:txBody>
      </p:sp>
      <p:grpSp>
        <p:nvGrpSpPr>
          <p:cNvPr id="191" name="Groep 258">
            <a:extLst>
              <a:ext uri="{FF2B5EF4-FFF2-40B4-BE49-F238E27FC236}">
                <a16:creationId xmlns:a16="http://schemas.microsoft.com/office/drawing/2014/main" id="{1C9278D4-8C4D-42B3-9B54-A02855EB2408}"/>
              </a:ext>
            </a:extLst>
          </p:cNvPr>
          <p:cNvGrpSpPr/>
          <p:nvPr userDrawn="1"/>
        </p:nvGrpSpPr>
        <p:grpSpPr>
          <a:xfrm>
            <a:off x="43467416" y="5"/>
            <a:ext cx="11167745" cy="23084356"/>
            <a:chOff x="12391601" y="0"/>
            <a:chExt cx="3183678" cy="5229113"/>
          </a:xfrm>
        </p:grpSpPr>
        <p:grpSp>
          <p:nvGrpSpPr>
            <p:cNvPr id="192" name="Meer informatie">
              <a:extLst>
                <a:ext uri="{FF2B5EF4-FFF2-40B4-BE49-F238E27FC236}">
                  <a16:creationId xmlns:a16="http://schemas.microsoft.com/office/drawing/2014/main" id="{F603D93A-66CC-4CC0-95B8-0CC883453AED}"/>
                </a:ext>
              </a:extLst>
            </p:cNvPr>
            <p:cNvGrpSpPr/>
            <p:nvPr userDrawn="1"/>
          </p:nvGrpSpPr>
          <p:grpSpPr>
            <a:xfrm>
              <a:off x="12396764" y="4445840"/>
              <a:ext cx="3178515" cy="783273"/>
              <a:chOff x="-3741486" y="3386444"/>
              <a:chExt cx="3178515" cy="783273"/>
            </a:xfrm>
          </p:grpSpPr>
          <p:sp>
            <p:nvSpPr>
              <p:cNvPr id="369" name="Freeform 101">
                <a:extLst>
                  <a:ext uri="{FF2B5EF4-FFF2-40B4-BE49-F238E27FC236}">
                    <a16:creationId xmlns:a16="http://schemas.microsoft.com/office/drawing/2014/main" id="{F4DDCDCF-5F47-4A4C-B96C-FFC10BC733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370" name="Rechthoek 306">
                <a:extLst>
                  <a:ext uri="{FF2B5EF4-FFF2-40B4-BE49-F238E27FC236}">
                    <a16:creationId xmlns:a16="http://schemas.microsoft.com/office/drawing/2014/main" id="{6256DCC5-8730-4051-849B-62E7C3BB195D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71" name="Rechte verbindingslijn 307">
                <a:extLst>
                  <a:ext uri="{FF2B5EF4-FFF2-40B4-BE49-F238E27FC236}">
                    <a16:creationId xmlns:a16="http://schemas.microsoft.com/office/drawing/2014/main" id="{1DDD24F7-3AAB-4F23-BA56-69A3D2F5542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93" name="Rechthoek 260">
              <a:extLst>
                <a:ext uri="{FF2B5EF4-FFF2-40B4-BE49-F238E27FC236}">
                  <a16:creationId xmlns:a16="http://schemas.microsoft.com/office/drawing/2014/main" id="{F63B76FD-012A-4B59-AD07-5F1D1C5DA297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275" name="Ovaal 261">
              <a:extLst>
                <a:ext uri="{FF2B5EF4-FFF2-40B4-BE49-F238E27FC236}">
                  <a16:creationId xmlns:a16="http://schemas.microsoft.com/office/drawing/2014/main" id="{3C12249D-B7F4-4405-8D36-108CD23E6566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76" name="Rechte verbindingslijn 262">
              <a:extLst>
                <a:ext uri="{FF2B5EF4-FFF2-40B4-BE49-F238E27FC236}">
                  <a16:creationId xmlns:a16="http://schemas.microsoft.com/office/drawing/2014/main" id="{4A37143E-75F8-4960-98E3-FECA33DCCD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77" name="Rechte verbindingslijn 263">
              <a:extLst>
                <a:ext uri="{FF2B5EF4-FFF2-40B4-BE49-F238E27FC236}">
                  <a16:creationId xmlns:a16="http://schemas.microsoft.com/office/drawing/2014/main" id="{910099D0-7766-4D9E-A583-DEB74F91E74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78" name="Rechthoek 264">
              <a:extLst>
                <a:ext uri="{FF2B5EF4-FFF2-40B4-BE49-F238E27FC236}">
                  <a16:creationId xmlns:a16="http://schemas.microsoft.com/office/drawing/2014/main" id="{5F0554AC-AEB4-4C64-9991-B4F008E37A31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oor deze te selecteren en op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om een nieuwe afbeelding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279" name="Rechte verbindingslijn 265">
              <a:extLst>
                <a:ext uri="{FF2B5EF4-FFF2-40B4-BE49-F238E27FC236}">
                  <a16:creationId xmlns:a16="http://schemas.microsoft.com/office/drawing/2014/main" id="{554E9705-CB6D-4C5F-82EC-B9C2094FF8F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4327957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80" name="Ovaal 266">
              <a:extLst>
                <a:ext uri="{FF2B5EF4-FFF2-40B4-BE49-F238E27FC236}">
                  <a16:creationId xmlns:a16="http://schemas.microsoft.com/office/drawing/2014/main" id="{5D74F17A-F1A0-44C7-A707-F7F97C653B3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81" name="Rechthoek 267">
              <a:extLst>
                <a:ext uri="{FF2B5EF4-FFF2-40B4-BE49-F238E27FC236}">
                  <a16:creationId xmlns:a16="http://schemas.microsoft.com/office/drawing/2014/main" id="{ACCAA0DA-4949-44DE-92F3-42EA89A2D26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82" name="Groep 268">
              <a:extLst>
                <a:ext uri="{FF2B5EF4-FFF2-40B4-BE49-F238E27FC236}">
                  <a16:creationId xmlns:a16="http://schemas.microsoft.com/office/drawing/2014/main" id="{2ED0CAE0-7E98-497E-8C78-9C53FE4D89C1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6" name="Rechthoek 302">
                <a:extLst>
                  <a:ext uri="{FF2B5EF4-FFF2-40B4-BE49-F238E27FC236}">
                    <a16:creationId xmlns:a16="http://schemas.microsoft.com/office/drawing/2014/main" id="{842E98B7-85FC-4357-8A7B-1597D029FE6D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367" name="Rechte verbindingslijn 303">
                <a:extLst>
                  <a:ext uri="{FF2B5EF4-FFF2-40B4-BE49-F238E27FC236}">
                    <a16:creationId xmlns:a16="http://schemas.microsoft.com/office/drawing/2014/main" id="{EDB867C8-197C-46AB-AEEA-210BDB7F37AB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8" name="Gelijkbenige driehoek 304">
                <a:extLst>
                  <a:ext uri="{FF2B5EF4-FFF2-40B4-BE49-F238E27FC236}">
                    <a16:creationId xmlns:a16="http://schemas.microsoft.com/office/drawing/2014/main" id="{5530965F-C5FC-416C-8D4F-504341761367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283" name="Groep 269">
              <a:extLst>
                <a:ext uri="{FF2B5EF4-FFF2-40B4-BE49-F238E27FC236}">
                  <a16:creationId xmlns:a16="http://schemas.microsoft.com/office/drawing/2014/main" id="{23875387-E39A-4E2A-B3CE-EA466B42D190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310" name="Rechthoek 296">
                <a:extLst>
                  <a:ext uri="{FF2B5EF4-FFF2-40B4-BE49-F238E27FC236}">
                    <a16:creationId xmlns:a16="http://schemas.microsoft.com/office/drawing/2014/main" id="{4FDBC578-D005-4948-BF60-E9AE4D01554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1" name="Ovaal 297">
                <a:extLst>
                  <a:ext uri="{FF2B5EF4-FFF2-40B4-BE49-F238E27FC236}">
                    <a16:creationId xmlns:a16="http://schemas.microsoft.com/office/drawing/2014/main" id="{E936711E-01B9-4314-AAD9-55EC3286FD9B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2" name="Vrije vorm: vorm 298">
                <a:extLst>
                  <a:ext uri="{FF2B5EF4-FFF2-40B4-BE49-F238E27FC236}">
                    <a16:creationId xmlns:a16="http://schemas.microsoft.com/office/drawing/2014/main" id="{417F7A09-5498-477D-813E-816009BFCA44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Rechthoek: afgeronde hoeken 299">
                <a:extLst>
                  <a:ext uri="{FF2B5EF4-FFF2-40B4-BE49-F238E27FC236}">
                    <a16:creationId xmlns:a16="http://schemas.microsoft.com/office/drawing/2014/main" id="{6B91653D-6A79-4F3F-9558-91704B15E5EB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4" name="Rechte verbindingslijn 300">
                <a:extLst>
                  <a:ext uri="{FF2B5EF4-FFF2-40B4-BE49-F238E27FC236}">
                    <a16:creationId xmlns:a16="http://schemas.microsoft.com/office/drawing/2014/main" id="{C9F72042-A73D-45CC-968D-49C1A6270EA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5" name="Rechte verbindingslijn 301">
                <a:extLst>
                  <a:ext uri="{FF2B5EF4-FFF2-40B4-BE49-F238E27FC236}">
                    <a16:creationId xmlns:a16="http://schemas.microsoft.com/office/drawing/2014/main" id="{B6E109AD-83D6-4DE8-B6CD-5F29E6600A35}"/>
                  </a:ext>
                </a:extLst>
              </p:cNvPr>
              <p:cNvCxnSpPr>
                <a:cxnSpLocks/>
                <a:stCxn id="363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284" name="Ovaal 270">
              <a:extLst>
                <a:ext uri="{FF2B5EF4-FFF2-40B4-BE49-F238E27FC236}">
                  <a16:creationId xmlns:a16="http://schemas.microsoft.com/office/drawing/2014/main" id="{A517D13B-DEF5-4AFF-800E-5D91A52940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85" name="Rechthoek 271">
              <a:extLst>
                <a:ext uri="{FF2B5EF4-FFF2-40B4-BE49-F238E27FC236}">
                  <a16:creationId xmlns:a16="http://schemas.microsoft.com/office/drawing/2014/main" id="{9E07530E-E0CD-4F65-BD41-E536187E267E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43320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aan de linker kant van het scherm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286" name="Rechte verbindingslijn 272">
              <a:extLst>
                <a:ext uri="{FF2B5EF4-FFF2-40B4-BE49-F238E27FC236}">
                  <a16:creationId xmlns:a16="http://schemas.microsoft.com/office/drawing/2014/main" id="{6C53DEF6-7437-453B-AC36-E0E313E646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87" name="Rechthoek 273">
              <a:extLst>
                <a:ext uri="{FF2B5EF4-FFF2-40B4-BE49-F238E27FC236}">
                  <a16:creationId xmlns:a16="http://schemas.microsoft.com/office/drawing/2014/main" id="{10663B49-F833-494E-AC68-D6E492BE381C}"/>
                </a:ext>
              </a:extLst>
            </p:cNvPr>
            <p:cNvSpPr/>
            <p:nvPr userDrawn="1"/>
          </p:nvSpPr>
          <p:spPr>
            <a:xfrm>
              <a:off x="12654153" y="3238910"/>
              <a:ext cx="1624926" cy="805220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3509" b="0" i="1" noProof="0">
                <a:solidFill>
                  <a:schemeClr val="tx1"/>
                </a:solidFill>
              </a:endParaRPr>
            </a:p>
          </p:txBody>
        </p:sp>
        <p:grpSp>
          <p:nvGrpSpPr>
            <p:cNvPr id="288" name="Groep 274">
              <a:extLst>
                <a:ext uri="{FF2B5EF4-FFF2-40B4-BE49-F238E27FC236}">
                  <a16:creationId xmlns:a16="http://schemas.microsoft.com/office/drawing/2014/main" id="{FCD6E60C-D80D-415D-80FA-98219FB39335}"/>
                </a:ext>
              </a:extLst>
            </p:cNvPr>
            <p:cNvGrpSpPr/>
            <p:nvPr userDrawn="1"/>
          </p:nvGrpSpPr>
          <p:grpSpPr>
            <a:xfrm>
              <a:off x="13614067" y="3535184"/>
              <a:ext cx="1195438" cy="678267"/>
              <a:chOff x="12757284" y="3224292"/>
              <a:chExt cx="1195438" cy="678267"/>
            </a:xfrm>
          </p:grpSpPr>
          <p:sp>
            <p:nvSpPr>
              <p:cNvPr id="289" name="Rechthoek 275">
                <a:extLst>
                  <a:ext uri="{FF2B5EF4-FFF2-40B4-BE49-F238E27FC236}">
                    <a16:creationId xmlns:a16="http://schemas.microsoft.com/office/drawing/2014/main" id="{E0442997-2EE5-4B3D-A666-335FF6FE5D30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90" name="Rechthoek 276">
                <a:extLst>
                  <a:ext uri="{FF2B5EF4-FFF2-40B4-BE49-F238E27FC236}">
                    <a16:creationId xmlns:a16="http://schemas.microsoft.com/office/drawing/2014/main" id="{F68E0D8A-00DA-4156-9AF9-05608F4D2318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91" name="Groep 277">
                <a:extLst>
                  <a:ext uri="{FF2B5EF4-FFF2-40B4-BE49-F238E27FC236}">
                    <a16:creationId xmlns:a16="http://schemas.microsoft.com/office/drawing/2014/main" id="{B15F0A56-C558-4AC5-99FA-D483E7898D24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304" name="Rechthoek: afgeronde hoeken 290">
                  <a:extLst>
                    <a:ext uri="{FF2B5EF4-FFF2-40B4-BE49-F238E27FC236}">
                      <a16:creationId xmlns:a16="http://schemas.microsoft.com/office/drawing/2014/main" id="{149E6D31-BCEF-4267-8F0B-25F4379B66B6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endPara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05" name="Rechthoek 291">
                  <a:extLst>
                    <a:ext uri="{FF2B5EF4-FFF2-40B4-BE49-F238E27FC236}">
                      <a16:creationId xmlns:a16="http://schemas.microsoft.com/office/drawing/2014/main" id="{18FE77DE-7C2D-4664-8200-29535729B4D6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6" name="Rechthoek 292">
                  <a:extLst>
                    <a:ext uri="{FF2B5EF4-FFF2-40B4-BE49-F238E27FC236}">
                      <a16:creationId xmlns:a16="http://schemas.microsoft.com/office/drawing/2014/main" id="{CC87E0D4-4E39-4330-8D2F-8C99D51D753E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7" name="Rechthoek 293">
                  <a:extLst>
                    <a:ext uri="{FF2B5EF4-FFF2-40B4-BE49-F238E27FC236}">
                      <a16:creationId xmlns:a16="http://schemas.microsoft.com/office/drawing/2014/main" id="{87D6CCB5-B211-44CC-BD93-A4315E71E358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8" name="Rechthoek 294">
                  <a:extLst>
                    <a:ext uri="{FF2B5EF4-FFF2-40B4-BE49-F238E27FC236}">
                      <a16:creationId xmlns:a16="http://schemas.microsoft.com/office/drawing/2014/main" id="{7381B617-C088-46A9-838D-02A49C3ADB91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9" name="Rechthoek 295">
                  <a:extLst>
                    <a:ext uri="{FF2B5EF4-FFF2-40B4-BE49-F238E27FC236}">
                      <a16:creationId xmlns:a16="http://schemas.microsoft.com/office/drawing/2014/main" id="{B66B3DCF-1B33-4E7F-9AA2-9E83D302FA6A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292" name="Groep 278">
                <a:extLst>
                  <a:ext uri="{FF2B5EF4-FFF2-40B4-BE49-F238E27FC236}">
                    <a16:creationId xmlns:a16="http://schemas.microsoft.com/office/drawing/2014/main" id="{5772217E-BFBD-4ABF-98F6-F21FED78404E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296" name="Groep 282">
                  <a:extLst>
                    <a:ext uri="{FF2B5EF4-FFF2-40B4-BE49-F238E27FC236}">
                      <a16:creationId xmlns:a16="http://schemas.microsoft.com/office/drawing/2014/main" id="{FA01380B-7786-4B3C-9F65-F8910E2FD96C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298" name="Rechthoek: afgeronde hoeken 284">
                    <a:extLst>
                      <a:ext uri="{FF2B5EF4-FFF2-40B4-BE49-F238E27FC236}">
                        <a16:creationId xmlns:a16="http://schemas.microsoft.com/office/drawing/2014/main" id="{BD08EA9B-496E-4F93-AB29-5DE859E94D61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2105"/>
                      </a:spcBef>
                      <a:spcAft>
                        <a:spcPts val="2105"/>
                      </a:spcAft>
                    </a:pPr>
                    <a:endParaRPr lang="nl-NL" sz="280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99" name="Rechthoek 285">
                    <a:extLst>
                      <a:ext uri="{FF2B5EF4-FFF2-40B4-BE49-F238E27FC236}">
                        <a16:creationId xmlns:a16="http://schemas.microsoft.com/office/drawing/2014/main" id="{31B965AE-5DF0-47D8-BD8E-1B0A061023A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0" name="Rechthoek 286">
                    <a:extLst>
                      <a:ext uri="{FF2B5EF4-FFF2-40B4-BE49-F238E27FC236}">
                        <a16:creationId xmlns:a16="http://schemas.microsoft.com/office/drawing/2014/main" id="{112974EA-3276-4798-9928-CB6637443AF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1" name="Rechthoek 287">
                    <a:extLst>
                      <a:ext uri="{FF2B5EF4-FFF2-40B4-BE49-F238E27FC236}">
                        <a16:creationId xmlns:a16="http://schemas.microsoft.com/office/drawing/2014/main" id="{68E96641-5BE4-4D45-9D74-F626189FBDE1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2" name="Rechthoek 288">
                    <a:extLst>
                      <a:ext uri="{FF2B5EF4-FFF2-40B4-BE49-F238E27FC236}">
                        <a16:creationId xmlns:a16="http://schemas.microsoft.com/office/drawing/2014/main" id="{39F5693E-6CD5-49D4-B4C6-3BCF96CFA9B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3" name="Rechthoek 289">
                    <a:extLst>
                      <a:ext uri="{FF2B5EF4-FFF2-40B4-BE49-F238E27FC236}">
                        <a16:creationId xmlns:a16="http://schemas.microsoft.com/office/drawing/2014/main" id="{EE1A2EB6-BE6B-49C8-8DFE-96599E56C4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297" name="Boog 283">
                  <a:extLst>
                    <a:ext uri="{FF2B5EF4-FFF2-40B4-BE49-F238E27FC236}">
                      <a16:creationId xmlns:a16="http://schemas.microsoft.com/office/drawing/2014/main" id="{C8CBAE0C-D286-40E1-AA6D-5EFEB045DA62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</p:grpSp>
          <p:sp>
            <p:nvSpPr>
              <p:cNvPr id="293" name="Tekstvak 279">
                <a:extLst>
                  <a:ext uri="{FF2B5EF4-FFF2-40B4-BE49-F238E27FC236}">
                    <a16:creationId xmlns:a16="http://schemas.microsoft.com/office/drawing/2014/main" id="{AD36B1E0-761D-42B4-A4BF-E8E9E4B1004E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294" name="Tekstvak 280">
                <a:extLst>
                  <a:ext uri="{FF2B5EF4-FFF2-40B4-BE49-F238E27FC236}">
                    <a16:creationId xmlns:a16="http://schemas.microsoft.com/office/drawing/2014/main" id="{35688FCD-3F80-4C13-8DE0-55148E168ACE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295" name="Picture 3">
                <a:extLst>
                  <a:ext uri="{FF2B5EF4-FFF2-40B4-BE49-F238E27FC236}">
                    <a16:creationId xmlns:a16="http://schemas.microsoft.com/office/drawing/2014/main" id="{BCEAF84A-C20F-48EC-98A8-08265F701FA3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810206" y="3671228"/>
                <a:ext cx="14251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sp>
        <p:nvSpPr>
          <p:cNvPr id="142" name="Tijdelijke aanduiding voor tekst 4">
            <a:extLst>
              <a:ext uri="{FF2B5EF4-FFF2-40B4-BE49-F238E27FC236}">
                <a16:creationId xmlns:a16="http://schemas.microsoft.com/office/drawing/2014/main" id="{29CC1D89-6112-4688-A910-6E85CEC383E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742374" y="6476685"/>
            <a:ext cx="25012162" cy="1907433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grpSp>
        <p:nvGrpSpPr>
          <p:cNvPr id="143" name="Groep 101">
            <a:extLst>
              <a:ext uri="{FF2B5EF4-FFF2-40B4-BE49-F238E27FC236}">
                <a16:creationId xmlns:a16="http://schemas.microsoft.com/office/drawing/2014/main" id="{12A72E4A-6CF7-42B3-8555-7E87489ED0CF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144" name="Rechthoek 102">
              <a:extLst>
                <a:ext uri="{FF2B5EF4-FFF2-40B4-BE49-F238E27FC236}">
                  <a16:creationId xmlns:a16="http://schemas.microsoft.com/office/drawing/2014/main" id="{5BE092AD-0DF5-4B2D-8A61-10786024D64A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145" name="Ovaal 103">
              <a:extLst>
                <a:ext uri="{FF2B5EF4-FFF2-40B4-BE49-F238E27FC236}">
                  <a16:creationId xmlns:a16="http://schemas.microsoft.com/office/drawing/2014/main" id="{B79B17D9-A377-4058-A1EF-2846892B35B6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6" name="Rechte verbindingslijn 104">
              <a:extLst>
                <a:ext uri="{FF2B5EF4-FFF2-40B4-BE49-F238E27FC236}">
                  <a16:creationId xmlns:a16="http://schemas.microsoft.com/office/drawing/2014/main" id="{0317B9B3-852E-467F-A16B-AB615F5CFDB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47" name="Groep 105">
              <a:extLst>
                <a:ext uri="{FF2B5EF4-FFF2-40B4-BE49-F238E27FC236}">
                  <a16:creationId xmlns:a16="http://schemas.microsoft.com/office/drawing/2014/main" id="{D732052E-94DC-4F13-9760-736F360FBB49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72" name="Rechthoek 130">
                <a:extLst>
                  <a:ext uri="{FF2B5EF4-FFF2-40B4-BE49-F238E27FC236}">
                    <a16:creationId xmlns:a16="http://schemas.microsoft.com/office/drawing/2014/main" id="{4C9B1721-F96C-4D4D-A440-EF4D9688DC89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173" name="Rechte verbindingslijn 131">
                <a:extLst>
                  <a:ext uri="{FF2B5EF4-FFF2-40B4-BE49-F238E27FC236}">
                    <a16:creationId xmlns:a16="http://schemas.microsoft.com/office/drawing/2014/main" id="{AE03C7BE-DB99-473E-8F58-AB9B9509259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Rechte verbindingslijn 132">
                <a:extLst>
                  <a:ext uri="{FF2B5EF4-FFF2-40B4-BE49-F238E27FC236}">
                    <a16:creationId xmlns:a16="http://schemas.microsoft.com/office/drawing/2014/main" id="{BAB7B4D6-E44C-44D9-9AB6-5837E888664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5" name="Rechthoek 133">
                <a:extLst>
                  <a:ext uri="{FF2B5EF4-FFF2-40B4-BE49-F238E27FC236}">
                    <a16:creationId xmlns:a16="http://schemas.microsoft.com/office/drawing/2014/main" id="{F6BC44AD-C790-40DB-BC18-9360E4ACFEFC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6" name="Groep 134">
                <a:extLst>
                  <a:ext uri="{FF2B5EF4-FFF2-40B4-BE49-F238E27FC236}">
                    <a16:creationId xmlns:a16="http://schemas.microsoft.com/office/drawing/2014/main" id="{DE946025-9964-4691-8D8D-C8B408A214A9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18" name="Groep 175">
                  <a:extLst>
                    <a:ext uri="{FF2B5EF4-FFF2-40B4-BE49-F238E27FC236}">
                      <a16:creationId xmlns:a16="http://schemas.microsoft.com/office/drawing/2014/main" id="{25282692-712E-47CE-B737-55B5B67E8189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22" name="Rechte verbindingslijn 179">
                    <a:extLst>
                      <a:ext uri="{FF2B5EF4-FFF2-40B4-BE49-F238E27FC236}">
                        <a16:creationId xmlns:a16="http://schemas.microsoft.com/office/drawing/2014/main" id="{D975297F-C363-4A91-B08F-FC702D0DE0F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180">
                    <a:extLst>
                      <a:ext uri="{FF2B5EF4-FFF2-40B4-BE49-F238E27FC236}">
                        <a16:creationId xmlns:a16="http://schemas.microsoft.com/office/drawing/2014/main" id="{5E4689A8-BF87-4D6D-A327-5691237F574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181">
                    <a:extLst>
                      <a:ext uri="{FF2B5EF4-FFF2-40B4-BE49-F238E27FC236}">
                        <a16:creationId xmlns:a16="http://schemas.microsoft.com/office/drawing/2014/main" id="{4481CE40-DE80-41EC-966D-4CF9297584C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182">
                    <a:extLst>
                      <a:ext uri="{FF2B5EF4-FFF2-40B4-BE49-F238E27FC236}">
                        <a16:creationId xmlns:a16="http://schemas.microsoft.com/office/drawing/2014/main" id="{6D2D4CD5-9BBB-4FD2-A3AC-F28417CBE7E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183">
                    <a:extLst>
                      <a:ext uri="{FF2B5EF4-FFF2-40B4-BE49-F238E27FC236}">
                        <a16:creationId xmlns:a16="http://schemas.microsoft.com/office/drawing/2014/main" id="{1541F988-1145-422A-B24C-91713A5AAA8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176">
                  <a:extLst>
                    <a:ext uri="{FF2B5EF4-FFF2-40B4-BE49-F238E27FC236}">
                      <a16:creationId xmlns:a16="http://schemas.microsoft.com/office/drawing/2014/main" id="{2A6F4C5F-49D7-4FF0-A06D-7EB6E795825C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177">
                    <a:extLst>
                      <a:ext uri="{FF2B5EF4-FFF2-40B4-BE49-F238E27FC236}">
                        <a16:creationId xmlns:a16="http://schemas.microsoft.com/office/drawing/2014/main" id="{2D10FA49-F6F2-472A-9B5C-CC4B345509C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1" name="Pijl: punthaak 178">
                    <a:extLst>
                      <a:ext uri="{FF2B5EF4-FFF2-40B4-BE49-F238E27FC236}">
                        <a16:creationId xmlns:a16="http://schemas.microsoft.com/office/drawing/2014/main" id="{7AECEAA0-B21F-484F-9CAB-B3FE4D087BB6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7" name="Groep 135">
                <a:extLst>
                  <a:ext uri="{FF2B5EF4-FFF2-40B4-BE49-F238E27FC236}">
                    <a16:creationId xmlns:a16="http://schemas.microsoft.com/office/drawing/2014/main" id="{5DA97B60-D3E0-4A23-ABC6-C9D48052696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9" name="Groep 166">
                  <a:extLst>
                    <a:ext uri="{FF2B5EF4-FFF2-40B4-BE49-F238E27FC236}">
                      <a16:creationId xmlns:a16="http://schemas.microsoft.com/office/drawing/2014/main" id="{F310B508-521F-483D-9029-1B78B8964DE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13" name="Rechte verbindingslijn 170">
                    <a:extLst>
                      <a:ext uri="{FF2B5EF4-FFF2-40B4-BE49-F238E27FC236}">
                        <a16:creationId xmlns:a16="http://schemas.microsoft.com/office/drawing/2014/main" id="{D4EF374F-E8A3-4586-9A8E-76AE81B7E82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4" name="Rechte verbindingslijn 171">
                    <a:extLst>
                      <a:ext uri="{FF2B5EF4-FFF2-40B4-BE49-F238E27FC236}">
                        <a16:creationId xmlns:a16="http://schemas.microsoft.com/office/drawing/2014/main" id="{52887A5B-607B-4914-B454-BD7F11D21CA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5" name="Rechte verbindingslijn 172">
                    <a:extLst>
                      <a:ext uri="{FF2B5EF4-FFF2-40B4-BE49-F238E27FC236}">
                        <a16:creationId xmlns:a16="http://schemas.microsoft.com/office/drawing/2014/main" id="{DC1EF143-A254-4D3E-9DC2-7C1FDDACE5E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6" name="Rechte verbindingslijn 173">
                    <a:extLst>
                      <a:ext uri="{FF2B5EF4-FFF2-40B4-BE49-F238E27FC236}">
                        <a16:creationId xmlns:a16="http://schemas.microsoft.com/office/drawing/2014/main" id="{FA18A8F4-EB93-4750-BF03-510FFF41531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7" name="Rechte verbindingslijn 174">
                    <a:extLst>
                      <a:ext uri="{FF2B5EF4-FFF2-40B4-BE49-F238E27FC236}">
                        <a16:creationId xmlns:a16="http://schemas.microsoft.com/office/drawing/2014/main" id="{D6EF6D22-CE38-4C8D-AA17-96D86687669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0" name="Groep 167">
                  <a:extLst>
                    <a:ext uri="{FF2B5EF4-FFF2-40B4-BE49-F238E27FC236}">
                      <a16:creationId xmlns:a16="http://schemas.microsoft.com/office/drawing/2014/main" id="{23C3BDDC-0862-4103-A2B8-A7ED34BCB019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11" name="Rechthoek 168">
                    <a:extLst>
                      <a:ext uri="{FF2B5EF4-FFF2-40B4-BE49-F238E27FC236}">
                        <a16:creationId xmlns:a16="http://schemas.microsoft.com/office/drawing/2014/main" id="{151FE795-305D-4137-ABEB-E4984BA5F9B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2" name="Pijl: punthaak 169">
                    <a:extLst>
                      <a:ext uri="{FF2B5EF4-FFF2-40B4-BE49-F238E27FC236}">
                        <a16:creationId xmlns:a16="http://schemas.microsoft.com/office/drawing/2014/main" id="{7CB676B1-DC82-4B48-A8A1-2D057C6EB4F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8" name="Rechte verbindingslijn 136">
                <a:extLst>
                  <a:ext uri="{FF2B5EF4-FFF2-40B4-BE49-F238E27FC236}">
                    <a16:creationId xmlns:a16="http://schemas.microsoft.com/office/drawing/2014/main" id="{6E1CC731-1E2E-4A01-8995-A33E6E229A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9" name="Rechte verbindingslijn 137">
                <a:extLst>
                  <a:ext uri="{FF2B5EF4-FFF2-40B4-BE49-F238E27FC236}">
                    <a16:creationId xmlns:a16="http://schemas.microsoft.com/office/drawing/2014/main" id="{F53B65F7-1332-486F-B4F4-D2044AB65A6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80" name="Groep 138">
                <a:extLst>
                  <a:ext uri="{FF2B5EF4-FFF2-40B4-BE49-F238E27FC236}">
                    <a16:creationId xmlns:a16="http://schemas.microsoft.com/office/drawing/2014/main" id="{251AB20E-4EA8-48ED-B829-615738FBFE6A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8" name="Rechthoek 155">
                  <a:extLst>
                    <a:ext uri="{FF2B5EF4-FFF2-40B4-BE49-F238E27FC236}">
                      <a16:creationId xmlns:a16="http://schemas.microsoft.com/office/drawing/2014/main" id="{2587BC2B-165B-4CC7-BBC6-70BA5BE2783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9" name="Groep 156">
                  <a:extLst>
                    <a:ext uri="{FF2B5EF4-FFF2-40B4-BE49-F238E27FC236}">
                      <a16:creationId xmlns:a16="http://schemas.microsoft.com/office/drawing/2014/main" id="{2E372CF0-B5F3-448D-B0A6-DDCD36543787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0" name="Groep 157">
                    <a:extLst>
                      <a:ext uri="{FF2B5EF4-FFF2-40B4-BE49-F238E27FC236}">
                        <a16:creationId xmlns:a16="http://schemas.microsoft.com/office/drawing/2014/main" id="{C0B964D4-697A-48C3-9AEB-70942A2EBF6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04" name="Rechte verbindingslijn 161">
                      <a:extLst>
                        <a:ext uri="{FF2B5EF4-FFF2-40B4-BE49-F238E27FC236}">
                          <a16:creationId xmlns:a16="http://schemas.microsoft.com/office/drawing/2014/main" id="{BFFC8269-C726-4AD3-AD97-021BDE63A74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162">
                      <a:extLst>
                        <a:ext uri="{FF2B5EF4-FFF2-40B4-BE49-F238E27FC236}">
                          <a16:creationId xmlns:a16="http://schemas.microsoft.com/office/drawing/2014/main" id="{CBE2C915-F716-4323-B1EB-EE8EE2AC9FB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163">
                      <a:extLst>
                        <a:ext uri="{FF2B5EF4-FFF2-40B4-BE49-F238E27FC236}">
                          <a16:creationId xmlns:a16="http://schemas.microsoft.com/office/drawing/2014/main" id="{10E78F17-34D6-4C4E-B628-9723C09E0A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7" name="Rechte verbindingslijn 164">
                      <a:extLst>
                        <a:ext uri="{FF2B5EF4-FFF2-40B4-BE49-F238E27FC236}">
                          <a16:creationId xmlns:a16="http://schemas.microsoft.com/office/drawing/2014/main" id="{809B135C-A031-4075-9AAF-6E20C67121A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8" name="Rechte verbindingslijn 165">
                      <a:extLst>
                        <a:ext uri="{FF2B5EF4-FFF2-40B4-BE49-F238E27FC236}">
                          <a16:creationId xmlns:a16="http://schemas.microsoft.com/office/drawing/2014/main" id="{328F8FD6-328C-4C67-A687-451D65FCD59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01" name="Groep 158">
                    <a:extLst>
                      <a:ext uri="{FF2B5EF4-FFF2-40B4-BE49-F238E27FC236}">
                        <a16:creationId xmlns:a16="http://schemas.microsoft.com/office/drawing/2014/main" id="{B8A10E56-6B6F-4794-8E84-0A2AC89D394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2" name="Rechthoek 159">
                      <a:extLst>
                        <a:ext uri="{FF2B5EF4-FFF2-40B4-BE49-F238E27FC236}">
                          <a16:creationId xmlns:a16="http://schemas.microsoft.com/office/drawing/2014/main" id="{91E2C993-99E2-40BF-99AB-C5DB85F467E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3" name="Pijl: punthaak 160">
                      <a:extLst>
                        <a:ext uri="{FF2B5EF4-FFF2-40B4-BE49-F238E27FC236}">
                          <a16:creationId xmlns:a16="http://schemas.microsoft.com/office/drawing/2014/main" id="{27B3E14A-1A3B-4999-9C80-47C749FC8ACF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81" name="Groep 139">
                <a:extLst>
                  <a:ext uri="{FF2B5EF4-FFF2-40B4-BE49-F238E27FC236}">
                    <a16:creationId xmlns:a16="http://schemas.microsoft.com/office/drawing/2014/main" id="{171BE289-F739-4CC7-8323-891B9AF4D152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84" name="Rechthoek 142">
                  <a:extLst>
                    <a:ext uri="{FF2B5EF4-FFF2-40B4-BE49-F238E27FC236}">
                      <a16:creationId xmlns:a16="http://schemas.microsoft.com/office/drawing/2014/main" id="{7F74BB56-3DA2-44E5-B258-AA3BBA084CED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5" name="Groep 143">
                  <a:extLst>
                    <a:ext uri="{FF2B5EF4-FFF2-40B4-BE49-F238E27FC236}">
                      <a16:creationId xmlns:a16="http://schemas.microsoft.com/office/drawing/2014/main" id="{C120988B-C73E-42F5-8DC3-B857034D6AE4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6" name="Groep 144">
                    <a:extLst>
                      <a:ext uri="{FF2B5EF4-FFF2-40B4-BE49-F238E27FC236}">
                        <a16:creationId xmlns:a16="http://schemas.microsoft.com/office/drawing/2014/main" id="{2032EFDC-8481-4B06-A485-40D4A1303EB4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90" name="Rechte verbindingslijn 150">
                      <a:extLst>
                        <a:ext uri="{FF2B5EF4-FFF2-40B4-BE49-F238E27FC236}">
                          <a16:creationId xmlns:a16="http://schemas.microsoft.com/office/drawing/2014/main" id="{B175E117-FFC0-430C-B0B1-543C8DD8664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4" name="Rechte verbindingslijn 151">
                      <a:extLst>
                        <a:ext uri="{FF2B5EF4-FFF2-40B4-BE49-F238E27FC236}">
                          <a16:creationId xmlns:a16="http://schemas.microsoft.com/office/drawing/2014/main" id="{1CD7EC02-E136-4562-919D-0A47E30E82F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5" name="Rechte verbindingslijn 152">
                      <a:extLst>
                        <a:ext uri="{FF2B5EF4-FFF2-40B4-BE49-F238E27FC236}">
                          <a16:creationId xmlns:a16="http://schemas.microsoft.com/office/drawing/2014/main" id="{759F117B-80E1-4A33-AEAE-C031D2A8162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6" name="Rechte verbindingslijn 153">
                      <a:extLst>
                        <a:ext uri="{FF2B5EF4-FFF2-40B4-BE49-F238E27FC236}">
                          <a16:creationId xmlns:a16="http://schemas.microsoft.com/office/drawing/2014/main" id="{43150B4A-F359-46DE-8195-B16E16087CA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54">
                      <a:extLst>
                        <a:ext uri="{FF2B5EF4-FFF2-40B4-BE49-F238E27FC236}">
                          <a16:creationId xmlns:a16="http://schemas.microsoft.com/office/drawing/2014/main" id="{A8BA1755-2363-40F6-A133-A8E47981331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7" name="Groep 147">
                    <a:extLst>
                      <a:ext uri="{FF2B5EF4-FFF2-40B4-BE49-F238E27FC236}">
                        <a16:creationId xmlns:a16="http://schemas.microsoft.com/office/drawing/2014/main" id="{9F8CAD7A-06FB-4E69-9BB6-D93D844956AF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8" name="Rechthoek 148">
                      <a:extLst>
                        <a:ext uri="{FF2B5EF4-FFF2-40B4-BE49-F238E27FC236}">
                          <a16:creationId xmlns:a16="http://schemas.microsoft.com/office/drawing/2014/main" id="{2FBF036D-6595-4E64-AEC0-9C06B139834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9" name="Pijl: punthaak 149">
                      <a:extLst>
                        <a:ext uri="{FF2B5EF4-FFF2-40B4-BE49-F238E27FC236}">
                          <a16:creationId xmlns:a16="http://schemas.microsoft.com/office/drawing/2014/main" id="{36EDD372-D7D2-43F2-840A-00EAD3EC4CA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82" name="Rechthoek 140">
                <a:extLst>
                  <a:ext uri="{FF2B5EF4-FFF2-40B4-BE49-F238E27FC236}">
                    <a16:creationId xmlns:a16="http://schemas.microsoft.com/office/drawing/2014/main" id="{CDCDCA82-07E0-48B1-9C62-036394666E0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183" name="Rechthoek 141">
                <a:extLst>
                  <a:ext uri="{FF2B5EF4-FFF2-40B4-BE49-F238E27FC236}">
                    <a16:creationId xmlns:a16="http://schemas.microsoft.com/office/drawing/2014/main" id="{579B6D84-257C-420F-8B98-44D221ED428B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148" name="Rechte verbindingslijn 106">
              <a:extLst>
                <a:ext uri="{FF2B5EF4-FFF2-40B4-BE49-F238E27FC236}">
                  <a16:creationId xmlns:a16="http://schemas.microsoft.com/office/drawing/2014/main" id="{53509D9F-9466-4E77-A22E-AAA64289BFB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9" name="Rechthoek 107">
              <a:extLst>
                <a:ext uri="{FF2B5EF4-FFF2-40B4-BE49-F238E27FC236}">
                  <a16:creationId xmlns:a16="http://schemas.microsoft.com/office/drawing/2014/main" id="{813D89E4-6E30-472F-BDCF-CAC391F46997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150" name="Ovaal 108">
              <a:extLst>
                <a:ext uri="{FF2B5EF4-FFF2-40B4-BE49-F238E27FC236}">
                  <a16:creationId xmlns:a16="http://schemas.microsoft.com/office/drawing/2014/main" id="{77AAFE31-BF04-486B-A911-A27DB748D853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1" name="Rechthoek 109">
              <a:extLst>
                <a:ext uri="{FF2B5EF4-FFF2-40B4-BE49-F238E27FC236}">
                  <a16:creationId xmlns:a16="http://schemas.microsoft.com/office/drawing/2014/main" id="{F3DD63C2-8AFD-42D1-AA17-E3C812DF7D4B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152" name="Ovaal 110">
              <a:extLst>
                <a:ext uri="{FF2B5EF4-FFF2-40B4-BE49-F238E27FC236}">
                  <a16:creationId xmlns:a16="http://schemas.microsoft.com/office/drawing/2014/main" id="{D8B3CDF8-3FF7-47B1-BFF9-623DAECD55F4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11">
              <a:extLst>
                <a:ext uri="{FF2B5EF4-FFF2-40B4-BE49-F238E27FC236}">
                  <a16:creationId xmlns:a16="http://schemas.microsoft.com/office/drawing/2014/main" id="{0CDE75C5-3FB6-411A-AA6B-9E05ABA6009C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54" name="Ovaal 112">
              <a:extLst>
                <a:ext uri="{FF2B5EF4-FFF2-40B4-BE49-F238E27FC236}">
                  <a16:creationId xmlns:a16="http://schemas.microsoft.com/office/drawing/2014/main" id="{C36C2D08-DDE6-49DB-B648-C7427CBD0C25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55" name="Rechthoek 113">
              <a:extLst>
                <a:ext uri="{FF2B5EF4-FFF2-40B4-BE49-F238E27FC236}">
                  <a16:creationId xmlns:a16="http://schemas.microsoft.com/office/drawing/2014/main" id="{3651947C-0C02-47FD-8198-6ACA05D625CE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156" name="Ovaal 114">
              <a:extLst>
                <a:ext uri="{FF2B5EF4-FFF2-40B4-BE49-F238E27FC236}">
                  <a16:creationId xmlns:a16="http://schemas.microsoft.com/office/drawing/2014/main" id="{DAC65B97-AD50-4A4B-A52B-91DEED1F5CDB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57" name="Rechthoek 115">
              <a:extLst>
                <a:ext uri="{FF2B5EF4-FFF2-40B4-BE49-F238E27FC236}">
                  <a16:creationId xmlns:a16="http://schemas.microsoft.com/office/drawing/2014/main" id="{DD0EED19-4759-48B0-99D3-F1756C29FD0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158" name="Rechte verbindingslijn 116">
              <a:extLst>
                <a:ext uri="{FF2B5EF4-FFF2-40B4-BE49-F238E27FC236}">
                  <a16:creationId xmlns:a16="http://schemas.microsoft.com/office/drawing/2014/main" id="{B3A404FF-E418-443C-993E-C046EE62637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9" name="Meer informatie">
              <a:extLst>
                <a:ext uri="{FF2B5EF4-FFF2-40B4-BE49-F238E27FC236}">
                  <a16:creationId xmlns:a16="http://schemas.microsoft.com/office/drawing/2014/main" id="{CAF54774-E82D-4C3B-A1C1-62DC6106C4C6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169" name="Freeform 101">
                <a:extLst>
                  <a:ext uri="{FF2B5EF4-FFF2-40B4-BE49-F238E27FC236}">
                    <a16:creationId xmlns:a16="http://schemas.microsoft.com/office/drawing/2014/main" id="{56B082E7-9C4C-429A-A3F1-E85D9557B1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170" name="Rechthoek 128">
                <a:extLst>
                  <a:ext uri="{FF2B5EF4-FFF2-40B4-BE49-F238E27FC236}">
                    <a16:creationId xmlns:a16="http://schemas.microsoft.com/office/drawing/2014/main" id="{B2334392-13F1-41ED-AB5C-3A10FDC849D7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71" name="Rechte verbindingslijn 129">
                <a:extLst>
                  <a:ext uri="{FF2B5EF4-FFF2-40B4-BE49-F238E27FC236}">
                    <a16:creationId xmlns:a16="http://schemas.microsoft.com/office/drawing/2014/main" id="{DE14C397-DDB9-4313-9B99-664106801E0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0" name="Rechthoek 118">
              <a:extLst>
                <a:ext uri="{FF2B5EF4-FFF2-40B4-BE49-F238E27FC236}">
                  <a16:creationId xmlns:a16="http://schemas.microsoft.com/office/drawing/2014/main" id="{3D9BB6C9-57C4-47DA-BAAB-50D3E0AA3607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161" name="Ovaal 119">
              <a:extLst>
                <a:ext uri="{FF2B5EF4-FFF2-40B4-BE49-F238E27FC236}">
                  <a16:creationId xmlns:a16="http://schemas.microsoft.com/office/drawing/2014/main" id="{8A187101-3BAC-4789-BA69-16F45919C18A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2" name="Rechthoek 120">
              <a:extLst>
                <a:ext uri="{FF2B5EF4-FFF2-40B4-BE49-F238E27FC236}">
                  <a16:creationId xmlns:a16="http://schemas.microsoft.com/office/drawing/2014/main" id="{FC8589D7-57DE-4A5C-A674-5CF7510EFF83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63" name="Ovaal 121">
              <a:extLst>
                <a:ext uri="{FF2B5EF4-FFF2-40B4-BE49-F238E27FC236}">
                  <a16:creationId xmlns:a16="http://schemas.microsoft.com/office/drawing/2014/main" id="{522924C4-04FF-497C-90E3-866D1E4C008E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4" name="Rechthoek 122">
              <a:extLst>
                <a:ext uri="{FF2B5EF4-FFF2-40B4-BE49-F238E27FC236}">
                  <a16:creationId xmlns:a16="http://schemas.microsoft.com/office/drawing/2014/main" id="{8825EF7B-BEC0-4E7D-9723-1A01C82AA276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165" name="Ovaal 123">
              <a:extLst>
                <a:ext uri="{FF2B5EF4-FFF2-40B4-BE49-F238E27FC236}">
                  <a16:creationId xmlns:a16="http://schemas.microsoft.com/office/drawing/2014/main" id="{9D37BDA1-8993-4AEF-AEA8-0D82C8D93D16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6" name="Rechthoek 124">
              <a:extLst>
                <a:ext uri="{FF2B5EF4-FFF2-40B4-BE49-F238E27FC236}">
                  <a16:creationId xmlns:a16="http://schemas.microsoft.com/office/drawing/2014/main" id="{4A9C4BFD-E9F9-4501-9B17-D7BBED67B1AD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67" name="Rechthoek 125">
              <a:extLst>
                <a:ext uri="{FF2B5EF4-FFF2-40B4-BE49-F238E27FC236}">
                  <a16:creationId xmlns:a16="http://schemas.microsoft.com/office/drawing/2014/main" id="{50D07889-836F-4702-8605-2C661B2795D7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168" name="Ovaal 126">
              <a:extLst>
                <a:ext uri="{FF2B5EF4-FFF2-40B4-BE49-F238E27FC236}">
                  <a16:creationId xmlns:a16="http://schemas.microsoft.com/office/drawing/2014/main" id="{CAAC0A2F-5137-4156-AFF2-2EA66880CD31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  <p:sp>
        <p:nvSpPr>
          <p:cNvPr id="227" name="Tijdelijke aanduiding voor tekst 3">
            <a:extLst>
              <a:ext uri="{FF2B5EF4-FFF2-40B4-BE49-F238E27FC236}">
                <a16:creationId xmlns:a16="http://schemas.microsoft.com/office/drawing/2014/main" id="{56BE9A8B-2E1D-4B70-9784-41189D5E3CE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504415" y="1449454"/>
            <a:ext cx="6635238" cy="3534585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51"/>
            </a:lvl1pPr>
          </a:lstStyle>
          <a:p>
            <a:pPr lvl="0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89990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Foto 50%/5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jdelijke aanduiding voor afbeelding 9">
            <a:extLst>
              <a:ext uri="{FF2B5EF4-FFF2-40B4-BE49-F238E27FC236}">
                <a16:creationId xmlns:a16="http://schemas.microsoft.com/office/drawing/2014/main" id="{0ED34533-68FE-488A-8073-AE327759215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2852404" y="2"/>
            <a:ext cx="19913490" cy="30275209"/>
          </a:xfrm>
          <a:solidFill>
            <a:schemeClr val="bg1">
              <a:lumMod val="95000"/>
            </a:schemeClr>
          </a:solidFill>
        </p:spPr>
        <p:txBody>
          <a:bodyPr tIns="1260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9" name="Titel 1">
            <a:extLst>
              <a:ext uri="{FF2B5EF4-FFF2-40B4-BE49-F238E27FC236}">
                <a16:creationId xmlns:a16="http://schemas.microsoft.com/office/drawing/2014/main" id="{38F2616F-48F4-4AA7-A397-7CF72985B8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40" name="Tijdelijke aanduiding voor tekst 14">
            <a:extLst>
              <a:ext uri="{FF2B5EF4-FFF2-40B4-BE49-F238E27FC236}">
                <a16:creationId xmlns:a16="http://schemas.microsoft.com/office/drawing/2014/main" id="{628F315F-0014-4BC5-9D55-3D396FBDC96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56" name="Tijdelijke aanduiding voor voettekst 4">
            <a:extLst>
              <a:ext uri="{FF2B5EF4-FFF2-40B4-BE49-F238E27FC236}">
                <a16:creationId xmlns:a16="http://schemas.microsoft.com/office/drawing/2014/main" id="{338749D9-C675-4DFC-AD08-66934C14A8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57" name="Tijdelijke aanduiding voor dianummer 5">
            <a:extLst>
              <a:ext uri="{FF2B5EF4-FFF2-40B4-BE49-F238E27FC236}">
                <a16:creationId xmlns:a16="http://schemas.microsoft.com/office/drawing/2014/main" id="{0D5A18F8-364B-49D8-899A-40A6F3280B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2" y="27329718"/>
            <a:ext cx="857527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20" name="Tijdelijke aanduiding voor datum 3">
            <a:extLst>
              <a:ext uri="{FF2B5EF4-FFF2-40B4-BE49-F238E27FC236}">
                <a16:creationId xmlns:a16="http://schemas.microsoft.com/office/drawing/2014/main" id="{6AE598E2-80CE-413F-9F85-905285A7345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B0EAA18-3AFB-40A5-B0C9-9E669743B750}" type="datetime1">
              <a:rPr lang="nl-NL" noProof="0" smtClean="0"/>
              <a:t>26-6-2023</a:t>
            </a:fld>
            <a:endParaRPr lang="nl-NL" noProof="0"/>
          </a:p>
        </p:txBody>
      </p:sp>
      <p:grpSp>
        <p:nvGrpSpPr>
          <p:cNvPr id="191" name="Groep 258">
            <a:extLst>
              <a:ext uri="{FF2B5EF4-FFF2-40B4-BE49-F238E27FC236}">
                <a16:creationId xmlns:a16="http://schemas.microsoft.com/office/drawing/2014/main" id="{01744769-4E2D-46AD-880A-D58C0A224D24}"/>
              </a:ext>
            </a:extLst>
          </p:cNvPr>
          <p:cNvGrpSpPr/>
          <p:nvPr userDrawn="1"/>
        </p:nvGrpSpPr>
        <p:grpSpPr>
          <a:xfrm>
            <a:off x="43467416" y="5"/>
            <a:ext cx="11167745" cy="23084356"/>
            <a:chOff x="12391601" y="0"/>
            <a:chExt cx="3183678" cy="5229113"/>
          </a:xfrm>
        </p:grpSpPr>
        <p:grpSp>
          <p:nvGrpSpPr>
            <p:cNvPr id="192" name="Meer informatie">
              <a:extLst>
                <a:ext uri="{FF2B5EF4-FFF2-40B4-BE49-F238E27FC236}">
                  <a16:creationId xmlns:a16="http://schemas.microsoft.com/office/drawing/2014/main" id="{A4EC1C1E-98E3-43C7-BD38-24CDFD976AEB}"/>
                </a:ext>
              </a:extLst>
            </p:cNvPr>
            <p:cNvGrpSpPr/>
            <p:nvPr userDrawn="1"/>
          </p:nvGrpSpPr>
          <p:grpSpPr>
            <a:xfrm>
              <a:off x="12396764" y="4445840"/>
              <a:ext cx="3178515" cy="783273"/>
              <a:chOff x="-3741486" y="3386444"/>
              <a:chExt cx="3178515" cy="783273"/>
            </a:xfrm>
          </p:grpSpPr>
          <p:sp>
            <p:nvSpPr>
              <p:cNvPr id="369" name="Freeform 101">
                <a:extLst>
                  <a:ext uri="{FF2B5EF4-FFF2-40B4-BE49-F238E27FC236}">
                    <a16:creationId xmlns:a16="http://schemas.microsoft.com/office/drawing/2014/main" id="{57C8C1FE-50AE-4F77-B1AF-796AA69FE8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370" name="Rechthoek 306">
                <a:extLst>
                  <a:ext uri="{FF2B5EF4-FFF2-40B4-BE49-F238E27FC236}">
                    <a16:creationId xmlns:a16="http://schemas.microsoft.com/office/drawing/2014/main" id="{F797681D-DBCB-4586-8FC4-D1342256679B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71" name="Rechte verbindingslijn 307">
                <a:extLst>
                  <a:ext uri="{FF2B5EF4-FFF2-40B4-BE49-F238E27FC236}">
                    <a16:creationId xmlns:a16="http://schemas.microsoft.com/office/drawing/2014/main" id="{5C8C70F2-195F-4FF4-886A-ED8F818E1DB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93" name="Rechthoek 260">
              <a:extLst>
                <a:ext uri="{FF2B5EF4-FFF2-40B4-BE49-F238E27FC236}">
                  <a16:creationId xmlns:a16="http://schemas.microsoft.com/office/drawing/2014/main" id="{C9193123-F938-4192-A8F2-22041EB5EF3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194" name="Ovaal 261">
              <a:extLst>
                <a:ext uri="{FF2B5EF4-FFF2-40B4-BE49-F238E27FC236}">
                  <a16:creationId xmlns:a16="http://schemas.microsoft.com/office/drawing/2014/main" id="{62A4F9A0-9240-42F3-81FC-D2933CB6DA57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76" name="Rechte verbindingslijn 262">
              <a:extLst>
                <a:ext uri="{FF2B5EF4-FFF2-40B4-BE49-F238E27FC236}">
                  <a16:creationId xmlns:a16="http://schemas.microsoft.com/office/drawing/2014/main" id="{531D6475-86F7-4A3D-B737-133558F3396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77" name="Rechte verbindingslijn 263">
              <a:extLst>
                <a:ext uri="{FF2B5EF4-FFF2-40B4-BE49-F238E27FC236}">
                  <a16:creationId xmlns:a16="http://schemas.microsoft.com/office/drawing/2014/main" id="{D68DC439-1D0B-44F4-9A0F-05D0F0FA81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78" name="Rechthoek 264">
              <a:extLst>
                <a:ext uri="{FF2B5EF4-FFF2-40B4-BE49-F238E27FC236}">
                  <a16:creationId xmlns:a16="http://schemas.microsoft.com/office/drawing/2014/main" id="{09CF9D97-3183-4CAD-ADF9-40C3EE756F22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oor deze te selecteren en op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om een nieuwe afbeelding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279" name="Rechte verbindingslijn 265">
              <a:extLst>
                <a:ext uri="{FF2B5EF4-FFF2-40B4-BE49-F238E27FC236}">
                  <a16:creationId xmlns:a16="http://schemas.microsoft.com/office/drawing/2014/main" id="{E5249709-D847-47AC-9FA8-A6EF0A0233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4327957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80" name="Ovaal 266">
              <a:extLst>
                <a:ext uri="{FF2B5EF4-FFF2-40B4-BE49-F238E27FC236}">
                  <a16:creationId xmlns:a16="http://schemas.microsoft.com/office/drawing/2014/main" id="{B7406051-6D4F-4746-AE87-FEDB1836B94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81" name="Rechthoek 267">
              <a:extLst>
                <a:ext uri="{FF2B5EF4-FFF2-40B4-BE49-F238E27FC236}">
                  <a16:creationId xmlns:a16="http://schemas.microsoft.com/office/drawing/2014/main" id="{6EC3F820-3DA4-4ABB-93F3-3B71B07D992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82" name="Groep 268">
              <a:extLst>
                <a:ext uri="{FF2B5EF4-FFF2-40B4-BE49-F238E27FC236}">
                  <a16:creationId xmlns:a16="http://schemas.microsoft.com/office/drawing/2014/main" id="{1DC0E739-76B4-4E95-9E6A-AF784261650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6" name="Rechthoek 302">
                <a:extLst>
                  <a:ext uri="{FF2B5EF4-FFF2-40B4-BE49-F238E27FC236}">
                    <a16:creationId xmlns:a16="http://schemas.microsoft.com/office/drawing/2014/main" id="{7481E702-57AF-4E58-9060-713127F9E87A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367" name="Rechte verbindingslijn 303">
                <a:extLst>
                  <a:ext uri="{FF2B5EF4-FFF2-40B4-BE49-F238E27FC236}">
                    <a16:creationId xmlns:a16="http://schemas.microsoft.com/office/drawing/2014/main" id="{D47BDE1C-49AC-4334-90BD-925C4D6024A1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8" name="Gelijkbenige driehoek 304">
                <a:extLst>
                  <a:ext uri="{FF2B5EF4-FFF2-40B4-BE49-F238E27FC236}">
                    <a16:creationId xmlns:a16="http://schemas.microsoft.com/office/drawing/2014/main" id="{DB1FFF35-6F1E-461D-923A-0A59349699B3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283" name="Groep 269">
              <a:extLst>
                <a:ext uri="{FF2B5EF4-FFF2-40B4-BE49-F238E27FC236}">
                  <a16:creationId xmlns:a16="http://schemas.microsoft.com/office/drawing/2014/main" id="{14841377-4B9D-4516-A835-391C048398EF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360" name="Rechthoek 296">
                <a:extLst>
                  <a:ext uri="{FF2B5EF4-FFF2-40B4-BE49-F238E27FC236}">
                    <a16:creationId xmlns:a16="http://schemas.microsoft.com/office/drawing/2014/main" id="{1DFBCEA9-0112-4F27-9066-1731831E84C8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1" name="Ovaal 297">
                <a:extLst>
                  <a:ext uri="{FF2B5EF4-FFF2-40B4-BE49-F238E27FC236}">
                    <a16:creationId xmlns:a16="http://schemas.microsoft.com/office/drawing/2014/main" id="{C3908235-AA32-4370-891B-F085400E908D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2" name="Vrije vorm: vorm 298">
                <a:extLst>
                  <a:ext uri="{FF2B5EF4-FFF2-40B4-BE49-F238E27FC236}">
                    <a16:creationId xmlns:a16="http://schemas.microsoft.com/office/drawing/2014/main" id="{DFAB4706-F142-4681-BCF6-58B4E1701136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Rechthoek: afgeronde hoeken 299">
                <a:extLst>
                  <a:ext uri="{FF2B5EF4-FFF2-40B4-BE49-F238E27FC236}">
                    <a16:creationId xmlns:a16="http://schemas.microsoft.com/office/drawing/2014/main" id="{EB66E7C1-7F3A-47D2-A5A4-776089921B8F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4" name="Rechte verbindingslijn 300">
                <a:extLst>
                  <a:ext uri="{FF2B5EF4-FFF2-40B4-BE49-F238E27FC236}">
                    <a16:creationId xmlns:a16="http://schemas.microsoft.com/office/drawing/2014/main" id="{4B1BC4F4-FBBC-454F-B7F2-68C8C4852EE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5" name="Rechte verbindingslijn 301">
                <a:extLst>
                  <a:ext uri="{FF2B5EF4-FFF2-40B4-BE49-F238E27FC236}">
                    <a16:creationId xmlns:a16="http://schemas.microsoft.com/office/drawing/2014/main" id="{9ED010D8-0712-4FC3-A6E7-AE19BCF4757F}"/>
                  </a:ext>
                </a:extLst>
              </p:cNvPr>
              <p:cNvCxnSpPr>
                <a:cxnSpLocks/>
                <a:stCxn id="363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284" name="Ovaal 270">
              <a:extLst>
                <a:ext uri="{FF2B5EF4-FFF2-40B4-BE49-F238E27FC236}">
                  <a16:creationId xmlns:a16="http://schemas.microsoft.com/office/drawing/2014/main" id="{7BBD33CA-385F-4FCA-BA4D-7090DA22F3E4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85" name="Rechthoek 271">
              <a:extLst>
                <a:ext uri="{FF2B5EF4-FFF2-40B4-BE49-F238E27FC236}">
                  <a16:creationId xmlns:a16="http://schemas.microsoft.com/office/drawing/2014/main" id="{ECD4E39E-3298-4FD3-8237-AABEC59542F2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43320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aan de linker kant van het scherm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286" name="Rechte verbindingslijn 272">
              <a:extLst>
                <a:ext uri="{FF2B5EF4-FFF2-40B4-BE49-F238E27FC236}">
                  <a16:creationId xmlns:a16="http://schemas.microsoft.com/office/drawing/2014/main" id="{1AB340ED-04B1-45DA-9E19-BAFB411A683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87" name="Rechthoek 273">
              <a:extLst>
                <a:ext uri="{FF2B5EF4-FFF2-40B4-BE49-F238E27FC236}">
                  <a16:creationId xmlns:a16="http://schemas.microsoft.com/office/drawing/2014/main" id="{B41E9A49-1280-4B99-92BE-BDB9567125BE}"/>
                </a:ext>
              </a:extLst>
            </p:cNvPr>
            <p:cNvSpPr/>
            <p:nvPr userDrawn="1"/>
          </p:nvSpPr>
          <p:spPr>
            <a:xfrm>
              <a:off x="12654153" y="3238910"/>
              <a:ext cx="1624926" cy="805220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3509" b="0" i="1" noProof="0">
                <a:solidFill>
                  <a:schemeClr val="tx1"/>
                </a:solidFill>
              </a:endParaRPr>
            </a:p>
          </p:txBody>
        </p:sp>
        <p:grpSp>
          <p:nvGrpSpPr>
            <p:cNvPr id="288" name="Groep 274">
              <a:extLst>
                <a:ext uri="{FF2B5EF4-FFF2-40B4-BE49-F238E27FC236}">
                  <a16:creationId xmlns:a16="http://schemas.microsoft.com/office/drawing/2014/main" id="{54E223ED-1085-42D6-99EB-914FD6F7E1A0}"/>
                </a:ext>
              </a:extLst>
            </p:cNvPr>
            <p:cNvGrpSpPr/>
            <p:nvPr userDrawn="1"/>
          </p:nvGrpSpPr>
          <p:grpSpPr>
            <a:xfrm>
              <a:off x="13614067" y="3535184"/>
              <a:ext cx="1195438" cy="678267"/>
              <a:chOff x="12757284" y="3224292"/>
              <a:chExt cx="1195438" cy="678267"/>
            </a:xfrm>
          </p:grpSpPr>
          <p:sp>
            <p:nvSpPr>
              <p:cNvPr id="289" name="Rechthoek 275">
                <a:extLst>
                  <a:ext uri="{FF2B5EF4-FFF2-40B4-BE49-F238E27FC236}">
                    <a16:creationId xmlns:a16="http://schemas.microsoft.com/office/drawing/2014/main" id="{CC76C08A-1510-4513-982A-A02C8202BA56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90" name="Rechthoek 276">
                <a:extLst>
                  <a:ext uri="{FF2B5EF4-FFF2-40B4-BE49-F238E27FC236}">
                    <a16:creationId xmlns:a16="http://schemas.microsoft.com/office/drawing/2014/main" id="{C442DCBD-4DE6-4888-B54A-4EF3AE507F1F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91" name="Groep 277">
                <a:extLst>
                  <a:ext uri="{FF2B5EF4-FFF2-40B4-BE49-F238E27FC236}">
                    <a16:creationId xmlns:a16="http://schemas.microsoft.com/office/drawing/2014/main" id="{541957A1-A8CF-4FD5-A9E9-BB9E710FFA62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304" name="Rechthoek: afgeronde hoeken 290">
                  <a:extLst>
                    <a:ext uri="{FF2B5EF4-FFF2-40B4-BE49-F238E27FC236}">
                      <a16:creationId xmlns:a16="http://schemas.microsoft.com/office/drawing/2014/main" id="{5669CA58-73F3-4349-B230-D8D5315E90B5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endPara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05" name="Rechthoek 291">
                  <a:extLst>
                    <a:ext uri="{FF2B5EF4-FFF2-40B4-BE49-F238E27FC236}">
                      <a16:creationId xmlns:a16="http://schemas.microsoft.com/office/drawing/2014/main" id="{93CDF69C-C871-4BA6-A5E2-1800B3D9774A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6" name="Rechthoek 292">
                  <a:extLst>
                    <a:ext uri="{FF2B5EF4-FFF2-40B4-BE49-F238E27FC236}">
                      <a16:creationId xmlns:a16="http://schemas.microsoft.com/office/drawing/2014/main" id="{8041710A-C457-4091-A108-D3F20E9599F8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7" name="Rechthoek 293">
                  <a:extLst>
                    <a:ext uri="{FF2B5EF4-FFF2-40B4-BE49-F238E27FC236}">
                      <a16:creationId xmlns:a16="http://schemas.microsoft.com/office/drawing/2014/main" id="{2180BB12-5DDB-46CF-B7BC-AAF5262B1195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8" name="Rechthoek 294">
                  <a:extLst>
                    <a:ext uri="{FF2B5EF4-FFF2-40B4-BE49-F238E27FC236}">
                      <a16:creationId xmlns:a16="http://schemas.microsoft.com/office/drawing/2014/main" id="{4EE169E8-99BF-40E4-81BA-E13F9EBDB9D2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9" name="Rechthoek 295">
                  <a:extLst>
                    <a:ext uri="{FF2B5EF4-FFF2-40B4-BE49-F238E27FC236}">
                      <a16:creationId xmlns:a16="http://schemas.microsoft.com/office/drawing/2014/main" id="{A6E86F78-2BBD-4B3E-B793-A9AEC014FA9D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292" name="Groep 278">
                <a:extLst>
                  <a:ext uri="{FF2B5EF4-FFF2-40B4-BE49-F238E27FC236}">
                    <a16:creationId xmlns:a16="http://schemas.microsoft.com/office/drawing/2014/main" id="{115C966E-4EE8-4C15-9562-49CB857CB522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296" name="Groep 282">
                  <a:extLst>
                    <a:ext uri="{FF2B5EF4-FFF2-40B4-BE49-F238E27FC236}">
                      <a16:creationId xmlns:a16="http://schemas.microsoft.com/office/drawing/2014/main" id="{7A6EB598-31BE-43DD-9DDE-A54F95EDDDE0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298" name="Rechthoek: afgeronde hoeken 284">
                    <a:extLst>
                      <a:ext uri="{FF2B5EF4-FFF2-40B4-BE49-F238E27FC236}">
                        <a16:creationId xmlns:a16="http://schemas.microsoft.com/office/drawing/2014/main" id="{759736AF-88C8-49DC-A2F6-CD334246352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2105"/>
                      </a:spcBef>
                      <a:spcAft>
                        <a:spcPts val="2105"/>
                      </a:spcAft>
                    </a:pPr>
                    <a:endParaRPr lang="nl-NL" sz="280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99" name="Rechthoek 285">
                    <a:extLst>
                      <a:ext uri="{FF2B5EF4-FFF2-40B4-BE49-F238E27FC236}">
                        <a16:creationId xmlns:a16="http://schemas.microsoft.com/office/drawing/2014/main" id="{279A3EAF-079D-43B1-827D-F8FED7205E3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0" name="Rechthoek 286">
                    <a:extLst>
                      <a:ext uri="{FF2B5EF4-FFF2-40B4-BE49-F238E27FC236}">
                        <a16:creationId xmlns:a16="http://schemas.microsoft.com/office/drawing/2014/main" id="{6FAB19FC-AED1-4616-A001-C03C7D98337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1" name="Rechthoek 287">
                    <a:extLst>
                      <a:ext uri="{FF2B5EF4-FFF2-40B4-BE49-F238E27FC236}">
                        <a16:creationId xmlns:a16="http://schemas.microsoft.com/office/drawing/2014/main" id="{34A7E423-E7CC-426E-BC06-9144592761B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2" name="Rechthoek 288">
                    <a:extLst>
                      <a:ext uri="{FF2B5EF4-FFF2-40B4-BE49-F238E27FC236}">
                        <a16:creationId xmlns:a16="http://schemas.microsoft.com/office/drawing/2014/main" id="{369030A0-90B4-455D-AF64-FE70CCC6D32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3" name="Rechthoek 289">
                    <a:extLst>
                      <a:ext uri="{FF2B5EF4-FFF2-40B4-BE49-F238E27FC236}">
                        <a16:creationId xmlns:a16="http://schemas.microsoft.com/office/drawing/2014/main" id="{B216A8D2-1122-436A-9A99-449167159CE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297" name="Boog 283">
                  <a:extLst>
                    <a:ext uri="{FF2B5EF4-FFF2-40B4-BE49-F238E27FC236}">
                      <a16:creationId xmlns:a16="http://schemas.microsoft.com/office/drawing/2014/main" id="{4C907D9B-DE0B-44F6-806E-7D4D6B53BE19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</p:grpSp>
          <p:sp>
            <p:nvSpPr>
              <p:cNvPr id="293" name="Tekstvak 279">
                <a:extLst>
                  <a:ext uri="{FF2B5EF4-FFF2-40B4-BE49-F238E27FC236}">
                    <a16:creationId xmlns:a16="http://schemas.microsoft.com/office/drawing/2014/main" id="{86A98F2D-E38C-4C4E-A3B4-DC99D4C79E7B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294" name="Tekstvak 280">
                <a:extLst>
                  <a:ext uri="{FF2B5EF4-FFF2-40B4-BE49-F238E27FC236}">
                    <a16:creationId xmlns:a16="http://schemas.microsoft.com/office/drawing/2014/main" id="{353385DF-A0E6-4CE9-9E8D-DA74E4E6348C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295" name="Picture 3">
                <a:extLst>
                  <a:ext uri="{FF2B5EF4-FFF2-40B4-BE49-F238E27FC236}">
                    <a16:creationId xmlns:a16="http://schemas.microsoft.com/office/drawing/2014/main" id="{43B3043F-F730-4FA6-86E7-82F6E4DD53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810206" y="3671228"/>
                <a:ext cx="14251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sp>
        <p:nvSpPr>
          <p:cNvPr id="142" name="Tijdelijke aanduiding voor tekst 4">
            <a:extLst>
              <a:ext uri="{FF2B5EF4-FFF2-40B4-BE49-F238E27FC236}">
                <a16:creationId xmlns:a16="http://schemas.microsoft.com/office/drawing/2014/main" id="{979ACD1D-A6F7-422F-B2AC-978EE21FAD1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742373" y="6476685"/>
            <a:ext cx="18171872" cy="1907433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grpSp>
        <p:nvGrpSpPr>
          <p:cNvPr id="143" name="Groep 101">
            <a:extLst>
              <a:ext uri="{FF2B5EF4-FFF2-40B4-BE49-F238E27FC236}">
                <a16:creationId xmlns:a16="http://schemas.microsoft.com/office/drawing/2014/main" id="{4D286C39-B37F-45E3-9869-B827A1D6AAB4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144" name="Rechthoek 102">
              <a:extLst>
                <a:ext uri="{FF2B5EF4-FFF2-40B4-BE49-F238E27FC236}">
                  <a16:creationId xmlns:a16="http://schemas.microsoft.com/office/drawing/2014/main" id="{944C8894-D377-4264-BA6C-4FDA3A3FE544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145" name="Ovaal 103">
              <a:extLst>
                <a:ext uri="{FF2B5EF4-FFF2-40B4-BE49-F238E27FC236}">
                  <a16:creationId xmlns:a16="http://schemas.microsoft.com/office/drawing/2014/main" id="{F93C350F-6D09-4744-A7F9-7BD9A88224DC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6" name="Rechte verbindingslijn 104">
              <a:extLst>
                <a:ext uri="{FF2B5EF4-FFF2-40B4-BE49-F238E27FC236}">
                  <a16:creationId xmlns:a16="http://schemas.microsoft.com/office/drawing/2014/main" id="{CBCB6014-CD8F-4573-8258-28219123DA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47" name="Groep 105">
              <a:extLst>
                <a:ext uri="{FF2B5EF4-FFF2-40B4-BE49-F238E27FC236}">
                  <a16:creationId xmlns:a16="http://schemas.microsoft.com/office/drawing/2014/main" id="{9065727D-50AD-4506-BD65-911D5DF63924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72" name="Rechthoek 130">
                <a:extLst>
                  <a:ext uri="{FF2B5EF4-FFF2-40B4-BE49-F238E27FC236}">
                    <a16:creationId xmlns:a16="http://schemas.microsoft.com/office/drawing/2014/main" id="{15DD44AF-BE5C-403B-8044-7F8FC7F6087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173" name="Rechte verbindingslijn 131">
                <a:extLst>
                  <a:ext uri="{FF2B5EF4-FFF2-40B4-BE49-F238E27FC236}">
                    <a16:creationId xmlns:a16="http://schemas.microsoft.com/office/drawing/2014/main" id="{C0A4188A-22F6-4D12-82C3-50B0F36B1B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Rechte verbindingslijn 132">
                <a:extLst>
                  <a:ext uri="{FF2B5EF4-FFF2-40B4-BE49-F238E27FC236}">
                    <a16:creationId xmlns:a16="http://schemas.microsoft.com/office/drawing/2014/main" id="{6A1AC77E-1438-4C62-8336-2E4FECE821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5" name="Rechthoek 133">
                <a:extLst>
                  <a:ext uri="{FF2B5EF4-FFF2-40B4-BE49-F238E27FC236}">
                    <a16:creationId xmlns:a16="http://schemas.microsoft.com/office/drawing/2014/main" id="{8A1EF3A2-4DDC-44A0-B251-1304C612F3D3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6" name="Groep 134">
                <a:extLst>
                  <a:ext uri="{FF2B5EF4-FFF2-40B4-BE49-F238E27FC236}">
                    <a16:creationId xmlns:a16="http://schemas.microsoft.com/office/drawing/2014/main" id="{5AE51326-131F-47DB-A72D-7A4868057468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19" name="Groep 175">
                  <a:extLst>
                    <a:ext uri="{FF2B5EF4-FFF2-40B4-BE49-F238E27FC236}">
                      <a16:creationId xmlns:a16="http://schemas.microsoft.com/office/drawing/2014/main" id="{D406BB82-8500-45C3-ADDC-406DAF460842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23" name="Rechte verbindingslijn 179">
                    <a:extLst>
                      <a:ext uri="{FF2B5EF4-FFF2-40B4-BE49-F238E27FC236}">
                        <a16:creationId xmlns:a16="http://schemas.microsoft.com/office/drawing/2014/main" id="{2772C8FB-6F73-4C02-B807-42578E33030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180">
                    <a:extLst>
                      <a:ext uri="{FF2B5EF4-FFF2-40B4-BE49-F238E27FC236}">
                        <a16:creationId xmlns:a16="http://schemas.microsoft.com/office/drawing/2014/main" id="{4FC40D80-A025-40E3-AE18-00AB4C384A1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181">
                    <a:extLst>
                      <a:ext uri="{FF2B5EF4-FFF2-40B4-BE49-F238E27FC236}">
                        <a16:creationId xmlns:a16="http://schemas.microsoft.com/office/drawing/2014/main" id="{298B0897-0970-4461-92EB-52CAB9E4D11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182">
                    <a:extLst>
                      <a:ext uri="{FF2B5EF4-FFF2-40B4-BE49-F238E27FC236}">
                        <a16:creationId xmlns:a16="http://schemas.microsoft.com/office/drawing/2014/main" id="{F41A4FE8-90A3-4651-AB63-5ABED9B32F4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7" name="Rechte verbindingslijn 183">
                    <a:extLst>
                      <a:ext uri="{FF2B5EF4-FFF2-40B4-BE49-F238E27FC236}">
                        <a16:creationId xmlns:a16="http://schemas.microsoft.com/office/drawing/2014/main" id="{9601243A-A3FA-4474-B36E-BFFE34C6B7D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0" name="Groep 176">
                  <a:extLst>
                    <a:ext uri="{FF2B5EF4-FFF2-40B4-BE49-F238E27FC236}">
                      <a16:creationId xmlns:a16="http://schemas.microsoft.com/office/drawing/2014/main" id="{98FA33BA-83B3-40FB-BE24-B4EBAE8CD08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1" name="Rechthoek 177">
                    <a:extLst>
                      <a:ext uri="{FF2B5EF4-FFF2-40B4-BE49-F238E27FC236}">
                        <a16:creationId xmlns:a16="http://schemas.microsoft.com/office/drawing/2014/main" id="{82674E21-F45F-4212-A375-BAD53E8733B1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2" name="Pijl: punthaak 178">
                    <a:extLst>
                      <a:ext uri="{FF2B5EF4-FFF2-40B4-BE49-F238E27FC236}">
                        <a16:creationId xmlns:a16="http://schemas.microsoft.com/office/drawing/2014/main" id="{4EDDA88B-C048-4B01-8366-1D465AC13E81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7" name="Groep 135">
                <a:extLst>
                  <a:ext uri="{FF2B5EF4-FFF2-40B4-BE49-F238E27FC236}">
                    <a16:creationId xmlns:a16="http://schemas.microsoft.com/office/drawing/2014/main" id="{59A13C78-37AF-4994-A28B-A76349C6472C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0" name="Groep 166">
                  <a:extLst>
                    <a:ext uri="{FF2B5EF4-FFF2-40B4-BE49-F238E27FC236}">
                      <a16:creationId xmlns:a16="http://schemas.microsoft.com/office/drawing/2014/main" id="{118B98EB-79D0-49B4-9785-D2A1F21B4CE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14" name="Rechte verbindingslijn 170">
                    <a:extLst>
                      <a:ext uri="{FF2B5EF4-FFF2-40B4-BE49-F238E27FC236}">
                        <a16:creationId xmlns:a16="http://schemas.microsoft.com/office/drawing/2014/main" id="{0D56F576-CD09-4B80-8736-8D67B356397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5" name="Rechte verbindingslijn 171">
                    <a:extLst>
                      <a:ext uri="{FF2B5EF4-FFF2-40B4-BE49-F238E27FC236}">
                        <a16:creationId xmlns:a16="http://schemas.microsoft.com/office/drawing/2014/main" id="{23DBBE4F-33B5-40E8-AD71-F8B0BB8278D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6" name="Rechte verbindingslijn 172">
                    <a:extLst>
                      <a:ext uri="{FF2B5EF4-FFF2-40B4-BE49-F238E27FC236}">
                        <a16:creationId xmlns:a16="http://schemas.microsoft.com/office/drawing/2014/main" id="{8C2D9578-34D2-470D-BCD9-B54B35070B7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7" name="Rechte verbindingslijn 173">
                    <a:extLst>
                      <a:ext uri="{FF2B5EF4-FFF2-40B4-BE49-F238E27FC236}">
                        <a16:creationId xmlns:a16="http://schemas.microsoft.com/office/drawing/2014/main" id="{81D169F8-8C14-497D-976E-38E4EB7BBB4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8" name="Rechte verbindingslijn 174">
                    <a:extLst>
                      <a:ext uri="{FF2B5EF4-FFF2-40B4-BE49-F238E27FC236}">
                        <a16:creationId xmlns:a16="http://schemas.microsoft.com/office/drawing/2014/main" id="{65DBB552-A277-4750-954E-C2CF2A5D6AE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1" name="Groep 167">
                  <a:extLst>
                    <a:ext uri="{FF2B5EF4-FFF2-40B4-BE49-F238E27FC236}">
                      <a16:creationId xmlns:a16="http://schemas.microsoft.com/office/drawing/2014/main" id="{118E80A2-6FDE-44BA-AEB9-2999FD347A2A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12" name="Rechthoek 168">
                    <a:extLst>
                      <a:ext uri="{FF2B5EF4-FFF2-40B4-BE49-F238E27FC236}">
                        <a16:creationId xmlns:a16="http://schemas.microsoft.com/office/drawing/2014/main" id="{AA506F63-2EB2-4ED7-80E6-5B7113DC39E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3" name="Pijl: punthaak 169">
                    <a:extLst>
                      <a:ext uri="{FF2B5EF4-FFF2-40B4-BE49-F238E27FC236}">
                        <a16:creationId xmlns:a16="http://schemas.microsoft.com/office/drawing/2014/main" id="{019E5937-7BD1-42B6-8530-9E5EC39F9C1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8" name="Rechte verbindingslijn 136">
                <a:extLst>
                  <a:ext uri="{FF2B5EF4-FFF2-40B4-BE49-F238E27FC236}">
                    <a16:creationId xmlns:a16="http://schemas.microsoft.com/office/drawing/2014/main" id="{9DB93ED7-7671-4649-806E-D3AB47854AC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9" name="Rechte verbindingslijn 137">
                <a:extLst>
                  <a:ext uri="{FF2B5EF4-FFF2-40B4-BE49-F238E27FC236}">
                    <a16:creationId xmlns:a16="http://schemas.microsoft.com/office/drawing/2014/main" id="{4D13CC20-C9BD-4BC8-8460-C2870CA76B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80" name="Groep 138">
                <a:extLst>
                  <a:ext uri="{FF2B5EF4-FFF2-40B4-BE49-F238E27FC236}">
                    <a16:creationId xmlns:a16="http://schemas.microsoft.com/office/drawing/2014/main" id="{E4DF3DFD-114A-46B3-B260-86063CF5EF4C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9" name="Rechthoek 155">
                  <a:extLst>
                    <a:ext uri="{FF2B5EF4-FFF2-40B4-BE49-F238E27FC236}">
                      <a16:creationId xmlns:a16="http://schemas.microsoft.com/office/drawing/2014/main" id="{006B03D4-B035-44AA-9B4E-F4E0A37C0883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0" name="Groep 156">
                  <a:extLst>
                    <a:ext uri="{FF2B5EF4-FFF2-40B4-BE49-F238E27FC236}">
                      <a16:creationId xmlns:a16="http://schemas.microsoft.com/office/drawing/2014/main" id="{CD2FB3DE-2823-4200-8809-30946597F6E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1" name="Groep 157">
                    <a:extLst>
                      <a:ext uri="{FF2B5EF4-FFF2-40B4-BE49-F238E27FC236}">
                        <a16:creationId xmlns:a16="http://schemas.microsoft.com/office/drawing/2014/main" id="{8A3AA366-0479-40AB-AEBB-C2A5A46D9824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05" name="Rechte verbindingslijn 161">
                      <a:extLst>
                        <a:ext uri="{FF2B5EF4-FFF2-40B4-BE49-F238E27FC236}">
                          <a16:creationId xmlns:a16="http://schemas.microsoft.com/office/drawing/2014/main" id="{32CBD66F-D88C-4DF2-93A2-AE4CF4EFC63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162">
                      <a:extLst>
                        <a:ext uri="{FF2B5EF4-FFF2-40B4-BE49-F238E27FC236}">
                          <a16:creationId xmlns:a16="http://schemas.microsoft.com/office/drawing/2014/main" id="{D52277AA-ED86-4F5B-B317-3BE78AF6082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7" name="Rechte verbindingslijn 163">
                      <a:extLst>
                        <a:ext uri="{FF2B5EF4-FFF2-40B4-BE49-F238E27FC236}">
                          <a16:creationId xmlns:a16="http://schemas.microsoft.com/office/drawing/2014/main" id="{963E4F93-4FDE-4795-A9B9-F43285A8E5D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8" name="Rechte verbindingslijn 164">
                      <a:extLst>
                        <a:ext uri="{FF2B5EF4-FFF2-40B4-BE49-F238E27FC236}">
                          <a16:creationId xmlns:a16="http://schemas.microsoft.com/office/drawing/2014/main" id="{6E2A2BB2-A62A-4F64-82F9-6E2356A21CC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9" name="Rechte verbindingslijn 165">
                      <a:extLst>
                        <a:ext uri="{FF2B5EF4-FFF2-40B4-BE49-F238E27FC236}">
                          <a16:creationId xmlns:a16="http://schemas.microsoft.com/office/drawing/2014/main" id="{FA44C2E0-8775-4851-B46C-1726E5B2CD0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02" name="Groep 158">
                    <a:extLst>
                      <a:ext uri="{FF2B5EF4-FFF2-40B4-BE49-F238E27FC236}">
                        <a16:creationId xmlns:a16="http://schemas.microsoft.com/office/drawing/2014/main" id="{1A993373-9AD6-43C3-BB85-CAED754EA7A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3" name="Rechthoek 159">
                      <a:extLst>
                        <a:ext uri="{FF2B5EF4-FFF2-40B4-BE49-F238E27FC236}">
                          <a16:creationId xmlns:a16="http://schemas.microsoft.com/office/drawing/2014/main" id="{EFBE0133-4B34-4997-9164-0D8957B71FA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4" name="Pijl: punthaak 160">
                      <a:extLst>
                        <a:ext uri="{FF2B5EF4-FFF2-40B4-BE49-F238E27FC236}">
                          <a16:creationId xmlns:a16="http://schemas.microsoft.com/office/drawing/2014/main" id="{F976B86F-DEE4-4D36-ADDA-D303FF19924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81" name="Groep 139">
                <a:extLst>
                  <a:ext uri="{FF2B5EF4-FFF2-40B4-BE49-F238E27FC236}">
                    <a16:creationId xmlns:a16="http://schemas.microsoft.com/office/drawing/2014/main" id="{75CD57CE-4920-4882-B57E-5E118F8DB4B2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84" name="Rechthoek 142">
                  <a:extLst>
                    <a:ext uri="{FF2B5EF4-FFF2-40B4-BE49-F238E27FC236}">
                      <a16:creationId xmlns:a16="http://schemas.microsoft.com/office/drawing/2014/main" id="{159E2C3E-1C31-41D2-BC52-B16CFCD6FED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5" name="Groep 143">
                  <a:extLst>
                    <a:ext uri="{FF2B5EF4-FFF2-40B4-BE49-F238E27FC236}">
                      <a16:creationId xmlns:a16="http://schemas.microsoft.com/office/drawing/2014/main" id="{D70C491B-9249-4A2D-BB5E-6B6DB2BA2AC7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6" name="Groep 144">
                    <a:extLst>
                      <a:ext uri="{FF2B5EF4-FFF2-40B4-BE49-F238E27FC236}">
                        <a16:creationId xmlns:a16="http://schemas.microsoft.com/office/drawing/2014/main" id="{31F41F17-5472-42EB-8EA5-76172877EBE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90" name="Rechte verbindingslijn 150">
                      <a:extLst>
                        <a:ext uri="{FF2B5EF4-FFF2-40B4-BE49-F238E27FC236}">
                          <a16:creationId xmlns:a16="http://schemas.microsoft.com/office/drawing/2014/main" id="{182D5F25-DD9D-40B9-AAF3-B2A207F2490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5" name="Rechte verbindingslijn 151">
                      <a:extLst>
                        <a:ext uri="{FF2B5EF4-FFF2-40B4-BE49-F238E27FC236}">
                          <a16:creationId xmlns:a16="http://schemas.microsoft.com/office/drawing/2014/main" id="{73DC6B8C-9418-4A2D-AEFF-D4D5A088D48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6" name="Rechte verbindingslijn 152">
                      <a:extLst>
                        <a:ext uri="{FF2B5EF4-FFF2-40B4-BE49-F238E27FC236}">
                          <a16:creationId xmlns:a16="http://schemas.microsoft.com/office/drawing/2014/main" id="{2B1677E2-F5CC-4A1B-980A-7D011D3F50B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53">
                      <a:extLst>
                        <a:ext uri="{FF2B5EF4-FFF2-40B4-BE49-F238E27FC236}">
                          <a16:creationId xmlns:a16="http://schemas.microsoft.com/office/drawing/2014/main" id="{58AE262F-9439-4E26-93F8-94FDAF3C6E4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8" name="Rechte verbindingslijn 154">
                      <a:extLst>
                        <a:ext uri="{FF2B5EF4-FFF2-40B4-BE49-F238E27FC236}">
                          <a16:creationId xmlns:a16="http://schemas.microsoft.com/office/drawing/2014/main" id="{04AB2C8B-EC63-4D20-B43D-4B89B4A3453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7" name="Groep 147">
                    <a:extLst>
                      <a:ext uri="{FF2B5EF4-FFF2-40B4-BE49-F238E27FC236}">
                        <a16:creationId xmlns:a16="http://schemas.microsoft.com/office/drawing/2014/main" id="{59FE7491-82A3-44EC-AF88-F1B3B1CAFECC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8" name="Rechthoek 148">
                      <a:extLst>
                        <a:ext uri="{FF2B5EF4-FFF2-40B4-BE49-F238E27FC236}">
                          <a16:creationId xmlns:a16="http://schemas.microsoft.com/office/drawing/2014/main" id="{28EB51A7-6350-46A0-BF67-4D8B05CF85D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9" name="Pijl: punthaak 149">
                      <a:extLst>
                        <a:ext uri="{FF2B5EF4-FFF2-40B4-BE49-F238E27FC236}">
                          <a16:creationId xmlns:a16="http://schemas.microsoft.com/office/drawing/2014/main" id="{7F9952C6-F38C-4F9A-A33C-016F3FD28743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82" name="Rechthoek 140">
                <a:extLst>
                  <a:ext uri="{FF2B5EF4-FFF2-40B4-BE49-F238E27FC236}">
                    <a16:creationId xmlns:a16="http://schemas.microsoft.com/office/drawing/2014/main" id="{C21F0129-707C-4327-AB56-D7F6F14E4F8A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183" name="Rechthoek 141">
                <a:extLst>
                  <a:ext uri="{FF2B5EF4-FFF2-40B4-BE49-F238E27FC236}">
                    <a16:creationId xmlns:a16="http://schemas.microsoft.com/office/drawing/2014/main" id="{D2E5FF6C-90A9-4A07-BCC6-71BA8E8D26C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148" name="Rechte verbindingslijn 106">
              <a:extLst>
                <a:ext uri="{FF2B5EF4-FFF2-40B4-BE49-F238E27FC236}">
                  <a16:creationId xmlns:a16="http://schemas.microsoft.com/office/drawing/2014/main" id="{56F22300-5841-4ABF-806D-0702D027367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9" name="Rechthoek 107">
              <a:extLst>
                <a:ext uri="{FF2B5EF4-FFF2-40B4-BE49-F238E27FC236}">
                  <a16:creationId xmlns:a16="http://schemas.microsoft.com/office/drawing/2014/main" id="{5B354ADB-C797-4674-A998-90F7647C0A94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150" name="Ovaal 108">
              <a:extLst>
                <a:ext uri="{FF2B5EF4-FFF2-40B4-BE49-F238E27FC236}">
                  <a16:creationId xmlns:a16="http://schemas.microsoft.com/office/drawing/2014/main" id="{73FDE349-3061-47AA-A94C-01A160EFB0A9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1" name="Rechthoek 109">
              <a:extLst>
                <a:ext uri="{FF2B5EF4-FFF2-40B4-BE49-F238E27FC236}">
                  <a16:creationId xmlns:a16="http://schemas.microsoft.com/office/drawing/2014/main" id="{811FCDB0-DBB7-4C50-B6E3-260649866912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152" name="Ovaal 110">
              <a:extLst>
                <a:ext uri="{FF2B5EF4-FFF2-40B4-BE49-F238E27FC236}">
                  <a16:creationId xmlns:a16="http://schemas.microsoft.com/office/drawing/2014/main" id="{72B510FD-7BEE-444B-981C-B1963357D222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11">
              <a:extLst>
                <a:ext uri="{FF2B5EF4-FFF2-40B4-BE49-F238E27FC236}">
                  <a16:creationId xmlns:a16="http://schemas.microsoft.com/office/drawing/2014/main" id="{C480475F-8523-40B4-BCD8-1DA2CF65A392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54" name="Ovaal 112">
              <a:extLst>
                <a:ext uri="{FF2B5EF4-FFF2-40B4-BE49-F238E27FC236}">
                  <a16:creationId xmlns:a16="http://schemas.microsoft.com/office/drawing/2014/main" id="{186A1C9F-2458-4645-9C69-54899B38863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55" name="Rechthoek 113">
              <a:extLst>
                <a:ext uri="{FF2B5EF4-FFF2-40B4-BE49-F238E27FC236}">
                  <a16:creationId xmlns:a16="http://schemas.microsoft.com/office/drawing/2014/main" id="{CE4D95FD-5481-4D5C-9A2C-D0F6233EF34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156" name="Ovaal 114">
              <a:extLst>
                <a:ext uri="{FF2B5EF4-FFF2-40B4-BE49-F238E27FC236}">
                  <a16:creationId xmlns:a16="http://schemas.microsoft.com/office/drawing/2014/main" id="{1D4FC37F-0923-4318-B199-CA61F6469B9F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57" name="Rechthoek 115">
              <a:extLst>
                <a:ext uri="{FF2B5EF4-FFF2-40B4-BE49-F238E27FC236}">
                  <a16:creationId xmlns:a16="http://schemas.microsoft.com/office/drawing/2014/main" id="{175215EE-EC19-4229-8E89-2D1D81339CC8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158" name="Rechte verbindingslijn 116">
              <a:extLst>
                <a:ext uri="{FF2B5EF4-FFF2-40B4-BE49-F238E27FC236}">
                  <a16:creationId xmlns:a16="http://schemas.microsoft.com/office/drawing/2014/main" id="{F90625D9-C302-4274-B890-9806D886D9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9" name="Meer informatie">
              <a:extLst>
                <a:ext uri="{FF2B5EF4-FFF2-40B4-BE49-F238E27FC236}">
                  <a16:creationId xmlns:a16="http://schemas.microsoft.com/office/drawing/2014/main" id="{BEFA6189-A44A-4D2B-AD4C-8ED00B890525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169" name="Freeform 101">
                <a:extLst>
                  <a:ext uri="{FF2B5EF4-FFF2-40B4-BE49-F238E27FC236}">
                    <a16:creationId xmlns:a16="http://schemas.microsoft.com/office/drawing/2014/main" id="{BDC98ECD-C1B9-4F03-8B5D-93BA423E99E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170" name="Rechthoek 128">
                <a:extLst>
                  <a:ext uri="{FF2B5EF4-FFF2-40B4-BE49-F238E27FC236}">
                    <a16:creationId xmlns:a16="http://schemas.microsoft.com/office/drawing/2014/main" id="{5899CC6B-9CE8-4E35-982E-2B83CE5CB7B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71" name="Rechte verbindingslijn 129">
                <a:extLst>
                  <a:ext uri="{FF2B5EF4-FFF2-40B4-BE49-F238E27FC236}">
                    <a16:creationId xmlns:a16="http://schemas.microsoft.com/office/drawing/2014/main" id="{C94587DD-4929-430D-B1EE-B1C75908F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0" name="Rechthoek 118">
              <a:extLst>
                <a:ext uri="{FF2B5EF4-FFF2-40B4-BE49-F238E27FC236}">
                  <a16:creationId xmlns:a16="http://schemas.microsoft.com/office/drawing/2014/main" id="{A1017692-AD5D-4A0D-B5BE-BD2B06FDA75B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161" name="Ovaal 119">
              <a:extLst>
                <a:ext uri="{FF2B5EF4-FFF2-40B4-BE49-F238E27FC236}">
                  <a16:creationId xmlns:a16="http://schemas.microsoft.com/office/drawing/2014/main" id="{FB9F9498-6399-46A8-A801-E2ED0F64580C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2" name="Rechthoek 120">
              <a:extLst>
                <a:ext uri="{FF2B5EF4-FFF2-40B4-BE49-F238E27FC236}">
                  <a16:creationId xmlns:a16="http://schemas.microsoft.com/office/drawing/2014/main" id="{14BD74E6-72C0-46B0-9129-DD59FDB72EF9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63" name="Ovaal 121">
              <a:extLst>
                <a:ext uri="{FF2B5EF4-FFF2-40B4-BE49-F238E27FC236}">
                  <a16:creationId xmlns:a16="http://schemas.microsoft.com/office/drawing/2014/main" id="{680686A9-63CD-413D-AFA8-B5ECD88E2371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4" name="Rechthoek 122">
              <a:extLst>
                <a:ext uri="{FF2B5EF4-FFF2-40B4-BE49-F238E27FC236}">
                  <a16:creationId xmlns:a16="http://schemas.microsoft.com/office/drawing/2014/main" id="{DB775F49-602E-4FF4-9FBB-1C97689F3283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165" name="Ovaal 123">
              <a:extLst>
                <a:ext uri="{FF2B5EF4-FFF2-40B4-BE49-F238E27FC236}">
                  <a16:creationId xmlns:a16="http://schemas.microsoft.com/office/drawing/2014/main" id="{6D423C6F-1944-4CE4-866E-F3212E222344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6" name="Rechthoek 124">
              <a:extLst>
                <a:ext uri="{FF2B5EF4-FFF2-40B4-BE49-F238E27FC236}">
                  <a16:creationId xmlns:a16="http://schemas.microsoft.com/office/drawing/2014/main" id="{24504841-3319-4AFB-AB23-DD005B6BA6B6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67" name="Rechthoek 125">
              <a:extLst>
                <a:ext uri="{FF2B5EF4-FFF2-40B4-BE49-F238E27FC236}">
                  <a16:creationId xmlns:a16="http://schemas.microsoft.com/office/drawing/2014/main" id="{6172DF5C-61BF-429B-B8BB-788DBE393306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168" name="Ovaal 126">
              <a:extLst>
                <a:ext uri="{FF2B5EF4-FFF2-40B4-BE49-F238E27FC236}">
                  <a16:creationId xmlns:a16="http://schemas.microsoft.com/office/drawing/2014/main" id="{223D42B2-601C-4C04-A92F-CA571CF47C03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  <p:sp>
        <p:nvSpPr>
          <p:cNvPr id="228" name="Tijdelijke aanduiding voor tekst 3">
            <a:extLst>
              <a:ext uri="{FF2B5EF4-FFF2-40B4-BE49-F238E27FC236}">
                <a16:creationId xmlns:a16="http://schemas.microsoft.com/office/drawing/2014/main" id="{FFC2BDB8-507D-4930-A994-4A50B17D66B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504415" y="1449454"/>
            <a:ext cx="6635238" cy="3534585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51"/>
            </a:lvl1pPr>
          </a:lstStyle>
          <a:p>
            <a:pPr lvl="0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11595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Foto 25%/75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jdelijke aanduiding voor afbeelding 9">
            <a:extLst>
              <a:ext uri="{FF2B5EF4-FFF2-40B4-BE49-F238E27FC236}">
                <a16:creationId xmlns:a16="http://schemas.microsoft.com/office/drawing/2014/main" id="{9A5BC6B5-1D0E-4188-AFCB-6E3ED1DEF1F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7808958" y="7"/>
            <a:ext cx="24956939" cy="30306751"/>
          </a:xfrm>
          <a:solidFill>
            <a:schemeClr val="bg1">
              <a:lumMod val="95000"/>
            </a:schemeClr>
          </a:solidFill>
        </p:spPr>
        <p:txBody>
          <a:bodyPr tIns="1260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66B7AAC1-E359-4778-A0B1-A6417129C9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41" name="Tijdelijke aanduiding voor tekst 14">
            <a:extLst>
              <a:ext uri="{FF2B5EF4-FFF2-40B4-BE49-F238E27FC236}">
                <a16:creationId xmlns:a16="http://schemas.microsoft.com/office/drawing/2014/main" id="{E72B3531-34B4-4628-B8C4-9BDACE48A2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50" name="Tijdelijke aanduiding voor voettekst 4">
            <a:extLst>
              <a:ext uri="{FF2B5EF4-FFF2-40B4-BE49-F238E27FC236}">
                <a16:creationId xmlns:a16="http://schemas.microsoft.com/office/drawing/2014/main" id="{A09270D3-9B17-4316-B7B6-C7B06757C4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51" name="Tijdelijke aanduiding voor dianummer 5">
            <a:extLst>
              <a:ext uri="{FF2B5EF4-FFF2-40B4-BE49-F238E27FC236}">
                <a16:creationId xmlns:a16="http://schemas.microsoft.com/office/drawing/2014/main" id="{29AED214-F757-4754-B7D3-9AC75D03D5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2" y="27329718"/>
            <a:ext cx="857527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19" name="Tijdelijke aanduiding voor datum 3">
            <a:extLst>
              <a:ext uri="{FF2B5EF4-FFF2-40B4-BE49-F238E27FC236}">
                <a16:creationId xmlns:a16="http://schemas.microsoft.com/office/drawing/2014/main" id="{0AEE7348-CAF6-4BB8-9EF6-AA8E5C2958D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4B87A2C-4DDA-4D72-8940-56FC5F8DE267}" type="datetime1">
              <a:rPr lang="nl-NL" noProof="0" smtClean="0"/>
              <a:t>26-6-2023</a:t>
            </a:fld>
            <a:endParaRPr lang="nl-NL" noProof="0"/>
          </a:p>
        </p:txBody>
      </p:sp>
      <p:grpSp>
        <p:nvGrpSpPr>
          <p:cNvPr id="191" name="Groep 258">
            <a:extLst>
              <a:ext uri="{FF2B5EF4-FFF2-40B4-BE49-F238E27FC236}">
                <a16:creationId xmlns:a16="http://schemas.microsoft.com/office/drawing/2014/main" id="{40FB5E3A-1683-4354-B237-BC02ED9919F8}"/>
              </a:ext>
            </a:extLst>
          </p:cNvPr>
          <p:cNvGrpSpPr/>
          <p:nvPr userDrawn="1"/>
        </p:nvGrpSpPr>
        <p:grpSpPr>
          <a:xfrm>
            <a:off x="43467416" y="5"/>
            <a:ext cx="11167745" cy="23084356"/>
            <a:chOff x="12391601" y="0"/>
            <a:chExt cx="3183678" cy="5229113"/>
          </a:xfrm>
        </p:grpSpPr>
        <p:grpSp>
          <p:nvGrpSpPr>
            <p:cNvPr id="192" name="Meer informatie">
              <a:extLst>
                <a:ext uri="{FF2B5EF4-FFF2-40B4-BE49-F238E27FC236}">
                  <a16:creationId xmlns:a16="http://schemas.microsoft.com/office/drawing/2014/main" id="{E2466BC4-A1C5-4257-B659-F376459BEE07}"/>
                </a:ext>
              </a:extLst>
            </p:cNvPr>
            <p:cNvGrpSpPr/>
            <p:nvPr userDrawn="1"/>
          </p:nvGrpSpPr>
          <p:grpSpPr>
            <a:xfrm>
              <a:off x="12396764" y="4445840"/>
              <a:ext cx="3178515" cy="783273"/>
              <a:chOff x="-3741486" y="3386444"/>
              <a:chExt cx="3178515" cy="783273"/>
            </a:xfrm>
          </p:grpSpPr>
          <p:sp>
            <p:nvSpPr>
              <p:cNvPr id="369" name="Freeform 101">
                <a:extLst>
                  <a:ext uri="{FF2B5EF4-FFF2-40B4-BE49-F238E27FC236}">
                    <a16:creationId xmlns:a16="http://schemas.microsoft.com/office/drawing/2014/main" id="{54E5E35F-A86F-440C-9DA8-EDD14FDF86F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370" name="Rechthoek 306">
                <a:extLst>
                  <a:ext uri="{FF2B5EF4-FFF2-40B4-BE49-F238E27FC236}">
                    <a16:creationId xmlns:a16="http://schemas.microsoft.com/office/drawing/2014/main" id="{E3567B7D-D6CE-4F6F-B28E-491B22F93CDD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71" name="Rechte verbindingslijn 307">
                <a:extLst>
                  <a:ext uri="{FF2B5EF4-FFF2-40B4-BE49-F238E27FC236}">
                    <a16:creationId xmlns:a16="http://schemas.microsoft.com/office/drawing/2014/main" id="{FB6105DD-C255-4BC8-95EF-A32284FD39C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93" name="Rechthoek 260">
              <a:extLst>
                <a:ext uri="{FF2B5EF4-FFF2-40B4-BE49-F238E27FC236}">
                  <a16:creationId xmlns:a16="http://schemas.microsoft.com/office/drawing/2014/main" id="{B4D1CE57-C41E-4F0F-AAFF-05BE38B4AEA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194" name="Ovaal 261">
              <a:extLst>
                <a:ext uri="{FF2B5EF4-FFF2-40B4-BE49-F238E27FC236}">
                  <a16:creationId xmlns:a16="http://schemas.microsoft.com/office/drawing/2014/main" id="{9A448CEC-8570-4E0B-900C-F1AFE2788B8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76" name="Rechte verbindingslijn 262">
              <a:extLst>
                <a:ext uri="{FF2B5EF4-FFF2-40B4-BE49-F238E27FC236}">
                  <a16:creationId xmlns:a16="http://schemas.microsoft.com/office/drawing/2014/main" id="{FAFB83D2-2840-4B20-9D47-C8EE2F4978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77" name="Rechte verbindingslijn 263">
              <a:extLst>
                <a:ext uri="{FF2B5EF4-FFF2-40B4-BE49-F238E27FC236}">
                  <a16:creationId xmlns:a16="http://schemas.microsoft.com/office/drawing/2014/main" id="{C63336C0-4614-4139-9F4B-DEAA3B7FFB7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78" name="Rechthoek 264">
              <a:extLst>
                <a:ext uri="{FF2B5EF4-FFF2-40B4-BE49-F238E27FC236}">
                  <a16:creationId xmlns:a16="http://schemas.microsoft.com/office/drawing/2014/main" id="{3A6B0D9B-3BD8-4EB5-98D2-D8D7BBC9C752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oor deze te selecteren en op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om een nieuwe afbeelding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279" name="Rechte verbindingslijn 265">
              <a:extLst>
                <a:ext uri="{FF2B5EF4-FFF2-40B4-BE49-F238E27FC236}">
                  <a16:creationId xmlns:a16="http://schemas.microsoft.com/office/drawing/2014/main" id="{31A6A145-5BF5-4790-9C90-57EC1AD961A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4327957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80" name="Ovaal 266">
              <a:extLst>
                <a:ext uri="{FF2B5EF4-FFF2-40B4-BE49-F238E27FC236}">
                  <a16:creationId xmlns:a16="http://schemas.microsoft.com/office/drawing/2014/main" id="{2999D9ED-9CBF-4414-B005-7521B3BAE7B8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81" name="Rechthoek 267">
              <a:extLst>
                <a:ext uri="{FF2B5EF4-FFF2-40B4-BE49-F238E27FC236}">
                  <a16:creationId xmlns:a16="http://schemas.microsoft.com/office/drawing/2014/main" id="{AFBCFE4F-8468-4E34-9BD3-4F78F21B1B1A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82" name="Groep 268">
              <a:extLst>
                <a:ext uri="{FF2B5EF4-FFF2-40B4-BE49-F238E27FC236}">
                  <a16:creationId xmlns:a16="http://schemas.microsoft.com/office/drawing/2014/main" id="{8EA65BB4-18FF-4CD3-A111-48F58DAB3067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6" name="Rechthoek 302">
                <a:extLst>
                  <a:ext uri="{FF2B5EF4-FFF2-40B4-BE49-F238E27FC236}">
                    <a16:creationId xmlns:a16="http://schemas.microsoft.com/office/drawing/2014/main" id="{DE42ED16-EA6E-491F-9FDF-C217DB0F87B3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367" name="Rechte verbindingslijn 303">
                <a:extLst>
                  <a:ext uri="{FF2B5EF4-FFF2-40B4-BE49-F238E27FC236}">
                    <a16:creationId xmlns:a16="http://schemas.microsoft.com/office/drawing/2014/main" id="{9B528681-8CB4-4038-851F-93689F45977F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8" name="Gelijkbenige driehoek 304">
                <a:extLst>
                  <a:ext uri="{FF2B5EF4-FFF2-40B4-BE49-F238E27FC236}">
                    <a16:creationId xmlns:a16="http://schemas.microsoft.com/office/drawing/2014/main" id="{ACB706CD-267C-4F02-9B2E-D398C339CFA7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283" name="Groep 269">
              <a:extLst>
                <a:ext uri="{FF2B5EF4-FFF2-40B4-BE49-F238E27FC236}">
                  <a16:creationId xmlns:a16="http://schemas.microsoft.com/office/drawing/2014/main" id="{20C36CE3-02FB-485A-ADF5-3228EC9E1CF3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360" name="Rechthoek 296">
                <a:extLst>
                  <a:ext uri="{FF2B5EF4-FFF2-40B4-BE49-F238E27FC236}">
                    <a16:creationId xmlns:a16="http://schemas.microsoft.com/office/drawing/2014/main" id="{2576F5FE-D63E-4391-9E4A-21C1700EEAE4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1" name="Ovaal 297">
                <a:extLst>
                  <a:ext uri="{FF2B5EF4-FFF2-40B4-BE49-F238E27FC236}">
                    <a16:creationId xmlns:a16="http://schemas.microsoft.com/office/drawing/2014/main" id="{1F7C324A-DD50-4C1D-8A67-2090A494114D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2" name="Vrije vorm: vorm 298">
                <a:extLst>
                  <a:ext uri="{FF2B5EF4-FFF2-40B4-BE49-F238E27FC236}">
                    <a16:creationId xmlns:a16="http://schemas.microsoft.com/office/drawing/2014/main" id="{A7F13442-6C8F-4B85-A9EC-920F0334071C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Rechthoek: afgeronde hoeken 299">
                <a:extLst>
                  <a:ext uri="{FF2B5EF4-FFF2-40B4-BE49-F238E27FC236}">
                    <a16:creationId xmlns:a16="http://schemas.microsoft.com/office/drawing/2014/main" id="{ACE54911-B6E3-405E-B570-C1081CEC07A2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4" name="Rechte verbindingslijn 300">
                <a:extLst>
                  <a:ext uri="{FF2B5EF4-FFF2-40B4-BE49-F238E27FC236}">
                    <a16:creationId xmlns:a16="http://schemas.microsoft.com/office/drawing/2014/main" id="{7855BE15-885A-4F48-ACE5-4F0B0B885E7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5" name="Rechte verbindingslijn 301">
                <a:extLst>
                  <a:ext uri="{FF2B5EF4-FFF2-40B4-BE49-F238E27FC236}">
                    <a16:creationId xmlns:a16="http://schemas.microsoft.com/office/drawing/2014/main" id="{B9AE14E8-A1B4-47B1-A306-1E240713AFCA}"/>
                  </a:ext>
                </a:extLst>
              </p:cNvPr>
              <p:cNvCxnSpPr>
                <a:cxnSpLocks/>
                <a:stCxn id="363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284" name="Ovaal 270">
              <a:extLst>
                <a:ext uri="{FF2B5EF4-FFF2-40B4-BE49-F238E27FC236}">
                  <a16:creationId xmlns:a16="http://schemas.microsoft.com/office/drawing/2014/main" id="{29DF477B-AE11-418A-B31D-CD638DF3A1F9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85" name="Rechthoek 271">
              <a:extLst>
                <a:ext uri="{FF2B5EF4-FFF2-40B4-BE49-F238E27FC236}">
                  <a16:creationId xmlns:a16="http://schemas.microsoft.com/office/drawing/2014/main" id="{5564A70B-0928-4F44-A943-9F4780918B27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43320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aan de linker kant van het scherm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286" name="Rechte verbindingslijn 272">
              <a:extLst>
                <a:ext uri="{FF2B5EF4-FFF2-40B4-BE49-F238E27FC236}">
                  <a16:creationId xmlns:a16="http://schemas.microsoft.com/office/drawing/2014/main" id="{F3C3B2AF-1084-49A9-B902-4BFB5B0F679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87" name="Rechthoek 273">
              <a:extLst>
                <a:ext uri="{FF2B5EF4-FFF2-40B4-BE49-F238E27FC236}">
                  <a16:creationId xmlns:a16="http://schemas.microsoft.com/office/drawing/2014/main" id="{A135759B-43B6-43BC-8360-44D2CBAFC9F9}"/>
                </a:ext>
              </a:extLst>
            </p:cNvPr>
            <p:cNvSpPr/>
            <p:nvPr userDrawn="1"/>
          </p:nvSpPr>
          <p:spPr>
            <a:xfrm>
              <a:off x="12654153" y="3238910"/>
              <a:ext cx="1624926" cy="805220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3509" b="0" i="1" noProof="0">
                <a:solidFill>
                  <a:schemeClr val="tx1"/>
                </a:solidFill>
              </a:endParaRPr>
            </a:p>
          </p:txBody>
        </p:sp>
        <p:grpSp>
          <p:nvGrpSpPr>
            <p:cNvPr id="288" name="Groep 274">
              <a:extLst>
                <a:ext uri="{FF2B5EF4-FFF2-40B4-BE49-F238E27FC236}">
                  <a16:creationId xmlns:a16="http://schemas.microsoft.com/office/drawing/2014/main" id="{3D16E314-A00E-4902-9555-C8AF63100C3E}"/>
                </a:ext>
              </a:extLst>
            </p:cNvPr>
            <p:cNvGrpSpPr/>
            <p:nvPr userDrawn="1"/>
          </p:nvGrpSpPr>
          <p:grpSpPr>
            <a:xfrm>
              <a:off x="13614067" y="3535184"/>
              <a:ext cx="1195438" cy="678267"/>
              <a:chOff x="12757284" y="3224292"/>
              <a:chExt cx="1195438" cy="678267"/>
            </a:xfrm>
          </p:grpSpPr>
          <p:sp>
            <p:nvSpPr>
              <p:cNvPr id="289" name="Rechthoek 275">
                <a:extLst>
                  <a:ext uri="{FF2B5EF4-FFF2-40B4-BE49-F238E27FC236}">
                    <a16:creationId xmlns:a16="http://schemas.microsoft.com/office/drawing/2014/main" id="{7132EF36-4882-44B9-9492-FE1C5C88FE21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90" name="Rechthoek 276">
                <a:extLst>
                  <a:ext uri="{FF2B5EF4-FFF2-40B4-BE49-F238E27FC236}">
                    <a16:creationId xmlns:a16="http://schemas.microsoft.com/office/drawing/2014/main" id="{AE67D01D-4F1E-41BC-B54C-50AF2DFA0C32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91" name="Groep 277">
                <a:extLst>
                  <a:ext uri="{FF2B5EF4-FFF2-40B4-BE49-F238E27FC236}">
                    <a16:creationId xmlns:a16="http://schemas.microsoft.com/office/drawing/2014/main" id="{8BCE8B5F-03E8-4C3B-801C-04D5EDECA88F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304" name="Rechthoek: afgeronde hoeken 290">
                  <a:extLst>
                    <a:ext uri="{FF2B5EF4-FFF2-40B4-BE49-F238E27FC236}">
                      <a16:creationId xmlns:a16="http://schemas.microsoft.com/office/drawing/2014/main" id="{C16D2BB7-8C75-4924-A3C0-D604FD06B974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endPara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05" name="Rechthoek 291">
                  <a:extLst>
                    <a:ext uri="{FF2B5EF4-FFF2-40B4-BE49-F238E27FC236}">
                      <a16:creationId xmlns:a16="http://schemas.microsoft.com/office/drawing/2014/main" id="{6A36F7C3-70DB-44AE-A6B4-D3AE4EF131A7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6" name="Rechthoek 292">
                  <a:extLst>
                    <a:ext uri="{FF2B5EF4-FFF2-40B4-BE49-F238E27FC236}">
                      <a16:creationId xmlns:a16="http://schemas.microsoft.com/office/drawing/2014/main" id="{9AF79D50-D1BB-48B3-BC16-315BEA94593A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7" name="Rechthoek 293">
                  <a:extLst>
                    <a:ext uri="{FF2B5EF4-FFF2-40B4-BE49-F238E27FC236}">
                      <a16:creationId xmlns:a16="http://schemas.microsoft.com/office/drawing/2014/main" id="{12DDC76F-82D2-4316-B65F-5AF2B7A42A7F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8" name="Rechthoek 294">
                  <a:extLst>
                    <a:ext uri="{FF2B5EF4-FFF2-40B4-BE49-F238E27FC236}">
                      <a16:creationId xmlns:a16="http://schemas.microsoft.com/office/drawing/2014/main" id="{87BBB889-B708-4370-9D5D-9E4E57CDBAFA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9" name="Rechthoek 295">
                  <a:extLst>
                    <a:ext uri="{FF2B5EF4-FFF2-40B4-BE49-F238E27FC236}">
                      <a16:creationId xmlns:a16="http://schemas.microsoft.com/office/drawing/2014/main" id="{216802CF-5D04-4CC7-9A63-18A991BF5671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292" name="Groep 278">
                <a:extLst>
                  <a:ext uri="{FF2B5EF4-FFF2-40B4-BE49-F238E27FC236}">
                    <a16:creationId xmlns:a16="http://schemas.microsoft.com/office/drawing/2014/main" id="{E9270009-F7F9-45F2-BF21-39F16478D316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296" name="Groep 282">
                  <a:extLst>
                    <a:ext uri="{FF2B5EF4-FFF2-40B4-BE49-F238E27FC236}">
                      <a16:creationId xmlns:a16="http://schemas.microsoft.com/office/drawing/2014/main" id="{CC3384F8-0722-4C52-9C2D-BDA8DDFF7446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298" name="Rechthoek: afgeronde hoeken 284">
                    <a:extLst>
                      <a:ext uri="{FF2B5EF4-FFF2-40B4-BE49-F238E27FC236}">
                        <a16:creationId xmlns:a16="http://schemas.microsoft.com/office/drawing/2014/main" id="{AAA5A4F3-4D5A-4B6A-9384-59DB060FDE4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2105"/>
                      </a:spcBef>
                      <a:spcAft>
                        <a:spcPts val="2105"/>
                      </a:spcAft>
                    </a:pPr>
                    <a:endParaRPr lang="nl-NL" sz="280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99" name="Rechthoek 285">
                    <a:extLst>
                      <a:ext uri="{FF2B5EF4-FFF2-40B4-BE49-F238E27FC236}">
                        <a16:creationId xmlns:a16="http://schemas.microsoft.com/office/drawing/2014/main" id="{86578FCF-5D4A-45DC-BEF5-B6D25F896C2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0" name="Rechthoek 286">
                    <a:extLst>
                      <a:ext uri="{FF2B5EF4-FFF2-40B4-BE49-F238E27FC236}">
                        <a16:creationId xmlns:a16="http://schemas.microsoft.com/office/drawing/2014/main" id="{B24F7570-02BD-4480-95CE-076A7670D89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1" name="Rechthoek 287">
                    <a:extLst>
                      <a:ext uri="{FF2B5EF4-FFF2-40B4-BE49-F238E27FC236}">
                        <a16:creationId xmlns:a16="http://schemas.microsoft.com/office/drawing/2014/main" id="{0E99CD79-BEDE-4750-8F1C-70397E347C4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2" name="Rechthoek 288">
                    <a:extLst>
                      <a:ext uri="{FF2B5EF4-FFF2-40B4-BE49-F238E27FC236}">
                        <a16:creationId xmlns:a16="http://schemas.microsoft.com/office/drawing/2014/main" id="{EE0F2034-5A05-430E-A0EF-6A5D831D83F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3" name="Rechthoek 289">
                    <a:extLst>
                      <a:ext uri="{FF2B5EF4-FFF2-40B4-BE49-F238E27FC236}">
                        <a16:creationId xmlns:a16="http://schemas.microsoft.com/office/drawing/2014/main" id="{ACBAF9FB-59A9-4392-9B47-C5F16933CD5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297" name="Boog 283">
                  <a:extLst>
                    <a:ext uri="{FF2B5EF4-FFF2-40B4-BE49-F238E27FC236}">
                      <a16:creationId xmlns:a16="http://schemas.microsoft.com/office/drawing/2014/main" id="{BBEA7134-418E-45DF-A89A-8F37ABB7C51F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</p:grpSp>
          <p:sp>
            <p:nvSpPr>
              <p:cNvPr id="293" name="Tekstvak 279">
                <a:extLst>
                  <a:ext uri="{FF2B5EF4-FFF2-40B4-BE49-F238E27FC236}">
                    <a16:creationId xmlns:a16="http://schemas.microsoft.com/office/drawing/2014/main" id="{A5164764-6B7C-45B2-9CB7-C9A52F800030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294" name="Tekstvak 280">
                <a:extLst>
                  <a:ext uri="{FF2B5EF4-FFF2-40B4-BE49-F238E27FC236}">
                    <a16:creationId xmlns:a16="http://schemas.microsoft.com/office/drawing/2014/main" id="{5A8F24C6-78EC-425F-842A-63CA3C6D913E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295" name="Picture 3">
                <a:extLst>
                  <a:ext uri="{FF2B5EF4-FFF2-40B4-BE49-F238E27FC236}">
                    <a16:creationId xmlns:a16="http://schemas.microsoft.com/office/drawing/2014/main" id="{E2EF7E99-417D-4201-97E3-622D245B16FA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810206" y="3671228"/>
                <a:ext cx="14251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sp>
        <p:nvSpPr>
          <p:cNvPr id="142" name="Tijdelijke aanduiding voor tekst 4">
            <a:extLst>
              <a:ext uri="{FF2B5EF4-FFF2-40B4-BE49-F238E27FC236}">
                <a16:creationId xmlns:a16="http://schemas.microsoft.com/office/drawing/2014/main" id="{E67291DA-A1B8-4533-97BA-4D19DA14FDC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742374" y="6476685"/>
            <a:ext cx="13885872" cy="1907433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bullet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bullet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grpSp>
        <p:nvGrpSpPr>
          <p:cNvPr id="143" name="Groep 101">
            <a:extLst>
              <a:ext uri="{FF2B5EF4-FFF2-40B4-BE49-F238E27FC236}">
                <a16:creationId xmlns:a16="http://schemas.microsoft.com/office/drawing/2014/main" id="{48D3E1B0-5A07-40B6-BEDF-4151EF7CABAF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144" name="Rechthoek 102">
              <a:extLst>
                <a:ext uri="{FF2B5EF4-FFF2-40B4-BE49-F238E27FC236}">
                  <a16:creationId xmlns:a16="http://schemas.microsoft.com/office/drawing/2014/main" id="{8AFC135A-0D63-4ADB-9385-6F305B2A3536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145" name="Ovaal 103">
              <a:extLst>
                <a:ext uri="{FF2B5EF4-FFF2-40B4-BE49-F238E27FC236}">
                  <a16:creationId xmlns:a16="http://schemas.microsoft.com/office/drawing/2014/main" id="{656F466B-23E7-439A-B094-38733A582A70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6" name="Rechte verbindingslijn 104">
              <a:extLst>
                <a:ext uri="{FF2B5EF4-FFF2-40B4-BE49-F238E27FC236}">
                  <a16:creationId xmlns:a16="http://schemas.microsoft.com/office/drawing/2014/main" id="{CE3B3CE1-72F4-4CA8-AD7E-B414C7F6DF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47" name="Groep 105">
              <a:extLst>
                <a:ext uri="{FF2B5EF4-FFF2-40B4-BE49-F238E27FC236}">
                  <a16:creationId xmlns:a16="http://schemas.microsoft.com/office/drawing/2014/main" id="{4A650C74-6D85-41CC-8425-332C9AB586BC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72" name="Rechthoek 130">
                <a:extLst>
                  <a:ext uri="{FF2B5EF4-FFF2-40B4-BE49-F238E27FC236}">
                    <a16:creationId xmlns:a16="http://schemas.microsoft.com/office/drawing/2014/main" id="{25CF96BC-EEA5-4C75-BE31-458CCC2B4B0C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173" name="Rechte verbindingslijn 131">
                <a:extLst>
                  <a:ext uri="{FF2B5EF4-FFF2-40B4-BE49-F238E27FC236}">
                    <a16:creationId xmlns:a16="http://schemas.microsoft.com/office/drawing/2014/main" id="{DD201BEF-6AD9-4546-BC70-E568D6F982E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Rechte verbindingslijn 132">
                <a:extLst>
                  <a:ext uri="{FF2B5EF4-FFF2-40B4-BE49-F238E27FC236}">
                    <a16:creationId xmlns:a16="http://schemas.microsoft.com/office/drawing/2014/main" id="{00C831D7-3211-4C2E-9A03-1B0D25DC04A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5" name="Rechthoek 133">
                <a:extLst>
                  <a:ext uri="{FF2B5EF4-FFF2-40B4-BE49-F238E27FC236}">
                    <a16:creationId xmlns:a16="http://schemas.microsoft.com/office/drawing/2014/main" id="{80270A7F-603A-4304-AF42-1E0000F4D660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6" name="Groep 134">
                <a:extLst>
                  <a:ext uri="{FF2B5EF4-FFF2-40B4-BE49-F238E27FC236}">
                    <a16:creationId xmlns:a16="http://schemas.microsoft.com/office/drawing/2014/main" id="{D0BFF8E0-6986-497E-975D-6BA26D0E3853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19" name="Groep 175">
                  <a:extLst>
                    <a:ext uri="{FF2B5EF4-FFF2-40B4-BE49-F238E27FC236}">
                      <a16:creationId xmlns:a16="http://schemas.microsoft.com/office/drawing/2014/main" id="{AC0A8EB5-B95C-48F7-BFE8-CD7EFF5A99C3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23" name="Rechte verbindingslijn 179">
                    <a:extLst>
                      <a:ext uri="{FF2B5EF4-FFF2-40B4-BE49-F238E27FC236}">
                        <a16:creationId xmlns:a16="http://schemas.microsoft.com/office/drawing/2014/main" id="{BE0E2265-DD56-4CDB-902D-B44F148483E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180">
                    <a:extLst>
                      <a:ext uri="{FF2B5EF4-FFF2-40B4-BE49-F238E27FC236}">
                        <a16:creationId xmlns:a16="http://schemas.microsoft.com/office/drawing/2014/main" id="{B519EBF8-B28E-44C8-958B-DD1AFDA5926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181">
                    <a:extLst>
                      <a:ext uri="{FF2B5EF4-FFF2-40B4-BE49-F238E27FC236}">
                        <a16:creationId xmlns:a16="http://schemas.microsoft.com/office/drawing/2014/main" id="{C6664D87-D737-4450-B8BA-435D4D451C2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182">
                    <a:extLst>
                      <a:ext uri="{FF2B5EF4-FFF2-40B4-BE49-F238E27FC236}">
                        <a16:creationId xmlns:a16="http://schemas.microsoft.com/office/drawing/2014/main" id="{ACC81043-1808-4AB9-B8EE-377BAC340E9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7" name="Rechte verbindingslijn 183">
                    <a:extLst>
                      <a:ext uri="{FF2B5EF4-FFF2-40B4-BE49-F238E27FC236}">
                        <a16:creationId xmlns:a16="http://schemas.microsoft.com/office/drawing/2014/main" id="{CEEEE8F4-2B4C-48C0-ADF6-7CD0D8486AF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0" name="Groep 176">
                  <a:extLst>
                    <a:ext uri="{FF2B5EF4-FFF2-40B4-BE49-F238E27FC236}">
                      <a16:creationId xmlns:a16="http://schemas.microsoft.com/office/drawing/2014/main" id="{14D27936-067A-467E-AC9C-C1C2CEBDC1A8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1" name="Rechthoek 177">
                    <a:extLst>
                      <a:ext uri="{FF2B5EF4-FFF2-40B4-BE49-F238E27FC236}">
                        <a16:creationId xmlns:a16="http://schemas.microsoft.com/office/drawing/2014/main" id="{674FBCE4-880A-4A18-B25F-B8543F10040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2" name="Pijl: punthaak 178">
                    <a:extLst>
                      <a:ext uri="{FF2B5EF4-FFF2-40B4-BE49-F238E27FC236}">
                        <a16:creationId xmlns:a16="http://schemas.microsoft.com/office/drawing/2014/main" id="{D40BF820-7BF3-45E4-96A7-7785540A6A1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7" name="Groep 135">
                <a:extLst>
                  <a:ext uri="{FF2B5EF4-FFF2-40B4-BE49-F238E27FC236}">
                    <a16:creationId xmlns:a16="http://schemas.microsoft.com/office/drawing/2014/main" id="{18254846-9173-4A25-9B70-D83845297975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0" name="Groep 166">
                  <a:extLst>
                    <a:ext uri="{FF2B5EF4-FFF2-40B4-BE49-F238E27FC236}">
                      <a16:creationId xmlns:a16="http://schemas.microsoft.com/office/drawing/2014/main" id="{738577DD-61F7-497B-8B16-099A5357A8CF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14" name="Rechte verbindingslijn 170">
                    <a:extLst>
                      <a:ext uri="{FF2B5EF4-FFF2-40B4-BE49-F238E27FC236}">
                        <a16:creationId xmlns:a16="http://schemas.microsoft.com/office/drawing/2014/main" id="{49BB2BA4-69B9-404C-AF47-7981EEAADE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5" name="Rechte verbindingslijn 171">
                    <a:extLst>
                      <a:ext uri="{FF2B5EF4-FFF2-40B4-BE49-F238E27FC236}">
                        <a16:creationId xmlns:a16="http://schemas.microsoft.com/office/drawing/2014/main" id="{A8D36574-0E46-4E88-93EC-777EA6921F1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6" name="Rechte verbindingslijn 172">
                    <a:extLst>
                      <a:ext uri="{FF2B5EF4-FFF2-40B4-BE49-F238E27FC236}">
                        <a16:creationId xmlns:a16="http://schemas.microsoft.com/office/drawing/2014/main" id="{8BCCC43B-B871-4007-A379-18FE9889B65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7" name="Rechte verbindingslijn 173">
                    <a:extLst>
                      <a:ext uri="{FF2B5EF4-FFF2-40B4-BE49-F238E27FC236}">
                        <a16:creationId xmlns:a16="http://schemas.microsoft.com/office/drawing/2014/main" id="{872051DC-97C2-42AD-9B94-9E08D65D95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8" name="Rechte verbindingslijn 174">
                    <a:extLst>
                      <a:ext uri="{FF2B5EF4-FFF2-40B4-BE49-F238E27FC236}">
                        <a16:creationId xmlns:a16="http://schemas.microsoft.com/office/drawing/2014/main" id="{C5CFCAD1-86DC-4B90-B571-873C031ADEE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1" name="Groep 167">
                  <a:extLst>
                    <a:ext uri="{FF2B5EF4-FFF2-40B4-BE49-F238E27FC236}">
                      <a16:creationId xmlns:a16="http://schemas.microsoft.com/office/drawing/2014/main" id="{65462723-0FDC-408D-8030-077C2040BC7E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12" name="Rechthoek 168">
                    <a:extLst>
                      <a:ext uri="{FF2B5EF4-FFF2-40B4-BE49-F238E27FC236}">
                        <a16:creationId xmlns:a16="http://schemas.microsoft.com/office/drawing/2014/main" id="{E8DD260F-882D-49E5-A66B-D3A6B779DEC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3" name="Pijl: punthaak 169">
                    <a:extLst>
                      <a:ext uri="{FF2B5EF4-FFF2-40B4-BE49-F238E27FC236}">
                        <a16:creationId xmlns:a16="http://schemas.microsoft.com/office/drawing/2014/main" id="{3694A5C3-9269-40A4-B628-7DA43EEF9BE4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8" name="Rechte verbindingslijn 136">
                <a:extLst>
                  <a:ext uri="{FF2B5EF4-FFF2-40B4-BE49-F238E27FC236}">
                    <a16:creationId xmlns:a16="http://schemas.microsoft.com/office/drawing/2014/main" id="{2A08F50C-0D68-4665-9F79-5CF6658431E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9" name="Rechte verbindingslijn 137">
                <a:extLst>
                  <a:ext uri="{FF2B5EF4-FFF2-40B4-BE49-F238E27FC236}">
                    <a16:creationId xmlns:a16="http://schemas.microsoft.com/office/drawing/2014/main" id="{8BEBFB40-FBF9-46BB-8C67-29E391323BD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80" name="Groep 138">
                <a:extLst>
                  <a:ext uri="{FF2B5EF4-FFF2-40B4-BE49-F238E27FC236}">
                    <a16:creationId xmlns:a16="http://schemas.microsoft.com/office/drawing/2014/main" id="{92A74A92-A270-48D1-B32D-F7AE95355AC8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9" name="Rechthoek 155">
                  <a:extLst>
                    <a:ext uri="{FF2B5EF4-FFF2-40B4-BE49-F238E27FC236}">
                      <a16:creationId xmlns:a16="http://schemas.microsoft.com/office/drawing/2014/main" id="{B95B09FC-C5E4-4CF7-A72B-5D8C2909DBE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0" name="Groep 156">
                  <a:extLst>
                    <a:ext uri="{FF2B5EF4-FFF2-40B4-BE49-F238E27FC236}">
                      <a16:creationId xmlns:a16="http://schemas.microsoft.com/office/drawing/2014/main" id="{27C7D59B-98AD-49F3-8190-78573887F134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1" name="Groep 157">
                    <a:extLst>
                      <a:ext uri="{FF2B5EF4-FFF2-40B4-BE49-F238E27FC236}">
                        <a16:creationId xmlns:a16="http://schemas.microsoft.com/office/drawing/2014/main" id="{19E2C2D9-7066-4DF3-A0B9-32A02D54F10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05" name="Rechte verbindingslijn 161">
                      <a:extLst>
                        <a:ext uri="{FF2B5EF4-FFF2-40B4-BE49-F238E27FC236}">
                          <a16:creationId xmlns:a16="http://schemas.microsoft.com/office/drawing/2014/main" id="{D6C6488F-1FDA-407E-BC8D-5B2333A5FE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162">
                      <a:extLst>
                        <a:ext uri="{FF2B5EF4-FFF2-40B4-BE49-F238E27FC236}">
                          <a16:creationId xmlns:a16="http://schemas.microsoft.com/office/drawing/2014/main" id="{379DFEF3-7D60-4502-A46F-C5478453DF8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7" name="Rechte verbindingslijn 163">
                      <a:extLst>
                        <a:ext uri="{FF2B5EF4-FFF2-40B4-BE49-F238E27FC236}">
                          <a16:creationId xmlns:a16="http://schemas.microsoft.com/office/drawing/2014/main" id="{D7BE6CD4-D6AB-4B79-ACC6-0286542B5B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8" name="Rechte verbindingslijn 164">
                      <a:extLst>
                        <a:ext uri="{FF2B5EF4-FFF2-40B4-BE49-F238E27FC236}">
                          <a16:creationId xmlns:a16="http://schemas.microsoft.com/office/drawing/2014/main" id="{5807F63D-3E33-4902-BFC7-EBB1A0C837A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9" name="Rechte verbindingslijn 165">
                      <a:extLst>
                        <a:ext uri="{FF2B5EF4-FFF2-40B4-BE49-F238E27FC236}">
                          <a16:creationId xmlns:a16="http://schemas.microsoft.com/office/drawing/2014/main" id="{45A0EF4F-42F2-4DBD-84D4-1DC03C91BEA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02" name="Groep 158">
                    <a:extLst>
                      <a:ext uri="{FF2B5EF4-FFF2-40B4-BE49-F238E27FC236}">
                        <a16:creationId xmlns:a16="http://schemas.microsoft.com/office/drawing/2014/main" id="{6649D5CD-CA63-40AD-AB97-C36D93354A9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3" name="Rechthoek 159">
                      <a:extLst>
                        <a:ext uri="{FF2B5EF4-FFF2-40B4-BE49-F238E27FC236}">
                          <a16:creationId xmlns:a16="http://schemas.microsoft.com/office/drawing/2014/main" id="{55ADC91B-3A08-4109-8989-AACEE9CDD8B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4" name="Pijl: punthaak 160">
                      <a:extLst>
                        <a:ext uri="{FF2B5EF4-FFF2-40B4-BE49-F238E27FC236}">
                          <a16:creationId xmlns:a16="http://schemas.microsoft.com/office/drawing/2014/main" id="{F7B1E57F-10E8-4CC6-B214-337108E87700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81" name="Groep 139">
                <a:extLst>
                  <a:ext uri="{FF2B5EF4-FFF2-40B4-BE49-F238E27FC236}">
                    <a16:creationId xmlns:a16="http://schemas.microsoft.com/office/drawing/2014/main" id="{11ACD5CE-BA59-47A1-979F-31C45DCD8F17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84" name="Rechthoek 142">
                  <a:extLst>
                    <a:ext uri="{FF2B5EF4-FFF2-40B4-BE49-F238E27FC236}">
                      <a16:creationId xmlns:a16="http://schemas.microsoft.com/office/drawing/2014/main" id="{BADC8FC8-135E-480A-A134-351D8B60210F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5" name="Groep 143">
                  <a:extLst>
                    <a:ext uri="{FF2B5EF4-FFF2-40B4-BE49-F238E27FC236}">
                      <a16:creationId xmlns:a16="http://schemas.microsoft.com/office/drawing/2014/main" id="{7EBCFB61-8DC9-44EB-B067-1D136F478C5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6" name="Groep 144">
                    <a:extLst>
                      <a:ext uri="{FF2B5EF4-FFF2-40B4-BE49-F238E27FC236}">
                        <a16:creationId xmlns:a16="http://schemas.microsoft.com/office/drawing/2014/main" id="{E5DBDAD9-64F3-4F9B-8960-F7B6C79EF69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90" name="Rechte verbindingslijn 150">
                      <a:extLst>
                        <a:ext uri="{FF2B5EF4-FFF2-40B4-BE49-F238E27FC236}">
                          <a16:creationId xmlns:a16="http://schemas.microsoft.com/office/drawing/2014/main" id="{045B5589-EFE0-4CEA-93B7-DE024F4FE80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5" name="Rechte verbindingslijn 151">
                      <a:extLst>
                        <a:ext uri="{FF2B5EF4-FFF2-40B4-BE49-F238E27FC236}">
                          <a16:creationId xmlns:a16="http://schemas.microsoft.com/office/drawing/2014/main" id="{B1F57D13-6943-4EB2-9F0C-ECAEED859A3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6" name="Rechte verbindingslijn 152">
                      <a:extLst>
                        <a:ext uri="{FF2B5EF4-FFF2-40B4-BE49-F238E27FC236}">
                          <a16:creationId xmlns:a16="http://schemas.microsoft.com/office/drawing/2014/main" id="{9663AB4D-7856-4F43-9D73-1AA2211BBC0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53">
                      <a:extLst>
                        <a:ext uri="{FF2B5EF4-FFF2-40B4-BE49-F238E27FC236}">
                          <a16:creationId xmlns:a16="http://schemas.microsoft.com/office/drawing/2014/main" id="{02A25210-BB3D-4CA0-9FE6-E512FB0ED9A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8" name="Rechte verbindingslijn 154">
                      <a:extLst>
                        <a:ext uri="{FF2B5EF4-FFF2-40B4-BE49-F238E27FC236}">
                          <a16:creationId xmlns:a16="http://schemas.microsoft.com/office/drawing/2014/main" id="{723D88F6-01BF-4A02-B2E7-90D41540033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7" name="Groep 147">
                    <a:extLst>
                      <a:ext uri="{FF2B5EF4-FFF2-40B4-BE49-F238E27FC236}">
                        <a16:creationId xmlns:a16="http://schemas.microsoft.com/office/drawing/2014/main" id="{0C25196E-F77C-41AD-B901-5FD5F85F0638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8" name="Rechthoek 148">
                      <a:extLst>
                        <a:ext uri="{FF2B5EF4-FFF2-40B4-BE49-F238E27FC236}">
                          <a16:creationId xmlns:a16="http://schemas.microsoft.com/office/drawing/2014/main" id="{C3FD91C5-DF52-4C74-A2E6-DE43CD8D977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9" name="Pijl: punthaak 149">
                      <a:extLst>
                        <a:ext uri="{FF2B5EF4-FFF2-40B4-BE49-F238E27FC236}">
                          <a16:creationId xmlns:a16="http://schemas.microsoft.com/office/drawing/2014/main" id="{72EDE694-78CA-45FF-8139-963C8359D982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82" name="Rechthoek 140">
                <a:extLst>
                  <a:ext uri="{FF2B5EF4-FFF2-40B4-BE49-F238E27FC236}">
                    <a16:creationId xmlns:a16="http://schemas.microsoft.com/office/drawing/2014/main" id="{3AA0483E-8221-40D1-8913-6D27537D4C32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183" name="Rechthoek 141">
                <a:extLst>
                  <a:ext uri="{FF2B5EF4-FFF2-40B4-BE49-F238E27FC236}">
                    <a16:creationId xmlns:a16="http://schemas.microsoft.com/office/drawing/2014/main" id="{939D9EE8-4178-435F-991E-48DA8AD1D2E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148" name="Rechte verbindingslijn 106">
              <a:extLst>
                <a:ext uri="{FF2B5EF4-FFF2-40B4-BE49-F238E27FC236}">
                  <a16:creationId xmlns:a16="http://schemas.microsoft.com/office/drawing/2014/main" id="{C1875108-AFEA-4F4A-9FB1-FF33B329D7A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9" name="Rechthoek 107">
              <a:extLst>
                <a:ext uri="{FF2B5EF4-FFF2-40B4-BE49-F238E27FC236}">
                  <a16:creationId xmlns:a16="http://schemas.microsoft.com/office/drawing/2014/main" id="{A179CD03-D19A-429F-A272-21D5FB7C9470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150" name="Ovaal 108">
              <a:extLst>
                <a:ext uri="{FF2B5EF4-FFF2-40B4-BE49-F238E27FC236}">
                  <a16:creationId xmlns:a16="http://schemas.microsoft.com/office/drawing/2014/main" id="{3CA79ACB-1460-444D-B393-38FCE03A25A2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1" name="Rechthoek 109">
              <a:extLst>
                <a:ext uri="{FF2B5EF4-FFF2-40B4-BE49-F238E27FC236}">
                  <a16:creationId xmlns:a16="http://schemas.microsoft.com/office/drawing/2014/main" id="{D648D9F3-B15C-4A45-93E7-E8393C659304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152" name="Ovaal 110">
              <a:extLst>
                <a:ext uri="{FF2B5EF4-FFF2-40B4-BE49-F238E27FC236}">
                  <a16:creationId xmlns:a16="http://schemas.microsoft.com/office/drawing/2014/main" id="{B98572BC-0107-4349-8E80-4E73636B6A22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11">
              <a:extLst>
                <a:ext uri="{FF2B5EF4-FFF2-40B4-BE49-F238E27FC236}">
                  <a16:creationId xmlns:a16="http://schemas.microsoft.com/office/drawing/2014/main" id="{B7238D6F-8670-4A6E-88A0-E35A5B391F2F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54" name="Ovaal 112">
              <a:extLst>
                <a:ext uri="{FF2B5EF4-FFF2-40B4-BE49-F238E27FC236}">
                  <a16:creationId xmlns:a16="http://schemas.microsoft.com/office/drawing/2014/main" id="{BC116ABB-11D9-4934-BD96-ECE3D72A0D4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55" name="Rechthoek 113">
              <a:extLst>
                <a:ext uri="{FF2B5EF4-FFF2-40B4-BE49-F238E27FC236}">
                  <a16:creationId xmlns:a16="http://schemas.microsoft.com/office/drawing/2014/main" id="{77228255-0A9D-4924-B73B-79D0649B791D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156" name="Ovaal 114">
              <a:extLst>
                <a:ext uri="{FF2B5EF4-FFF2-40B4-BE49-F238E27FC236}">
                  <a16:creationId xmlns:a16="http://schemas.microsoft.com/office/drawing/2014/main" id="{1CE99CA4-07B5-455F-8FC1-C030994A72FE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57" name="Rechthoek 115">
              <a:extLst>
                <a:ext uri="{FF2B5EF4-FFF2-40B4-BE49-F238E27FC236}">
                  <a16:creationId xmlns:a16="http://schemas.microsoft.com/office/drawing/2014/main" id="{5DF93B5E-C24C-4A7A-BBF6-647EFB316117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158" name="Rechte verbindingslijn 116">
              <a:extLst>
                <a:ext uri="{FF2B5EF4-FFF2-40B4-BE49-F238E27FC236}">
                  <a16:creationId xmlns:a16="http://schemas.microsoft.com/office/drawing/2014/main" id="{27F996DF-C54C-44A9-BA17-7225C73B26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9" name="Meer informatie">
              <a:extLst>
                <a:ext uri="{FF2B5EF4-FFF2-40B4-BE49-F238E27FC236}">
                  <a16:creationId xmlns:a16="http://schemas.microsoft.com/office/drawing/2014/main" id="{505F7183-52D3-4461-8BBE-BCCF94D16BED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169" name="Freeform 101">
                <a:extLst>
                  <a:ext uri="{FF2B5EF4-FFF2-40B4-BE49-F238E27FC236}">
                    <a16:creationId xmlns:a16="http://schemas.microsoft.com/office/drawing/2014/main" id="{56D6718B-F102-4CBD-818D-FA1345E5F3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170" name="Rechthoek 128">
                <a:extLst>
                  <a:ext uri="{FF2B5EF4-FFF2-40B4-BE49-F238E27FC236}">
                    <a16:creationId xmlns:a16="http://schemas.microsoft.com/office/drawing/2014/main" id="{6ED19956-5242-46FB-88BD-EE6812E798AE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71" name="Rechte verbindingslijn 129">
                <a:extLst>
                  <a:ext uri="{FF2B5EF4-FFF2-40B4-BE49-F238E27FC236}">
                    <a16:creationId xmlns:a16="http://schemas.microsoft.com/office/drawing/2014/main" id="{F2814E00-81CE-4F3B-AC77-909BDAC8DCF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0" name="Rechthoek 118">
              <a:extLst>
                <a:ext uri="{FF2B5EF4-FFF2-40B4-BE49-F238E27FC236}">
                  <a16:creationId xmlns:a16="http://schemas.microsoft.com/office/drawing/2014/main" id="{6913605C-195F-4825-8813-58D1B976A45C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161" name="Ovaal 119">
              <a:extLst>
                <a:ext uri="{FF2B5EF4-FFF2-40B4-BE49-F238E27FC236}">
                  <a16:creationId xmlns:a16="http://schemas.microsoft.com/office/drawing/2014/main" id="{28DF4496-CEAC-4599-8078-4F4253FEF5B0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2" name="Rechthoek 120">
              <a:extLst>
                <a:ext uri="{FF2B5EF4-FFF2-40B4-BE49-F238E27FC236}">
                  <a16:creationId xmlns:a16="http://schemas.microsoft.com/office/drawing/2014/main" id="{91B7A4E5-E9C1-4531-A427-D3075DD3BBE5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63" name="Ovaal 121">
              <a:extLst>
                <a:ext uri="{FF2B5EF4-FFF2-40B4-BE49-F238E27FC236}">
                  <a16:creationId xmlns:a16="http://schemas.microsoft.com/office/drawing/2014/main" id="{E050FCC6-D84A-4D90-8182-3C80E384AF5A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4" name="Rechthoek 122">
              <a:extLst>
                <a:ext uri="{FF2B5EF4-FFF2-40B4-BE49-F238E27FC236}">
                  <a16:creationId xmlns:a16="http://schemas.microsoft.com/office/drawing/2014/main" id="{58F884CF-F3DD-4AE5-9146-035A435D4865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165" name="Ovaal 123">
              <a:extLst>
                <a:ext uri="{FF2B5EF4-FFF2-40B4-BE49-F238E27FC236}">
                  <a16:creationId xmlns:a16="http://schemas.microsoft.com/office/drawing/2014/main" id="{CCED7891-47D1-461A-A868-3757B8A39CC8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6" name="Rechthoek 124">
              <a:extLst>
                <a:ext uri="{FF2B5EF4-FFF2-40B4-BE49-F238E27FC236}">
                  <a16:creationId xmlns:a16="http://schemas.microsoft.com/office/drawing/2014/main" id="{2455E502-0EAC-4445-8536-C61F5244BD1F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67" name="Rechthoek 125">
              <a:extLst>
                <a:ext uri="{FF2B5EF4-FFF2-40B4-BE49-F238E27FC236}">
                  <a16:creationId xmlns:a16="http://schemas.microsoft.com/office/drawing/2014/main" id="{B7F73BF4-9D66-4EC0-ACD1-A2306C034212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168" name="Ovaal 126">
              <a:extLst>
                <a:ext uri="{FF2B5EF4-FFF2-40B4-BE49-F238E27FC236}">
                  <a16:creationId xmlns:a16="http://schemas.microsoft.com/office/drawing/2014/main" id="{922BAE2A-D2D6-43FC-8E69-9A3CCC7160C0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  <p:sp>
        <p:nvSpPr>
          <p:cNvPr id="228" name="Tijdelijke aanduiding voor tekst 3">
            <a:extLst>
              <a:ext uri="{FF2B5EF4-FFF2-40B4-BE49-F238E27FC236}">
                <a16:creationId xmlns:a16="http://schemas.microsoft.com/office/drawing/2014/main" id="{B4F78CBF-9872-475F-8C41-7E5DA6A65BC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504415" y="1449454"/>
            <a:ext cx="6635238" cy="3534585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51"/>
            </a:lvl1pPr>
          </a:lstStyle>
          <a:p>
            <a:pPr lvl="0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25023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hoekje 8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-5567" y="6476684"/>
            <a:ext cx="42767257" cy="23798534"/>
          </a:xfrm>
          <a:solidFill>
            <a:schemeClr val="bg1">
              <a:lumMod val="95000"/>
            </a:schemeClr>
          </a:solidFill>
        </p:spPr>
        <p:txBody>
          <a:bodyPr tIns="1044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0" name="Tijdelijke aanduiding voor voettekst 4">
            <a:extLst>
              <a:ext uri="{FF2B5EF4-FFF2-40B4-BE49-F238E27FC236}">
                <a16:creationId xmlns:a16="http://schemas.microsoft.com/office/drawing/2014/main" id="{1DA20FBD-9D0F-4EAB-B12C-126591D8B7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6644E39-2AF2-4EA0-9C3F-28C89D5A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2" y="27329718"/>
            <a:ext cx="828945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7" name="Tijdelijke aanduiding voor tekst 14">
            <a:extLst>
              <a:ext uri="{FF2B5EF4-FFF2-40B4-BE49-F238E27FC236}">
                <a16:creationId xmlns:a16="http://schemas.microsoft.com/office/drawing/2014/main" id="{A6BF4B27-7FC5-4896-80CE-3BA6119B83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15" name="Tijdelijke aanduiding voor datum 3">
            <a:extLst>
              <a:ext uri="{FF2B5EF4-FFF2-40B4-BE49-F238E27FC236}">
                <a16:creationId xmlns:a16="http://schemas.microsoft.com/office/drawing/2014/main" id="{B4AED1A4-683A-4021-8F91-6EB13C2447C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503FAE-A68E-49CA-B3F3-F3703A2361C4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26" name="Tijdelijke aanduiding voor tekst 3">
            <a:extLst>
              <a:ext uri="{FF2B5EF4-FFF2-40B4-BE49-F238E27FC236}">
                <a16:creationId xmlns:a16="http://schemas.microsoft.com/office/drawing/2014/main" id="{3A586398-8104-4AD7-A024-8ECF8764CDF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926337" y="8948021"/>
            <a:ext cx="1525800" cy="1913241"/>
          </a:xfrm>
          <a:custGeom>
            <a:avLst/>
            <a:gdLst>
              <a:gd name="connsiteX0" fmla="*/ 0 w 1174750"/>
              <a:gd name="connsiteY0" fmla="*/ 0 h 923925"/>
              <a:gd name="connsiteX1" fmla="*/ 1174750 w 1174750"/>
              <a:gd name="connsiteY1" fmla="*/ 0 h 923925"/>
              <a:gd name="connsiteX2" fmla="*/ 1174750 w 1174750"/>
              <a:gd name="connsiteY2" fmla="*/ 923925 h 923925"/>
              <a:gd name="connsiteX3" fmla="*/ 0 w 1174750"/>
              <a:gd name="connsiteY3" fmla="*/ 923925 h 923925"/>
              <a:gd name="connsiteX4" fmla="*/ 0 w 1174750"/>
              <a:gd name="connsiteY4" fmla="*/ 0 h 923925"/>
              <a:gd name="connsiteX0" fmla="*/ 1174750 w 1266190"/>
              <a:gd name="connsiteY0" fmla="*/ 923925 h 1015365"/>
              <a:gd name="connsiteX1" fmla="*/ 0 w 1266190"/>
              <a:gd name="connsiteY1" fmla="*/ 923925 h 1015365"/>
              <a:gd name="connsiteX2" fmla="*/ 0 w 1266190"/>
              <a:gd name="connsiteY2" fmla="*/ 0 h 1015365"/>
              <a:gd name="connsiteX3" fmla="*/ 1174750 w 1266190"/>
              <a:gd name="connsiteY3" fmla="*/ 0 h 1015365"/>
              <a:gd name="connsiteX4" fmla="*/ 1266190 w 1266190"/>
              <a:gd name="connsiteY4" fmla="*/ 1015365 h 1015365"/>
              <a:gd name="connsiteX0" fmla="*/ 1174750 w 1174750"/>
              <a:gd name="connsiteY0" fmla="*/ 923925 h 923925"/>
              <a:gd name="connsiteX1" fmla="*/ 0 w 1174750"/>
              <a:gd name="connsiteY1" fmla="*/ 923925 h 923925"/>
              <a:gd name="connsiteX2" fmla="*/ 0 w 1174750"/>
              <a:gd name="connsiteY2" fmla="*/ 0 h 923925"/>
              <a:gd name="connsiteX3" fmla="*/ 1174750 w 1174750"/>
              <a:gd name="connsiteY3" fmla="*/ 0 h 923925"/>
              <a:gd name="connsiteX0" fmla="*/ 0 w 1174750"/>
              <a:gd name="connsiteY0" fmla="*/ 923925 h 923925"/>
              <a:gd name="connsiteX1" fmla="*/ 0 w 1174750"/>
              <a:gd name="connsiteY1" fmla="*/ 0 h 923925"/>
              <a:gd name="connsiteX2" fmla="*/ 1174750 w 1174750"/>
              <a:gd name="connsiteY2" fmla="*/ 0 h 923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74750" h="923925">
                <a:moveTo>
                  <a:pt x="0" y="923925"/>
                </a:moveTo>
                <a:lnTo>
                  <a:pt x="0" y="0"/>
                </a:lnTo>
                <a:lnTo>
                  <a:pt x="1174750" y="0"/>
                </a:lnTo>
              </a:path>
            </a:pathLst>
          </a:custGeom>
          <a:ln w="190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  <a:alpha val="0"/>
                  </a:schemeClr>
                </a:solidFill>
              </a:defRPr>
            </a:lvl1pPr>
          </a:lstStyle>
          <a:p>
            <a:pPr lvl="0"/>
            <a:endParaRPr lang="nl-NL" noProof="0"/>
          </a:p>
        </p:txBody>
      </p:sp>
      <p:sp>
        <p:nvSpPr>
          <p:cNvPr id="27" name="Tijdelijke aanduiding voor tekst 4">
            <a:extLst>
              <a:ext uri="{FF2B5EF4-FFF2-40B4-BE49-F238E27FC236}">
                <a16:creationId xmlns:a16="http://schemas.microsoft.com/office/drawing/2014/main" id="{F6F978E4-0108-406E-AB96-5F885709DC6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890136" y="8914373"/>
            <a:ext cx="16488774" cy="7793064"/>
          </a:xfrm>
          <a:noFill/>
        </p:spPr>
        <p:txBody>
          <a:bodyPr lIns="360000" tIns="288000" rIns="360000" bIns="36000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419" b="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/>
              <a:t>Klik om tekst in te voegen</a:t>
            </a:r>
          </a:p>
        </p:txBody>
      </p:sp>
      <p:sp>
        <p:nvSpPr>
          <p:cNvPr id="32" name="Tijdelijke aanduiding voor tekst 5">
            <a:extLst>
              <a:ext uri="{FF2B5EF4-FFF2-40B4-BE49-F238E27FC236}">
                <a16:creationId xmlns:a16="http://schemas.microsoft.com/office/drawing/2014/main" id="{E42E3748-C94C-4A0F-BA64-33E6792422C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7833612" y="14745158"/>
            <a:ext cx="1511892" cy="1948270"/>
          </a:xfrm>
          <a:custGeom>
            <a:avLst/>
            <a:gdLst>
              <a:gd name="connsiteX0" fmla="*/ 0 w 1014412"/>
              <a:gd name="connsiteY0" fmla="*/ 196584 h 908050"/>
              <a:gd name="connsiteX1" fmla="*/ 196584 w 1014412"/>
              <a:gd name="connsiteY1" fmla="*/ 0 h 908050"/>
              <a:gd name="connsiteX2" fmla="*/ 817828 w 1014412"/>
              <a:gd name="connsiteY2" fmla="*/ 0 h 908050"/>
              <a:gd name="connsiteX3" fmla="*/ 1014412 w 1014412"/>
              <a:gd name="connsiteY3" fmla="*/ 196584 h 908050"/>
              <a:gd name="connsiteX4" fmla="*/ 1014412 w 1014412"/>
              <a:gd name="connsiteY4" fmla="*/ 711466 h 908050"/>
              <a:gd name="connsiteX5" fmla="*/ 817828 w 1014412"/>
              <a:gd name="connsiteY5" fmla="*/ 908050 h 908050"/>
              <a:gd name="connsiteX6" fmla="*/ 196584 w 1014412"/>
              <a:gd name="connsiteY6" fmla="*/ 908050 h 908050"/>
              <a:gd name="connsiteX7" fmla="*/ 0 w 1014412"/>
              <a:gd name="connsiteY7" fmla="*/ 711466 h 908050"/>
              <a:gd name="connsiteX8" fmla="*/ 0 w 1014412"/>
              <a:gd name="connsiteY8" fmla="*/ 196584 h 908050"/>
              <a:gd name="connsiteX0" fmla="*/ 1014412 w 1105852"/>
              <a:gd name="connsiteY0" fmla="*/ 196584 h 908050"/>
              <a:gd name="connsiteX1" fmla="*/ 1014412 w 1105852"/>
              <a:gd name="connsiteY1" fmla="*/ 711466 h 908050"/>
              <a:gd name="connsiteX2" fmla="*/ 817828 w 1105852"/>
              <a:gd name="connsiteY2" fmla="*/ 908050 h 908050"/>
              <a:gd name="connsiteX3" fmla="*/ 196584 w 1105852"/>
              <a:gd name="connsiteY3" fmla="*/ 908050 h 908050"/>
              <a:gd name="connsiteX4" fmla="*/ 0 w 1105852"/>
              <a:gd name="connsiteY4" fmla="*/ 711466 h 908050"/>
              <a:gd name="connsiteX5" fmla="*/ 0 w 1105852"/>
              <a:gd name="connsiteY5" fmla="*/ 196584 h 908050"/>
              <a:gd name="connsiteX6" fmla="*/ 196584 w 1105852"/>
              <a:gd name="connsiteY6" fmla="*/ 0 h 908050"/>
              <a:gd name="connsiteX7" fmla="*/ 817828 w 1105852"/>
              <a:gd name="connsiteY7" fmla="*/ 0 h 908050"/>
              <a:gd name="connsiteX8" fmla="*/ 1105852 w 1105852"/>
              <a:gd name="connsiteY8" fmla="*/ 288024 h 908050"/>
              <a:gd name="connsiteX0" fmla="*/ 1014412 w 1014412"/>
              <a:gd name="connsiteY0" fmla="*/ 196584 h 908050"/>
              <a:gd name="connsiteX1" fmla="*/ 1014412 w 1014412"/>
              <a:gd name="connsiteY1" fmla="*/ 711466 h 908050"/>
              <a:gd name="connsiteX2" fmla="*/ 817828 w 1014412"/>
              <a:gd name="connsiteY2" fmla="*/ 908050 h 908050"/>
              <a:gd name="connsiteX3" fmla="*/ 196584 w 1014412"/>
              <a:gd name="connsiteY3" fmla="*/ 908050 h 908050"/>
              <a:gd name="connsiteX4" fmla="*/ 0 w 1014412"/>
              <a:gd name="connsiteY4" fmla="*/ 711466 h 908050"/>
              <a:gd name="connsiteX5" fmla="*/ 0 w 1014412"/>
              <a:gd name="connsiteY5" fmla="*/ 196584 h 908050"/>
              <a:gd name="connsiteX6" fmla="*/ 196584 w 1014412"/>
              <a:gd name="connsiteY6" fmla="*/ 0 h 908050"/>
              <a:gd name="connsiteX7" fmla="*/ 817828 w 1014412"/>
              <a:gd name="connsiteY7" fmla="*/ 0 h 908050"/>
              <a:gd name="connsiteX0" fmla="*/ 1014412 w 1014412"/>
              <a:gd name="connsiteY0" fmla="*/ 196584 h 908050"/>
              <a:gd name="connsiteX1" fmla="*/ 1014412 w 1014412"/>
              <a:gd name="connsiteY1" fmla="*/ 711466 h 908050"/>
              <a:gd name="connsiteX2" fmla="*/ 817828 w 1014412"/>
              <a:gd name="connsiteY2" fmla="*/ 908050 h 908050"/>
              <a:gd name="connsiteX3" fmla="*/ 196584 w 1014412"/>
              <a:gd name="connsiteY3" fmla="*/ 908050 h 908050"/>
              <a:gd name="connsiteX4" fmla="*/ 0 w 1014412"/>
              <a:gd name="connsiteY4" fmla="*/ 711466 h 908050"/>
              <a:gd name="connsiteX5" fmla="*/ 0 w 1014412"/>
              <a:gd name="connsiteY5" fmla="*/ 196584 h 908050"/>
              <a:gd name="connsiteX6" fmla="*/ 196584 w 1014412"/>
              <a:gd name="connsiteY6" fmla="*/ 0 h 908050"/>
              <a:gd name="connsiteX0" fmla="*/ 1014412 w 1014412"/>
              <a:gd name="connsiteY0" fmla="*/ 0 h 711466"/>
              <a:gd name="connsiteX1" fmla="*/ 1014412 w 1014412"/>
              <a:gd name="connsiteY1" fmla="*/ 514882 h 711466"/>
              <a:gd name="connsiteX2" fmla="*/ 817828 w 1014412"/>
              <a:gd name="connsiteY2" fmla="*/ 711466 h 711466"/>
              <a:gd name="connsiteX3" fmla="*/ 196584 w 1014412"/>
              <a:gd name="connsiteY3" fmla="*/ 711466 h 711466"/>
              <a:gd name="connsiteX4" fmla="*/ 0 w 1014412"/>
              <a:gd name="connsiteY4" fmla="*/ 514882 h 711466"/>
              <a:gd name="connsiteX5" fmla="*/ 0 w 1014412"/>
              <a:gd name="connsiteY5" fmla="*/ 0 h 711466"/>
              <a:gd name="connsiteX0" fmla="*/ 1014412 w 1014412"/>
              <a:gd name="connsiteY0" fmla="*/ 0 h 711466"/>
              <a:gd name="connsiteX1" fmla="*/ 1014412 w 1014412"/>
              <a:gd name="connsiteY1" fmla="*/ 514882 h 711466"/>
              <a:gd name="connsiteX2" fmla="*/ 817828 w 1014412"/>
              <a:gd name="connsiteY2" fmla="*/ 711466 h 711466"/>
              <a:gd name="connsiteX3" fmla="*/ 196584 w 1014412"/>
              <a:gd name="connsiteY3" fmla="*/ 711466 h 711466"/>
              <a:gd name="connsiteX4" fmla="*/ 0 w 1014412"/>
              <a:gd name="connsiteY4" fmla="*/ 514882 h 711466"/>
              <a:gd name="connsiteX0" fmla="*/ 817828 w 817828"/>
              <a:gd name="connsiteY0" fmla="*/ 0 h 711466"/>
              <a:gd name="connsiteX1" fmla="*/ 817828 w 817828"/>
              <a:gd name="connsiteY1" fmla="*/ 514882 h 711466"/>
              <a:gd name="connsiteX2" fmla="*/ 621244 w 817828"/>
              <a:gd name="connsiteY2" fmla="*/ 711466 h 711466"/>
              <a:gd name="connsiteX3" fmla="*/ 0 w 817828"/>
              <a:gd name="connsiteY3" fmla="*/ 711466 h 711466"/>
              <a:gd name="connsiteX0" fmla="*/ 817828 w 817828"/>
              <a:gd name="connsiteY0" fmla="*/ 0 h 711466"/>
              <a:gd name="connsiteX1" fmla="*/ 815446 w 817828"/>
              <a:gd name="connsiteY1" fmla="*/ 270140 h 711466"/>
              <a:gd name="connsiteX2" fmla="*/ 817828 w 817828"/>
              <a:gd name="connsiteY2" fmla="*/ 514882 h 711466"/>
              <a:gd name="connsiteX3" fmla="*/ 621244 w 817828"/>
              <a:gd name="connsiteY3" fmla="*/ 711466 h 711466"/>
              <a:gd name="connsiteX4" fmla="*/ 0 w 817828"/>
              <a:gd name="connsiteY4" fmla="*/ 711466 h 711466"/>
              <a:gd name="connsiteX0" fmla="*/ 817828 w 817828"/>
              <a:gd name="connsiteY0" fmla="*/ 0 h 711466"/>
              <a:gd name="connsiteX1" fmla="*/ 815446 w 817828"/>
              <a:gd name="connsiteY1" fmla="*/ 270140 h 711466"/>
              <a:gd name="connsiteX2" fmla="*/ 817828 w 817828"/>
              <a:gd name="connsiteY2" fmla="*/ 514882 h 711466"/>
              <a:gd name="connsiteX3" fmla="*/ 621244 w 817828"/>
              <a:gd name="connsiteY3" fmla="*/ 711466 h 711466"/>
              <a:gd name="connsiteX4" fmla="*/ 386821 w 817828"/>
              <a:gd name="connsiteY4" fmla="*/ 708290 h 711466"/>
              <a:gd name="connsiteX5" fmla="*/ 0 w 817828"/>
              <a:gd name="connsiteY5" fmla="*/ 711466 h 711466"/>
              <a:gd name="connsiteX0" fmla="*/ 431007 w 431007"/>
              <a:gd name="connsiteY0" fmla="*/ 0 h 711466"/>
              <a:gd name="connsiteX1" fmla="*/ 428625 w 431007"/>
              <a:gd name="connsiteY1" fmla="*/ 270140 h 711466"/>
              <a:gd name="connsiteX2" fmla="*/ 431007 w 431007"/>
              <a:gd name="connsiteY2" fmla="*/ 514882 h 711466"/>
              <a:gd name="connsiteX3" fmla="*/ 234423 w 431007"/>
              <a:gd name="connsiteY3" fmla="*/ 711466 h 711466"/>
              <a:gd name="connsiteX4" fmla="*/ 0 w 431007"/>
              <a:gd name="connsiteY4" fmla="*/ 708290 h 711466"/>
              <a:gd name="connsiteX0" fmla="*/ 428625 w 431007"/>
              <a:gd name="connsiteY0" fmla="*/ 0 h 441326"/>
              <a:gd name="connsiteX1" fmla="*/ 431007 w 431007"/>
              <a:gd name="connsiteY1" fmla="*/ 244742 h 441326"/>
              <a:gd name="connsiteX2" fmla="*/ 234423 w 431007"/>
              <a:gd name="connsiteY2" fmla="*/ 441326 h 441326"/>
              <a:gd name="connsiteX3" fmla="*/ 0 w 431007"/>
              <a:gd name="connsiteY3" fmla="*/ 438150 h 441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007" h="441326">
                <a:moveTo>
                  <a:pt x="428625" y="0"/>
                </a:moveTo>
                <a:lnTo>
                  <a:pt x="431007" y="244742"/>
                </a:lnTo>
                <a:cubicBezTo>
                  <a:pt x="431007" y="353312"/>
                  <a:pt x="342993" y="441326"/>
                  <a:pt x="234423" y="441326"/>
                </a:cubicBezTo>
                <a:lnTo>
                  <a:pt x="0" y="438150"/>
                </a:lnTo>
              </a:path>
            </a:pathLst>
          </a:custGeom>
          <a:noFill/>
          <a:ln w="15875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  <a:alpha val="0"/>
                  </a:schemeClr>
                </a:solidFill>
              </a:defRPr>
            </a:lvl1pPr>
          </a:lstStyle>
          <a:p>
            <a:pPr lvl="0"/>
            <a:endParaRPr lang="nl-NL" noProof="0"/>
          </a:p>
        </p:txBody>
      </p:sp>
      <p:grpSp>
        <p:nvGrpSpPr>
          <p:cNvPr id="193" name="Groep 258">
            <a:extLst>
              <a:ext uri="{FF2B5EF4-FFF2-40B4-BE49-F238E27FC236}">
                <a16:creationId xmlns:a16="http://schemas.microsoft.com/office/drawing/2014/main" id="{2971AD4F-366B-4E40-BA05-1CB448D5BAD2}"/>
              </a:ext>
            </a:extLst>
          </p:cNvPr>
          <p:cNvGrpSpPr/>
          <p:nvPr userDrawn="1"/>
        </p:nvGrpSpPr>
        <p:grpSpPr>
          <a:xfrm>
            <a:off x="43467416" y="5"/>
            <a:ext cx="11167745" cy="23084356"/>
            <a:chOff x="12391601" y="0"/>
            <a:chExt cx="3183678" cy="5229113"/>
          </a:xfrm>
        </p:grpSpPr>
        <p:grpSp>
          <p:nvGrpSpPr>
            <p:cNvPr id="194" name="Meer informatie">
              <a:extLst>
                <a:ext uri="{FF2B5EF4-FFF2-40B4-BE49-F238E27FC236}">
                  <a16:creationId xmlns:a16="http://schemas.microsoft.com/office/drawing/2014/main" id="{286982BD-B312-4566-B12B-4B05D60B1164}"/>
                </a:ext>
              </a:extLst>
            </p:cNvPr>
            <p:cNvGrpSpPr/>
            <p:nvPr userDrawn="1"/>
          </p:nvGrpSpPr>
          <p:grpSpPr>
            <a:xfrm>
              <a:off x="12396764" y="4445840"/>
              <a:ext cx="3178515" cy="783273"/>
              <a:chOff x="-3741486" y="3386444"/>
              <a:chExt cx="3178515" cy="783273"/>
            </a:xfrm>
          </p:grpSpPr>
          <p:sp>
            <p:nvSpPr>
              <p:cNvPr id="371" name="Freeform 101">
                <a:extLst>
                  <a:ext uri="{FF2B5EF4-FFF2-40B4-BE49-F238E27FC236}">
                    <a16:creationId xmlns:a16="http://schemas.microsoft.com/office/drawing/2014/main" id="{E03F5211-188C-494D-8C4C-95E416330DB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372" name="Rechthoek 306">
                <a:extLst>
                  <a:ext uri="{FF2B5EF4-FFF2-40B4-BE49-F238E27FC236}">
                    <a16:creationId xmlns:a16="http://schemas.microsoft.com/office/drawing/2014/main" id="{BD649D4E-7FB1-487B-8105-9D807B7DF153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73" name="Rechte verbindingslijn 307">
                <a:extLst>
                  <a:ext uri="{FF2B5EF4-FFF2-40B4-BE49-F238E27FC236}">
                    <a16:creationId xmlns:a16="http://schemas.microsoft.com/office/drawing/2014/main" id="{DCC2BC89-C4EC-444F-93D5-020B9E7B0B3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95" name="Rechthoek 260">
              <a:extLst>
                <a:ext uri="{FF2B5EF4-FFF2-40B4-BE49-F238E27FC236}">
                  <a16:creationId xmlns:a16="http://schemas.microsoft.com/office/drawing/2014/main" id="{50E1DC5C-266F-4743-9170-86B38D99F2E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277" name="Ovaal 261">
              <a:extLst>
                <a:ext uri="{FF2B5EF4-FFF2-40B4-BE49-F238E27FC236}">
                  <a16:creationId xmlns:a16="http://schemas.microsoft.com/office/drawing/2014/main" id="{A01D54F2-DAC8-4816-9D68-887D9FE1AE1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78" name="Rechte verbindingslijn 262">
              <a:extLst>
                <a:ext uri="{FF2B5EF4-FFF2-40B4-BE49-F238E27FC236}">
                  <a16:creationId xmlns:a16="http://schemas.microsoft.com/office/drawing/2014/main" id="{8F418CE3-621E-4ECF-AE67-042214F1EC0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79" name="Rechte verbindingslijn 263">
              <a:extLst>
                <a:ext uri="{FF2B5EF4-FFF2-40B4-BE49-F238E27FC236}">
                  <a16:creationId xmlns:a16="http://schemas.microsoft.com/office/drawing/2014/main" id="{4F2B94E1-BCBB-4F26-B68B-FDC99A3D8F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80" name="Rechthoek 264">
              <a:extLst>
                <a:ext uri="{FF2B5EF4-FFF2-40B4-BE49-F238E27FC236}">
                  <a16:creationId xmlns:a16="http://schemas.microsoft.com/office/drawing/2014/main" id="{5C602C05-284A-457E-8980-51DB058DA74C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oor deze te selecteren en op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om een nieuwe afbeelding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281" name="Rechte verbindingslijn 265">
              <a:extLst>
                <a:ext uri="{FF2B5EF4-FFF2-40B4-BE49-F238E27FC236}">
                  <a16:creationId xmlns:a16="http://schemas.microsoft.com/office/drawing/2014/main" id="{CB2DA5FE-3E02-423D-8E15-CF9E1AB792A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4327957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82" name="Ovaal 266">
              <a:extLst>
                <a:ext uri="{FF2B5EF4-FFF2-40B4-BE49-F238E27FC236}">
                  <a16:creationId xmlns:a16="http://schemas.microsoft.com/office/drawing/2014/main" id="{DD258FEB-69EA-450B-A536-66359AE5247F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83" name="Rechthoek 267">
              <a:extLst>
                <a:ext uri="{FF2B5EF4-FFF2-40B4-BE49-F238E27FC236}">
                  <a16:creationId xmlns:a16="http://schemas.microsoft.com/office/drawing/2014/main" id="{1F0BE5B5-69E3-49A5-8113-C729874E26CF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84" name="Groep 268">
              <a:extLst>
                <a:ext uri="{FF2B5EF4-FFF2-40B4-BE49-F238E27FC236}">
                  <a16:creationId xmlns:a16="http://schemas.microsoft.com/office/drawing/2014/main" id="{F6230B4F-5457-4651-AEE1-F9754FF76FF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8" name="Rechthoek 302">
                <a:extLst>
                  <a:ext uri="{FF2B5EF4-FFF2-40B4-BE49-F238E27FC236}">
                    <a16:creationId xmlns:a16="http://schemas.microsoft.com/office/drawing/2014/main" id="{22B3D1F6-F60F-4EB2-ADF0-38C2A3D0C83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369" name="Rechte verbindingslijn 303">
                <a:extLst>
                  <a:ext uri="{FF2B5EF4-FFF2-40B4-BE49-F238E27FC236}">
                    <a16:creationId xmlns:a16="http://schemas.microsoft.com/office/drawing/2014/main" id="{2840ADCD-96B7-44F3-B757-104951BD229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0" name="Gelijkbenige driehoek 304">
                <a:extLst>
                  <a:ext uri="{FF2B5EF4-FFF2-40B4-BE49-F238E27FC236}">
                    <a16:creationId xmlns:a16="http://schemas.microsoft.com/office/drawing/2014/main" id="{C4D1AE4C-38A2-4780-A253-460B2402CBC9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285" name="Groep 269">
              <a:extLst>
                <a:ext uri="{FF2B5EF4-FFF2-40B4-BE49-F238E27FC236}">
                  <a16:creationId xmlns:a16="http://schemas.microsoft.com/office/drawing/2014/main" id="{EE8F6AE5-0422-43EF-877C-37DE7B8883EB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362" name="Rechthoek 296">
                <a:extLst>
                  <a:ext uri="{FF2B5EF4-FFF2-40B4-BE49-F238E27FC236}">
                    <a16:creationId xmlns:a16="http://schemas.microsoft.com/office/drawing/2014/main" id="{571F1463-BB84-492B-889F-C00776B46D26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3" name="Ovaal 297">
                <a:extLst>
                  <a:ext uri="{FF2B5EF4-FFF2-40B4-BE49-F238E27FC236}">
                    <a16:creationId xmlns:a16="http://schemas.microsoft.com/office/drawing/2014/main" id="{6129ECE2-57A2-435D-A4EE-0EEE354F5426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Vrije vorm: vorm 298">
                <a:extLst>
                  <a:ext uri="{FF2B5EF4-FFF2-40B4-BE49-F238E27FC236}">
                    <a16:creationId xmlns:a16="http://schemas.microsoft.com/office/drawing/2014/main" id="{BB9BEEC9-1D96-4E9A-BE22-AA17726B27E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5" name="Rechthoek: afgeronde hoeken 299">
                <a:extLst>
                  <a:ext uri="{FF2B5EF4-FFF2-40B4-BE49-F238E27FC236}">
                    <a16:creationId xmlns:a16="http://schemas.microsoft.com/office/drawing/2014/main" id="{AD6D05A4-F59F-4D21-883D-EF7056DF02F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6" name="Rechte verbindingslijn 300">
                <a:extLst>
                  <a:ext uri="{FF2B5EF4-FFF2-40B4-BE49-F238E27FC236}">
                    <a16:creationId xmlns:a16="http://schemas.microsoft.com/office/drawing/2014/main" id="{F1C839E8-D756-44F4-B793-0E8FF1C8795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7" name="Rechte verbindingslijn 301">
                <a:extLst>
                  <a:ext uri="{FF2B5EF4-FFF2-40B4-BE49-F238E27FC236}">
                    <a16:creationId xmlns:a16="http://schemas.microsoft.com/office/drawing/2014/main" id="{30FE9343-0C7B-4465-A4DC-DC54D21AD6C2}"/>
                  </a:ext>
                </a:extLst>
              </p:cNvPr>
              <p:cNvCxnSpPr>
                <a:cxnSpLocks/>
                <a:stCxn id="365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286" name="Ovaal 270">
              <a:extLst>
                <a:ext uri="{FF2B5EF4-FFF2-40B4-BE49-F238E27FC236}">
                  <a16:creationId xmlns:a16="http://schemas.microsoft.com/office/drawing/2014/main" id="{7AE386D5-78FB-4B79-8BE7-23312AE41E2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87" name="Rechthoek 271">
              <a:extLst>
                <a:ext uri="{FF2B5EF4-FFF2-40B4-BE49-F238E27FC236}">
                  <a16:creationId xmlns:a16="http://schemas.microsoft.com/office/drawing/2014/main" id="{3038A79B-91FF-4661-911E-D680E9CC8213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43320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aan de linker kant van het scherm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288" name="Rechte verbindingslijn 272">
              <a:extLst>
                <a:ext uri="{FF2B5EF4-FFF2-40B4-BE49-F238E27FC236}">
                  <a16:creationId xmlns:a16="http://schemas.microsoft.com/office/drawing/2014/main" id="{D0B59C2B-E3E3-49E2-BFCA-BB09B27EC74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89" name="Rechthoek 273">
              <a:extLst>
                <a:ext uri="{FF2B5EF4-FFF2-40B4-BE49-F238E27FC236}">
                  <a16:creationId xmlns:a16="http://schemas.microsoft.com/office/drawing/2014/main" id="{C3D70EB3-E91D-448C-8B3A-FFA5FDDA4D06}"/>
                </a:ext>
              </a:extLst>
            </p:cNvPr>
            <p:cNvSpPr/>
            <p:nvPr userDrawn="1"/>
          </p:nvSpPr>
          <p:spPr>
            <a:xfrm>
              <a:off x="12654153" y="3238910"/>
              <a:ext cx="1624926" cy="805220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3509" b="0" i="1" noProof="0">
                <a:solidFill>
                  <a:schemeClr val="tx1"/>
                </a:solidFill>
              </a:endParaRPr>
            </a:p>
          </p:txBody>
        </p:sp>
        <p:grpSp>
          <p:nvGrpSpPr>
            <p:cNvPr id="290" name="Groep 274">
              <a:extLst>
                <a:ext uri="{FF2B5EF4-FFF2-40B4-BE49-F238E27FC236}">
                  <a16:creationId xmlns:a16="http://schemas.microsoft.com/office/drawing/2014/main" id="{B1F56C95-C493-4744-8D1A-DAFF50412708}"/>
                </a:ext>
              </a:extLst>
            </p:cNvPr>
            <p:cNvGrpSpPr/>
            <p:nvPr userDrawn="1"/>
          </p:nvGrpSpPr>
          <p:grpSpPr>
            <a:xfrm>
              <a:off x="13614067" y="3535184"/>
              <a:ext cx="1195438" cy="678267"/>
              <a:chOff x="12757284" y="3224292"/>
              <a:chExt cx="1195438" cy="678267"/>
            </a:xfrm>
          </p:grpSpPr>
          <p:sp>
            <p:nvSpPr>
              <p:cNvPr id="291" name="Rechthoek 275">
                <a:extLst>
                  <a:ext uri="{FF2B5EF4-FFF2-40B4-BE49-F238E27FC236}">
                    <a16:creationId xmlns:a16="http://schemas.microsoft.com/office/drawing/2014/main" id="{4E864FC8-874C-4730-9704-A3AF76325A16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92" name="Rechthoek 276">
                <a:extLst>
                  <a:ext uri="{FF2B5EF4-FFF2-40B4-BE49-F238E27FC236}">
                    <a16:creationId xmlns:a16="http://schemas.microsoft.com/office/drawing/2014/main" id="{C6701BA7-565F-4F08-A268-29BF69F5694E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93" name="Groep 277">
                <a:extLst>
                  <a:ext uri="{FF2B5EF4-FFF2-40B4-BE49-F238E27FC236}">
                    <a16:creationId xmlns:a16="http://schemas.microsoft.com/office/drawing/2014/main" id="{F837D2C2-C090-4859-A59E-617962948D87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306" name="Rechthoek: afgeronde hoeken 290">
                  <a:extLst>
                    <a:ext uri="{FF2B5EF4-FFF2-40B4-BE49-F238E27FC236}">
                      <a16:creationId xmlns:a16="http://schemas.microsoft.com/office/drawing/2014/main" id="{0F9DB7E2-00A2-4A86-BB1F-048032508F6E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endPara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07" name="Rechthoek 291">
                  <a:extLst>
                    <a:ext uri="{FF2B5EF4-FFF2-40B4-BE49-F238E27FC236}">
                      <a16:creationId xmlns:a16="http://schemas.microsoft.com/office/drawing/2014/main" id="{4D0B0408-546F-4C2B-A4BB-C883B2334917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8" name="Rechthoek 292">
                  <a:extLst>
                    <a:ext uri="{FF2B5EF4-FFF2-40B4-BE49-F238E27FC236}">
                      <a16:creationId xmlns:a16="http://schemas.microsoft.com/office/drawing/2014/main" id="{36F539AC-96C5-49A3-B6FE-8A1258D12269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9" name="Rechthoek 293">
                  <a:extLst>
                    <a:ext uri="{FF2B5EF4-FFF2-40B4-BE49-F238E27FC236}">
                      <a16:creationId xmlns:a16="http://schemas.microsoft.com/office/drawing/2014/main" id="{F73F991C-6652-423A-96E4-42F900271BEF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10" name="Rechthoek 294">
                  <a:extLst>
                    <a:ext uri="{FF2B5EF4-FFF2-40B4-BE49-F238E27FC236}">
                      <a16:creationId xmlns:a16="http://schemas.microsoft.com/office/drawing/2014/main" id="{7EA8C298-6998-4F78-BE30-C940D037066C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11" name="Rechthoek 295">
                  <a:extLst>
                    <a:ext uri="{FF2B5EF4-FFF2-40B4-BE49-F238E27FC236}">
                      <a16:creationId xmlns:a16="http://schemas.microsoft.com/office/drawing/2014/main" id="{324B9107-8BE1-47B3-B86A-8023966A2B46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294" name="Groep 278">
                <a:extLst>
                  <a:ext uri="{FF2B5EF4-FFF2-40B4-BE49-F238E27FC236}">
                    <a16:creationId xmlns:a16="http://schemas.microsoft.com/office/drawing/2014/main" id="{7686BF6E-68E7-49C3-B1EA-499D30BC896C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298" name="Groep 282">
                  <a:extLst>
                    <a:ext uri="{FF2B5EF4-FFF2-40B4-BE49-F238E27FC236}">
                      <a16:creationId xmlns:a16="http://schemas.microsoft.com/office/drawing/2014/main" id="{3FC7067E-8D0E-4554-A7C0-E8E8593E9CBB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300" name="Rechthoek: afgeronde hoeken 284">
                    <a:extLst>
                      <a:ext uri="{FF2B5EF4-FFF2-40B4-BE49-F238E27FC236}">
                        <a16:creationId xmlns:a16="http://schemas.microsoft.com/office/drawing/2014/main" id="{2E32EFA6-6837-48D7-AB71-A58701D1D06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2105"/>
                      </a:spcBef>
                      <a:spcAft>
                        <a:spcPts val="2105"/>
                      </a:spcAft>
                    </a:pPr>
                    <a:endParaRPr lang="nl-NL" sz="280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301" name="Rechthoek 285">
                    <a:extLst>
                      <a:ext uri="{FF2B5EF4-FFF2-40B4-BE49-F238E27FC236}">
                        <a16:creationId xmlns:a16="http://schemas.microsoft.com/office/drawing/2014/main" id="{7201A464-F0A0-4EA2-8AA2-0FFF8952362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2" name="Rechthoek 286">
                    <a:extLst>
                      <a:ext uri="{FF2B5EF4-FFF2-40B4-BE49-F238E27FC236}">
                        <a16:creationId xmlns:a16="http://schemas.microsoft.com/office/drawing/2014/main" id="{F998DE25-860D-4486-842F-3CCB9BF46FA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3" name="Rechthoek 287">
                    <a:extLst>
                      <a:ext uri="{FF2B5EF4-FFF2-40B4-BE49-F238E27FC236}">
                        <a16:creationId xmlns:a16="http://schemas.microsoft.com/office/drawing/2014/main" id="{4E557AA1-1712-4FF2-A967-290C22B78C4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4" name="Rechthoek 288">
                    <a:extLst>
                      <a:ext uri="{FF2B5EF4-FFF2-40B4-BE49-F238E27FC236}">
                        <a16:creationId xmlns:a16="http://schemas.microsoft.com/office/drawing/2014/main" id="{D61A6982-10BC-4B01-8394-2B23781F985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5" name="Rechthoek 289">
                    <a:extLst>
                      <a:ext uri="{FF2B5EF4-FFF2-40B4-BE49-F238E27FC236}">
                        <a16:creationId xmlns:a16="http://schemas.microsoft.com/office/drawing/2014/main" id="{8FD3E83F-7748-44E3-A281-C85532C4FB9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299" name="Boog 283">
                  <a:extLst>
                    <a:ext uri="{FF2B5EF4-FFF2-40B4-BE49-F238E27FC236}">
                      <a16:creationId xmlns:a16="http://schemas.microsoft.com/office/drawing/2014/main" id="{A30AAC2F-0F76-42C7-A015-C0DB4F80FBAA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</p:grpSp>
          <p:sp>
            <p:nvSpPr>
              <p:cNvPr id="295" name="Tekstvak 279">
                <a:extLst>
                  <a:ext uri="{FF2B5EF4-FFF2-40B4-BE49-F238E27FC236}">
                    <a16:creationId xmlns:a16="http://schemas.microsoft.com/office/drawing/2014/main" id="{6FFCC4B5-9E92-49E9-9961-E4A1A8AAC380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296" name="Tekstvak 280">
                <a:extLst>
                  <a:ext uri="{FF2B5EF4-FFF2-40B4-BE49-F238E27FC236}">
                    <a16:creationId xmlns:a16="http://schemas.microsoft.com/office/drawing/2014/main" id="{1354E724-79E1-473B-A1AC-31E67C55E4B8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297" name="Picture 3">
                <a:extLst>
                  <a:ext uri="{FF2B5EF4-FFF2-40B4-BE49-F238E27FC236}">
                    <a16:creationId xmlns:a16="http://schemas.microsoft.com/office/drawing/2014/main" id="{67B72367-B811-4518-935A-790E55536DD6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810206" y="3671228"/>
                <a:ext cx="14251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grpSp>
        <p:nvGrpSpPr>
          <p:cNvPr id="143" name="Groep 101">
            <a:extLst>
              <a:ext uri="{FF2B5EF4-FFF2-40B4-BE49-F238E27FC236}">
                <a16:creationId xmlns:a16="http://schemas.microsoft.com/office/drawing/2014/main" id="{47CB4194-5173-468E-A122-789407343460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144" name="Rechthoek 102">
              <a:extLst>
                <a:ext uri="{FF2B5EF4-FFF2-40B4-BE49-F238E27FC236}">
                  <a16:creationId xmlns:a16="http://schemas.microsoft.com/office/drawing/2014/main" id="{7526EC12-1432-4121-8A0A-15C09256EC3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145" name="Ovaal 103">
              <a:extLst>
                <a:ext uri="{FF2B5EF4-FFF2-40B4-BE49-F238E27FC236}">
                  <a16:creationId xmlns:a16="http://schemas.microsoft.com/office/drawing/2014/main" id="{1142519C-4D88-4F7E-B22F-3DB38A9EB6E8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6" name="Rechte verbindingslijn 104">
              <a:extLst>
                <a:ext uri="{FF2B5EF4-FFF2-40B4-BE49-F238E27FC236}">
                  <a16:creationId xmlns:a16="http://schemas.microsoft.com/office/drawing/2014/main" id="{BB90E575-E4F2-49A2-9788-21DEC5F6A18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47" name="Groep 105">
              <a:extLst>
                <a:ext uri="{FF2B5EF4-FFF2-40B4-BE49-F238E27FC236}">
                  <a16:creationId xmlns:a16="http://schemas.microsoft.com/office/drawing/2014/main" id="{8086BD83-065C-4B46-9118-111D75A9CD54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72" name="Rechthoek 130">
                <a:extLst>
                  <a:ext uri="{FF2B5EF4-FFF2-40B4-BE49-F238E27FC236}">
                    <a16:creationId xmlns:a16="http://schemas.microsoft.com/office/drawing/2014/main" id="{2CC40364-CCA8-4909-A89F-AFB068E73802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173" name="Rechte verbindingslijn 131">
                <a:extLst>
                  <a:ext uri="{FF2B5EF4-FFF2-40B4-BE49-F238E27FC236}">
                    <a16:creationId xmlns:a16="http://schemas.microsoft.com/office/drawing/2014/main" id="{58E40CA8-9E34-4258-9E9E-7C5A3497691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Rechte verbindingslijn 132">
                <a:extLst>
                  <a:ext uri="{FF2B5EF4-FFF2-40B4-BE49-F238E27FC236}">
                    <a16:creationId xmlns:a16="http://schemas.microsoft.com/office/drawing/2014/main" id="{91E3B00F-D7FE-4FBD-A2A4-A55A6356596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5" name="Rechthoek 133">
                <a:extLst>
                  <a:ext uri="{FF2B5EF4-FFF2-40B4-BE49-F238E27FC236}">
                    <a16:creationId xmlns:a16="http://schemas.microsoft.com/office/drawing/2014/main" id="{266C5721-EA7A-49E2-8BC3-28586E44FB07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6" name="Groep 134">
                <a:extLst>
                  <a:ext uri="{FF2B5EF4-FFF2-40B4-BE49-F238E27FC236}">
                    <a16:creationId xmlns:a16="http://schemas.microsoft.com/office/drawing/2014/main" id="{8232EF18-7C94-4C65-A6F3-99310ECE4E54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18" name="Groep 175">
                  <a:extLst>
                    <a:ext uri="{FF2B5EF4-FFF2-40B4-BE49-F238E27FC236}">
                      <a16:creationId xmlns:a16="http://schemas.microsoft.com/office/drawing/2014/main" id="{F9F171ED-5786-4227-8780-5ECDB522A521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22" name="Rechte verbindingslijn 179">
                    <a:extLst>
                      <a:ext uri="{FF2B5EF4-FFF2-40B4-BE49-F238E27FC236}">
                        <a16:creationId xmlns:a16="http://schemas.microsoft.com/office/drawing/2014/main" id="{3FCD3111-2C94-474F-86BB-B8E963ADAAC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180">
                    <a:extLst>
                      <a:ext uri="{FF2B5EF4-FFF2-40B4-BE49-F238E27FC236}">
                        <a16:creationId xmlns:a16="http://schemas.microsoft.com/office/drawing/2014/main" id="{6615A7D3-E532-4EA1-9470-4578AF031E3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181">
                    <a:extLst>
                      <a:ext uri="{FF2B5EF4-FFF2-40B4-BE49-F238E27FC236}">
                        <a16:creationId xmlns:a16="http://schemas.microsoft.com/office/drawing/2014/main" id="{3AD09CA9-1F8B-4BBE-9E6B-5B55E2CEDC1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182">
                    <a:extLst>
                      <a:ext uri="{FF2B5EF4-FFF2-40B4-BE49-F238E27FC236}">
                        <a16:creationId xmlns:a16="http://schemas.microsoft.com/office/drawing/2014/main" id="{0B780755-3DBA-415B-A0BA-B5E2F31BAE3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183">
                    <a:extLst>
                      <a:ext uri="{FF2B5EF4-FFF2-40B4-BE49-F238E27FC236}">
                        <a16:creationId xmlns:a16="http://schemas.microsoft.com/office/drawing/2014/main" id="{CB22B8AA-DDF8-43D8-B822-3010C5EAE8C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176">
                  <a:extLst>
                    <a:ext uri="{FF2B5EF4-FFF2-40B4-BE49-F238E27FC236}">
                      <a16:creationId xmlns:a16="http://schemas.microsoft.com/office/drawing/2014/main" id="{26099D74-B28E-487B-8C9E-B5391E5FA5EF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177">
                    <a:extLst>
                      <a:ext uri="{FF2B5EF4-FFF2-40B4-BE49-F238E27FC236}">
                        <a16:creationId xmlns:a16="http://schemas.microsoft.com/office/drawing/2014/main" id="{74045800-A7E4-4800-B832-E38D0FF2BBB1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1" name="Pijl: punthaak 178">
                    <a:extLst>
                      <a:ext uri="{FF2B5EF4-FFF2-40B4-BE49-F238E27FC236}">
                        <a16:creationId xmlns:a16="http://schemas.microsoft.com/office/drawing/2014/main" id="{4C84ED2F-CCA7-4DDA-A192-694035B70E1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7" name="Groep 135">
                <a:extLst>
                  <a:ext uri="{FF2B5EF4-FFF2-40B4-BE49-F238E27FC236}">
                    <a16:creationId xmlns:a16="http://schemas.microsoft.com/office/drawing/2014/main" id="{8E2B5D0D-8AFF-48B9-B4CD-011D8DFE28A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9" name="Groep 166">
                  <a:extLst>
                    <a:ext uri="{FF2B5EF4-FFF2-40B4-BE49-F238E27FC236}">
                      <a16:creationId xmlns:a16="http://schemas.microsoft.com/office/drawing/2014/main" id="{370A416A-4921-40B7-91F1-F83D5C0A8588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13" name="Rechte verbindingslijn 170">
                    <a:extLst>
                      <a:ext uri="{FF2B5EF4-FFF2-40B4-BE49-F238E27FC236}">
                        <a16:creationId xmlns:a16="http://schemas.microsoft.com/office/drawing/2014/main" id="{6F98FE2A-DBA0-4097-87CA-4A709E48D5F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4" name="Rechte verbindingslijn 171">
                    <a:extLst>
                      <a:ext uri="{FF2B5EF4-FFF2-40B4-BE49-F238E27FC236}">
                        <a16:creationId xmlns:a16="http://schemas.microsoft.com/office/drawing/2014/main" id="{DD92E75E-44EA-4554-BC1A-BA1B0E487E9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5" name="Rechte verbindingslijn 172">
                    <a:extLst>
                      <a:ext uri="{FF2B5EF4-FFF2-40B4-BE49-F238E27FC236}">
                        <a16:creationId xmlns:a16="http://schemas.microsoft.com/office/drawing/2014/main" id="{728DEDFB-98D4-496F-8DB5-E116C7F6FA4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6" name="Rechte verbindingslijn 173">
                    <a:extLst>
                      <a:ext uri="{FF2B5EF4-FFF2-40B4-BE49-F238E27FC236}">
                        <a16:creationId xmlns:a16="http://schemas.microsoft.com/office/drawing/2014/main" id="{7F621123-FEB4-4E20-84FF-A3B35D89395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7" name="Rechte verbindingslijn 174">
                    <a:extLst>
                      <a:ext uri="{FF2B5EF4-FFF2-40B4-BE49-F238E27FC236}">
                        <a16:creationId xmlns:a16="http://schemas.microsoft.com/office/drawing/2014/main" id="{B1FE9D5D-BB1D-41A4-B0F4-7C350A8E617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0" name="Groep 167">
                  <a:extLst>
                    <a:ext uri="{FF2B5EF4-FFF2-40B4-BE49-F238E27FC236}">
                      <a16:creationId xmlns:a16="http://schemas.microsoft.com/office/drawing/2014/main" id="{ADA822AE-1A83-4567-822C-D1AB5826C177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11" name="Rechthoek 168">
                    <a:extLst>
                      <a:ext uri="{FF2B5EF4-FFF2-40B4-BE49-F238E27FC236}">
                        <a16:creationId xmlns:a16="http://schemas.microsoft.com/office/drawing/2014/main" id="{E1A1B1F9-B377-4F1A-8482-972BC132C66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2" name="Pijl: punthaak 169">
                    <a:extLst>
                      <a:ext uri="{FF2B5EF4-FFF2-40B4-BE49-F238E27FC236}">
                        <a16:creationId xmlns:a16="http://schemas.microsoft.com/office/drawing/2014/main" id="{BB744F2D-AE1A-4FB1-8534-D14D3121F4F1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8" name="Rechte verbindingslijn 136">
                <a:extLst>
                  <a:ext uri="{FF2B5EF4-FFF2-40B4-BE49-F238E27FC236}">
                    <a16:creationId xmlns:a16="http://schemas.microsoft.com/office/drawing/2014/main" id="{12DA91C2-769F-4D99-939A-8F36BA942D8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9" name="Rechte verbindingslijn 137">
                <a:extLst>
                  <a:ext uri="{FF2B5EF4-FFF2-40B4-BE49-F238E27FC236}">
                    <a16:creationId xmlns:a16="http://schemas.microsoft.com/office/drawing/2014/main" id="{706D3FDB-7ADA-40DF-8174-478847061D8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80" name="Groep 138">
                <a:extLst>
                  <a:ext uri="{FF2B5EF4-FFF2-40B4-BE49-F238E27FC236}">
                    <a16:creationId xmlns:a16="http://schemas.microsoft.com/office/drawing/2014/main" id="{4423A69A-8F35-428F-A283-8FD2652570BB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8" name="Rechthoek 155">
                  <a:extLst>
                    <a:ext uri="{FF2B5EF4-FFF2-40B4-BE49-F238E27FC236}">
                      <a16:creationId xmlns:a16="http://schemas.microsoft.com/office/drawing/2014/main" id="{EE45D136-EF41-4B80-932F-752AF802DEB3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9" name="Groep 156">
                  <a:extLst>
                    <a:ext uri="{FF2B5EF4-FFF2-40B4-BE49-F238E27FC236}">
                      <a16:creationId xmlns:a16="http://schemas.microsoft.com/office/drawing/2014/main" id="{CB97E053-6FAF-4325-A1C4-E10799B8D42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0" name="Groep 157">
                    <a:extLst>
                      <a:ext uri="{FF2B5EF4-FFF2-40B4-BE49-F238E27FC236}">
                        <a16:creationId xmlns:a16="http://schemas.microsoft.com/office/drawing/2014/main" id="{B924C37B-DDF7-45DF-80A4-CCB22B105A5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04" name="Rechte verbindingslijn 161">
                      <a:extLst>
                        <a:ext uri="{FF2B5EF4-FFF2-40B4-BE49-F238E27FC236}">
                          <a16:creationId xmlns:a16="http://schemas.microsoft.com/office/drawing/2014/main" id="{6585FB54-F4A0-41BF-B0CE-E7CC317AC6C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162">
                      <a:extLst>
                        <a:ext uri="{FF2B5EF4-FFF2-40B4-BE49-F238E27FC236}">
                          <a16:creationId xmlns:a16="http://schemas.microsoft.com/office/drawing/2014/main" id="{BC13B9DA-DE40-4745-B878-48FB34BA513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163">
                      <a:extLst>
                        <a:ext uri="{FF2B5EF4-FFF2-40B4-BE49-F238E27FC236}">
                          <a16:creationId xmlns:a16="http://schemas.microsoft.com/office/drawing/2014/main" id="{3CFFA4AA-2B83-4240-82DC-2F59C35D1A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7" name="Rechte verbindingslijn 164">
                      <a:extLst>
                        <a:ext uri="{FF2B5EF4-FFF2-40B4-BE49-F238E27FC236}">
                          <a16:creationId xmlns:a16="http://schemas.microsoft.com/office/drawing/2014/main" id="{D1643326-0AA8-423D-A027-E53A0EC942C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8" name="Rechte verbindingslijn 165">
                      <a:extLst>
                        <a:ext uri="{FF2B5EF4-FFF2-40B4-BE49-F238E27FC236}">
                          <a16:creationId xmlns:a16="http://schemas.microsoft.com/office/drawing/2014/main" id="{A19D1767-3EA8-48FB-B2DD-EB7A7E4376F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01" name="Groep 158">
                    <a:extLst>
                      <a:ext uri="{FF2B5EF4-FFF2-40B4-BE49-F238E27FC236}">
                        <a16:creationId xmlns:a16="http://schemas.microsoft.com/office/drawing/2014/main" id="{6A653AF7-20A6-4F5D-A1CF-7E7889C572D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2" name="Rechthoek 159">
                      <a:extLst>
                        <a:ext uri="{FF2B5EF4-FFF2-40B4-BE49-F238E27FC236}">
                          <a16:creationId xmlns:a16="http://schemas.microsoft.com/office/drawing/2014/main" id="{16E1C486-3B35-4714-8DA3-6E1CA06E5A1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3" name="Pijl: punthaak 160">
                      <a:extLst>
                        <a:ext uri="{FF2B5EF4-FFF2-40B4-BE49-F238E27FC236}">
                          <a16:creationId xmlns:a16="http://schemas.microsoft.com/office/drawing/2014/main" id="{C9A572C7-D8BD-40A9-BD77-C14179F5B46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81" name="Groep 139">
                <a:extLst>
                  <a:ext uri="{FF2B5EF4-FFF2-40B4-BE49-F238E27FC236}">
                    <a16:creationId xmlns:a16="http://schemas.microsoft.com/office/drawing/2014/main" id="{07491E33-4D1A-4825-843B-8C97CC3121A2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84" name="Rechthoek 142">
                  <a:extLst>
                    <a:ext uri="{FF2B5EF4-FFF2-40B4-BE49-F238E27FC236}">
                      <a16:creationId xmlns:a16="http://schemas.microsoft.com/office/drawing/2014/main" id="{0049DFFC-2D58-4E46-A764-184463979C4F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5" name="Groep 143">
                  <a:extLst>
                    <a:ext uri="{FF2B5EF4-FFF2-40B4-BE49-F238E27FC236}">
                      <a16:creationId xmlns:a16="http://schemas.microsoft.com/office/drawing/2014/main" id="{869765FA-7FA6-4A49-9FA3-B506969F1A3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6" name="Groep 144">
                    <a:extLst>
                      <a:ext uri="{FF2B5EF4-FFF2-40B4-BE49-F238E27FC236}">
                        <a16:creationId xmlns:a16="http://schemas.microsoft.com/office/drawing/2014/main" id="{21157C45-5328-43C2-BE64-07AD427B8C6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90" name="Rechte verbindingslijn 150">
                      <a:extLst>
                        <a:ext uri="{FF2B5EF4-FFF2-40B4-BE49-F238E27FC236}">
                          <a16:creationId xmlns:a16="http://schemas.microsoft.com/office/drawing/2014/main" id="{34E10DF4-33FA-4CAC-AF38-E9FE624CE74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1" name="Rechte verbindingslijn 151">
                      <a:extLst>
                        <a:ext uri="{FF2B5EF4-FFF2-40B4-BE49-F238E27FC236}">
                          <a16:creationId xmlns:a16="http://schemas.microsoft.com/office/drawing/2014/main" id="{ACBB9494-C05E-4B07-8047-7527AED9E39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2" name="Rechte verbindingslijn 152">
                      <a:extLst>
                        <a:ext uri="{FF2B5EF4-FFF2-40B4-BE49-F238E27FC236}">
                          <a16:creationId xmlns:a16="http://schemas.microsoft.com/office/drawing/2014/main" id="{F1B2964A-A6F8-474F-98E0-CFC487131C7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6" name="Rechte verbindingslijn 153">
                      <a:extLst>
                        <a:ext uri="{FF2B5EF4-FFF2-40B4-BE49-F238E27FC236}">
                          <a16:creationId xmlns:a16="http://schemas.microsoft.com/office/drawing/2014/main" id="{09EBA0F5-F4D1-4B6D-9554-64E3F7D1175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54">
                      <a:extLst>
                        <a:ext uri="{FF2B5EF4-FFF2-40B4-BE49-F238E27FC236}">
                          <a16:creationId xmlns:a16="http://schemas.microsoft.com/office/drawing/2014/main" id="{2C2926A1-7C8C-4BB6-90FD-433F4B3497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7" name="Groep 147">
                    <a:extLst>
                      <a:ext uri="{FF2B5EF4-FFF2-40B4-BE49-F238E27FC236}">
                        <a16:creationId xmlns:a16="http://schemas.microsoft.com/office/drawing/2014/main" id="{64230569-40E4-4157-B262-1D067D3CBBD6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8" name="Rechthoek 148">
                      <a:extLst>
                        <a:ext uri="{FF2B5EF4-FFF2-40B4-BE49-F238E27FC236}">
                          <a16:creationId xmlns:a16="http://schemas.microsoft.com/office/drawing/2014/main" id="{14513BC9-6C6D-4AFB-A408-7519FF4140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9" name="Pijl: punthaak 149">
                      <a:extLst>
                        <a:ext uri="{FF2B5EF4-FFF2-40B4-BE49-F238E27FC236}">
                          <a16:creationId xmlns:a16="http://schemas.microsoft.com/office/drawing/2014/main" id="{10C28501-2868-4383-BFBE-FD7CBBDC3820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82" name="Rechthoek 140">
                <a:extLst>
                  <a:ext uri="{FF2B5EF4-FFF2-40B4-BE49-F238E27FC236}">
                    <a16:creationId xmlns:a16="http://schemas.microsoft.com/office/drawing/2014/main" id="{21365C5A-0F97-40FA-BB38-95DDC6EF6A76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183" name="Rechthoek 141">
                <a:extLst>
                  <a:ext uri="{FF2B5EF4-FFF2-40B4-BE49-F238E27FC236}">
                    <a16:creationId xmlns:a16="http://schemas.microsoft.com/office/drawing/2014/main" id="{37837E00-DD2E-4AA0-A2CB-74BBA2A57F3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148" name="Rechte verbindingslijn 106">
              <a:extLst>
                <a:ext uri="{FF2B5EF4-FFF2-40B4-BE49-F238E27FC236}">
                  <a16:creationId xmlns:a16="http://schemas.microsoft.com/office/drawing/2014/main" id="{34E29B9B-7652-4990-83F8-4473D9C65AA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9" name="Rechthoek 107">
              <a:extLst>
                <a:ext uri="{FF2B5EF4-FFF2-40B4-BE49-F238E27FC236}">
                  <a16:creationId xmlns:a16="http://schemas.microsoft.com/office/drawing/2014/main" id="{89398ACB-B8C9-4D2A-A364-A80B12B157DF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150" name="Ovaal 108">
              <a:extLst>
                <a:ext uri="{FF2B5EF4-FFF2-40B4-BE49-F238E27FC236}">
                  <a16:creationId xmlns:a16="http://schemas.microsoft.com/office/drawing/2014/main" id="{BDE9CF40-3969-40F5-BB61-2CFFFB24C8A6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1" name="Rechthoek 109">
              <a:extLst>
                <a:ext uri="{FF2B5EF4-FFF2-40B4-BE49-F238E27FC236}">
                  <a16:creationId xmlns:a16="http://schemas.microsoft.com/office/drawing/2014/main" id="{10BCBFBD-DD59-4297-A87A-B3E73640C0B5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152" name="Ovaal 110">
              <a:extLst>
                <a:ext uri="{FF2B5EF4-FFF2-40B4-BE49-F238E27FC236}">
                  <a16:creationId xmlns:a16="http://schemas.microsoft.com/office/drawing/2014/main" id="{073BFF21-0359-4606-B732-D9C5945CFEE6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11">
              <a:extLst>
                <a:ext uri="{FF2B5EF4-FFF2-40B4-BE49-F238E27FC236}">
                  <a16:creationId xmlns:a16="http://schemas.microsoft.com/office/drawing/2014/main" id="{20B7250B-6593-4731-9E21-4829ACA97F6F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54" name="Ovaal 112">
              <a:extLst>
                <a:ext uri="{FF2B5EF4-FFF2-40B4-BE49-F238E27FC236}">
                  <a16:creationId xmlns:a16="http://schemas.microsoft.com/office/drawing/2014/main" id="{39129DF6-F3FB-4899-A7D4-5740B57D6D60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55" name="Rechthoek 113">
              <a:extLst>
                <a:ext uri="{FF2B5EF4-FFF2-40B4-BE49-F238E27FC236}">
                  <a16:creationId xmlns:a16="http://schemas.microsoft.com/office/drawing/2014/main" id="{3EDE12DB-AF9D-4A48-9115-641838745370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156" name="Ovaal 114">
              <a:extLst>
                <a:ext uri="{FF2B5EF4-FFF2-40B4-BE49-F238E27FC236}">
                  <a16:creationId xmlns:a16="http://schemas.microsoft.com/office/drawing/2014/main" id="{CA3E41B2-CBB5-4E61-994B-1655477F4792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57" name="Rechthoek 115">
              <a:extLst>
                <a:ext uri="{FF2B5EF4-FFF2-40B4-BE49-F238E27FC236}">
                  <a16:creationId xmlns:a16="http://schemas.microsoft.com/office/drawing/2014/main" id="{C243CA18-696C-4E9D-9415-E118247A3EFD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158" name="Rechte verbindingslijn 116">
              <a:extLst>
                <a:ext uri="{FF2B5EF4-FFF2-40B4-BE49-F238E27FC236}">
                  <a16:creationId xmlns:a16="http://schemas.microsoft.com/office/drawing/2014/main" id="{CCAF0C87-FF42-4E5E-B537-87ACB54C2A7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9" name="Meer informatie">
              <a:extLst>
                <a:ext uri="{FF2B5EF4-FFF2-40B4-BE49-F238E27FC236}">
                  <a16:creationId xmlns:a16="http://schemas.microsoft.com/office/drawing/2014/main" id="{D24260ED-0E94-42F9-B7B1-580768F08BF1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169" name="Freeform 101">
                <a:extLst>
                  <a:ext uri="{FF2B5EF4-FFF2-40B4-BE49-F238E27FC236}">
                    <a16:creationId xmlns:a16="http://schemas.microsoft.com/office/drawing/2014/main" id="{FD5154E9-FFA9-43E8-977E-51019192FEB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170" name="Rechthoek 128">
                <a:extLst>
                  <a:ext uri="{FF2B5EF4-FFF2-40B4-BE49-F238E27FC236}">
                    <a16:creationId xmlns:a16="http://schemas.microsoft.com/office/drawing/2014/main" id="{61AB07E5-3658-45F5-8C37-78EFA4D5C2F4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71" name="Rechte verbindingslijn 129">
                <a:extLst>
                  <a:ext uri="{FF2B5EF4-FFF2-40B4-BE49-F238E27FC236}">
                    <a16:creationId xmlns:a16="http://schemas.microsoft.com/office/drawing/2014/main" id="{1D7D7F5F-1FCC-4E83-92F8-C85353D6541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0" name="Rechthoek 118">
              <a:extLst>
                <a:ext uri="{FF2B5EF4-FFF2-40B4-BE49-F238E27FC236}">
                  <a16:creationId xmlns:a16="http://schemas.microsoft.com/office/drawing/2014/main" id="{CA33DCEA-B4B6-4802-8B31-DD18ACC8DA7B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161" name="Ovaal 119">
              <a:extLst>
                <a:ext uri="{FF2B5EF4-FFF2-40B4-BE49-F238E27FC236}">
                  <a16:creationId xmlns:a16="http://schemas.microsoft.com/office/drawing/2014/main" id="{930C8539-5B35-4905-82D8-44323D79DDBD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2" name="Rechthoek 120">
              <a:extLst>
                <a:ext uri="{FF2B5EF4-FFF2-40B4-BE49-F238E27FC236}">
                  <a16:creationId xmlns:a16="http://schemas.microsoft.com/office/drawing/2014/main" id="{628F65A6-C775-4FA0-8A88-6C1A45E476A2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63" name="Ovaal 121">
              <a:extLst>
                <a:ext uri="{FF2B5EF4-FFF2-40B4-BE49-F238E27FC236}">
                  <a16:creationId xmlns:a16="http://schemas.microsoft.com/office/drawing/2014/main" id="{60258EC1-FF6B-48F3-ABB0-8F6BDB4FF067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4" name="Rechthoek 122">
              <a:extLst>
                <a:ext uri="{FF2B5EF4-FFF2-40B4-BE49-F238E27FC236}">
                  <a16:creationId xmlns:a16="http://schemas.microsoft.com/office/drawing/2014/main" id="{A6FED3C7-8F3F-413F-8431-9D846CFB4E7E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165" name="Ovaal 123">
              <a:extLst>
                <a:ext uri="{FF2B5EF4-FFF2-40B4-BE49-F238E27FC236}">
                  <a16:creationId xmlns:a16="http://schemas.microsoft.com/office/drawing/2014/main" id="{5F2FC2CF-452C-4AA3-B06A-62C0671D625F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6" name="Rechthoek 124">
              <a:extLst>
                <a:ext uri="{FF2B5EF4-FFF2-40B4-BE49-F238E27FC236}">
                  <a16:creationId xmlns:a16="http://schemas.microsoft.com/office/drawing/2014/main" id="{27280BE1-45CF-401A-B8D3-0E8FCB828B85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67" name="Rechthoek 125">
              <a:extLst>
                <a:ext uri="{FF2B5EF4-FFF2-40B4-BE49-F238E27FC236}">
                  <a16:creationId xmlns:a16="http://schemas.microsoft.com/office/drawing/2014/main" id="{2A10BF97-CCA1-4BBA-8718-37635ACAF9A0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168" name="Ovaal 126">
              <a:extLst>
                <a:ext uri="{FF2B5EF4-FFF2-40B4-BE49-F238E27FC236}">
                  <a16:creationId xmlns:a16="http://schemas.microsoft.com/office/drawing/2014/main" id="{2E20D8F4-98C5-46DB-90AC-E5439F1606C1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  <p:pic>
        <p:nvPicPr>
          <p:cNvPr id="228" name="Afbeelding 227">
            <a:extLst>
              <a:ext uri="{FF2B5EF4-FFF2-40B4-BE49-F238E27FC236}">
                <a16:creationId xmlns:a16="http://schemas.microsoft.com/office/drawing/2014/main" id="{424325DF-F4FE-41DA-8233-E1C830FB8F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6460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Tekst horizontaal 50%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136292"/>
            <a:ext cx="42767250" cy="15138926"/>
          </a:xfrm>
          <a:solidFill>
            <a:schemeClr val="bg1">
              <a:lumMod val="95000"/>
            </a:schemeClr>
          </a:solidFill>
        </p:spPr>
        <p:txBody>
          <a:bodyPr tIns="1008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0" name="Tijdelijke aanduiding voor verticale tekst 2">
            <a:extLst>
              <a:ext uri="{FF2B5EF4-FFF2-40B4-BE49-F238E27FC236}">
                <a16:creationId xmlns:a16="http://schemas.microsoft.com/office/drawing/2014/main" id="{F8646127-FAA8-40B9-BA27-B65B55E1D214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731100" y="6455413"/>
            <a:ext cx="19652523" cy="6270810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 marL="623677" indent="-623677">
              <a:buFont typeface="Arial" panose="020B0604020202020204" pitchFamily="34" charset="0"/>
              <a:buChar char="•"/>
              <a:defRPr sz="5612">
                <a:latin typeface="+mj-lt"/>
              </a:defRPr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bullet #2</a:t>
            </a:r>
          </a:p>
          <a:p>
            <a:pPr lvl="3"/>
            <a:r>
              <a:rPr lang="nl-NL" noProof="0"/>
              <a:t>Platte tekst1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D9B5C8AD-E451-4910-BCD7-D1E346AA05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0" name="Tijdelijke aanduiding voor tekst 14">
            <a:extLst>
              <a:ext uri="{FF2B5EF4-FFF2-40B4-BE49-F238E27FC236}">
                <a16:creationId xmlns:a16="http://schemas.microsoft.com/office/drawing/2014/main" id="{9A64BF12-7DFA-4BAF-9073-5EB142A323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47" name="Tijdelijke aanduiding voor voettekst 4">
            <a:extLst>
              <a:ext uri="{FF2B5EF4-FFF2-40B4-BE49-F238E27FC236}">
                <a16:creationId xmlns:a16="http://schemas.microsoft.com/office/drawing/2014/main" id="{58C156A9-63A9-476C-A14C-D38512258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48" name="Tijdelijke aanduiding voor dianummer 5">
            <a:extLst>
              <a:ext uri="{FF2B5EF4-FFF2-40B4-BE49-F238E27FC236}">
                <a16:creationId xmlns:a16="http://schemas.microsoft.com/office/drawing/2014/main" id="{4873E8A5-4959-4902-84E2-A62C718138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7" y="27329718"/>
            <a:ext cx="857530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7" name="Tijdelijke aanduiding voor datum 3">
            <a:extLst>
              <a:ext uri="{FF2B5EF4-FFF2-40B4-BE49-F238E27FC236}">
                <a16:creationId xmlns:a16="http://schemas.microsoft.com/office/drawing/2014/main" id="{35B3F705-7563-46B4-AC7E-1ADE5F14C8B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9541AB-70E6-4E41-922C-2B951D28D1F5}" type="datetime1">
              <a:rPr lang="nl-NL" noProof="0" smtClean="0"/>
              <a:t>26-6-2023</a:t>
            </a:fld>
            <a:endParaRPr lang="nl-NL" noProof="0"/>
          </a:p>
        </p:txBody>
      </p:sp>
      <p:grpSp>
        <p:nvGrpSpPr>
          <p:cNvPr id="316" name="Groep 258">
            <a:extLst>
              <a:ext uri="{FF2B5EF4-FFF2-40B4-BE49-F238E27FC236}">
                <a16:creationId xmlns:a16="http://schemas.microsoft.com/office/drawing/2014/main" id="{36D1E311-8D84-4CAC-90BA-2D5A3B87AEDF}"/>
              </a:ext>
            </a:extLst>
          </p:cNvPr>
          <p:cNvGrpSpPr/>
          <p:nvPr userDrawn="1"/>
        </p:nvGrpSpPr>
        <p:grpSpPr>
          <a:xfrm>
            <a:off x="43467416" y="5"/>
            <a:ext cx="11167745" cy="23084356"/>
            <a:chOff x="12391601" y="0"/>
            <a:chExt cx="3183678" cy="5229113"/>
          </a:xfrm>
        </p:grpSpPr>
        <p:grpSp>
          <p:nvGrpSpPr>
            <p:cNvPr id="317" name="Meer informatie">
              <a:extLst>
                <a:ext uri="{FF2B5EF4-FFF2-40B4-BE49-F238E27FC236}">
                  <a16:creationId xmlns:a16="http://schemas.microsoft.com/office/drawing/2014/main" id="{F247902E-2F32-467F-831D-B3867F4015B2}"/>
                </a:ext>
              </a:extLst>
            </p:cNvPr>
            <p:cNvGrpSpPr/>
            <p:nvPr userDrawn="1"/>
          </p:nvGrpSpPr>
          <p:grpSpPr>
            <a:xfrm>
              <a:off x="12396764" y="4445840"/>
              <a:ext cx="3178515" cy="783273"/>
              <a:chOff x="-3741486" y="3386444"/>
              <a:chExt cx="3178515" cy="783273"/>
            </a:xfrm>
          </p:grpSpPr>
          <p:sp>
            <p:nvSpPr>
              <p:cNvPr id="363" name="Freeform 101">
                <a:extLst>
                  <a:ext uri="{FF2B5EF4-FFF2-40B4-BE49-F238E27FC236}">
                    <a16:creationId xmlns:a16="http://schemas.microsoft.com/office/drawing/2014/main" id="{B5E8F268-F552-4075-961E-C623F2BD71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364" name="Rechthoek 306">
                <a:extLst>
                  <a:ext uri="{FF2B5EF4-FFF2-40B4-BE49-F238E27FC236}">
                    <a16:creationId xmlns:a16="http://schemas.microsoft.com/office/drawing/2014/main" id="{579E171F-FBD9-4E2A-8058-8D3D2556DFCF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65" name="Rechte verbindingslijn 307">
                <a:extLst>
                  <a:ext uri="{FF2B5EF4-FFF2-40B4-BE49-F238E27FC236}">
                    <a16:creationId xmlns:a16="http://schemas.microsoft.com/office/drawing/2014/main" id="{3CE04F83-6BC5-49E8-B74F-8E37B1B115C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18" name="Rechthoek 260">
              <a:extLst>
                <a:ext uri="{FF2B5EF4-FFF2-40B4-BE49-F238E27FC236}">
                  <a16:creationId xmlns:a16="http://schemas.microsoft.com/office/drawing/2014/main" id="{9DEA071A-65DE-4416-907A-CAD853D3C9C7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319" name="Ovaal 261">
              <a:extLst>
                <a:ext uri="{FF2B5EF4-FFF2-40B4-BE49-F238E27FC236}">
                  <a16:creationId xmlns:a16="http://schemas.microsoft.com/office/drawing/2014/main" id="{8CA01E0A-E885-4E74-9735-525DBACDE80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20" name="Rechte verbindingslijn 262">
              <a:extLst>
                <a:ext uri="{FF2B5EF4-FFF2-40B4-BE49-F238E27FC236}">
                  <a16:creationId xmlns:a16="http://schemas.microsoft.com/office/drawing/2014/main" id="{FBFFED2D-04EA-4601-9F77-20335A17181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21" name="Rechte verbindingslijn 263">
              <a:extLst>
                <a:ext uri="{FF2B5EF4-FFF2-40B4-BE49-F238E27FC236}">
                  <a16:creationId xmlns:a16="http://schemas.microsoft.com/office/drawing/2014/main" id="{A6204301-5815-40D9-8339-235B499DCA2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22" name="Rechthoek 264">
              <a:extLst>
                <a:ext uri="{FF2B5EF4-FFF2-40B4-BE49-F238E27FC236}">
                  <a16:creationId xmlns:a16="http://schemas.microsoft.com/office/drawing/2014/main" id="{474AECF9-5584-41BC-BB53-539C9CD6945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oor deze te selecteren en op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om een nieuwe afbeelding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23" name="Rechte verbindingslijn 265">
              <a:extLst>
                <a:ext uri="{FF2B5EF4-FFF2-40B4-BE49-F238E27FC236}">
                  <a16:creationId xmlns:a16="http://schemas.microsoft.com/office/drawing/2014/main" id="{E2E9C9A3-7EA1-4CB4-BE0B-3BFD20A669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4327957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24" name="Ovaal 266">
              <a:extLst>
                <a:ext uri="{FF2B5EF4-FFF2-40B4-BE49-F238E27FC236}">
                  <a16:creationId xmlns:a16="http://schemas.microsoft.com/office/drawing/2014/main" id="{DC97E41A-8AB2-4D00-A818-50F2DBCD702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25" name="Rechthoek 267">
              <a:extLst>
                <a:ext uri="{FF2B5EF4-FFF2-40B4-BE49-F238E27FC236}">
                  <a16:creationId xmlns:a16="http://schemas.microsoft.com/office/drawing/2014/main" id="{CDB87134-79CA-43C7-BE52-FBDCE655B907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26" name="Groep 268">
              <a:extLst>
                <a:ext uri="{FF2B5EF4-FFF2-40B4-BE49-F238E27FC236}">
                  <a16:creationId xmlns:a16="http://schemas.microsoft.com/office/drawing/2014/main" id="{4316D768-2ECD-478E-9B0C-EFFFE89C661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0" name="Rechthoek 302">
                <a:extLst>
                  <a:ext uri="{FF2B5EF4-FFF2-40B4-BE49-F238E27FC236}">
                    <a16:creationId xmlns:a16="http://schemas.microsoft.com/office/drawing/2014/main" id="{E6C8724B-930C-4249-87DE-FBEA86630750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361" name="Rechte verbindingslijn 303">
                <a:extLst>
                  <a:ext uri="{FF2B5EF4-FFF2-40B4-BE49-F238E27FC236}">
                    <a16:creationId xmlns:a16="http://schemas.microsoft.com/office/drawing/2014/main" id="{BA5CEE17-E7CF-413F-B94A-70F065A7458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2" name="Gelijkbenige driehoek 304">
                <a:extLst>
                  <a:ext uri="{FF2B5EF4-FFF2-40B4-BE49-F238E27FC236}">
                    <a16:creationId xmlns:a16="http://schemas.microsoft.com/office/drawing/2014/main" id="{835ADAE6-D3D7-4BA4-B429-BD8B1F4A415E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27" name="Groep 269">
              <a:extLst>
                <a:ext uri="{FF2B5EF4-FFF2-40B4-BE49-F238E27FC236}">
                  <a16:creationId xmlns:a16="http://schemas.microsoft.com/office/drawing/2014/main" id="{88245547-2CB6-4EA5-AA7D-D9318CC5DE38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354" name="Rechthoek 296">
                <a:extLst>
                  <a:ext uri="{FF2B5EF4-FFF2-40B4-BE49-F238E27FC236}">
                    <a16:creationId xmlns:a16="http://schemas.microsoft.com/office/drawing/2014/main" id="{F0857272-19EB-49AA-93EF-10DED9064E85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55" name="Ovaal 297">
                <a:extLst>
                  <a:ext uri="{FF2B5EF4-FFF2-40B4-BE49-F238E27FC236}">
                    <a16:creationId xmlns:a16="http://schemas.microsoft.com/office/drawing/2014/main" id="{2498E560-5C87-4882-A1C6-4C4CAD08A39D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56" name="Vrije vorm: vorm 298">
                <a:extLst>
                  <a:ext uri="{FF2B5EF4-FFF2-40B4-BE49-F238E27FC236}">
                    <a16:creationId xmlns:a16="http://schemas.microsoft.com/office/drawing/2014/main" id="{291A8D1E-5609-465B-A7D6-31B4403635CE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57" name="Rechthoek: afgeronde hoeken 299">
                <a:extLst>
                  <a:ext uri="{FF2B5EF4-FFF2-40B4-BE49-F238E27FC236}">
                    <a16:creationId xmlns:a16="http://schemas.microsoft.com/office/drawing/2014/main" id="{6896E2FD-E642-42E5-900E-D97DAE4D4415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58" name="Rechte verbindingslijn 300">
                <a:extLst>
                  <a:ext uri="{FF2B5EF4-FFF2-40B4-BE49-F238E27FC236}">
                    <a16:creationId xmlns:a16="http://schemas.microsoft.com/office/drawing/2014/main" id="{0C7F6D9A-4123-4E61-B449-32DEC7D55B2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59" name="Rechte verbindingslijn 301">
                <a:extLst>
                  <a:ext uri="{FF2B5EF4-FFF2-40B4-BE49-F238E27FC236}">
                    <a16:creationId xmlns:a16="http://schemas.microsoft.com/office/drawing/2014/main" id="{39470C20-F42A-421F-AD86-6A7275F8F832}"/>
                  </a:ext>
                </a:extLst>
              </p:cNvPr>
              <p:cNvCxnSpPr>
                <a:cxnSpLocks/>
                <a:stCxn id="35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28" name="Ovaal 270">
              <a:extLst>
                <a:ext uri="{FF2B5EF4-FFF2-40B4-BE49-F238E27FC236}">
                  <a16:creationId xmlns:a16="http://schemas.microsoft.com/office/drawing/2014/main" id="{556F0622-7777-4EA3-915C-9BDF6980D118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29" name="Rechthoek 271">
              <a:extLst>
                <a:ext uri="{FF2B5EF4-FFF2-40B4-BE49-F238E27FC236}">
                  <a16:creationId xmlns:a16="http://schemas.microsoft.com/office/drawing/2014/main" id="{3230BBC0-9B33-4F5C-B1F9-A65620C0EB0C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43320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aan de linker kant van het scherm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30" name="Rechte verbindingslijn 272">
              <a:extLst>
                <a:ext uri="{FF2B5EF4-FFF2-40B4-BE49-F238E27FC236}">
                  <a16:creationId xmlns:a16="http://schemas.microsoft.com/office/drawing/2014/main" id="{4A1507E3-D3B4-40FD-90E1-E1D092B966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31" name="Rechthoek 273">
              <a:extLst>
                <a:ext uri="{FF2B5EF4-FFF2-40B4-BE49-F238E27FC236}">
                  <a16:creationId xmlns:a16="http://schemas.microsoft.com/office/drawing/2014/main" id="{3001FB9C-B5D0-40F3-A0A3-A6B48F046D2D}"/>
                </a:ext>
              </a:extLst>
            </p:cNvPr>
            <p:cNvSpPr/>
            <p:nvPr userDrawn="1"/>
          </p:nvSpPr>
          <p:spPr>
            <a:xfrm>
              <a:off x="12654153" y="3238910"/>
              <a:ext cx="1624926" cy="805220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3509" b="0" i="1" noProof="0">
                <a:solidFill>
                  <a:schemeClr val="tx1"/>
                </a:solidFill>
              </a:endParaRPr>
            </a:p>
          </p:txBody>
        </p:sp>
        <p:grpSp>
          <p:nvGrpSpPr>
            <p:cNvPr id="332" name="Groep 274">
              <a:extLst>
                <a:ext uri="{FF2B5EF4-FFF2-40B4-BE49-F238E27FC236}">
                  <a16:creationId xmlns:a16="http://schemas.microsoft.com/office/drawing/2014/main" id="{D73EA66C-7BB5-4EA8-BE8A-2442C4935B97}"/>
                </a:ext>
              </a:extLst>
            </p:cNvPr>
            <p:cNvGrpSpPr/>
            <p:nvPr userDrawn="1"/>
          </p:nvGrpSpPr>
          <p:grpSpPr>
            <a:xfrm>
              <a:off x="13614067" y="3535184"/>
              <a:ext cx="1195438" cy="678267"/>
              <a:chOff x="12757284" y="3224292"/>
              <a:chExt cx="1195438" cy="678267"/>
            </a:xfrm>
          </p:grpSpPr>
          <p:sp>
            <p:nvSpPr>
              <p:cNvPr id="333" name="Rechthoek 275">
                <a:extLst>
                  <a:ext uri="{FF2B5EF4-FFF2-40B4-BE49-F238E27FC236}">
                    <a16:creationId xmlns:a16="http://schemas.microsoft.com/office/drawing/2014/main" id="{811796B3-EF4C-4E6E-B30D-CBFD96DAF072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34" name="Rechthoek 276">
                <a:extLst>
                  <a:ext uri="{FF2B5EF4-FFF2-40B4-BE49-F238E27FC236}">
                    <a16:creationId xmlns:a16="http://schemas.microsoft.com/office/drawing/2014/main" id="{D6EA42A0-F0B9-4BA6-B151-395CB3391C6B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35" name="Groep 277">
                <a:extLst>
                  <a:ext uri="{FF2B5EF4-FFF2-40B4-BE49-F238E27FC236}">
                    <a16:creationId xmlns:a16="http://schemas.microsoft.com/office/drawing/2014/main" id="{1CC3F710-8816-4F24-94E8-E5396578E567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348" name="Rechthoek: afgeronde hoeken 290">
                  <a:extLst>
                    <a:ext uri="{FF2B5EF4-FFF2-40B4-BE49-F238E27FC236}">
                      <a16:creationId xmlns:a16="http://schemas.microsoft.com/office/drawing/2014/main" id="{CFFFE2AC-1CF5-4448-8D61-DA96ED94CE34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endPara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49" name="Rechthoek 291">
                  <a:extLst>
                    <a:ext uri="{FF2B5EF4-FFF2-40B4-BE49-F238E27FC236}">
                      <a16:creationId xmlns:a16="http://schemas.microsoft.com/office/drawing/2014/main" id="{2C4F7AC9-8649-49D6-8297-BCF8F4918AAE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0" name="Rechthoek 292">
                  <a:extLst>
                    <a:ext uri="{FF2B5EF4-FFF2-40B4-BE49-F238E27FC236}">
                      <a16:creationId xmlns:a16="http://schemas.microsoft.com/office/drawing/2014/main" id="{2011685F-B6F3-4B1B-987A-066DF85D5454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1" name="Rechthoek 293">
                  <a:extLst>
                    <a:ext uri="{FF2B5EF4-FFF2-40B4-BE49-F238E27FC236}">
                      <a16:creationId xmlns:a16="http://schemas.microsoft.com/office/drawing/2014/main" id="{147F988F-82F9-45EB-A843-CADD842A40C7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2" name="Rechthoek 294">
                  <a:extLst>
                    <a:ext uri="{FF2B5EF4-FFF2-40B4-BE49-F238E27FC236}">
                      <a16:creationId xmlns:a16="http://schemas.microsoft.com/office/drawing/2014/main" id="{93174B6E-9980-4110-85E1-62C76E877C97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3" name="Rechthoek 295">
                  <a:extLst>
                    <a:ext uri="{FF2B5EF4-FFF2-40B4-BE49-F238E27FC236}">
                      <a16:creationId xmlns:a16="http://schemas.microsoft.com/office/drawing/2014/main" id="{013B3206-AD1B-4ACA-B5D3-2C67401630F6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336" name="Groep 278">
                <a:extLst>
                  <a:ext uri="{FF2B5EF4-FFF2-40B4-BE49-F238E27FC236}">
                    <a16:creationId xmlns:a16="http://schemas.microsoft.com/office/drawing/2014/main" id="{6ACA6617-2BB6-4ABA-9C68-5FA3F3DA54B0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340" name="Groep 282">
                  <a:extLst>
                    <a:ext uri="{FF2B5EF4-FFF2-40B4-BE49-F238E27FC236}">
                      <a16:creationId xmlns:a16="http://schemas.microsoft.com/office/drawing/2014/main" id="{E7440BAB-4AC5-40E9-9257-C3345E62E5D2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342" name="Rechthoek: afgeronde hoeken 284">
                    <a:extLst>
                      <a:ext uri="{FF2B5EF4-FFF2-40B4-BE49-F238E27FC236}">
                        <a16:creationId xmlns:a16="http://schemas.microsoft.com/office/drawing/2014/main" id="{666EA79E-EB4D-421E-91C5-BC365649C3F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2105"/>
                      </a:spcBef>
                      <a:spcAft>
                        <a:spcPts val="2105"/>
                      </a:spcAft>
                    </a:pPr>
                    <a:endParaRPr lang="nl-NL" sz="280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343" name="Rechthoek 285">
                    <a:extLst>
                      <a:ext uri="{FF2B5EF4-FFF2-40B4-BE49-F238E27FC236}">
                        <a16:creationId xmlns:a16="http://schemas.microsoft.com/office/drawing/2014/main" id="{9294C2A9-8FB4-4AB3-909D-F398C507DC8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44" name="Rechthoek 286">
                    <a:extLst>
                      <a:ext uri="{FF2B5EF4-FFF2-40B4-BE49-F238E27FC236}">
                        <a16:creationId xmlns:a16="http://schemas.microsoft.com/office/drawing/2014/main" id="{D0A0093F-0BEC-4AE7-A4E6-D61C469D369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45" name="Rechthoek 287">
                    <a:extLst>
                      <a:ext uri="{FF2B5EF4-FFF2-40B4-BE49-F238E27FC236}">
                        <a16:creationId xmlns:a16="http://schemas.microsoft.com/office/drawing/2014/main" id="{4753C24D-B9A2-43DD-B063-211D2499DB7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46" name="Rechthoek 288">
                    <a:extLst>
                      <a:ext uri="{FF2B5EF4-FFF2-40B4-BE49-F238E27FC236}">
                        <a16:creationId xmlns:a16="http://schemas.microsoft.com/office/drawing/2014/main" id="{DDC0FA9C-30F8-41BA-9DDF-765A6245932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47" name="Rechthoek 289">
                    <a:extLst>
                      <a:ext uri="{FF2B5EF4-FFF2-40B4-BE49-F238E27FC236}">
                        <a16:creationId xmlns:a16="http://schemas.microsoft.com/office/drawing/2014/main" id="{22AC01F9-94D0-4481-8711-74AB927E9A3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341" name="Boog 283">
                  <a:extLst>
                    <a:ext uri="{FF2B5EF4-FFF2-40B4-BE49-F238E27FC236}">
                      <a16:creationId xmlns:a16="http://schemas.microsoft.com/office/drawing/2014/main" id="{42C81A20-09EE-4B2C-9B48-06BC245AC19A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</p:grpSp>
          <p:sp>
            <p:nvSpPr>
              <p:cNvPr id="337" name="Tekstvak 279">
                <a:extLst>
                  <a:ext uri="{FF2B5EF4-FFF2-40B4-BE49-F238E27FC236}">
                    <a16:creationId xmlns:a16="http://schemas.microsoft.com/office/drawing/2014/main" id="{97B51EFD-7399-440F-865D-CC5DBAD78393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338" name="Tekstvak 280">
                <a:extLst>
                  <a:ext uri="{FF2B5EF4-FFF2-40B4-BE49-F238E27FC236}">
                    <a16:creationId xmlns:a16="http://schemas.microsoft.com/office/drawing/2014/main" id="{4FB5C194-1412-4668-AA39-753115BD491D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339" name="Picture 3">
                <a:extLst>
                  <a:ext uri="{FF2B5EF4-FFF2-40B4-BE49-F238E27FC236}">
                    <a16:creationId xmlns:a16="http://schemas.microsoft.com/office/drawing/2014/main" id="{E107FAA0-4BCD-4601-815B-47EBB0714F6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810206" y="3671228"/>
                <a:ext cx="14251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grpSp>
        <p:nvGrpSpPr>
          <p:cNvPr id="141" name="Groep 101">
            <a:extLst>
              <a:ext uri="{FF2B5EF4-FFF2-40B4-BE49-F238E27FC236}">
                <a16:creationId xmlns:a16="http://schemas.microsoft.com/office/drawing/2014/main" id="{95B28788-A8A0-42DB-9178-A6F8B7B09410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142" name="Rechthoek 102">
              <a:extLst>
                <a:ext uri="{FF2B5EF4-FFF2-40B4-BE49-F238E27FC236}">
                  <a16:creationId xmlns:a16="http://schemas.microsoft.com/office/drawing/2014/main" id="{7B4F0E3A-F12A-4FB1-B244-F562ACAA5878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143" name="Ovaal 103">
              <a:extLst>
                <a:ext uri="{FF2B5EF4-FFF2-40B4-BE49-F238E27FC236}">
                  <a16:creationId xmlns:a16="http://schemas.microsoft.com/office/drawing/2014/main" id="{5EFC0DB7-5C5B-4AD6-8612-2F223007E59C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4" name="Rechte verbindingslijn 104">
              <a:extLst>
                <a:ext uri="{FF2B5EF4-FFF2-40B4-BE49-F238E27FC236}">
                  <a16:creationId xmlns:a16="http://schemas.microsoft.com/office/drawing/2014/main" id="{D7721EA1-24FD-486E-AF8D-077C60FE4DC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45" name="Groep 105">
              <a:extLst>
                <a:ext uri="{FF2B5EF4-FFF2-40B4-BE49-F238E27FC236}">
                  <a16:creationId xmlns:a16="http://schemas.microsoft.com/office/drawing/2014/main" id="{0F404BF1-31CE-48E3-88EC-8EEB6D3A884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70" name="Rechthoek 130">
                <a:extLst>
                  <a:ext uri="{FF2B5EF4-FFF2-40B4-BE49-F238E27FC236}">
                    <a16:creationId xmlns:a16="http://schemas.microsoft.com/office/drawing/2014/main" id="{56203DD0-B25C-4C83-B449-0B462F88992B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171" name="Rechte verbindingslijn 131">
                <a:extLst>
                  <a:ext uri="{FF2B5EF4-FFF2-40B4-BE49-F238E27FC236}">
                    <a16:creationId xmlns:a16="http://schemas.microsoft.com/office/drawing/2014/main" id="{126D6ADB-0021-4FB2-8E69-075CA37332F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Rechte verbindingslijn 132">
                <a:extLst>
                  <a:ext uri="{FF2B5EF4-FFF2-40B4-BE49-F238E27FC236}">
                    <a16:creationId xmlns:a16="http://schemas.microsoft.com/office/drawing/2014/main" id="{E7B433FD-8DDE-4197-8B26-CD583A9FBB9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3" name="Rechthoek 133">
                <a:extLst>
                  <a:ext uri="{FF2B5EF4-FFF2-40B4-BE49-F238E27FC236}">
                    <a16:creationId xmlns:a16="http://schemas.microsoft.com/office/drawing/2014/main" id="{9099F051-2F9A-4A21-8C9E-F59114D24679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4" name="Groep 134">
                <a:extLst>
                  <a:ext uri="{FF2B5EF4-FFF2-40B4-BE49-F238E27FC236}">
                    <a16:creationId xmlns:a16="http://schemas.microsoft.com/office/drawing/2014/main" id="{163CB3A9-E087-4636-9178-E2EEEF09F987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13" name="Groep 175">
                  <a:extLst>
                    <a:ext uri="{FF2B5EF4-FFF2-40B4-BE49-F238E27FC236}">
                      <a16:creationId xmlns:a16="http://schemas.microsoft.com/office/drawing/2014/main" id="{318D29EA-332C-4650-A0B8-7BA2312EE8CB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17" name="Rechte verbindingslijn 179">
                    <a:extLst>
                      <a:ext uri="{FF2B5EF4-FFF2-40B4-BE49-F238E27FC236}">
                        <a16:creationId xmlns:a16="http://schemas.microsoft.com/office/drawing/2014/main" id="{3BD5FD9E-8E8D-47F5-9643-4857A2681A9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8" name="Rechte verbindingslijn 180">
                    <a:extLst>
                      <a:ext uri="{FF2B5EF4-FFF2-40B4-BE49-F238E27FC236}">
                        <a16:creationId xmlns:a16="http://schemas.microsoft.com/office/drawing/2014/main" id="{67959D2E-60E1-4F42-B446-96E9CF2370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9" name="Rechte verbindingslijn 181">
                    <a:extLst>
                      <a:ext uri="{FF2B5EF4-FFF2-40B4-BE49-F238E27FC236}">
                        <a16:creationId xmlns:a16="http://schemas.microsoft.com/office/drawing/2014/main" id="{63F0E444-6C31-4B95-A0BC-B891F1798F3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0" name="Rechte verbindingslijn 182">
                    <a:extLst>
                      <a:ext uri="{FF2B5EF4-FFF2-40B4-BE49-F238E27FC236}">
                        <a16:creationId xmlns:a16="http://schemas.microsoft.com/office/drawing/2014/main" id="{1A9B8E51-6EDD-4C2C-919C-6F668B526EF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1" name="Rechte verbindingslijn 183">
                    <a:extLst>
                      <a:ext uri="{FF2B5EF4-FFF2-40B4-BE49-F238E27FC236}">
                        <a16:creationId xmlns:a16="http://schemas.microsoft.com/office/drawing/2014/main" id="{D807552D-7B1F-4F1B-9085-CABFD549E3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4" name="Groep 176">
                  <a:extLst>
                    <a:ext uri="{FF2B5EF4-FFF2-40B4-BE49-F238E27FC236}">
                      <a16:creationId xmlns:a16="http://schemas.microsoft.com/office/drawing/2014/main" id="{DED8669F-25EE-45BE-9EA1-3C0320CF61E2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15" name="Rechthoek 177">
                    <a:extLst>
                      <a:ext uri="{FF2B5EF4-FFF2-40B4-BE49-F238E27FC236}">
                        <a16:creationId xmlns:a16="http://schemas.microsoft.com/office/drawing/2014/main" id="{B6C1B673-6013-4D00-A57B-79A95892A1E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6" name="Pijl: punthaak 178">
                    <a:extLst>
                      <a:ext uri="{FF2B5EF4-FFF2-40B4-BE49-F238E27FC236}">
                        <a16:creationId xmlns:a16="http://schemas.microsoft.com/office/drawing/2014/main" id="{8E040766-637E-437B-B545-7E3C3B0F5CEA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5" name="Groep 135">
                <a:extLst>
                  <a:ext uri="{FF2B5EF4-FFF2-40B4-BE49-F238E27FC236}">
                    <a16:creationId xmlns:a16="http://schemas.microsoft.com/office/drawing/2014/main" id="{0683EC59-23DE-4DE7-90A1-8E2027A93EE9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4" name="Groep 166">
                  <a:extLst>
                    <a:ext uri="{FF2B5EF4-FFF2-40B4-BE49-F238E27FC236}">
                      <a16:creationId xmlns:a16="http://schemas.microsoft.com/office/drawing/2014/main" id="{0C58919E-7977-4EA9-A880-90081A3400CA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08" name="Rechte verbindingslijn 170">
                    <a:extLst>
                      <a:ext uri="{FF2B5EF4-FFF2-40B4-BE49-F238E27FC236}">
                        <a16:creationId xmlns:a16="http://schemas.microsoft.com/office/drawing/2014/main" id="{451DE4C4-DEE3-4072-8D3C-90B58C7C39B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9" name="Rechte verbindingslijn 171">
                    <a:extLst>
                      <a:ext uri="{FF2B5EF4-FFF2-40B4-BE49-F238E27FC236}">
                        <a16:creationId xmlns:a16="http://schemas.microsoft.com/office/drawing/2014/main" id="{B8F007B1-8EEB-4365-96CD-9D4F7D93885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0" name="Rechte verbindingslijn 172">
                    <a:extLst>
                      <a:ext uri="{FF2B5EF4-FFF2-40B4-BE49-F238E27FC236}">
                        <a16:creationId xmlns:a16="http://schemas.microsoft.com/office/drawing/2014/main" id="{B72C18C4-D44C-4C72-92FC-DED74F78EFD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1" name="Rechte verbindingslijn 173">
                    <a:extLst>
                      <a:ext uri="{FF2B5EF4-FFF2-40B4-BE49-F238E27FC236}">
                        <a16:creationId xmlns:a16="http://schemas.microsoft.com/office/drawing/2014/main" id="{3408140D-999A-4A2B-AC60-203628EB30F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2" name="Rechte verbindingslijn 174">
                    <a:extLst>
                      <a:ext uri="{FF2B5EF4-FFF2-40B4-BE49-F238E27FC236}">
                        <a16:creationId xmlns:a16="http://schemas.microsoft.com/office/drawing/2014/main" id="{149DCC1F-9A21-43C8-A4E2-BF13F56A907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5" name="Groep 167">
                  <a:extLst>
                    <a:ext uri="{FF2B5EF4-FFF2-40B4-BE49-F238E27FC236}">
                      <a16:creationId xmlns:a16="http://schemas.microsoft.com/office/drawing/2014/main" id="{D12FA5E6-082F-470E-B282-5E58ACF648A3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6" name="Rechthoek 168">
                    <a:extLst>
                      <a:ext uri="{FF2B5EF4-FFF2-40B4-BE49-F238E27FC236}">
                        <a16:creationId xmlns:a16="http://schemas.microsoft.com/office/drawing/2014/main" id="{F53A0DAF-0982-43A8-B3E2-DB6261FAC70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7" name="Pijl: punthaak 169">
                    <a:extLst>
                      <a:ext uri="{FF2B5EF4-FFF2-40B4-BE49-F238E27FC236}">
                        <a16:creationId xmlns:a16="http://schemas.microsoft.com/office/drawing/2014/main" id="{F0637FB2-94DF-46AF-A114-1870C970D729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6" name="Rechte verbindingslijn 136">
                <a:extLst>
                  <a:ext uri="{FF2B5EF4-FFF2-40B4-BE49-F238E27FC236}">
                    <a16:creationId xmlns:a16="http://schemas.microsoft.com/office/drawing/2014/main" id="{4FFF641A-30F6-4B75-B040-12DF3E6FC9C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7" name="Rechte verbindingslijn 137">
                <a:extLst>
                  <a:ext uri="{FF2B5EF4-FFF2-40B4-BE49-F238E27FC236}">
                    <a16:creationId xmlns:a16="http://schemas.microsoft.com/office/drawing/2014/main" id="{1D158DE8-F529-46B9-AB2C-F183C28498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8" name="Groep 138">
                <a:extLst>
                  <a:ext uri="{FF2B5EF4-FFF2-40B4-BE49-F238E27FC236}">
                    <a16:creationId xmlns:a16="http://schemas.microsoft.com/office/drawing/2014/main" id="{E03B6EA6-1A14-486F-A235-0B4137DEC5B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3" name="Rechthoek 155">
                  <a:extLst>
                    <a:ext uri="{FF2B5EF4-FFF2-40B4-BE49-F238E27FC236}">
                      <a16:creationId xmlns:a16="http://schemas.microsoft.com/office/drawing/2014/main" id="{CCEDF5F6-6C86-4A03-AC4E-1D9EBFB4E75A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4" name="Groep 156">
                  <a:extLst>
                    <a:ext uri="{FF2B5EF4-FFF2-40B4-BE49-F238E27FC236}">
                      <a16:creationId xmlns:a16="http://schemas.microsoft.com/office/drawing/2014/main" id="{D6699AB2-9679-4B8E-8921-9636A70C02A4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5" name="Groep 157">
                    <a:extLst>
                      <a:ext uri="{FF2B5EF4-FFF2-40B4-BE49-F238E27FC236}">
                        <a16:creationId xmlns:a16="http://schemas.microsoft.com/office/drawing/2014/main" id="{858DC683-A812-4F48-ACCE-010B99486B2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9" name="Rechte verbindingslijn 161">
                      <a:extLst>
                        <a:ext uri="{FF2B5EF4-FFF2-40B4-BE49-F238E27FC236}">
                          <a16:creationId xmlns:a16="http://schemas.microsoft.com/office/drawing/2014/main" id="{DAA3B30E-C11D-4F38-BDC9-9E3843E2191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62">
                      <a:extLst>
                        <a:ext uri="{FF2B5EF4-FFF2-40B4-BE49-F238E27FC236}">
                          <a16:creationId xmlns:a16="http://schemas.microsoft.com/office/drawing/2014/main" id="{59EB870D-A0BE-4F6A-9D64-056E5601E3C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1" name="Rechte verbindingslijn 163">
                      <a:extLst>
                        <a:ext uri="{FF2B5EF4-FFF2-40B4-BE49-F238E27FC236}">
                          <a16:creationId xmlns:a16="http://schemas.microsoft.com/office/drawing/2014/main" id="{B6119731-43A1-4FEA-9991-1F6696AF39B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2" name="Rechte verbindingslijn 164">
                      <a:extLst>
                        <a:ext uri="{FF2B5EF4-FFF2-40B4-BE49-F238E27FC236}">
                          <a16:creationId xmlns:a16="http://schemas.microsoft.com/office/drawing/2014/main" id="{6FEAB620-C5A7-49FA-A17E-A1F1FB6556A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165">
                      <a:extLst>
                        <a:ext uri="{FF2B5EF4-FFF2-40B4-BE49-F238E27FC236}">
                          <a16:creationId xmlns:a16="http://schemas.microsoft.com/office/drawing/2014/main" id="{CCE77212-90BD-48C3-A72D-D20F73293B0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6" name="Groep 158">
                    <a:extLst>
                      <a:ext uri="{FF2B5EF4-FFF2-40B4-BE49-F238E27FC236}">
                        <a16:creationId xmlns:a16="http://schemas.microsoft.com/office/drawing/2014/main" id="{38128187-8C73-4F95-8831-E575DC55B8B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7" name="Rechthoek 159">
                      <a:extLst>
                        <a:ext uri="{FF2B5EF4-FFF2-40B4-BE49-F238E27FC236}">
                          <a16:creationId xmlns:a16="http://schemas.microsoft.com/office/drawing/2014/main" id="{8D940099-2C07-4DD1-8DF8-9AA8B305A55F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8" name="Pijl: punthaak 160">
                      <a:extLst>
                        <a:ext uri="{FF2B5EF4-FFF2-40B4-BE49-F238E27FC236}">
                          <a16:creationId xmlns:a16="http://schemas.microsoft.com/office/drawing/2014/main" id="{A30EFFCE-54A0-41D4-B683-2FC53C549DD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9" name="Groep 139">
                <a:extLst>
                  <a:ext uri="{FF2B5EF4-FFF2-40B4-BE49-F238E27FC236}">
                    <a16:creationId xmlns:a16="http://schemas.microsoft.com/office/drawing/2014/main" id="{03EF4F76-F9DD-4D00-AFD0-AA82C630F0E7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82" name="Rechthoek 142">
                  <a:extLst>
                    <a:ext uri="{FF2B5EF4-FFF2-40B4-BE49-F238E27FC236}">
                      <a16:creationId xmlns:a16="http://schemas.microsoft.com/office/drawing/2014/main" id="{7A0D19E1-FDA1-46D5-BBDB-7512EA32E17B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3" name="Groep 143">
                  <a:extLst>
                    <a:ext uri="{FF2B5EF4-FFF2-40B4-BE49-F238E27FC236}">
                      <a16:creationId xmlns:a16="http://schemas.microsoft.com/office/drawing/2014/main" id="{14418F93-51E7-404F-883E-49C07E8F348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4" name="Groep 144">
                    <a:extLst>
                      <a:ext uri="{FF2B5EF4-FFF2-40B4-BE49-F238E27FC236}">
                        <a16:creationId xmlns:a16="http://schemas.microsoft.com/office/drawing/2014/main" id="{4EA07D60-2BB4-46B9-AA90-F7D9E0E6F3A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8" name="Rechte verbindingslijn 150">
                      <a:extLst>
                        <a:ext uri="{FF2B5EF4-FFF2-40B4-BE49-F238E27FC236}">
                          <a16:creationId xmlns:a16="http://schemas.microsoft.com/office/drawing/2014/main" id="{F91786A5-D683-454D-B15C-8F20EE52564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51">
                      <a:extLst>
                        <a:ext uri="{FF2B5EF4-FFF2-40B4-BE49-F238E27FC236}">
                          <a16:creationId xmlns:a16="http://schemas.microsoft.com/office/drawing/2014/main" id="{908D2F48-A2AC-479F-83E9-1AC678FA249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0" name="Rechte verbindingslijn 152">
                      <a:extLst>
                        <a:ext uri="{FF2B5EF4-FFF2-40B4-BE49-F238E27FC236}">
                          <a16:creationId xmlns:a16="http://schemas.microsoft.com/office/drawing/2014/main" id="{BD97C232-0430-49B3-BD77-B4443E3FE80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1" name="Rechte verbindingslijn 153">
                      <a:extLst>
                        <a:ext uri="{FF2B5EF4-FFF2-40B4-BE49-F238E27FC236}">
                          <a16:creationId xmlns:a16="http://schemas.microsoft.com/office/drawing/2014/main" id="{21AD0B0A-3231-4919-AE9C-8783831FC84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2" name="Rechte verbindingslijn 154">
                      <a:extLst>
                        <a:ext uri="{FF2B5EF4-FFF2-40B4-BE49-F238E27FC236}">
                          <a16:creationId xmlns:a16="http://schemas.microsoft.com/office/drawing/2014/main" id="{31730319-926D-47A4-BEEF-B35F6C8AFE4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5" name="Groep 147">
                    <a:extLst>
                      <a:ext uri="{FF2B5EF4-FFF2-40B4-BE49-F238E27FC236}">
                        <a16:creationId xmlns:a16="http://schemas.microsoft.com/office/drawing/2014/main" id="{930EBE4A-505C-4500-B43D-F819B8B4D7BB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6" name="Rechthoek 148">
                      <a:extLst>
                        <a:ext uri="{FF2B5EF4-FFF2-40B4-BE49-F238E27FC236}">
                          <a16:creationId xmlns:a16="http://schemas.microsoft.com/office/drawing/2014/main" id="{5D9B5C2A-DD41-4410-8039-48DED8DDD76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7" name="Pijl: punthaak 149">
                      <a:extLst>
                        <a:ext uri="{FF2B5EF4-FFF2-40B4-BE49-F238E27FC236}">
                          <a16:creationId xmlns:a16="http://schemas.microsoft.com/office/drawing/2014/main" id="{AC0AE38C-C2A5-49CF-B750-31A9233D8453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80" name="Rechthoek 140">
                <a:extLst>
                  <a:ext uri="{FF2B5EF4-FFF2-40B4-BE49-F238E27FC236}">
                    <a16:creationId xmlns:a16="http://schemas.microsoft.com/office/drawing/2014/main" id="{9EC08441-0A14-45D8-8AE7-001017CD2CD5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181" name="Rechthoek 141">
                <a:extLst>
                  <a:ext uri="{FF2B5EF4-FFF2-40B4-BE49-F238E27FC236}">
                    <a16:creationId xmlns:a16="http://schemas.microsoft.com/office/drawing/2014/main" id="{AC6BE803-128B-444B-A21A-7201448B6056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146" name="Rechte verbindingslijn 106">
              <a:extLst>
                <a:ext uri="{FF2B5EF4-FFF2-40B4-BE49-F238E27FC236}">
                  <a16:creationId xmlns:a16="http://schemas.microsoft.com/office/drawing/2014/main" id="{8DFCB2FE-A5DB-4FB9-94D2-EB880F7D219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07">
              <a:extLst>
                <a:ext uri="{FF2B5EF4-FFF2-40B4-BE49-F238E27FC236}">
                  <a16:creationId xmlns:a16="http://schemas.microsoft.com/office/drawing/2014/main" id="{32363060-8769-4F5A-A6BD-14177E3B02B0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148" name="Ovaal 108">
              <a:extLst>
                <a:ext uri="{FF2B5EF4-FFF2-40B4-BE49-F238E27FC236}">
                  <a16:creationId xmlns:a16="http://schemas.microsoft.com/office/drawing/2014/main" id="{56BB0D81-9E29-4397-A590-1739A29C850A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9" name="Rechthoek 109">
              <a:extLst>
                <a:ext uri="{FF2B5EF4-FFF2-40B4-BE49-F238E27FC236}">
                  <a16:creationId xmlns:a16="http://schemas.microsoft.com/office/drawing/2014/main" id="{4A32951E-5373-4509-956F-EBE6B5293B17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150" name="Ovaal 110">
              <a:extLst>
                <a:ext uri="{FF2B5EF4-FFF2-40B4-BE49-F238E27FC236}">
                  <a16:creationId xmlns:a16="http://schemas.microsoft.com/office/drawing/2014/main" id="{BB627AE4-2B1C-40A7-8561-42DEA63C8FF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1" name="Rechthoek 111">
              <a:extLst>
                <a:ext uri="{FF2B5EF4-FFF2-40B4-BE49-F238E27FC236}">
                  <a16:creationId xmlns:a16="http://schemas.microsoft.com/office/drawing/2014/main" id="{5DA123F0-CE2F-43AE-AA76-E47C6F191ED2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52" name="Ovaal 112">
              <a:extLst>
                <a:ext uri="{FF2B5EF4-FFF2-40B4-BE49-F238E27FC236}">
                  <a16:creationId xmlns:a16="http://schemas.microsoft.com/office/drawing/2014/main" id="{8DB2C302-6B02-4654-AF96-7E23BB789D9B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53" name="Rechthoek 113">
              <a:extLst>
                <a:ext uri="{FF2B5EF4-FFF2-40B4-BE49-F238E27FC236}">
                  <a16:creationId xmlns:a16="http://schemas.microsoft.com/office/drawing/2014/main" id="{DE51F11D-73DE-4DB0-B208-F80DA2FDFAFC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154" name="Ovaal 114">
              <a:extLst>
                <a:ext uri="{FF2B5EF4-FFF2-40B4-BE49-F238E27FC236}">
                  <a16:creationId xmlns:a16="http://schemas.microsoft.com/office/drawing/2014/main" id="{1C4BF7D6-84DE-4609-A539-87DEB5064240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55" name="Rechthoek 115">
              <a:extLst>
                <a:ext uri="{FF2B5EF4-FFF2-40B4-BE49-F238E27FC236}">
                  <a16:creationId xmlns:a16="http://schemas.microsoft.com/office/drawing/2014/main" id="{6F6884B3-62AD-4DA8-84C6-090C53B64F02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156" name="Rechte verbindingslijn 116">
              <a:extLst>
                <a:ext uri="{FF2B5EF4-FFF2-40B4-BE49-F238E27FC236}">
                  <a16:creationId xmlns:a16="http://schemas.microsoft.com/office/drawing/2014/main" id="{382B0757-10FD-4BBB-8F7D-7BD41D275AE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7" name="Meer informatie">
              <a:extLst>
                <a:ext uri="{FF2B5EF4-FFF2-40B4-BE49-F238E27FC236}">
                  <a16:creationId xmlns:a16="http://schemas.microsoft.com/office/drawing/2014/main" id="{7732049D-66B3-4047-95FB-3042BE786811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167" name="Freeform 101">
                <a:extLst>
                  <a:ext uri="{FF2B5EF4-FFF2-40B4-BE49-F238E27FC236}">
                    <a16:creationId xmlns:a16="http://schemas.microsoft.com/office/drawing/2014/main" id="{CE9B5F8C-1B9A-4A47-BEF0-C86B4AB436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168" name="Rechthoek 128">
                <a:extLst>
                  <a:ext uri="{FF2B5EF4-FFF2-40B4-BE49-F238E27FC236}">
                    <a16:creationId xmlns:a16="http://schemas.microsoft.com/office/drawing/2014/main" id="{9DA2FD3A-2808-4D2C-A244-95CF1B29385C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69" name="Rechte verbindingslijn 129">
                <a:extLst>
                  <a:ext uri="{FF2B5EF4-FFF2-40B4-BE49-F238E27FC236}">
                    <a16:creationId xmlns:a16="http://schemas.microsoft.com/office/drawing/2014/main" id="{ECAA9B25-5625-483D-9F58-EAEC158D944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8" name="Rechthoek 118">
              <a:extLst>
                <a:ext uri="{FF2B5EF4-FFF2-40B4-BE49-F238E27FC236}">
                  <a16:creationId xmlns:a16="http://schemas.microsoft.com/office/drawing/2014/main" id="{D089AD00-4839-4F60-8325-010552F671AF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159" name="Ovaal 119">
              <a:extLst>
                <a:ext uri="{FF2B5EF4-FFF2-40B4-BE49-F238E27FC236}">
                  <a16:creationId xmlns:a16="http://schemas.microsoft.com/office/drawing/2014/main" id="{C1BE77F9-E2B0-4105-B64A-B43743B412D3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0" name="Rechthoek 120">
              <a:extLst>
                <a:ext uri="{FF2B5EF4-FFF2-40B4-BE49-F238E27FC236}">
                  <a16:creationId xmlns:a16="http://schemas.microsoft.com/office/drawing/2014/main" id="{BF228544-777A-4371-AEDF-0B5E09B84F16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61" name="Ovaal 121">
              <a:extLst>
                <a:ext uri="{FF2B5EF4-FFF2-40B4-BE49-F238E27FC236}">
                  <a16:creationId xmlns:a16="http://schemas.microsoft.com/office/drawing/2014/main" id="{0A027ADD-5B3A-43BD-A947-DAB49A777379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2" name="Rechthoek 122">
              <a:extLst>
                <a:ext uri="{FF2B5EF4-FFF2-40B4-BE49-F238E27FC236}">
                  <a16:creationId xmlns:a16="http://schemas.microsoft.com/office/drawing/2014/main" id="{666F6835-E26A-45FF-AA2F-FB2210B7D01B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163" name="Ovaal 123">
              <a:extLst>
                <a:ext uri="{FF2B5EF4-FFF2-40B4-BE49-F238E27FC236}">
                  <a16:creationId xmlns:a16="http://schemas.microsoft.com/office/drawing/2014/main" id="{AE934020-1CCD-453A-831B-0F60AAEA6979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4" name="Rechthoek 124">
              <a:extLst>
                <a:ext uri="{FF2B5EF4-FFF2-40B4-BE49-F238E27FC236}">
                  <a16:creationId xmlns:a16="http://schemas.microsoft.com/office/drawing/2014/main" id="{01F26142-DB92-4568-9D8C-3D83686C2D81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65" name="Rechthoek 125">
              <a:extLst>
                <a:ext uri="{FF2B5EF4-FFF2-40B4-BE49-F238E27FC236}">
                  <a16:creationId xmlns:a16="http://schemas.microsoft.com/office/drawing/2014/main" id="{5E8FFE9E-3A2D-4A67-A039-C2504131D5AB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166" name="Ovaal 126">
              <a:extLst>
                <a:ext uri="{FF2B5EF4-FFF2-40B4-BE49-F238E27FC236}">
                  <a16:creationId xmlns:a16="http://schemas.microsoft.com/office/drawing/2014/main" id="{5D55E49E-FF1A-498F-B2CA-8B9FF26BF087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  <p:pic>
        <p:nvPicPr>
          <p:cNvPr id="222" name="Afbeelding 221">
            <a:extLst>
              <a:ext uri="{FF2B5EF4-FFF2-40B4-BE49-F238E27FC236}">
                <a16:creationId xmlns:a16="http://schemas.microsoft.com/office/drawing/2014/main" id="{602AF7D1-3DFC-492C-95E2-409993E4AC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0630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Wolk 100%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-5567" y="-31537"/>
            <a:ext cx="42767257" cy="30306755"/>
          </a:xfrm>
          <a:solidFill>
            <a:schemeClr val="bg1">
              <a:lumMod val="95000"/>
            </a:schemeClr>
          </a:solidFill>
        </p:spPr>
        <p:txBody>
          <a:bodyPr tIns="1044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3" name="Tijdelijke aanduiding voor voettekst 4">
            <a:extLst>
              <a:ext uri="{FF2B5EF4-FFF2-40B4-BE49-F238E27FC236}">
                <a16:creationId xmlns:a16="http://schemas.microsoft.com/office/drawing/2014/main" id="{3FD2C40F-5ED0-4573-8F6F-31F0DA9D46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4" name="Tijdelijke aanduiding voor dianummer 5">
            <a:extLst>
              <a:ext uri="{FF2B5EF4-FFF2-40B4-BE49-F238E27FC236}">
                <a16:creationId xmlns:a16="http://schemas.microsoft.com/office/drawing/2014/main" id="{FDCACBC6-40CE-484B-AC87-549D0BAA4F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7" y="27329718"/>
            <a:ext cx="828942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D78D1FB9-F46F-4739-84B5-17E9644E515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1062563" y="6639726"/>
            <a:ext cx="15869579" cy="8579805"/>
          </a:xfrm>
          <a:custGeom>
            <a:avLst/>
            <a:gdLst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4067 w 4524067"/>
              <a:gd name="connsiteY3" fmla="*/ 1604261 h 1943514"/>
              <a:gd name="connsiteX4" fmla="*/ 374342 w 4524067"/>
              <a:gd name="connsiteY4" fmla="*/ 1604261 h 1943514"/>
              <a:gd name="connsiteX5" fmla="*/ 374342 w 4524067"/>
              <a:gd name="connsiteY5" fmla="*/ 1604495 h 1943514"/>
              <a:gd name="connsiteX6" fmla="*/ 372031 w 4524067"/>
              <a:gd name="connsiteY6" fmla="*/ 1604262 h 1943514"/>
              <a:gd name="connsiteX7" fmla="*/ 7555 w 4524067"/>
              <a:gd name="connsiteY7" fmla="*/ 1901319 h 1943514"/>
              <a:gd name="connsiteX8" fmla="*/ 3301 w 4524067"/>
              <a:gd name="connsiteY8" fmla="*/ 1943514 h 1943514"/>
              <a:gd name="connsiteX9" fmla="*/ 0 w 4524067"/>
              <a:gd name="connsiteY9" fmla="*/ 1935545 h 1943514"/>
              <a:gd name="connsiteX10" fmla="*/ 0 w 4524067"/>
              <a:gd name="connsiteY10" fmla="*/ 71054 h 1943514"/>
              <a:gd name="connsiteX11" fmla="*/ 71054 w 4524067"/>
              <a:gd name="connsiteY11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524067 w 4524067"/>
              <a:gd name="connsiteY4" fmla="*/ 160426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524067 w 4524067"/>
              <a:gd name="connsiteY4" fmla="*/ 1604261 h 1943514"/>
              <a:gd name="connsiteX5" fmla="*/ 4481998 w 4524067"/>
              <a:gd name="connsiteY5" fmla="*/ 1606550 h 1943514"/>
              <a:gd name="connsiteX6" fmla="*/ 374342 w 4524067"/>
              <a:gd name="connsiteY6" fmla="*/ 1604261 h 1943514"/>
              <a:gd name="connsiteX7" fmla="*/ 374342 w 4524067"/>
              <a:gd name="connsiteY7" fmla="*/ 1604495 h 1943514"/>
              <a:gd name="connsiteX8" fmla="*/ 372031 w 4524067"/>
              <a:gd name="connsiteY8" fmla="*/ 1604262 h 1943514"/>
              <a:gd name="connsiteX9" fmla="*/ 7555 w 4524067"/>
              <a:gd name="connsiteY9" fmla="*/ 1901319 h 1943514"/>
              <a:gd name="connsiteX10" fmla="*/ 3301 w 4524067"/>
              <a:gd name="connsiteY10" fmla="*/ 1943514 h 1943514"/>
              <a:gd name="connsiteX11" fmla="*/ 0 w 4524067"/>
              <a:gd name="connsiteY11" fmla="*/ 1935545 h 1943514"/>
              <a:gd name="connsiteX12" fmla="*/ 0 w 4524067"/>
              <a:gd name="connsiteY12" fmla="*/ 71054 h 1943514"/>
              <a:gd name="connsiteX13" fmla="*/ 71054 w 4524067"/>
              <a:gd name="connsiteY13" fmla="*/ 0 h 1943514"/>
              <a:gd name="connsiteX0" fmla="*/ 71054 w 4799095"/>
              <a:gd name="connsiteY0" fmla="*/ 0 h 1943514"/>
              <a:gd name="connsiteX1" fmla="*/ 4453013 w 4799095"/>
              <a:gd name="connsiteY1" fmla="*/ 0 h 1943514"/>
              <a:gd name="connsiteX2" fmla="*/ 4524067 w 4799095"/>
              <a:gd name="connsiteY2" fmla="*/ 71054 h 1943514"/>
              <a:gd name="connsiteX3" fmla="*/ 4522480 w 4799095"/>
              <a:gd name="connsiteY3" fmla="*/ 1547019 h 1943514"/>
              <a:gd name="connsiteX4" fmla="*/ 4524067 w 4799095"/>
              <a:gd name="connsiteY4" fmla="*/ 1604261 h 1943514"/>
              <a:gd name="connsiteX5" fmla="*/ 4481998 w 4799095"/>
              <a:gd name="connsiteY5" fmla="*/ 1606550 h 1943514"/>
              <a:gd name="connsiteX6" fmla="*/ 374342 w 4799095"/>
              <a:gd name="connsiteY6" fmla="*/ 1604261 h 1943514"/>
              <a:gd name="connsiteX7" fmla="*/ 374342 w 4799095"/>
              <a:gd name="connsiteY7" fmla="*/ 1604495 h 1943514"/>
              <a:gd name="connsiteX8" fmla="*/ 372031 w 4799095"/>
              <a:gd name="connsiteY8" fmla="*/ 1604262 h 1943514"/>
              <a:gd name="connsiteX9" fmla="*/ 7555 w 4799095"/>
              <a:gd name="connsiteY9" fmla="*/ 1901319 h 1943514"/>
              <a:gd name="connsiteX10" fmla="*/ 3301 w 4799095"/>
              <a:gd name="connsiteY10" fmla="*/ 1943514 h 1943514"/>
              <a:gd name="connsiteX11" fmla="*/ 0 w 4799095"/>
              <a:gd name="connsiteY11" fmla="*/ 1935545 h 1943514"/>
              <a:gd name="connsiteX12" fmla="*/ 0 w 4799095"/>
              <a:gd name="connsiteY12" fmla="*/ 71054 h 1943514"/>
              <a:gd name="connsiteX13" fmla="*/ 71054 w 4799095"/>
              <a:gd name="connsiteY13" fmla="*/ 0 h 1943514"/>
              <a:gd name="connsiteX0" fmla="*/ 71054 w 4798479"/>
              <a:gd name="connsiteY0" fmla="*/ 0 h 1943514"/>
              <a:gd name="connsiteX1" fmla="*/ 4453013 w 4798479"/>
              <a:gd name="connsiteY1" fmla="*/ 0 h 1943514"/>
              <a:gd name="connsiteX2" fmla="*/ 4524067 w 4798479"/>
              <a:gd name="connsiteY2" fmla="*/ 71054 h 1943514"/>
              <a:gd name="connsiteX3" fmla="*/ 4522480 w 4798479"/>
              <a:gd name="connsiteY3" fmla="*/ 1547019 h 1943514"/>
              <a:gd name="connsiteX4" fmla="*/ 4481998 w 4798479"/>
              <a:gd name="connsiteY4" fmla="*/ 1606550 h 1943514"/>
              <a:gd name="connsiteX5" fmla="*/ 374342 w 4798479"/>
              <a:gd name="connsiteY5" fmla="*/ 1604261 h 1943514"/>
              <a:gd name="connsiteX6" fmla="*/ 374342 w 4798479"/>
              <a:gd name="connsiteY6" fmla="*/ 1604495 h 1943514"/>
              <a:gd name="connsiteX7" fmla="*/ 372031 w 4798479"/>
              <a:gd name="connsiteY7" fmla="*/ 1604262 h 1943514"/>
              <a:gd name="connsiteX8" fmla="*/ 7555 w 4798479"/>
              <a:gd name="connsiteY8" fmla="*/ 1901319 h 1943514"/>
              <a:gd name="connsiteX9" fmla="*/ 3301 w 4798479"/>
              <a:gd name="connsiteY9" fmla="*/ 1943514 h 1943514"/>
              <a:gd name="connsiteX10" fmla="*/ 0 w 4798479"/>
              <a:gd name="connsiteY10" fmla="*/ 1935545 h 1943514"/>
              <a:gd name="connsiteX11" fmla="*/ 0 w 4798479"/>
              <a:gd name="connsiteY11" fmla="*/ 71054 h 1943514"/>
              <a:gd name="connsiteX12" fmla="*/ 71054 w 4798479"/>
              <a:gd name="connsiteY12" fmla="*/ 0 h 1943514"/>
              <a:gd name="connsiteX0" fmla="*/ 71054 w 4801282"/>
              <a:gd name="connsiteY0" fmla="*/ 0 h 1943514"/>
              <a:gd name="connsiteX1" fmla="*/ 4453013 w 4801282"/>
              <a:gd name="connsiteY1" fmla="*/ 0 h 1943514"/>
              <a:gd name="connsiteX2" fmla="*/ 4524067 w 4801282"/>
              <a:gd name="connsiteY2" fmla="*/ 71054 h 1943514"/>
              <a:gd name="connsiteX3" fmla="*/ 4522480 w 4801282"/>
              <a:gd name="connsiteY3" fmla="*/ 1547019 h 1943514"/>
              <a:gd name="connsiteX4" fmla="*/ 4481998 w 4801282"/>
              <a:gd name="connsiteY4" fmla="*/ 1606550 h 1943514"/>
              <a:gd name="connsiteX5" fmla="*/ 374342 w 4801282"/>
              <a:gd name="connsiteY5" fmla="*/ 1604261 h 1943514"/>
              <a:gd name="connsiteX6" fmla="*/ 374342 w 4801282"/>
              <a:gd name="connsiteY6" fmla="*/ 1604495 h 1943514"/>
              <a:gd name="connsiteX7" fmla="*/ 372031 w 4801282"/>
              <a:gd name="connsiteY7" fmla="*/ 1604262 h 1943514"/>
              <a:gd name="connsiteX8" fmla="*/ 7555 w 4801282"/>
              <a:gd name="connsiteY8" fmla="*/ 1901319 h 1943514"/>
              <a:gd name="connsiteX9" fmla="*/ 3301 w 4801282"/>
              <a:gd name="connsiteY9" fmla="*/ 1943514 h 1943514"/>
              <a:gd name="connsiteX10" fmla="*/ 0 w 4801282"/>
              <a:gd name="connsiteY10" fmla="*/ 1935545 h 1943514"/>
              <a:gd name="connsiteX11" fmla="*/ 0 w 4801282"/>
              <a:gd name="connsiteY11" fmla="*/ 71054 h 1943514"/>
              <a:gd name="connsiteX12" fmla="*/ 71054 w 4801282"/>
              <a:gd name="connsiteY12" fmla="*/ 0 h 1943514"/>
              <a:gd name="connsiteX0" fmla="*/ 71054 w 4527104"/>
              <a:gd name="connsiteY0" fmla="*/ 0 h 1943514"/>
              <a:gd name="connsiteX1" fmla="*/ 4453013 w 4527104"/>
              <a:gd name="connsiteY1" fmla="*/ 0 h 1943514"/>
              <a:gd name="connsiteX2" fmla="*/ 4524067 w 4527104"/>
              <a:gd name="connsiteY2" fmla="*/ 71054 h 1943514"/>
              <a:gd name="connsiteX3" fmla="*/ 4522480 w 4527104"/>
              <a:gd name="connsiteY3" fmla="*/ 1547019 h 1943514"/>
              <a:gd name="connsiteX4" fmla="*/ 4481998 w 4527104"/>
              <a:gd name="connsiteY4" fmla="*/ 1606550 h 1943514"/>
              <a:gd name="connsiteX5" fmla="*/ 374342 w 4527104"/>
              <a:gd name="connsiteY5" fmla="*/ 1604261 h 1943514"/>
              <a:gd name="connsiteX6" fmla="*/ 374342 w 4527104"/>
              <a:gd name="connsiteY6" fmla="*/ 1604495 h 1943514"/>
              <a:gd name="connsiteX7" fmla="*/ 372031 w 4527104"/>
              <a:gd name="connsiteY7" fmla="*/ 1604262 h 1943514"/>
              <a:gd name="connsiteX8" fmla="*/ 7555 w 4527104"/>
              <a:gd name="connsiteY8" fmla="*/ 1901319 h 1943514"/>
              <a:gd name="connsiteX9" fmla="*/ 3301 w 4527104"/>
              <a:gd name="connsiteY9" fmla="*/ 1943514 h 1943514"/>
              <a:gd name="connsiteX10" fmla="*/ 0 w 4527104"/>
              <a:gd name="connsiteY10" fmla="*/ 1935545 h 1943514"/>
              <a:gd name="connsiteX11" fmla="*/ 0 w 4527104"/>
              <a:gd name="connsiteY11" fmla="*/ 71054 h 1943514"/>
              <a:gd name="connsiteX12" fmla="*/ 71054 w 4527104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81998 w 4524067"/>
              <a:gd name="connsiteY4" fmla="*/ 1606550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81998 w 4524067"/>
              <a:gd name="connsiteY4" fmla="*/ 1606550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81998 w 4524067"/>
              <a:gd name="connsiteY4" fmla="*/ 1606550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16062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16062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16062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524067" h="1943514">
                <a:moveTo>
                  <a:pt x="71054" y="0"/>
                </a:moveTo>
                <a:lnTo>
                  <a:pt x="4453013" y="0"/>
                </a:lnTo>
                <a:cubicBezTo>
                  <a:pt x="4492255" y="0"/>
                  <a:pt x="4524067" y="31812"/>
                  <a:pt x="4524067" y="71054"/>
                </a:cubicBezTo>
                <a:cubicBezTo>
                  <a:pt x="4523538" y="552723"/>
                  <a:pt x="4522346" y="1479221"/>
                  <a:pt x="4522480" y="1516062"/>
                </a:cubicBezTo>
                <a:cubicBezTo>
                  <a:pt x="4522614" y="1552903"/>
                  <a:pt x="4525654" y="1606535"/>
                  <a:pt x="4458185" y="1608931"/>
                </a:cubicBezTo>
                <a:cubicBezTo>
                  <a:pt x="4390716" y="1611327"/>
                  <a:pt x="1735623" y="1605818"/>
                  <a:pt x="374342" y="1604261"/>
                </a:cubicBezTo>
                <a:lnTo>
                  <a:pt x="374342" y="1604495"/>
                </a:lnTo>
                <a:lnTo>
                  <a:pt x="372031" y="1604262"/>
                </a:lnTo>
                <a:cubicBezTo>
                  <a:pt x="192246" y="1604262"/>
                  <a:pt x="42246" y="1731789"/>
                  <a:pt x="7555" y="1901319"/>
                </a:cubicBezTo>
                <a:lnTo>
                  <a:pt x="3301" y="1943514"/>
                </a:lnTo>
                <a:lnTo>
                  <a:pt x="0" y="1935545"/>
                </a:lnTo>
                <a:lnTo>
                  <a:pt x="0" y="71054"/>
                </a:lnTo>
                <a:cubicBezTo>
                  <a:pt x="0" y="31812"/>
                  <a:pt x="31812" y="0"/>
                  <a:pt x="71054" y="0"/>
                </a:cubicBezTo>
                <a:close/>
              </a:path>
            </a:pathLst>
          </a:custGeom>
          <a:solidFill>
            <a:schemeClr val="tx2">
              <a:alpha val="85000"/>
            </a:schemeClr>
          </a:solidFill>
        </p:spPr>
        <p:txBody>
          <a:bodyPr wrap="square" lIns="360000" tIns="180000" rIns="576000" bIns="180000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419" b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8419" b="0"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/>
              <a:t>Klik om tekst in te voegen</a:t>
            </a:r>
          </a:p>
        </p:txBody>
      </p:sp>
      <p:sp>
        <p:nvSpPr>
          <p:cNvPr id="14" name="Tijdelijke aanduiding voor datum 3">
            <a:extLst>
              <a:ext uri="{FF2B5EF4-FFF2-40B4-BE49-F238E27FC236}">
                <a16:creationId xmlns:a16="http://schemas.microsoft.com/office/drawing/2014/main" id="{6C5C6C08-DDA7-4CC4-B473-244AE8EBA70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B70BE4-B49B-4495-86FF-21BC09262938}" type="datetime1">
              <a:rPr lang="nl-NL" noProof="0" smtClean="0"/>
              <a:t>26-6-2023</a:t>
            </a:fld>
            <a:endParaRPr lang="nl-NL" noProof="0"/>
          </a:p>
        </p:txBody>
      </p:sp>
      <p:grpSp>
        <p:nvGrpSpPr>
          <p:cNvPr id="175" name="Groep 258">
            <a:extLst>
              <a:ext uri="{FF2B5EF4-FFF2-40B4-BE49-F238E27FC236}">
                <a16:creationId xmlns:a16="http://schemas.microsoft.com/office/drawing/2014/main" id="{32746DC4-88FC-4573-AFD3-B1C8E92AA3FC}"/>
              </a:ext>
            </a:extLst>
          </p:cNvPr>
          <p:cNvGrpSpPr/>
          <p:nvPr userDrawn="1"/>
        </p:nvGrpSpPr>
        <p:grpSpPr>
          <a:xfrm>
            <a:off x="43467416" y="5"/>
            <a:ext cx="11167745" cy="23084356"/>
            <a:chOff x="12391601" y="0"/>
            <a:chExt cx="3183678" cy="5229113"/>
          </a:xfrm>
        </p:grpSpPr>
        <p:grpSp>
          <p:nvGrpSpPr>
            <p:cNvPr id="176" name="Meer informatie">
              <a:extLst>
                <a:ext uri="{FF2B5EF4-FFF2-40B4-BE49-F238E27FC236}">
                  <a16:creationId xmlns:a16="http://schemas.microsoft.com/office/drawing/2014/main" id="{B0670A90-84BD-4C03-8E9A-E3A811B1DE03}"/>
                </a:ext>
              </a:extLst>
            </p:cNvPr>
            <p:cNvGrpSpPr/>
            <p:nvPr userDrawn="1"/>
          </p:nvGrpSpPr>
          <p:grpSpPr>
            <a:xfrm>
              <a:off x="12396764" y="4445840"/>
              <a:ext cx="3178515" cy="783273"/>
              <a:chOff x="-3741486" y="3386444"/>
              <a:chExt cx="3178515" cy="783273"/>
            </a:xfrm>
          </p:grpSpPr>
          <p:sp>
            <p:nvSpPr>
              <p:cNvPr id="235" name="Freeform 101">
                <a:extLst>
                  <a:ext uri="{FF2B5EF4-FFF2-40B4-BE49-F238E27FC236}">
                    <a16:creationId xmlns:a16="http://schemas.microsoft.com/office/drawing/2014/main" id="{21EE44E5-6482-4E8B-9DB5-EC22FDA9814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236" name="Rechthoek 306">
                <a:extLst>
                  <a:ext uri="{FF2B5EF4-FFF2-40B4-BE49-F238E27FC236}">
                    <a16:creationId xmlns:a16="http://schemas.microsoft.com/office/drawing/2014/main" id="{68056740-4BDC-40A5-92C4-290C510A0CB3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37" name="Rechte verbindingslijn 307">
                <a:extLst>
                  <a:ext uri="{FF2B5EF4-FFF2-40B4-BE49-F238E27FC236}">
                    <a16:creationId xmlns:a16="http://schemas.microsoft.com/office/drawing/2014/main" id="{F04CC3DB-5360-461B-ADBA-345B3743A5A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77" name="Rechthoek 260">
              <a:extLst>
                <a:ext uri="{FF2B5EF4-FFF2-40B4-BE49-F238E27FC236}">
                  <a16:creationId xmlns:a16="http://schemas.microsoft.com/office/drawing/2014/main" id="{BBFC268C-2613-4F95-919A-428B00EF1E1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178" name="Ovaal 261">
              <a:extLst>
                <a:ext uri="{FF2B5EF4-FFF2-40B4-BE49-F238E27FC236}">
                  <a16:creationId xmlns:a16="http://schemas.microsoft.com/office/drawing/2014/main" id="{419C2E17-C33F-4062-A892-E17A6E639D88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9" name="Rechte verbindingslijn 262">
              <a:extLst>
                <a:ext uri="{FF2B5EF4-FFF2-40B4-BE49-F238E27FC236}">
                  <a16:creationId xmlns:a16="http://schemas.microsoft.com/office/drawing/2014/main" id="{896FA431-FE05-4130-8A0E-F455E9D662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0" name="Rechte verbindingslijn 263">
              <a:extLst>
                <a:ext uri="{FF2B5EF4-FFF2-40B4-BE49-F238E27FC236}">
                  <a16:creationId xmlns:a16="http://schemas.microsoft.com/office/drawing/2014/main" id="{302FC35A-411F-4C1F-A29F-11E63FF7A33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81" name="Rechthoek 264">
              <a:extLst>
                <a:ext uri="{FF2B5EF4-FFF2-40B4-BE49-F238E27FC236}">
                  <a16:creationId xmlns:a16="http://schemas.microsoft.com/office/drawing/2014/main" id="{A755A67A-9BBC-4244-973C-D2A8C42C21A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oor deze te selecteren en op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om een nieuwe afbeelding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82" name="Rechte verbindingslijn 265">
              <a:extLst>
                <a:ext uri="{FF2B5EF4-FFF2-40B4-BE49-F238E27FC236}">
                  <a16:creationId xmlns:a16="http://schemas.microsoft.com/office/drawing/2014/main" id="{76B2D01C-1BE0-4770-9A9F-F28D68D47F3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4327957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83" name="Ovaal 266">
              <a:extLst>
                <a:ext uri="{FF2B5EF4-FFF2-40B4-BE49-F238E27FC236}">
                  <a16:creationId xmlns:a16="http://schemas.microsoft.com/office/drawing/2014/main" id="{7AE8A063-9ECB-487E-B64D-4A50F3013ECA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84" name="Rechthoek 267">
              <a:extLst>
                <a:ext uri="{FF2B5EF4-FFF2-40B4-BE49-F238E27FC236}">
                  <a16:creationId xmlns:a16="http://schemas.microsoft.com/office/drawing/2014/main" id="{A3902585-C030-41F4-8736-968356A94343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85" name="Groep 268">
              <a:extLst>
                <a:ext uri="{FF2B5EF4-FFF2-40B4-BE49-F238E27FC236}">
                  <a16:creationId xmlns:a16="http://schemas.microsoft.com/office/drawing/2014/main" id="{DC07FDFD-2AE0-4E87-8F46-E07793262170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32" name="Rechthoek 302">
                <a:extLst>
                  <a:ext uri="{FF2B5EF4-FFF2-40B4-BE49-F238E27FC236}">
                    <a16:creationId xmlns:a16="http://schemas.microsoft.com/office/drawing/2014/main" id="{C3944425-6892-4ADE-81EE-8F269C56B503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233" name="Rechte verbindingslijn 303">
                <a:extLst>
                  <a:ext uri="{FF2B5EF4-FFF2-40B4-BE49-F238E27FC236}">
                    <a16:creationId xmlns:a16="http://schemas.microsoft.com/office/drawing/2014/main" id="{AA6D1494-D166-4EF1-AB19-C53BDF4AB2F3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34" name="Gelijkbenige driehoek 304">
                <a:extLst>
                  <a:ext uri="{FF2B5EF4-FFF2-40B4-BE49-F238E27FC236}">
                    <a16:creationId xmlns:a16="http://schemas.microsoft.com/office/drawing/2014/main" id="{30A47B12-907C-4F85-A5D5-29F5CBF80A4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86" name="Groep 269">
              <a:extLst>
                <a:ext uri="{FF2B5EF4-FFF2-40B4-BE49-F238E27FC236}">
                  <a16:creationId xmlns:a16="http://schemas.microsoft.com/office/drawing/2014/main" id="{C24B7CB5-91E0-4939-88F8-E2D52FAC4B45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213" name="Rechthoek 296">
                <a:extLst>
                  <a:ext uri="{FF2B5EF4-FFF2-40B4-BE49-F238E27FC236}">
                    <a16:creationId xmlns:a16="http://schemas.microsoft.com/office/drawing/2014/main" id="{869C421D-F735-4172-83F8-6113DE4D1BA7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7" name="Ovaal 297">
                <a:extLst>
                  <a:ext uri="{FF2B5EF4-FFF2-40B4-BE49-F238E27FC236}">
                    <a16:creationId xmlns:a16="http://schemas.microsoft.com/office/drawing/2014/main" id="{ABB8A66C-4036-40C4-BCA1-1C8405EDCF1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8" name="Vrije vorm: vorm 298">
                <a:extLst>
                  <a:ext uri="{FF2B5EF4-FFF2-40B4-BE49-F238E27FC236}">
                    <a16:creationId xmlns:a16="http://schemas.microsoft.com/office/drawing/2014/main" id="{FDED221B-20FC-4FEB-807C-A24B925B1EE0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9" name="Rechthoek: afgeronde hoeken 299">
                <a:extLst>
                  <a:ext uri="{FF2B5EF4-FFF2-40B4-BE49-F238E27FC236}">
                    <a16:creationId xmlns:a16="http://schemas.microsoft.com/office/drawing/2014/main" id="{C5A637DF-387F-4796-9C11-925EE3284C34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230" name="Rechte verbindingslijn 300">
                <a:extLst>
                  <a:ext uri="{FF2B5EF4-FFF2-40B4-BE49-F238E27FC236}">
                    <a16:creationId xmlns:a16="http://schemas.microsoft.com/office/drawing/2014/main" id="{BED97851-1EF9-44DD-A9F7-C30ABE59134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31" name="Rechte verbindingslijn 301">
                <a:extLst>
                  <a:ext uri="{FF2B5EF4-FFF2-40B4-BE49-F238E27FC236}">
                    <a16:creationId xmlns:a16="http://schemas.microsoft.com/office/drawing/2014/main" id="{691BDA09-845E-4BFA-A421-28B572C25D7A}"/>
                  </a:ext>
                </a:extLst>
              </p:cNvPr>
              <p:cNvCxnSpPr>
                <a:cxnSpLocks/>
                <a:stCxn id="229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87" name="Ovaal 270">
              <a:extLst>
                <a:ext uri="{FF2B5EF4-FFF2-40B4-BE49-F238E27FC236}">
                  <a16:creationId xmlns:a16="http://schemas.microsoft.com/office/drawing/2014/main" id="{316501B2-FA5B-4AC3-B66F-07021F7BB709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88" name="Rechthoek 271">
              <a:extLst>
                <a:ext uri="{FF2B5EF4-FFF2-40B4-BE49-F238E27FC236}">
                  <a16:creationId xmlns:a16="http://schemas.microsoft.com/office/drawing/2014/main" id="{C00A2A26-F9E7-4C43-AFF7-A43201DB0241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43320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aan de linker kant van het scherm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89" name="Rechte verbindingslijn 272">
              <a:extLst>
                <a:ext uri="{FF2B5EF4-FFF2-40B4-BE49-F238E27FC236}">
                  <a16:creationId xmlns:a16="http://schemas.microsoft.com/office/drawing/2014/main" id="{5DBBCEC7-1DBB-4B05-8BCA-ED381E55F00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90" name="Rechthoek 273">
              <a:extLst>
                <a:ext uri="{FF2B5EF4-FFF2-40B4-BE49-F238E27FC236}">
                  <a16:creationId xmlns:a16="http://schemas.microsoft.com/office/drawing/2014/main" id="{BA60779A-6B3B-425F-BFC6-DCFFF26ED9CF}"/>
                </a:ext>
              </a:extLst>
            </p:cNvPr>
            <p:cNvSpPr/>
            <p:nvPr userDrawn="1"/>
          </p:nvSpPr>
          <p:spPr>
            <a:xfrm>
              <a:off x="12654153" y="3238910"/>
              <a:ext cx="1624926" cy="805220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3509" b="0" i="1" noProof="0">
                <a:solidFill>
                  <a:schemeClr val="tx1"/>
                </a:solidFill>
              </a:endParaRPr>
            </a:p>
          </p:txBody>
        </p:sp>
        <p:grpSp>
          <p:nvGrpSpPr>
            <p:cNvPr id="191" name="Groep 274">
              <a:extLst>
                <a:ext uri="{FF2B5EF4-FFF2-40B4-BE49-F238E27FC236}">
                  <a16:creationId xmlns:a16="http://schemas.microsoft.com/office/drawing/2014/main" id="{E61A0D1D-B200-4A2A-9DEA-80EC488B11D7}"/>
                </a:ext>
              </a:extLst>
            </p:cNvPr>
            <p:cNvGrpSpPr/>
            <p:nvPr userDrawn="1"/>
          </p:nvGrpSpPr>
          <p:grpSpPr>
            <a:xfrm>
              <a:off x="13614067" y="3535184"/>
              <a:ext cx="1195438" cy="678267"/>
              <a:chOff x="12757284" y="3224292"/>
              <a:chExt cx="1195438" cy="678267"/>
            </a:xfrm>
          </p:grpSpPr>
          <p:sp>
            <p:nvSpPr>
              <p:cNvPr id="192" name="Rechthoek 275">
                <a:extLst>
                  <a:ext uri="{FF2B5EF4-FFF2-40B4-BE49-F238E27FC236}">
                    <a16:creationId xmlns:a16="http://schemas.microsoft.com/office/drawing/2014/main" id="{F5E6DE1B-3A05-4A9A-AA3A-51649ADD934E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3" name="Rechthoek 276">
                <a:extLst>
                  <a:ext uri="{FF2B5EF4-FFF2-40B4-BE49-F238E27FC236}">
                    <a16:creationId xmlns:a16="http://schemas.microsoft.com/office/drawing/2014/main" id="{F567E2FE-17B8-400C-BFF3-450395110597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94" name="Groep 277">
                <a:extLst>
                  <a:ext uri="{FF2B5EF4-FFF2-40B4-BE49-F238E27FC236}">
                    <a16:creationId xmlns:a16="http://schemas.microsoft.com/office/drawing/2014/main" id="{90E12851-D269-4CFD-8A49-89471511595E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207" name="Rechthoek: afgeronde hoeken 290">
                  <a:extLst>
                    <a:ext uri="{FF2B5EF4-FFF2-40B4-BE49-F238E27FC236}">
                      <a16:creationId xmlns:a16="http://schemas.microsoft.com/office/drawing/2014/main" id="{94EB7F95-EBB8-4505-884A-956C1FCD8916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endPara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8" name="Rechthoek 291">
                  <a:extLst>
                    <a:ext uri="{FF2B5EF4-FFF2-40B4-BE49-F238E27FC236}">
                      <a16:creationId xmlns:a16="http://schemas.microsoft.com/office/drawing/2014/main" id="{1BCF18D2-FAED-47FD-A532-D4FD74019981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9" name="Rechthoek 292">
                  <a:extLst>
                    <a:ext uri="{FF2B5EF4-FFF2-40B4-BE49-F238E27FC236}">
                      <a16:creationId xmlns:a16="http://schemas.microsoft.com/office/drawing/2014/main" id="{30E38F31-9E47-4AA5-9F7A-DD258EA31681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0" name="Rechthoek 293">
                  <a:extLst>
                    <a:ext uri="{FF2B5EF4-FFF2-40B4-BE49-F238E27FC236}">
                      <a16:creationId xmlns:a16="http://schemas.microsoft.com/office/drawing/2014/main" id="{DB9BA5A7-87AA-4288-B18A-2849D4A89216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1" name="Rechthoek 294">
                  <a:extLst>
                    <a:ext uri="{FF2B5EF4-FFF2-40B4-BE49-F238E27FC236}">
                      <a16:creationId xmlns:a16="http://schemas.microsoft.com/office/drawing/2014/main" id="{80CDEBB7-8EB9-4525-9FC8-189636894CB0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2" name="Rechthoek 295">
                  <a:extLst>
                    <a:ext uri="{FF2B5EF4-FFF2-40B4-BE49-F238E27FC236}">
                      <a16:creationId xmlns:a16="http://schemas.microsoft.com/office/drawing/2014/main" id="{F0AA582E-92B1-4248-B21F-CCAAAAC8609F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95" name="Groep 278">
                <a:extLst>
                  <a:ext uri="{FF2B5EF4-FFF2-40B4-BE49-F238E27FC236}">
                    <a16:creationId xmlns:a16="http://schemas.microsoft.com/office/drawing/2014/main" id="{6222D373-DC9B-4DDC-B446-DF1D4C73E12B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99" name="Groep 282">
                  <a:extLst>
                    <a:ext uri="{FF2B5EF4-FFF2-40B4-BE49-F238E27FC236}">
                      <a16:creationId xmlns:a16="http://schemas.microsoft.com/office/drawing/2014/main" id="{72C6A67F-7068-43B6-9E98-26C84F2D8B4C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201" name="Rechthoek: afgeronde hoeken 284">
                    <a:extLst>
                      <a:ext uri="{FF2B5EF4-FFF2-40B4-BE49-F238E27FC236}">
                        <a16:creationId xmlns:a16="http://schemas.microsoft.com/office/drawing/2014/main" id="{4E55893D-FCD6-403B-AD26-3876F4A580C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2105"/>
                      </a:spcBef>
                      <a:spcAft>
                        <a:spcPts val="2105"/>
                      </a:spcAft>
                    </a:pPr>
                    <a:endParaRPr lang="nl-NL" sz="280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02" name="Rechthoek 285">
                    <a:extLst>
                      <a:ext uri="{FF2B5EF4-FFF2-40B4-BE49-F238E27FC236}">
                        <a16:creationId xmlns:a16="http://schemas.microsoft.com/office/drawing/2014/main" id="{60B8FAAB-EE20-4314-BA2E-0765E8F72B6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3" name="Rechthoek 286">
                    <a:extLst>
                      <a:ext uri="{FF2B5EF4-FFF2-40B4-BE49-F238E27FC236}">
                        <a16:creationId xmlns:a16="http://schemas.microsoft.com/office/drawing/2014/main" id="{A6D9782F-9F32-43D7-9E8C-AE748003E54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4" name="Rechthoek 287">
                    <a:extLst>
                      <a:ext uri="{FF2B5EF4-FFF2-40B4-BE49-F238E27FC236}">
                        <a16:creationId xmlns:a16="http://schemas.microsoft.com/office/drawing/2014/main" id="{EC5B7045-916A-4AD0-81FE-E4BBBFE389C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5" name="Rechthoek 288">
                    <a:extLst>
                      <a:ext uri="{FF2B5EF4-FFF2-40B4-BE49-F238E27FC236}">
                        <a16:creationId xmlns:a16="http://schemas.microsoft.com/office/drawing/2014/main" id="{098701C8-4361-49B0-BCA7-A8F3FF778E1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6" name="Rechthoek 289">
                    <a:extLst>
                      <a:ext uri="{FF2B5EF4-FFF2-40B4-BE49-F238E27FC236}">
                        <a16:creationId xmlns:a16="http://schemas.microsoft.com/office/drawing/2014/main" id="{7B39F7BB-A445-4FE8-BC6C-955670709E8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200" name="Boog 283">
                  <a:extLst>
                    <a:ext uri="{FF2B5EF4-FFF2-40B4-BE49-F238E27FC236}">
                      <a16:creationId xmlns:a16="http://schemas.microsoft.com/office/drawing/2014/main" id="{F23040F2-5494-432D-B820-CCAA1988ED2E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</p:grpSp>
          <p:sp>
            <p:nvSpPr>
              <p:cNvPr id="196" name="Tekstvak 279">
                <a:extLst>
                  <a:ext uri="{FF2B5EF4-FFF2-40B4-BE49-F238E27FC236}">
                    <a16:creationId xmlns:a16="http://schemas.microsoft.com/office/drawing/2014/main" id="{2942AA11-63F0-4006-AEF1-6D4462308EDB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97" name="Tekstvak 280">
                <a:extLst>
                  <a:ext uri="{FF2B5EF4-FFF2-40B4-BE49-F238E27FC236}">
                    <a16:creationId xmlns:a16="http://schemas.microsoft.com/office/drawing/2014/main" id="{E3210A11-4381-46EA-9E6F-D2E0DFE2C8E2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98" name="Picture 3">
                <a:extLst>
                  <a:ext uri="{FF2B5EF4-FFF2-40B4-BE49-F238E27FC236}">
                    <a16:creationId xmlns:a16="http://schemas.microsoft.com/office/drawing/2014/main" id="{212D6480-E9C7-43EA-A0E9-3A3C5A863653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810206" y="3671228"/>
                <a:ext cx="14251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grpSp>
        <p:nvGrpSpPr>
          <p:cNvPr id="74" name="Instructie">
            <a:extLst>
              <a:ext uri="{FF2B5EF4-FFF2-40B4-BE49-F238E27FC236}">
                <a16:creationId xmlns:a16="http://schemas.microsoft.com/office/drawing/2014/main" id="{6143FC48-7592-4337-8C6F-C8C026048308}"/>
              </a:ext>
            </a:extLst>
          </p:cNvPr>
          <p:cNvGrpSpPr/>
          <p:nvPr userDrawn="1"/>
        </p:nvGrpSpPr>
        <p:grpSpPr>
          <a:xfrm>
            <a:off x="-11761540" y="0"/>
            <a:ext cx="11164508" cy="11743958"/>
            <a:chOff x="-3426088" y="4512342"/>
            <a:chExt cx="3182755" cy="2660264"/>
          </a:xfrm>
        </p:grpSpPr>
        <p:sp>
          <p:nvSpPr>
            <p:cNvPr id="75" name="Rechthoek 127">
              <a:extLst>
                <a:ext uri="{FF2B5EF4-FFF2-40B4-BE49-F238E27FC236}">
                  <a16:creationId xmlns:a16="http://schemas.microsoft.com/office/drawing/2014/main" id="{C2DB9CB0-FDFD-4B95-85C7-62EBC401C533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76" name="Rechte verbindingslijn 128">
              <a:extLst>
                <a:ext uri="{FF2B5EF4-FFF2-40B4-BE49-F238E27FC236}">
                  <a16:creationId xmlns:a16="http://schemas.microsoft.com/office/drawing/2014/main" id="{4DD63A3F-5FCC-405B-81BA-E77F2793647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77" name="Rechthoek 130">
              <a:extLst>
                <a:ext uri="{FF2B5EF4-FFF2-40B4-BE49-F238E27FC236}">
                  <a16:creationId xmlns:a16="http://schemas.microsoft.com/office/drawing/2014/main" id="{58BFF1D8-DB47-4AD7-96CB-2A4E75C45A68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78" name="Rechthoek 133">
              <a:extLst>
                <a:ext uri="{FF2B5EF4-FFF2-40B4-BE49-F238E27FC236}">
                  <a16:creationId xmlns:a16="http://schemas.microsoft.com/office/drawing/2014/main" id="{FDAB2AD8-2C4C-405A-B254-A4EFB4848223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79" name="Rechthoek 136">
              <a:extLst>
                <a:ext uri="{FF2B5EF4-FFF2-40B4-BE49-F238E27FC236}">
                  <a16:creationId xmlns:a16="http://schemas.microsoft.com/office/drawing/2014/main" id="{A889BFAD-371E-4693-90E4-31F482B01473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0" name="Rechthoek 139">
              <a:extLst>
                <a:ext uri="{FF2B5EF4-FFF2-40B4-BE49-F238E27FC236}">
                  <a16:creationId xmlns:a16="http://schemas.microsoft.com/office/drawing/2014/main" id="{18804913-91E7-42B8-90DE-F9FF7DA712E1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81" name="Rechte verbindingslijn 140">
              <a:extLst>
                <a:ext uri="{FF2B5EF4-FFF2-40B4-BE49-F238E27FC236}">
                  <a16:creationId xmlns:a16="http://schemas.microsoft.com/office/drawing/2014/main" id="{C4DDD1F0-B44E-4523-8EA2-5CF570A5558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66" name="Tijdelijke aanduiding voor tekst 3">
            <a:extLst>
              <a:ext uri="{FF2B5EF4-FFF2-40B4-BE49-F238E27FC236}">
                <a16:creationId xmlns:a16="http://schemas.microsoft.com/office/drawing/2014/main" id="{04EB488E-1D5D-4652-9678-D82AC0E2590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504415" y="1449454"/>
            <a:ext cx="6635238" cy="3534585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51"/>
            </a:lvl1pPr>
          </a:lstStyle>
          <a:p>
            <a:pPr lvl="0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85044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4250" fill="hold"/>
                                        <p:tgtEl>
                                          <p:spTgt spid="10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6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Balk 10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-5567" y="-31537"/>
            <a:ext cx="42767257" cy="30306755"/>
          </a:xfrm>
          <a:solidFill>
            <a:schemeClr val="bg1">
              <a:lumMod val="95000"/>
            </a:schemeClr>
          </a:solidFill>
        </p:spPr>
        <p:txBody>
          <a:bodyPr tIns="1440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3" name="Tijdelijke aanduiding voor voettekst 4">
            <a:extLst>
              <a:ext uri="{FF2B5EF4-FFF2-40B4-BE49-F238E27FC236}">
                <a16:creationId xmlns:a16="http://schemas.microsoft.com/office/drawing/2014/main" id="{3FD2C40F-5ED0-4573-8F6F-31F0DA9D46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4" name="Tijdelijke aanduiding voor dianummer 5">
            <a:extLst>
              <a:ext uri="{FF2B5EF4-FFF2-40B4-BE49-F238E27FC236}">
                <a16:creationId xmlns:a16="http://schemas.microsoft.com/office/drawing/2014/main" id="{FDCACBC6-40CE-484B-AC87-549D0BAA4F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7" y="27329718"/>
            <a:ext cx="851960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4" name="Tijdelijke aanduiding voor verticale tekst 2">
            <a:extLst>
              <a:ext uri="{FF2B5EF4-FFF2-40B4-BE49-F238E27FC236}">
                <a16:creationId xmlns:a16="http://schemas.microsoft.com/office/drawing/2014/main" id="{1D71B8A2-5FF8-4862-BD63-087FD3B538C2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-11124" y="5946784"/>
            <a:ext cx="42778377" cy="6438767"/>
          </a:xfrm>
          <a:solidFill>
            <a:schemeClr val="tx2">
              <a:alpha val="82000"/>
            </a:schemeClr>
          </a:solidFill>
        </p:spPr>
        <p:txBody>
          <a:bodyPr vert="horz" lIns="216000" tIns="180000" rIns="216000" bIns="180000" rtlCol="0" anchor="ctr">
            <a:normAutofit/>
          </a:bodyPr>
          <a:lstStyle>
            <a:lvl1pPr marL="0" indent="0" algn="ctr">
              <a:buFontTx/>
              <a:buNone/>
              <a:defRPr lang="en-US" sz="12628" b="0" baseline="0" noProof="0" dirty="0">
                <a:solidFill>
                  <a:schemeClr val="bg1"/>
                </a:solidFill>
              </a:defRPr>
            </a:lvl1pPr>
            <a:lvl2pPr>
              <a:defRPr lang="en-US" noProof="0" dirty="0">
                <a:solidFill>
                  <a:schemeClr val="bg1"/>
                </a:solidFill>
              </a:defRPr>
            </a:lvl2pPr>
            <a:lvl3pPr>
              <a:defRPr lang="en-US" noProof="0" dirty="0">
                <a:solidFill>
                  <a:schemeClr val="bg1"/>
                </a:solidFill>
              </a:defRPr>
            </a:lvl3pPr>
            <a:lvl4pPr>
              <a:defRPr lang="en-US" noProof="0" dirty="0">
                <a:solidFill>
                  <a:schemeClr val="bg1"/>
                </a:solidFill>
              </a:defRPr>
            </a:lvl4pPr>
            <a:lvl5pPr algn="ctr">
              <a:defRPr lang="en-US" sz="12628" b="0" noProof="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/>
              <a:t>Klik om tekst in te voegen</a:t>
            </a:r>
          </a:p>
        </p:txBody>
      </p:sp>
      <p:sp>
        <p:nvSpPr>
          <p:cNvPr id="15" name="Tijdelijke aanduiding voor datum 3">
            <a:extLst>
              <a:ext uri="{FF2B5EF4-FFF2-40B4-BE49-F238E27FC236}">
                <a16:creationId xmlns:a16="http://schemas.microsoft.com/office/drawing/2014/main" id="{C4AEE98B-5CA5-411B-9688-928C7F70CAA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49D2A1-BCAF-464A-ADBC-F90E2254D093}" type="datetime1">
              <a:rPr lang="nl-NL" noProof="0" smtClean="0"/>
              <a:t>26-6-2023</a:t>
            </a:fld>
            <a:endParaRPr lang="nl-NL" noProof="0"/>
          </a:p>
        </p:txBody>
      </p:sp>
      <p:grpSp>
        <p:nvGrpSpPr>
          <p:cNvPr id="173" name="Groep 258">
            <a:extLst>
              <a:ext uri="{FF2B5EF4-FFF2-40B4-BE49-F238E27FC236}">
                <a16:creationId xmlns:a16="http://schemas.microsoft.com/office/drawing/2014/main" id="{C1EFFC3F-9638-4D57-9C97-534AB7CEBD23}"/>
              </a:ext>
            </a:extLst>
          </p:cNvPr>
          <p:cNvGrpSpPr/>
          <p:nvPr userDrawn="1"/>
        </p:nvGrpSpPr>
        <p:grpSpPr>
          <a:xfrm>
            <a:off x="43467416" y="5"/>
            <a:ext cx="11167745" cy="23084356"/>
            <a:chOff x="12391601" y="0"/>
            <a:chExt cx="3183678" cy="5229113"/>
          </a:xfrm>
        </p:grpSpPr>
        <p:grpSp>
          <p:nvGrpSpPr>
            <p:cNvPr id="174" name="Meer informatie">
              <a:extLst>
                <a:ext uri="{FF2B5EF4-FFF2-40B4-BE49-F238E27FC236}">
                  <a16:creationId xmlns:a16="http://schemas.microsoft.com/office/drawing/2014/main" id="{F667BF30-8018-47FD-B527-F0FE71A71227}"/>
                </a:ext>
              </a:extLst>
            </p:cNvPr>
            <p:cNvGrpSpPr/>
            <p:nvPr userDrawn="1"/>
          </p:nvGrpSpPr>
          <p:grpSpPr>
            <a:xfrm>
              <a:off x="12396764" y="4445840"/>
              <a:ext cx="3178515" cy="783273"/>
              <a:chOff x="-3741486" y="3386444"/>
              <a:chExt cx="3178515" cy="783273"/>
            </a:xfrm>
          </p:grpSpPr>
          <p:sp>
            <p:nvSpPr>
              <p:cNvPr id="235" name="Freeform 101">
                <a:extLst>
                  <a:ext uri="{FF2B5EF4-FFF2-40B4-BE49-F238E27FC236}">
                    <a16:creationId xmlns:a16="http://schemas.microsoft.com/office/drawing/2014/main" id="{5E80BC63-2A63-4FDA-B5CD-A7CA400F38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236" name="Rechthoek 306">
                <a:extLst>
                  <a:ext uri="{FF2B5EF4-FFF2-40B4-BE49-F238E27FC236}">
                    <a16:creationId xmlns:a16="http://schemas.microsoft.com/office/drawing/2014/main" id="{689FF9A8-43C3-4406-964F-81D4CAFDCBF0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37" name="Rechte verbindingslijn 307">
                <a:extLst>
                  <a:ext uri="{FF2B5EF4-FFF2-40B4-BE49-F238E27FC236}">
                    <a16:creationId xmlns:a16="http://schemas.microsoft.com/office/drawing/2014/main" id="{5E7D8531-F4E6-425D-A8F2-F9DA26D72C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75" name="Rechthoek 260">
              <a:extLst>
                <a:ext uri="{FF2B5EF4-FFF2-40B4-BE49-F238E27FC236}">
                  <a16:creationId xmlns:a16="http://schemas.microsoft.com/office/drawing/2014/main" id="{6187B742-9185-4FF6-BFAF-312EA12DAABA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176" name="Ovaal 261">
              <a:extLst>
                <a:ext uri="{FF2B5EF4-FFF2-40B4-BE49-F238E27FC236}">
                  <a16:creationId xmlns:a16="http://schemas.microsoft.com/office/drawing/2014/main" id="{F9F2AA75-2B84-4090-AE72-4842E63CAD8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7" name="Rechte verbindingslijn 262">
              <a:extLst>
                <a:ext uri="{FF2B5EF4-FFF2-40B4-BE49-F238E27FC236}">
                  <a16:creationId xmlns:a16="http://schemas.microsoft.com/office/drawing/2014/main" id="{C5B814DC-E462-4AC7-82DD-1D050B7067A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78" name="Rechte verbindingslijn 263">
              <a:extLst>
                <a:ext uri="{FF2B5EF4-FFF2-40B4-BE49-F238E27FC236}">
                  <a16:creationId xmlns:a16="http://schemas.microsoft.com/office/drawing/2014/main" id="{358FFB8B-DB58-4B39-B451-3B230B33A0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9" name="Rechthoek 264">
              <a:extLst>
                <a:ext uri="{FF2B5EF4-FFF2-40B4-BE49-F238E27FC236}">
                  <a16:creationId xmlns:a16="http://schemas.microsoft.com/office/drawing/2014/main" id="{1E0186EA-B3F4-4977-B6C8-B0A55C82EC4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oor deze te selecteren en op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om een nieuwe afbeelding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80" name="Rechte verbindingslijn 265">
              <a:extLst>
                <a:ext uri="{FF2B5EF4-FFF2-40B4-BE49-F238E27FC236}">
                  <a16:creationId xmlns:a16="http://schemas.microsoft.com/office/drawing/2014/main" id="{4CB86C25-16AF-4D7F-876C-0206DA81457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4327957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81" name="Ovaal 266">
              <a:extLst>
                <a:ext uri="{FF2B5EF4-FFF2-40B4-BE49-F238E27FC236}">
                  <a16:creationId xmlns:a16="http://schemas.microsoft.com/office/drawing/2014/main" id="{CDCA5228-950F-4E97-9AB0-CA9BFBCCE7C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82" name="Rechthoek 267">
              <a:extLst>
                <a:ext uri="{FF2B5EF4-FFF2-40B4-BE49-F238E27FC236}">
                  <a16:creationId xmlns:a16="http://schemas.microsoft.com/office/drawing/2014/main" id="{8DAF3E25-27A2-423C-B2AB-29B3EDDBA21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83" name="Groep 268">
              <a:extLst>
                <a:ext uri="{FF2B5EF4-FFF2-40B4-BE49-F238E27FC236}">
                  <a16:creationId xmlns:a16="http://schemas.microsoft.com/office/drawing/2014/main" id="{542482A0-99B6-4164-AE39-A958DBA72BAA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32" name="Rechthoek 302">
                <a:extLst>
                  <a:ext uri="{FF2B5EF4-FFF2-40B4-BE49-F238E27FC236}">
                    <a16:creationId xmlns:a16="http://schemas.microsoft.com/office/drawing/2014/main" id="{F39F8540-2F4A-4394-8149-273296238E71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233" name="Rechte verbindingslijn 303">
                <a:extLst>
                  <a:ext uri="{FF2B5EF4-FFF2-40B4-BE49-F238E27FC236}">
                    <a16:creationId xmlns:a16="http://schemas.microsoft.com/office/drawing/2014/main" id="{06501535-42A3-4EC8-BB29-B9FC044BCC7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34" name="Gelijkbenige driehoek 304">
                <a:extLst>
                  <a:ext uri="{FF2B5EF4-FFF2-40B4-BE49-F238E27FC236}">
                    <a16:creationId xmlns:a16="http://schemas.microsoft.com/office/drawing/2014/main" id="{78A54C8A-AF82-4A15-A3AD-D1ED60EEA7F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84" name="Groep 269">
              <a:extLst>
                <a:ext uri="{FF2B5EF4-FFF2-40B4-BE49-F238E27FC236}">
                  <a16:creationId xmlns:a16="http://schemas.microsoft.com/office/drawing/2014/main" id="{D9F68751-1A39-4A61-A83E-32B1CAABBB9D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211" name="Rechthoek 296">
                <a:extLst>
                  <a:ext uri="{FF2B5EF4-FFF2-40B4-BE49-F238E27FC236}">
                    <a16:creationId xmlns:a16="http://schemas.microsoft.com/office/drawing/2014/main" id="{CE0D5B93-8739-4DFE-94DA-00BC260366E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12" name="Ovaal 297">
                <a:extLst>
                  <a:ext uri="{FF2B5EF4-FFF2-40B4-BE49-F238E27FC236}">
                    <a16:creationId xmlns:a16="http://schemas.microsoft.com/office/drawing/2014/main" id="{CBBBA1E1-9D01-44E3-9225-86D943A0EE3E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Vrije vorm: vorm 298">
                <a:extLst>
                  <a:ext uri="{FF2B5EF4-FFF2-40B4-BE49-F238E27FC236}">
                    <a16:creationId xmlns:a16="http://schemas.microsoft.com/office/drawing/2014/main" id="{DBFDBB89-30E8-4B1A-B33A-1B3138E6E526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9" name="Rechthoek: afgeronde hoeken 299">
                <a:extLst>
                  <a:ext uri="{FF2B5EF4-FFF2-40B4-BE49-F238E27FC236}">
                    <a16:creationId xmlns:a16="http://schemas.microsoft.com/office/drawing/2014/main" id="{999AB046-2619-452F-ACDF-ADC6E68C5425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230" name="Rechte verbindingslijn 300">
                <a:extLst>
                  <a:ext uri="{FF2B5EF4-FFF2-40B4-BE49-F238E27FC236}">
                    <a16:creationId xmlns:a16="http://schemas.microsoft.com/office/drawing/2014/main" id="{A4DB2D6E-8CF7-4684-B700-DF7E7C581C3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31" name="Rechte verbindingslijn 301">
                <a:extLst>
                  <a:ext uri="{FF2B5EF4-FFF2-40B4-BE49-F238E27FC236}">
                    <a16:creationId xmlns:a16="http://schemas.microsoft.com/office/drawing/2014/main" id="{9D4D3B63-E337-4385-BD0C-951DDE56002B}"/>
                  </a:ext>
                </a:extLst>
              </p:cNvPr>
              <p:cNvCxnSpPr>
                <a:cxnSpLocks/>
                <a:stCxn id="229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85" name="Ovaal 270">
              <a:extLst>
                <a:ext uri="{FF2B5EF4-FFF2-40B4-BE49-F238E27FC236}">
                  <a16:creationId xmlns:a16="http://schemas.microsoft.com/office/drawing/2014/main" id="{58C9ED72-D2A8-4EEA-9864-3A615C92B164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86" name="Rechthoek 271">
              <a:extLst>
                <a:ext uri="{FF2B5EF4-FFF2-40B4-BE49-F238E27FC236}">
                  <a16:creationId xmlns:a16="http://schemas.microsoft.com/office/drawing/2014/main" id="{8A432441-0DAA-4B9B-8AA0-D71133FEE396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43320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aan de linker kant van het scherm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87" name="Rechte verbindingslijn 272">
              <a:extLst>
                <a:ext uri="{FF2B5EF4-FFF2-40B4-BE49-F238E27FC236}">
                  <a16:creationId xmlns:a16="http://schemas.microsoft.com/office/drawing/2014/main" id="{8506943D-D6E6-441D-8984-6581D048C39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88" name="Rechthoek 273">
              <a:extLst>
                <a:ext uri="{FF2B5EF4-FFF2-40B4-BE49-F238E27FC236}">
                  <a16:creationId xmlns:a16="http://schemas.microsoft.com/office/drawing/2014/main" id="{3E57D89B-0E56-4A4C-8059-4FB4603F6AF3}"/>
                </a:ext>
              </a:extLst>
            </p:cNvPr>
            <p:cNvSpPr/>
            <p:nvPr userDrawn="1"/>
          </p:nvSpPr>
          <p:spPr>
            <a:xfrm>
              <a:off x="12654153" y="3238910"/>
              <a:ext cx="1624926" cy="805220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3509" b="0" i="1" noProof="0">
                <a:solidFill>
                  <a:schemeClr val="tx1"/>
                </a:solidFill>
              </a:endParaRPr>
            </a:p>
          </p:txBody>
        </p:sp>
        <p:grpSp>
          <p:nvGrpSpPr>
            <p:cNvPr id="189" name="Groep 274">
              <a:extLst>
                <a:ext uri="{FF2B5EF4-FFF2-40B4-BE49-F238E27FC236}">
                  <a16:creationId xmlns:a16="http://schemas.microsoft.com/office/drawing/2014/main" id="{482FCCB4-698B-4EEE-A2B4-18D0CC8FE29F}"/>
                </a:ext>
              </a:extLst>
            </p:cNvPr>
            <p:cNvGrpSpPr/>
            <p:nvPr userDrawn="1"/>
          </p:nvGrpSpPr>
          <p:grpSpPr>
            <a:xfrm>
              <a:off x="13614067" y="3535184"/>
              <a:ext cx="1195438" cy="678267"/>
              <a:chOff x="12757284" y="3224292"/>
              <a:chExt cx="1195438" cy="678267"/>
            </a:xfrm>
          </p:grpSpPr>
          <p:sp>
            <p:nvSpPr>
              <p:cNvPr id="190" name="Rechthoek 275">
                <a:extLst>
                  <a:ext uri="{FF2B5EF4-FFF2-40B4-BE49-F238E27FC236}">
                    <a16:creationId xmlns:a16="http://schemas.microsoft.com/office/drawing/2014/main" id="{AA27D55B-E2DA-4324-BEFF-288A1F1CB785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1" name="Rechthoek 276">
                <a:extLst>
                  <a:ext uri="{FF2B5EF4-FFF2-40B4-BE49-F238E27FC236}">
                    <a16:creationId xmlns:a16="http://schemas.microsoft.com/office/drawing/2014/main" id="{8D0500E3-6A5F-47CD-AB65-8005E13AF02E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92" name="Groep 277">
                <a:extLst>
                  <a:ext uri="{FF2B5EF4-FFF2-40B4-BE49-F238E27FC236}">
                    <a16:creationId xmlns:a16="http://schemas.microsoft.com/office/drawing/2014/main" id="{36B44A3F-F910-4425-A31E-AA256BDD0022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205" name="Rechthoek: afgeronde hoeken 290">
                  <a:extLst>
                    <a:ext uri="{FF2B5EF4-FFF2-40B4-BE49-F238E27FC236}">
                      <a16:creationId xmlns:a16="http://schemas.microsoft.com/office/drawing/2014/main" id="{25CE5A8F-57DF-44FE-92B2-3F6EC4F03327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endPara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6" name="Rechthoek 291">
                  <a:extLst>
                    <a:ext uri="{FF2B5EF4-FFF2-40B4-BE49-F238E27FC236}">
                      <a16:creationId xmlns:a16="http://schemas.microsoft.com/office/drawing/2014/main" id="{F85F14FA-B63C-4308-84D4-DCDFFBB989C2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7" name="Rechthoek 292">
                  <a:extLst>
                    <a:ext uri="{FF2B5EF4-FFF2-40B4-BE49-F238E27FC236}">
                      <a16:creationId xmlns:a16="http://schemas.microsoft.com/office/drawing/2014/main" id="{7D99B6F2-6B94-44D2-ABF7-D5C7E28C86DE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8" name="Rechthoek 293">
                  <a:extLst>
                    <a:ext uri="{FF2B5EF4-FFF2-40B4-BE49-F238E27FC236}">
                      <a16:creationId xmlns:a16="http://schemas.microsoft.com/office/drawing/2014/main" id="{C7C81D0D-F3F4-42E3-9221-5BF634CFA946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9" name="Rechthoek 294">
                  <a:extLst>
                    <a:ext uri="{FF2B5EF4-FFF2-40B4-BE49-F238E27FC236}">
                      <a16:creationId xmlns:a16="http://schemas.microsoft.com/office/drawing/2014/main" id="{1F578291-743C-4720-B3C4-394FA4C40EEB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0" name="Rechthoek 295">
                  <a:extLst>
                    <a:ext uri="{FF2B5EF4-FFF2-40B4-BE49-F238E27FC236}">
                      <a16:creationId xmlns:a16="http://schemas.microsoft.com/office/drawing/2014/main" id="{0C2FC51D-3763-459B-A846-3ED2A9C59AC6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93" name="Groep 278">
                <a:extLst>
                  <a:ext uri="{FF2B5EF4-FFF2-40B4-BE49-F238E27FC236}">
                    <a16:creationId xmlns:a16="http://schemas.microsoft.com/office/drawing/2014/main" id="{26C56313-4505-41C2-BCDF-534F1814EBE9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97" name="Groep 282">
                  <a:extLst>
                    <a:ext uri="{FF2B5EF4-FFF2-40B4-BE49-F238E27FC236}">
                      <a16:creationId xmlns:a16="http://schemas.microsoft.com/office/drawing/2014/main" id="{31F525E5-1974-459F-BD76-F8579F5C2160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99" name="Rechthoek: afgeronde hoeken 284">
                    <a:extLst>
                      <a:ext uri="{FF2B5EF4-FFF2-40B4-BE49-F238E27FC236}">
                        <a16:creationId xmlns:a16="http://schemas.microsoft.com/office/drawing/2014/main" id="{937C8BB9-EFC8-4FB9-A1A2-73C6B77BA941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2105"/>
                      </a:spcBef>
                      <a:spcAft>
                        <a:spcPts val="2105"/>
                      </a:spcAft>
                    </a:pPr>
                    <a:endParaRPr lang="nl-NL" sz="280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00" name="Rechthoek 285">
                    <a:extLst>
                      <a:ext uri="{FF2B5EF4-FFF2-40B4-BE49-F238E27FC236}">
                        <a16:creationId xmlns:a16="http://schemas.microsoft.com/office/drawing/2014/main" id="{00A4B283-B36E-40D3-9C40-8CDB564A0B6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1" name="Rechthoek 286">
                    <a:extLst>
                      <a:ext uri="{FF2B5EF4-FFF2-40B4-BE49-F238E27FC236}">
                        <a16:creationId xmlns:a16="http://schemas.microsoft.com/office/drawing/2014/main" id="{1796BF20-C5B1-4048-9640-69158F3976A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2" name="Rechthoek 287">
                    <a:extLst>
                      <a:ext uri="{FF2B5EF4-FFF2-40B4-BE49-F238E27FC236}">
                        <a16:creationId xmlns:a16="http://schemas.microsoft.com/office/drawing/2014/main" id="{398189E4-06D1-4CBA-8E0E-C87B5C3EA77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3" name="Rechthoek 288">
                    <a:extLst>
                      <a:ext uri="{FF2B5EF4-FFF2-40B4-BE49-F238E27FC236}">
                        <a16:creationId xmlns:a16="http://schemas.microsoft.com/office/drawing/2014/main" id="{531440A8-DB35-40F4-B3C5-15FB670147A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4" name="Rechthoek 289">
                    <a:extLst>
                      <a:ext uri="{FF2B5EF4-FFF2-40B4-BE49-F238E27FC236}">
                        <a16:creationId xmlns:a16="http://schemas.microsoft.com/office/drawing/2014/main" id="{6FD5851A-6E2D-4AD2-AD0F-D95A0B19DA7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198" name="Boog 283">
                  <a:extLst>
                    <a:ext uri="{FF2B5EF4-FFF2-40B4-BE49-F238E27FC236}">
                      <a16:creationId xmlns:a16="http://schemas.microsoft.com/office/drawing/2014/main" id="{1AAF39A5-D9FF-4585-8646-A2EEA9E70D51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</p:grpSp>
          <p:sp>
            <p:nvSpPr>
              <p:cNvPr id="194" name="Tekstvak 279">
                <a:extLst>
                  <a:ext uri="{FF2B5EF4-FFF2-40B4-BE49-F238E27FC236}">
                    <a16:creationId xmlns:a16="http://schemas.microsoft.com/office/drawing/2014/main" id="{17DEFD0A-EFFC-4148-9E20-78CE2DD83BCD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95" name="Tekstvak 280">
                <a:extLst>
                  <a:ext uri="{FF2B5EF4-FFF2-40B4-BE49-F238E27FC236}">
                    <a16:creationId xmlns:a16="http://schemas.microsoft.com/office/drawing/2014/main" id="{DCC7AB1A-3EFC-4533-ACBF-051274587770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96" name="Picture 3">
                <a:extLst>
                  <a:ext uri="{FF2B5EF4-FFF2-40B4-BE49-F238E27FC236}">
                    <a16:creationId xmlns:a16="http://schemas.microsoft.com/office/drawing/2014/main" id="{6CDE7AA1-A80F-4A1C-BB2C-0D6173D5D24D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810206" y="3671228"/>
                <a:ext cx="14251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grpSp>
        <p:nvGrpSpPr>
          <p:cNvPr id="74" name="Instructie">
            <a:extLst>
              <a:ext uri="{FF2B5EF4-FFF2-40B4-BE49-F238E27FC236}">
                <a16:creationId xmlns:a16="http://schemas.microsoft.com/office/drawing/2014/main" id="{5E0F10CF-AB59-49C0-AB85-BF6D3157CDE7}"/>
              </a:ext>
            </a:extLst>
          </p:cNvPr>
          <p:cNvGrpSpPr/>
          <p:nvPr userDrawn="1"/>
        </p:nvGrpSpPr>
        <p:grpSpPr>
          <a:xfrm>
            <a:off x="-11761540" y="0"/>
            <a:ext cx="11164508" cy="11743958"/>
            <a:chOff x="-3426088" y="4512342"/>
            <a:chExt cx="3182755" cy="2660264"/>
          </a:xfrm>
        </p:grpSpPr>
        <p:sp>
          <p:nvSpPr>
            <p:cNvPr id="75" name="Rechthoek 127">
              <a:extLst>
                <a:ext uri="{FF2B5EF4-FFF2-40B4-BE49-F238E27FC236}">
                  <a16:creationId xmlns:a16="http://schemas.microsoft.com/office/drawing/2014/main" id="{5D38BD5B-23F8-41FE-8027-8E44F7F22116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76" name="Rechte verbindingslijn 128">
              <a:extLst>
                <a:ext uri="{FF2B5EF4-FFF2-40B4-BE49-F238E27FC236}">
                  <a16:creationId xmlns:a16="http://schemas.microsoft.com/office/drawing/2014/main" id="{00AAA963-7906-4ECE-8A89-9139ABC167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77" name="Rechthoek 130">
              <a:extLst>
                <a:ext uri="{FF2B5EF4-FFF2-40B4-BE49-F238E27FC236}">
                  <a16:creationId xmlns:a16="http://schemas.microsoft.com/office/drawing/2014/main" id="{548F0181-E434-48B0-B0FE-D94F047CF0F0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78" name="Rechthoek 133">
              <a:extLst>
                <a:ext uri="{FF2B5EF4-FFF2-40B4-BE49-F238E27FC236}">
                  <a16:creationId xmlns:a16="http://schemas.microsoft.com/office/drawing/2014/main" id="{5CC572EB-9A94-4CBF-A5FB-0E1D50EDAEBE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79" name="Rechthoek 136">
              <a:extLst>
                <a:ext uri="{FF2B5EF4-FFF2-40B4-BE49-F238E27FC236}">
                  <a16:creationId xmlns:a16="http://schemas.microsoft.com/office/drawing/2014/main" id="{A209D926-B538-4C9F-92FA-C20CCCEC907B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0" name="Rechthoek 139">
              <a:extLst>
                <a:ext uri="{FF2B5EF4-FFF2-40B4-BE49-F238E27FC236}">
                  <a16:creationId xmlns:a16="http://schemas.microsoft.com/office/drawing/2014/main" id="{422F0FA3-6D89-46D2-A941-C54A720EE31F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81" name="Rechte verbindingslijn 140">
              <a:extLst>
                <a:ext uri="{FF2B5EF4-FFF2-40B4-BE49-F238E27FC236}">
                  <a16:creationId xmlns:a16="http://schemas.microsoft.com/office/drawing/2014/main" id="{0918C9FA-DDF6-4164-B347-0AB0B07FB61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66" name="Tijdelijke aanduiding voor tekst 3">
            <a:extLst>
              <a:ext uri="{FF2B5EF4-FFF2-40B4-BE49-F238E27FC236}">
                <a16:creationId xmlns:a16="http://schemas.microsoft.com/office/drawing/2014/main" id="{A4956C2C-95FD-447A-BD1F-81754DAF602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504415" y="1449454"/>
            <a:ext cx="6635238" cy="3534585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51"/>
            </a:lvl1pPr>
          </a:lstStyle>
          <a:p>
            <a:pPr lvl="0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09998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4250" fill="hold"/>
                                        <p:tgtEl>
                                          <p:spTgt spid="10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4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80%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-2" y="6476679"/>
            <a:ext cx="42710778" cy="23798534"/>
          </a:xfrm>
          <a:solidFill>
            <a:schemeClr val="bg1">
              <a:lumMod val="95000"/>
            </a:schemeClr>
          </a:solidFill>
        </p:spPr>
        <p:txBody>
          <a:bodyPr tIns="1080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0" name="Tijdelijke aanduiding voor voettekst 4">
            <a:extLst>
              <a:ext uri="{FF2B5EF4-FFF2-40B4-BE49-F238E27FC236}">
                <a16:creationId xmlns:a16="http://schemas.microsoft.com/office/drawing/2014/main" id="{1DA20FBD-9D0F-4EAB-B12C-126591D8B7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6644E39-2AF2-4EA0-9C3F-28C89D5A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7" y="27329718"/>
            <a:ext cx="938238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7" name="Tijdelijke aanduiding voor tekst 14">
            <a:extLst>
              <a:ext uri="{FF2B5EF4-FFF2-40B4-BE49-F238E27FC236}">
                <a16:creationId xmlns:a16="http://schemas.microsoft.com/office/drawing/2014/main" id="{A6BF4B27-7FC5-4896-80CE-3BA6119B83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15" name="Tijdelijke aanduiding voor datum 3">
            <a:extLst>
              <a:ext uri="{FF2B5EF4-FFF2-40B4-BE49-F238E27FC236}">
                <a16:creationId xmlns:a16="http://schemas.microsoft.com/office/drawing/2014/main" id="{B4AED1A4-683A-4021-8F91-6EB13C2447C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A659124-FA22-4DE2-958C-6848B49C8891}" type="datetime1">
              <a:rPr lang="nl-NL" noProof="0" smtClean="0"/>
              <a:t>26-6-2023</a:t>
            </a:fld>
            <a:endParaRPr lang="nl-NL" noProof="0"/>
          </a:p>
        </p:txBody>
      </p:sp>
      <p:grpSp>
        <p:nvGrpSpPr>
          <p:cNvPr id="153" name="Groep 258">
            <a:extLst>
              <a:ext uri="{FF2B5EF4-FFF2-40B4-BE49-F238E27FC236}">
                <a16:creationId xmlns:a16="http://schemas.microsoft.com/office/drawing/2014/main" id="{DA1D9589-42C5-473C-B14F-9E4339BBCFCA}"/>
              </a:ext>
            </a:extLst>
          </p:cNvPr>
          <p:cNvGrpSpPr/>
          <p:nvPr userDrawn="1"/>
        </p:nvGrpSpPr>
        <p:grpSpPr>
          <a:xfrm>
            <a:off x="43467416" y="5"/>
            <a:ext cx="11167745" cy="23084356"/>
            <a:chOff x="12391601" y="0"/>
            <a:chExt cx="3183678" cy="5229113"/>
          </a:xfrm>
        </p:grpSpPr>
        <p:grpSp>
          <p:nvGrpSpPr>
            <p:cNvPr id="154" name="Meer informatie">
              <a:extLst>
                <a:ext uri="{FF2B5EF4-FFF2-40B4-BE49-F238E27FC236}">
                  <a16:creationId xmlns:a16="http://schemas.microsoft.com/office/drawing/2014/main" id="{C44F933F-DCEE-4D3F-BF26-8EBF393D3EA5}"/>
                </a:ext>
              </a:extLst>
            </p:cNvPr>
            <p:cNvGrpSpPr/>
            <p:nvPr userDrawn="1"/>
          </p:nvGrpSpPr>
          <p:grpSpPr>
            <a:xfrm>
              <a:off x="12396764" y="4445840"/>
              <a:ext cx="3178515" cy="783273"/>
              <a:chOff x="-3741486" y="3386444"/>
              <a:chExt cx="3178515" cy="783273"/>
            </a:xfrm>
          </p:grpSpPr>
          <p:sp>
            <p:nvSpPr>
              <p:cNvPr id="200" name="Freeform 101">
                <a:extLst>
                  <a:ext uri="{FF2B5EF4-FFF2-40B4-BE49-F238E27FC236}">
                    <a16:creationId xmlns:a16="http://schemas.microsoft.com/office/drawing/2014/main" id="{E0680B05-28BD-4311-8AD4-830F2662FBB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201" name="Rechthoek 306">
                <a:extLst>
                  <a:ext uri="{FF2B5EF4-FFF2-40B4-BE49-F238E27FC236}">
                    <a16:creationId xmlns:a16="http://schemas.microsoft.com/office/drawing/2014/main" id="{5C5EE0C1-0229-4D49-885B-AB366CBDA71D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02" name="Rechte verbindingslijn 307">
                <a:extLst>
                  <a:ext uri="{FF2B5EF4-FFF2-40B4-BE49-F238E27FC236}">
                    <a16:creationId xmlns:a16="http://schemas.microsoft.com/office/drawing/2014/main" id="{15573BEF-5FCB-406C-978A-8717772AAF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5" name="Rechthoek 260">
              <a:extLst>
                <a:ext uri="{FF2B5EF4-FFF2-40B4-BE49-F238E27FC236}">
                  <a16:creationId xmlns:a16="http://schemas.microsoft.com/office/drawing/2014/main" id="{D80855EE-5D78-48AE-AFCD-97EA44C62C9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156" name="Ovaal 261">
              <a:extLst>
                <a:ext uri="{FF2B5EF4-FFF2-40B4-BE49-F238E27FC236}">
                  <a16:creationId xmlns:a16="http://schemas.microsoft.com/office/drawing/2014/main" id="{E2DF79CB-32C3-460F-997E-20B73C07E958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7" name="Rechte verbindingslijn 262">
              <a:extLst>
                <a:ext uri="{FF2B5EF4-FFF2-40B4-BE49-F238E27FC236}">
                  <a16:creationId xmlns:a16="http://schemas.microsoft.com/office/drawing/2014/main" id="{E0DEC3E8-C497-4A23-BA89-B65A4D285A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58" name="Rechte verbindingslijn 263">
              <a:extLst>
                <a:ext uri="{FF2B5EF4-FFF2-40B4-BE49-F238E27FC236}">
                  <a16:creationId xmlns:a16="http://schemas.microsoft.com/office/drawing/2014/main" id="{636DE5FF-E15E-44A3-982E-93DB9003197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9" name="Rechthoek 264">
              <a:extLst>
                <a:ext uri="{FF2B5EF4-FFF2-40B4-BE49-F238E27FC236}">
                  <a16:creationId xmlns:a16="http://schemas.microsoft.com/office/drawing/2014/main" id="{ABA7E3C3-36A7-43D0-AB18-7BB62CE6C32B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oor deze te selecteren en op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om een nieuwe afbeelding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60" name="Rechte verbindingslijn 265">
              <a:extLst>
                <a:ext uri="{FF2B5EF4-FFF2-40B4-BE49-F238E27FC236}">
                  <a16:creationId xmlns:a16="http://schemas.microsoft.com/office/drawing/2014/main" id="{E6CEC6AE-ED76-4367-B1B9-FC5B957FACE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4327957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1" name="Ovaal 266">
              <a:extLst>
                <a:ext uri="{FF2B5EF4-FFF2-40B4-BE49-F238E27FC236}">
                  <a16:creationId xmlns:a16="http://schemas.microsoft.com/office/drawing/2014/main" id="{E056C88D-6140-4DAC-9BBE-E7B428A9D97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62" name="Rechthoek 267">
              <a:extLst>
                <a:ext uri="{FF2B5EF4-FFF2-40B4-BE49-F238E27FC236}">
                  <a16:creationId xmlns:a16="http://schemas.microsoft.com/office/drawing/2014/main" id="{32E164EC-77FD-4FC1-9761-36792135480A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63" name="Groep 268">
              <a:extLst>
                <a:ext uri="{FF2B5EF4-FFF2-40B4-BE49-F238E27FC236}">
                  <a16:creationId xmlns:a16="http://schemas.microsoft.com/office/drawing/2014/main" id="{66A970B5-0C0C-487F-A79A-3858C90E2330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97" name="Rechthoek 302">
                <a:extLst>
                  <a:ext uri="{FF2B5EF4-FFF2-40B4-BE49-F238E27FC236}">
                    <a16:creationId xmlns:a16="http://schemas.microsoft.com/office/drawing/2014/main" id="{A96DAE96-85E8-4F85-B1EB-312E5FD7F723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198" name="Rechte verbindingslijn 303">
                <a:extLst>
                  <a:ext uri="{FF2B5EF4-FFF2-40B4-BE49-F238E27FC236}">
                    <a16:creationId xmlns:a16="http://schemas.microsoft.com/office/drawing/2014/main" id="{4CF5C91E-4661-4756-AB3E-8A36CCED7C0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99" name="Gelijkbenige driehoek 304">
                <a:extLst>
                  <a:ext uri="{FF2B5EF4-FFF2-40B4-BE49-F238E27FC236}">
                    <a16:creationId xmlns:a16="http://schemas.microsoft.com/office/drawing/2014/main" id="{3B90813B-784B-4DFE-92D2-FD85D98D1F05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64" name="Groep 269">
              <a:extLst>
                <a:ext uri="{FF2B5EF4-FFF2-40B4-BE49-F238E27FC236}">
                  <a16:creationId xmlns:a16="http://schemas.microsoft.com/office/drawing/2014/main" id="{7B852B1E-CE1B-46C6-B5D7-D38D38202C16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191" name="Rechthoek 296">
                <a:extLst>
                  <a:ext uri="{FF2B5EF4-FFF2-40B4-BE49-F238E27FC236}">
                    <a16:creationId xmlns:a16="http://schemas.microsoft.com/office/drawing/2014/main" id="{E31C9AB7-98E4-4194-BBB6-44F7032E2EA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2" name="Ovaal 297">
                <a:extLst>
                  <a:ext uri="{FF2B5EF4-FFF2-40B4-BE49-F238E27FC236}">
                    <a16:creationId xmlns:a16="http://schemas.microsoft.com/office/drawing/2014/main" id="{A3D4D748-52E1-44BD-A4E2-839A6CFCB2DA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3" name="Vrije vorm: vorm 298">
                <a:extLst>
                  <a:ext uri="{FF2B5EF4-FFF2-40B4-BE49-F238E27FC236}">
                    <a16:creationId xmlns:a16="http://schemas.microsoft.com/office/drawing/2014/main" id="{7A57264A-23B7-4221-BCC0-78742143AE7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4" name="Rechthoek: afgeronde hoeken 299">
                <a:extLst>
                  <a:ext uri="{FF2B5EF4-FFF2-40B4-BE49-F238E27FC236}">
                    <a16:creationId xmlns:a16="http://schemas.microsoft.com/office/drawing/2014/main" id="{EFE133AF-8CEB-4497-8616-583F4E51C12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95" name="Rechte verbindingslijn 300">
                <a:extLst>
                  <a:ext uri="{FF2B5EF4-FFF2-40B4-BE49-F238E27FC236}">
                    <a16:creationId xmlns:a16="http://schemas.microsoft.com/office/drawing/2014/main" id="{26563C41-B812-44E0-8096-A355745352C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96" name="Rechte verbindingslijn 301">
                <a:extLst>
                  <a:ext uri="{FF2B5EF4-FFF2-40B4-BE49-F238E27FC236}">
                    <a16:creationId xmlns:a16="http://schemas.microsoft.com/office/drawing/2014/main" id="{A7DB654B-B206-4180-A352-57C1FFA1F26D}"/>
                  </a:ext>
                </a:extLst>
              </p:cNvPr>
              <p:cNvCxnSpPr>
                <a:cxnSpLocks/>
                <a:stCxn id="19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65" name="Ovaal 270">
              <a:extLst>
                <a:ext uri="{FF2B5EF4-FFF2-40B4-BE49-F238E27FC236}">
                  <a16:creationId xmlns:a16="http://schemas.microsoft.com/office/drawing/2014/main" id="{B8F12F58-5EEA-402B-8334-FC93673E8D8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6" name="Rechthoek 271">
              <a:extLst>
                <a:ext uri="{FF2B5EF4-FFF2-40B4-BE49-F238E27FC236}">
                  <a16:creationId xmlns:a16="http://schemas.microsoft.com/office/drawing/2014/main" id="{34D6239F-5BAB-43CA-A786-31E13E7F1970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43320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aan de linker kant van het scherm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67" name="Rechte verbindingslijn 272">
              <a:extLst>
                <a:ext uri="{FF2B5EF4-FFF2-40B4-BE49-F238E27FC236}">
                  <a16:creationId xmlns:a16="http://schemas.microsoft.com/office/drawing/2014/main" id="{D376FBCD-AB4C-47FD-BE76-BF4D7048193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8" name="Rechthoek 273">
              <a:extLst>
                <a:ext uri="{FF2B5EF4-FFF2-40B4-BE49-F238E27FC236}">
                  <a16:creationId xmlns:a16="http://schemas.microsoft.com/office/drawing/2014/main" id="{4FDEA777-4601-4BAB-9E85-7443A5A30D79}"/>
                </a:ext>
              </a:extLst>
            </p:cNvPr>
            <p:cNvSpPr/>
            <p:nvPr userDrawn="1"/>
          </p:nvSpPr>
          <p:spPr>
            <a:xfrm>
              <a:off x="12654153" y="3238910"/>
              <a:ext cx="1624926" cy="805220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3509" b="0" i="1" noProof="0">
                <a:solidFill>
                  <a:schemeClr val="tx1"/>
                </a:solidFill>
              </a:endParaRPr>
            </a:p>
          </p:txBody>
        </p:sp>
        <p:grpSp>
          <p:nvGrpSpPr>
            <p:cNvPr id="169" name="Groep 274">
              <a:extLst>
                <a:ext uri="{FF2B5EF4-FFF2-40B4-BE49-F238E27FC236}">
                  <a16:creationId xmlns:a16="http://schemas.microsoft.com/office/drawing/2014/main" id="{25263BD1-BA41-40BD-A5CA-5553E4533937}"/>
                </a:ext>
              </a:extLst>
            </p:cNvPr>
            <p:cNvGrpSpPr/>
            <p:nvPr userDrawn="1"/>
          </p:nvGrpSpPr>
          <p:grpSpPr>
            <a:xfrm>
              <a:off x="13614067" y="3535184"/>
              <a:ext cx="1195438" cy="678267"/>
              <a:chOff x="12757284" y="3224292"/>
              <a:chExt cx="1195438" cy="678267"/>
            </a:xfrm>
          </p:grpSpPr>
          <p:sp>
            <p:nvSpPr>
              <p:cNvPr id="170" name="Rechthoek 275">
                <a:extLst>
                  <a:ext uri="{FF2B5EF4-FFF2-40B4-BE49-F238E27FC236}">
                    <a16:creationId xmlns:a16="http://schemas.microsoft.com/office/drawing/2014/main" id="{BACB4A4D-B220-4C85-866E-EF5D3C9F2E77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1" name="Rechthoek 276">
                <a:extLst>
                  <a:ext uri="{FF2B5EF4-FFF2-40B4-BE49-F238E27FC236}">
                    <a16:creationId xmlns:a16="http://schemas.microsoft.com/office/drawing/2014/main" id="{025FD7B2-79C8-42F3-BF6C-D6CCD81B3842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2" name="Groep 277">
                <a:extLst>
                  <a:ext uri="{FF2B5EF4-FFF2-40B4-BE49-F238E27FC236}">
                    <a16:creationId xmlns:a16="http://schemas.microsoft.com/office/drawing/2014/main" id="{81F9F757-146D-44C8-ADB6-3734949FA9EE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85" name="Rechthoek: afgeronde hoeken 290">
                  <a:extLst>
                    <a:ext uri="{FF2B5EF4-FFF2-40B4-BE49-F238E27FC236}">
                      <a16:creationId xmlns:a16="http://schemas.microsoft.com/office/drawing/2014/main" id="{16731A77-6ECF-4493-A5A4-C3451A8329DC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endPara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86" name="Rechthoek 291">
                  <a:extLst>
                    <a:ext uri="{FF2B5EF4-FFF2-40B4-BE49-F238E27FC236}">
                      <a16:creationId xmlns:a16="http://schemas.microsoft.com/office/drawing/2014/main" id="{F229AB88-426F-4CBB-956D-EF2316183A62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7" name="Rechthoek 292">
                  <a:extLst>
                    <a:ext uri="{FF2B5EF4-FFF2-40B4-BE49-F238E27FC236}">
                      <a16:creationId xmlns:a16="http://schemas.microsoft.com/office/drawing/2014/main" id="{256D338F-6030-465B-976E-83CADA93F170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8" name="Rechthoek 293">
                  <a:extLst>
                    <a:ext uri="{FF2B5EF4-FFF2-40B4-BE49-F238E27FC236}">
                      <a16:creationId xmlns:a16="http://schemas.microsoft.com/office/drawing/2014/main" id="{C50D365A-AE0D-4735-AD40-8DAF2FD67F53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9" name="Rechthoek 294">
                  <a:extLst>
                    <a:ext uri="{FF2B5EF4-FFF2-40B4-BE49-F238E27FC236}">
                      <a16:creationId xmlns:a16="http://schemas.microsoft.com/office/drawing/2014/main" id="{2378150C-3C77-4907-8A1F-865347958F38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0" name="Rechthoek 295">
                  <a:extLst>
                    <a:ext uri="{FF2B5EF4-FFF2-40B4-BE49-F238E27FC236}">
                      <a16:creationId xmlns:a16="http://schemas.microsoft.com/office/drawing/2014/main" id="{6CCC5F73-EBC0-47E3-B939-A9BD1B5FCCFA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73" name="Groep 278">
                <a:extLst>
                  <a:ext uri="{FF2B5EF4-FFF2-40B4-BE49-F238E27FC236}">
                    <a16:creationId xmlns:a16="http://schemas.microsoft.com/office/drawing/2014/main" id="{AE95217F-96A2-4ACB-BDDE-FE168E1D915C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77" name="Groep 282">
                  <a:extLst>
                    <a:ext uri="{FF2B5EF4-FFF2-40B4-BE49-F238E27FC236}">
                      <a16:creationId xmlns:a16="http://schemas.microsoft.com/office/drawing/2014/main" id="{61DC68D2-8FF2-40B0-8103-5D96C0E50E6D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79" name="Rechthoek: afgeronde hoeken 284">
                    <a:extLst>
                      <a:ext uri="{FF2B5EF4-FFF2-40B4-BE49-F238E27FC236}">
                        <a16:creationId xmlns:a16="http://schemas.microsoft.com/office/drawing/2014/main" id="{CDFBC008-32A0-4F0D-9C0A-0133F32E72B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2105"/>
                      </a:spcBef>
                      <a:spcAft>
                        <a:spcPts val="2105"/>
                      </a:spcAft>
                    </a:pPr>
                    <a:endParaRPr lang="nl-NL" sz="280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80" name="Rechthoek 285">
                    <a:extLst>
                      <a:ext uri="{FF2B5EF4-FFF2-40B4-BE49-F238E27FC236}">
                        <a16:creationId xmlns:a16="http://schemas.microsoft.com/office/drawing/2014/main" id="{613EB2D4-E5DB-477E-BFC3-2DA9AF3AE78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1" name="Rechthoek 286">
                    <a:extLst>
                      <a:ext uri="{FF2B5EF4-FFF2-40B4-BE49-F238E27FC236}">
                        <a16:creationId xmlns:a16="http://schemas.microsoft.com/office/drawing/2014/main" id="{AD0883A3-B67A-4B95-991E-E8B093C4E23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2" name="Rechthoek 287">
                    <a:extLst>
                      <a:ext uri="{FF2B5EF4-FFF2-40B4-BE49-F238E27FC236}">
                        <a16:creationId xmlns:a16="http://schemas.microsoft.com/office/drawing/2014/main" id="{667615A5-4510-4FA9-B455-09F6E4B0500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3" name="Rechthoek 288">
                    <a:extLst>
                      <a:ext uri="{FF2B5EF4-FFF2-40B4-BE49-F238E27FC236}">
                        <a16:creationId xmlns:a16="http://schemas.microsoft.com/office/drawing/2014/main" id="{CA41F919-456A-4336-823B-20BCA38C70C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4" name="Rechthoek 289">
                    <a:extLst>
                      <a:ext uri="{FF2B5EF4-FFF2-40B4-BE49-F238E27FC236}">
                        <a16:creationId xmlns:a16="http://schemas.microsoft.com/office/drawing/2014/main" id="{FC58C8E1-0D5B-4880-8053-DBBD4E93AEF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178" name="Boog 283">
                  <a:extLst>
                    <a:ext uri="{FF2B5EF4-FFF2-40B4-BE49-F238E27FC236}">
                      <a16:creationId xmlns:a16="http://schemas.microsoft.com/office/drawing/2014/main" id="{BE1B5382-341F-4AE3-960B-D162EA44B5E1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</p:grpSp>
          <p:sp>
            <p:nvSpPr>
              <p:cNvPr id="174" name="Tekstvak 279">
                <a:extLst>
                  <a:ext uri="{FF2B5EF4-FFF2-40B4-BE49-F238E27FC236}">
                    <a16:creationId xmlns:a16="http://schemas.microsoft.com/office/drawing/2014/main" id="{56CB79DD-AE4C-48D0-9775-6446EEC6116D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75" name="Tekstvak 280">
                <a:extLst>
                  <a:ext uri="{FF2B5EF4-FFF2-40B4-BE49-F238E27FC236}">
                    <a16:creationId xmlns:a16="http://schemas.microsoft.com/office/drawing/2014/main" id="{EFF76582-2E3D-4CFF-A588-BE3C0453870F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76" name="Picture 3">
                <a:extLst>
                  <a:ext uri="{FF2B5EF4-FFF2-40B4-BE49-F238E27FC236}">
                    <a16:creationId xmlns:a16="http://schemas.microsoft.com/office/drawing/2014/main" id="{F374CB61-58A4-4672-80A2-1B90D7B212AD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810206" y="3671228"/>
                <a:ext cx="14251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pic>
        <p:nvPicPr>
          <p:cNvPr id="59" name="Afbeelding 58">
            <a:extLst>
              <a:ext uri="{FF2B5EF4-FFF2-40B4-BE49-F238E27FC236}">
                <a16:creationId xmlns:a16="http://schemas.microsoft.com/office/drawing/2014/main" id="{CD829B4D-4013-4C29-80CF-C4F2F14098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1874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tekstvlak 8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-5567" y="6476684"/>
            <a:ext cx="42767257" cy="23798534"/>
          </a:xfrm>
          <a:solidFill>
            <a:schemeClr val="bg1">
              <a:lumMod val="95000"/>
            </a:schemeClr>
          </a:solidFill>
        </p:spPr>
        <p:txBody>
          <a:bodyPr tIns="3024000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tabLst>
                <a:tab pos="32381162" algn="l"/>
              </a:tabLst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0" name="Tijdelijke aanduiding voor voettekst 4">
            <a:extLst>
              <a:ext uri="{FF2B5EF4-FFF2-40B4-BE49-F238E27FC236}">
                <a16:creationId xmlns:a16="http://schemas.microsoft.com/office/drawing/2014/main" id="{1DA20FBD-9D0F-4EAB-B12C-126591D8B7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6644E39-2AF2-4EA0-9C3F-28C89D5A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7" y="27329718"/>
            <a:ext cx="828942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7" name="Tijdelijke aanduiding voor tekst 14">
            <a:extLst>
              <a:ext uri="{FF2B5EF4-FFF2-40B4-BE49-F238E27FC236}">
                <a16:creationId xmlns:a16="http://schemas.microsoft.com/office/drawing/2014/main" id="{A6BF4B27-7FC5-4896-80CE-3BA6119B83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28641602-EFC5-4A31-A66E-7D18FE4BC0D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7317714" y="18836413"/>
            <a:ext cx="13821939" cy="7118065"/>
          </a:xfrm>
          <a:custGeom>
            <a:avLst/>
            <a:gdLst>
              <a:gd name="connsiteX0" fmla="*/ 0 w 3938778"/>
              <a:gd name="connsiteY0" fmla="*/ 84049 h 1609202"/>
              <a:gd name="connsiteX1" fmla="*/ 84049 w 3938778"/>
              <a:gd name="connsiteY1" fmla="*/ 0 h 1609202"/>
              <a:gd name="connsiteX2" fmla="*/ 3854729 w 3938778"/>
              <a:gd name="connsiteY2" fmla="*/ 0 h 1609202"/>
              <a:gd name="connsiteX3" fmla="*/ 3938778 w 3938778"/>
              <a:gd name="connsiteY3" fmla="*/ 84049 h 1609202"/>
              <a:gd name="connsiteX4" fmla="*/ 3938778 w 3938778"/>
              <a:gd name="connsiteY4" fmla="*/ 1525153 h 1609202"/>
              <a:gd name="connsiteX5" fmla="*/ 3854729 w 3938778"/>
              <a:gd name="connsiteY5" fmla="*/ 1609202 h 1609202"/>
              <a:gd name="connsiteX6" fmla="*/ 84049 w 3938778"/>
              <a:gd name="connsiteY6" fmla="*/ 1609202 h 1609202"/>
              <a:gd name="connsiteX7" fmla="*/ 0 w 3938778"/>
              <a:gd name="connsiteY7" fmla="*/ 1525153 h 1609202"/>
              <a:gd name="connsiteX8" fmla="*/ 0 w 3938778"/>
              <a:gd name="connsiteY8" fmla="*/ 84049 h 1609202"/>
              <a:gd name="connsiteX0" fmla="*/ 212359 w 4151137"/>
              <a:gd name="connsiteY0" fmla="*/ 126307 h 1651460"/>
              <a:gd name="connsiteX1" fmla="*/ 237486 w 4151137"/>
              <a:gd name="connsiteY1" fmla="*/ 63809 h 1651460"/>
              <a:gd name="connsiteX2" fmla="*/ 296408 w 4151137"/>
              <a:gd name="connsiteY2" fmla="*/ 42258 h 1651460"/>
              <a:gd name="connsiteX3" fmla="*/ 4067088 w 4151137"/>
              <a:gd name="connsiteY3" fmla="*/ 42258 h 1651460"/>
              <a:gd name="connsiteX4" fmla="*/ 4151137 w 4151137"/>
              <a:gd name="connsiteY4" fmla="*/ 126307 h 1651460"/>
              <a:gd name="connsiteX5" fmla="*/ 4151137 w 4151137"/>
              <a:gd name="connsiteY5" fmla="*/ 1567411 h 1651460"/>
              <a:gd name="connsiteX6" fmla="*/ 4067088 w 4151137"/>
              <a:gd name="connsiteY6" fmla="*/ 1651460 h 1651460"/>
              <a:gd name="connsiteX7" fmla="*/ 296408 w 4151137"/>
              <a:gd name="connsiteY7" fmla="*/ 1651460 h 1651460"/>
              <a:gd name="connsiteX8" fmla="*/ 212359 w 4151137"/>
              <a:gd name="connsiteY8" fmla="*/ 1567411 h 1651460"/>
              <a:gd name="connsiteX9" fmla="*/ 212359 w 4151137"/>
              <a:gd name="connsiteY9" fmla="*/ 126307 h 1651460"/>
              <a:gd name="connsiteX0" fmla="*/ 212359 w 4151137"/>
              <a:gd name="connsiteY0" fmla="*/ 84049 h 1609202"/>
              <a:gd name="connsiteX1" fmla="*/ 237486 w 4151137"/>
              <a:gd name="connsiteY1" fmla="*/ 21551 h 1609202"/>
              <a:gd name="connsiteX2" fmla="*/ 296408 w 4151137"/>
              <a:gd name="connsiteY2" fmla="*/ 0 h 1609202"/>
              <a:gd name="connsiteX3" fmla="*/ 4067088 w 4151137"/>
              <a:gd name="connsiteY3" fmla="*/ 0 h 1609202"/>
              <a:gd name="connsiteX4" fmla="*/ 4151137 w 4151137"/>
              <a:gd name="connsiteY4" fmla="*/ 84049 h 1609202"/>
              <a:gd name="connsiteX5" fmla="*/ 4151137 w 4151137"/>
              <a:gd name="connsiteY5" fmla="*/ 1525153 h 1609202"/>
              <a:gd name="connsiteX6" fmla="*/ 4067088 w 4151137"/>
              <a:gd name="connsiteY6" fmla="*/ 1609202 h 1609202"/>
              <a:gd name="connsiteX7" fmla="*/ 296408 w 4151137"/>
              <a:gd name="connsiteY7" fmla="*/ 1609202 h 1609202"/>
              <a:gd name="connsiteX8" fmla="*/ 212359 w 4151137"/>
              <a:gd name="connsiteY8" fmla="*/ 1525153 h 1609202"/>
              <a:gd name="connsiteX9" fmla="*/ 212359 w 4151137"/>
              <a:gd name="connsiteY9" fmla="*/ 84049 h 1609202"/>
              <a:gd name="connsiteX0" fmla="*/ 21 w 3938799"/>
              <a:gd name="connsiteY0" fmla="*/ 85645 h 1610798"/>
              <a:gd name="connsiteX1" fmla="*/ 25148 w 3938799"/>
              <a:gd name="connsiteY1" fmla="*/ 23147 h 1610798"/>
              <a:gd name="connsiteX2" fmla="*/ 84070 w 3938799"/>
              <a:gd name="connsiteY2" fmla="*/ 1596 h 1610798"/>
              <a:gd name="connsiteX3" fmla="*/ 3854750 w 3938799"/>
              <a:gd name="connsiteY3" fmla="*/ 1596 h 1610798"/>
              <a:gd name="connsiteX4" fmla="*/ 3938799 w 3938799"/>
              <a:gd name="connsiteY4" fmla="*/ 85645 h 1610798"/>
              <a:gd name="connsiteX5" fmla="*/ 3938799 w 3938799"/>
              <a:gd name="connsiteY5" fmla="*/ 1526749 h 1610798"/>
              <a:gd name="connsiteX6" fmla="*/ 3854750 w 3938799"/>
              <a:gd name="connsiteY6" fmla="*/ 1610798 h 1610798"/>
              <a:gd name="connsiteX7" fmla="*/ 84070 w 3938799"/>
              <a:gd name="connsiteY7" fmla="*/ 1610798 h 1610798"/>
              <a:gd name="connsiteX8" fmla="*/ 21 w 3938799"/>
              <a:gd name="connsiteY8" fmla="*/ 1526749 h 1610798"/>
              <a:gd name="connsiteX9" fmla="*/ 21 w 3938799"/>
              <a:gd name="connsiteY9" fmla="*/ 85645 h 1610798"/>
              <a:gd name="connsiteX0" fmla="*/ 221900 w 4160678"/>
              <a:gd name="connsiteY0" fmla="*/ 126307 h 1651460"/>
              <a:gd name="connsiteX1" fmla="*/ 220833 w 4160678"/>
              <a:gd name="connsiteY1" fmla="*/ 63809 h 1651460"/>
              <a:gd name="connsiteX2" fmla="*/ 305949 w 4160678"/>
              <a:gd name="connsiteY2" fmla="*/ 42258 h 1651460"/>
              <a:gd name="connsiteX3" fmla="*/ 4076629 w 4160678"/>
              <a:gd name="connsiteY3" fmla="*/ 42258 h 1651460"/>
              <a:gd name="connsiteX4" fmla="*/ 4160678 w 4160678"/>
              <a:gd name="connsiteY4" fmla="*/ 126307 h 1651460"/>
              <a:gd name="connsiteX5" fmla="*/ 4160678 w 4160678"/>
              <a:gd name="connsiteY5" fmla="*/ 1567411 h 1651460"/>
              <a:gd name="connsiteX6" fmla="*/ 4076629 w 4160678"/>
              <a:gd name="connsiteY6" fmla="*/ 1651460 h 1651460"/>
              <a:gd name="connsiteX7" fmla="*/ 305949 w 4160678"/>
              <a:gd name="connsiteY7" fmla="*/ 1651460 h 1651460"/>
              <a:gd name="connsiteX8" fmla="*/ 221900 w 4160678"/>
              <a:gd name="connsiteY8" fmla="*/ 1567411 h 1651460"/>
              <a:gd name="connsiteX9" fmla="*/ 221900 w 4160678"/>
              <a:gd name="connsiteY9" fmla="*/ 126307 h 1651460"/>
              <a:gd name="connsiteX0" fmla="*/ 222785 w 4161563"/>
              <a:gd name="connsiteY0" fmla="*/ 132298 h 1657451"/>
              <a:gd name="connsiteX1" fmla="*/ 219337 w 4161563"/>
              <a:gd name="connsiteY1" fmla="*/ 55513 h 1657451"/>
              <a:gd name="connsiteX2" fmla="*/ 306834 w 4161563"/>
              <a:gd name="connsiteY2" fmla="*/ 48249 h 1657451"/>
              <a:gd name="connsiteX3" fmla="*/ 4077514 w 4161563"/>
              <a:gd name="connsiteY3" fmla="*/ 48249 h 1657451"/>
              <a:gd name="connsiteX4" fmla="*/ 4161563 w 4161563"/>
              <a:gd name="connsiteY4" fmla="*/ 132298 h 1657451"/>
              <a:gd name="connsiteX5" fmla="*/ 4161563 w 4161563"/>
              <a:gd name="connsiteY5" fmla="*/ 1573402 h 1657451"/>
              <a:gd name="connsiteX6" fmla="*/ 4077514 w 4161563"/>
              <a:gd name="connsiteY6" fmla="*/ 1657451 h 1657451"/>
              <a:gd name="connsiteX7" fmla="*/ 306834 w 4161563"/>
              <a:gd name="connsiteY7" fmla="*/ 1657451 h 1657451"/>
              <a:gd name="connsiteX8" fmla="*/ 222785 w 4161563"/>
              <a:gd name="connsiteY8" fmla="*/ 1573402 h 1657451"/>
              <a:gd name="connsiteX9" fmla="*/ 222785 w 4161563"/>
              <a:gd name="connsiteY9" fmla="*/ 132298 h 1657451"/>
              <a:gd name="connsiteX0" fmla="*/ 8993 w 3947771"/>
              <a:gd name="connsiteY0" fmla="*/ 132298 h 1657451"/>
              <a:gd name="connsiteX1" fmla="*/ 5545 w 3947771"/>
              <a:gd name="connsiteY1" fmla="*/ 55513 h 1657451"/>
              <a:gd name="connsiteX2" fmla="*/ 93042 w 3947771"/>
              <a:gd name="connsiteY2" fmla="*/ 48249 h 1657451"/>
              <a:gd name="connsiteX3" fmla="*/ 3863722 w 3947771"/>
              <a:gd name="connsiteY3" fmla="*/ 48249 h 1657451"/>
              <a:gd name="connsiteX4" fmla="*/ 3947771 w 3947771"/>
              <a:gd name="connsiteY4" fmla="*/ 132298 h 1657451"/>
              <a:gd name="connsiteX5" fmla="*/ 3947771 w 3947771"/>
              <a:gd name="connsiteY5" fmla="*/ 1573402 h 1657451"/>
              <a:gd name="connsiteX6" fmla="*/ 3863722 w 3947771"/>
              <a:gd name="connsiteY6" fmla="*/ 1657451 h 1657451"/>
              <a:gd name="connsiteX7" fmla="*/ 93042 w 3947771"/>
              <a:gd name="connsiteY7" fmla="*/ 1657451 h 1657451"/>
              <a:gd name="connsiteX8" fmla="*/ 8993 w 3947771"/>
              <a:gd name="connsiteY8" fmla="*/ 1573402 h 1657451"/>
              <a:gd name="connsiteX9" fmla="*/ 8993 w 3947771"/>
              <a:gd name="connsiteY9" fmla="*/ 132298 h 1657451"/>
              <a:gd name="connsiteX0" fmla="*/ 9451 w 3948229"/>
              <a:gd name="connsiteY0" fmla="*/ 85220 h 1610373"/>
              <a:gd name="connsiteX1" fmla="*/ 6003 w 3948229"/>
              <a:gd name="connsiteY1" fmla="*/ 8435 h 1610373"/>
              <a:gd name="connsiteX2" fmla="*/ 93500 w 3948229"/>
              <a:gd name="connsiteY2" fmla="*/ 1171 h 1610373"/>
              <a:gd name="connsiteX3" fmla="*/ 3864180 w 3948229"/>
              <a:gd name="connsiteY3" fmla="*/ 1171 h 1610373"/>
              <a:gd name="connsiteX4" fmla="*/ 3948229 w 3948229"/>
              <a:gd name="connsiteY4" fmla="*/ 85220 h 1610373"/>
              <a:gd name="connsiteX5" fmla="*/ 3948229 w 3948229"/>
              <a:gd name="connsiteY5" fmla="*/ 1526324 h 1610373"/>
              <a:gd name="connsiteX6" fmla="*/ 3864180 w 3948229"/>
              <a:gd name="connsiteY6" fmla="*/ 1610373 h 1610373"/>
              <a:gd name="connsiteX7" fmla="*/ 93500 w 3948229"/>
              <a:gd name="connsiteY7" fmla="*/ 1610373 h 1610373"/>
              <a:gd name="connsiteX8" fmla="*/ 9451 w 3948229"/>
              <a:gd name="connsiteY8" fmla="*/ 1526324 h 1610373"/>
              <a:gd name="connsiteX9" fmla="*/ 9451 w 3948229"/>
              <a:gd name="connsiteY9" fmla="*/ 85220 h 1610373"/>
              <a:gd name="connsiteX0" fmla="*/ 9451 w 3948229"/>
              <a:gd name="connsiteY0" fmla="*/ 85220 h 1610373"/>
              <a:gd name="connsiteX1" fmla="*/ 6003 w 3948229"/>
              <a:gd name="connsiteY1" fmla="*/ 8435 h 1610373"/>
              <a:gd name="connsiteX2" fmla="*/ 93500 w 3948229"/>
              <a:gd name="connsiteY2" fmla="*/ 1171 h 1610373"/>
              <a:gd name="connsiteX3" fmla="*/ 3864180 w 3948229"/>
              <a:gd name="connsiteY3" fmla="*/ 1171 h 1610373"/>
              <a:gd name="connsiteX4" fmla="*/ 3948229 w 3948229"/>
              <a:gd name="connsiteY4" fmla="*/ 85220 h 1610373"/>
              <a:gd name="connsiteX5" fmla="*/ 3948229 w 3948229"/>
              <a:gd name="connsiteY5" fmla="*/ 1526324 h 1610373"/>
              <a:gd name="connsiteX6" fmla="*/ 3864180 w 3948229"/>
              <a:gd name="connsiteY6" fmla="*/ 1610373 h 1610373"/>
              <a:gd name="connsiteX7" fmla="*/ 93500 w 3948229"/>
              <a:gd name="connsiteY7" fmla="*/ 1610373 h 1610373"/>
              <a:gd name="connsiteX8" fmla="*/ 9451 w 3948229"/>
              <a:gd name="connsiteY8" fmla="*/ 1526324 h 1610373"/>
              <a:gd name="connsiteX9" fmla="*/ 9451 w 3948229"/>
              <a:gd name="connsiteY9" fmla="*/ 85220 h 1610373"/>
              <a:gd name="connsiteX0" fmla="*/ 12575 w 3951353"/>
              <a:gd name="connsiteY0" fmla="*/ 1632501 h 1716550"/>
              <a:gd name="connsiteX1" fmla="*/ 9127 w 3951353"/>
              <a:gd name="connsiteY1" fmla="*/ 114612 h 1716550"/>
              <a:gd name="connsiteX2" fmla="*/ 96624 w 3951353"/>
              <a:gd name="connsiteY2" fmla="*/ 107348 h 1716550"/>
              <a:gd name="connsiteX3" fmla="*/ 3867304 w 3951353"/>
              <a:gd name="connsiteY3" fmla="*/ 107348 h 1716550"/>
              <a:gd name="connsiteX4" fmla="*/ 3951353 w 3951353"/>
              <a:gd name="connsiteY4" fmla="*/ 191397 h 1716550"/>
              <a:gd name="connsiteX5" fmla="*/ 3951353 w 3951353"/>
              <a:gd name="connsiteY5" fmla="*/ 1632501 h 1716550"/>
              <a:gd name="connsiteX6" fmla="*/ 3867304 w 3951353"/>
              <a:gd name="connsiteY6" fmla="*/ 1716550 h 1716550"/>
              <a:gd name="connsiteX7" fmla="*/ 96624 w 3951353"/>
              <a:gd name="connsiteY7" fmla="*/ 1716550 h 1716550"/>
              <a:gd name="connsiteX8" fmla="*/ 12575 w 3951353"/>
              <a:gd name="connsiteY8" fmla="*/ 1632501 h 1716550"/>
              <a:gd name="connsiteX0" fmla="*/ 9770 w 3948548"/>
              <a:gd name="connsiteY0" fmla="*/ 1632631 h 1716680"/>
              <a:gd name="connsiteX1" fmla="*/ 6322 w 3948548"/>
              <a:gd name="connsiteY1" fmla="*/ 114742 h 1716680"/>
              <a:gd name="connsiteX2" fmla="*/ 93819 w 3948548"/>
              <a:gd name="connsiteY2" fmla="*/ 107478 h 1716680"/>
              <a:gd name="connsiteX3" fmla="*/ 3864499 w 3948548"/>
              <a:gd name="connsiteY3" fmla="*/ 107478 h 1716680"/>
              <a:gd name="connsiteX4" fmla="*/ 3948548 w 3948548"/>
              <a:gd name="connsiteY4" fmla="*/ 191527 h 1716680"/>
              <a:gd name="connsiteX5" fmla="*/ 3948548 w 3948548"/>
              <a:gd name="connsiteY5" fmla="*/ 1632631 h 1716680"/>
              <a:gd name="connsiteX6" fmla="*/ 3864499 w 3948548"/>
              <a:gd name="connsiteY6" fmla="*/ 1716680 h 1716680"/>
              <a:gd name="connsiteX7" fmla="*/ 93819 w 3948548"/>
              <a:gd name="connsiteY7" fmla="*/ 1716680 h 1716680"/>
              <a:gd name="connsiteX8" fmla="*/ 9770 w 3948548"/>
              <a:gd name="connsiteY8" fmla="*/ 1632631 h 1716680"/>
              <a:gd name="connsiteX0" fmla="*/ 6731 w 3945509"/>
              <a:gd name="connsiteY0" fmla="*/ 1632631 h 1780851"/>
              <a:gd name="connsiteX1" fmla="*/ 3283 w 3945509"/>
              <a:gd name="connsiteY1" fmla="*/ 114742 h 1780851"/>
              <a:gd name="connsiteX2" fmla="*/ 90780 w 3945509"/>
              <a:gd name="connsiteY2" fmla="*/ 107478 h 1780851"/>
              <a:gd name="connsiteX3" fmla="*/ 3861460 w 3945509"/>
              <a:gd name="connsiteY3" fmla="*/ 107478 h 1780851"/>
              <a:gd name="connsiteX4" fmla="*/ 3945509 w 3945509"/>
              <a:gd name="connsiteY4" fmla="*/ 191527 h 1780851"/>
              <a:gd name="connsiteX5" fmla="*/ 3945509 w 3945509"/>
              <a:gd name="connsiteY5" fmla="*/ 1632631 h 1780851"/>
              <a:gd name="connsiteX6" fmla="*/ 3861460 w 3945509"/>
              <a:gd name="connsiteY6" fmla="*/ 1716680 h 1780851"/>
              <a:gd name="connsiteX7" fmla="*/ 90780 w 3945509"/>
              <a:gd name="connsiteY7" fmla="*/ 1716680 h 1780851"/>
              <a:gd name="connsiteX8" fmla="*/ 6731 w 3945509"/>
              <a:gd name="connsiteY8" fmla="*/ 1632631 h 1780851"/>
              <a:gd name="connsiteX0" fmla="*/ 5635 w 3944413"/>
              <a:gd name="connsiteY0" fmla="*/ 1632631 h 1730124"/>
              <a:gd name="connsiteX1" fmla="*/ 2187 w 3944413"/>
              <a:gd name="connsiteY1" fmla="*/ 114742 h 1730124"/>
              <a:gd name="connsiteX2" fmla="*/ 89684 w 3944413"/>
              <a:gd name="connsiteY2" fmla="*/ 107478 h 1730124"/>
              <a:gd name="connsiteX3" fmla="*/ 3860364 w 3944413"/>
              <a:gd name="connsiteY3" fmla="*/ 107478 h 1730124"/>
              <a:gd name="connsiteX4" fmla="*/ 3944413 w 3944413"/>
              <a:gd name="connsiteY4" fmla="*/ 191527 h 1730124"/>
              <a:gd name="connsiteX5" fmla="*/ 3944413 w 3944413"/>
              <a:gd name="connsiteY5" fmla="*/ 1632631 h 1730124"/>
              <a:gd name="connsiteX6" fmla="*/ 3860364 w 3944413"/>
              <a:gd name="connsiteY6" fmla="*/ 1716680 h 1730124"/>
              <a:gd name="connsiteX7" fmla="*/ 89684 w 3944413"/>
              <a:gd name="connsiteY7" fmla="*/ 1716680 h 1730124"/>
              <a:gd name="connsiteX8" fmla="*/ 5635 w 3944413"/>
              <a:gd name="connsiteY8" fmla="*/ 1632631 h 1730124"/>
              <a:gd name="connsiteX0" fmla="*/ 6730 w 3945508"/>
              <a:gd name="connsiteY0" fmla="*/ 1632631 h 1718001"/>
              <a:gd name="connsiteX1" fmla="*/ 3282 w 3945508"/>
              <a:gd name="connsiteY1" fmla="*/ 114742 h 1718001"/>
              <a:gd name="connsiteX2" fmla="*/ 90779 w 3945508"/>
              <a:gd name="connsiteY2" fmla="*/ 107478 h 1718001"/>
              <a:gd name="connsiteX3" fmla="*/ 3861459 w 3945508"/>
              <a:gd name="connsiteY3" fmla="*/ 107478 h 1718001"/>
              <a:gd name="connsiteX4" fmla="*/ 3945508 w 3945508"/>
              <a:gd name="connsiteY4" fmla="*/ 191527 h 1718001"/>
              <a:gd name="connsiteX5" fmla="*/ 3945508 w 3945508"/>
              <a:gd name="connsiteY5" fmla="*/ 1632631 h 1718001"/>
              <a:gd name="connsiteX6" fmla="*/ 3861459 w 3945508"/>
              <a:gd name="connsiteY6" fmla="*/ 1716680 h 1718001"/>
              <a:gd name="connsiteX7" fmla="*/ 90779 w 3945508"/>
              <a:gd name="connsiteY7" fmla="*/ 1716680 h 1718001"/>
              <a:gd name="connsiteX8" fmla="*/ 6730 w 3945508"/>
              <a:gd name="connsiteY8" fmla="*/ 1632631 h 1718001"/>
              <a:gd name="connsiteX0" fmla="*/ 5541 w 3944319"/>
              <a:gd name="connsiteY0" fmla="*/ 1632631 h 1716680"/>
              <a:gd name="connsiteX1" fmla="*/ 2093 w 3944319"/>
              <a:gd name="connsiteY1" fmla="*/ 114742 h 1716680"/>
              <a:gd name="connsiteX2" fmla="*/ 89590 w 3944319"/>
              <a:gd name="connsiteY2" fmla="*/ 107478 h 1716680"/>
              <a:gd name="connsiteX3" fmla="*/ 3860270 w 3944319"/>
              <a:gd name="connsiteY3" fmla="*/ 107478 h 1716680"/>
              <a:gd name="connsiteX4" fmla="*/ 3944319 w 3944319"/>
              <a:gd name="connsiteY4" fmla="*/ 191527 h 1716680"/>
              <a:gd name="connsiteX5" fmla="*/ 3944319 w 3944319"/>
              <a:gd name="connsiteY5" fmla="*/ 1632631 h 1716680"/>
              <a:gd name="connsiteX6" fmla="*/ 3860270 w 3944319"/>
              <a:gd name="connsiteY6" fmla="*/ 1716680 h 1716680"/>
              <a:gd name="connsiteX7" fmla="*/ 89590 w 3944319"/>
              <a:gd name="connsiteY7" fmla="*/ 1716680 h 1716680"/>
              <a:gd name="connsiteX8" fmla="*/ 5541 w 3944319"/>
              <a:gd name="connsiteY8" fmla="*/ 1632631 h 1716680"/>
              <a:gd name="connsiteX0" fmla="*/ 4066 w 3942844"/>
              <a:gd name="connsiteY0" fmla="*/ 1541301 h 1625350"/>
              <a:gd name="connsiteX1" fmla="*/ 618 w 3942844"/>
              <a:gd name="connsiteY1" fmla="*/ 23412 h 1625350"/>
              <a:gd name="connsiteX2" fmla="*/ 88115 w 3942844"/>
              <a:gd name="connsiteY2" fmla="*/ 16148 h 1625350"/>
              <a:gd name="connsiteX3" fmla="*/ 3858795 w 3942844"/>
              <a:gd name="connsiteY3" fmla="*/ 16148 h 1625350"/>
              <a:gd name="connsiteX4" fmla="*/ 3942844 w 3942844"/>
              <a:gd name="connsiteY4" fmla="*/ 100197 h 1625350"/>
              <a:gd name="connsiteX5" fmla="*/ 3942844 w 3942844"/>
              <a:gd name="connsiteY5" fmla="*/ 1541301 h 1625350"/>
              <a:gd name="connsiteX6" fmla="*/ 3858795 w 3942844"/>
              <a:gd name="connsiteY6" fmla="*/ 1625350 h 1625350"/>
              <a:gd name="connsiteX7" fmla="*/ 88115 w 3942844"/>
              <a:gd name="connsiteY7" fmla="*/ 1625350 h 1625350"/>
              <a:gd name="connsiteX8" fmla="*/ 4066 w 3942844"/>
              <a:gd name="connsiteY8" fmla="*/ 1541301 h 1625350"/>
              <a:gd name="connsiteX0" fmla="*/ 4276 w 3943054"/>
              <a:gd name="connsiteY0" fmla="*/ 1541301 h 1625350"/>
              <a:gd name="connsiteX1" fmla="*/ 828 w 3943054"/>
              <a:gd name="connsiteY1" fmla="*/ 23412 h 1625350"/>
              <a:gd name="connsiteX2" fmla="*/ 88325 w 3943054"/>
              <a:gd name="connsiteY2" fmla="*/ 16148 h 1625350"/>
              <a:gd name="connsiteX3" fmla="*/ 3859005 w 3943054"/>
              <a:gd name="connsiteY3" fmla="*/ 16148 h 1625350"/>
              <a:gd name="connsiteX4" fmla="*/ 3943054 w 3943054"/>
              <a:gd name="connsiteY4" fmla="*/ 100197 h 1625350"/>
              <a:gd name="connsiteX5" fmla="*/ 3943054 w 3943054"/>
              <a:gd name="connsiteY5" fmla="*/ 1541301 h 1625350"/>
              <a:gd name="connsiteX6" fmla="*/ 3859005 w 3943054"/>
              <a:gd name="connsiteY6" fmla="*/ 1625350 h 1625350"/>
              <a:gd name="connsiteX7" fmla="*/ 88325 w 3943054"/>
              <a:gd name="connsiteY7" fmla="*/ 1625350 h 1625350"/>
              <a:gd name="connsiteX8" fmla="*/ 4276 w 3943054"/>
              <a:gd name="connsiteY8" fmla="*/ 1541301 h 1625350"/>
              <a:gd name="connsiteX0" fmla="*/ 3584 w 3942362"/>
              <a:gd name="connsiteY0" fmla="*/ 1541301 h 1625350"/>
              <a:gd name="connsiteX1" fmla="*/ 136 w 3942362"/>
              <a:gd name="connsiteY1" fmla="*/ 23412 h 1625350"/>
              <a:gd name="connsiteX2" fmla="*/ 87633 w 3942362"/>
              <a:gd name="connsiteY2" fmla="*/ 16148 h 1625350"/>
              <a:gd name="connsiteX3" fmla="*/ 3858313 w 3942362"/>
              <a:gd name="connsiteY3" fmla="*/ 16148 h 1625350"/>
              <a:gd name="connsiteX4" fmla="*/ 3942362 w 3942362"/>
              <a:gd name="connsiteY4" fmla="*/ 100197 h 1625350"/>
              <a:gd name="connsiteX5" fmla="*/ 3942362 w 3942362"/>
              <a:gd name="connsiteY5" fmla="*/ 1541301 h 1625350"/>
              <a:gd name="connsiteX6" fmla="*/ 3858313 w 3942362"/>
              <a:gd name="connsiteY6" fmla="*/ 1625350 h 1625350"/>
              <a:gd name="connsiteX7" fmla="*/ 87633 w 3942362"/>
              <a:gd name="connsiteY7" fmla="*/ 1625350 h 1625350"/>
              <a:gd name="connsiteX8" fmla="*/ 3584 w 3942362"/>
              <a:gd name="connsiteY8" fmla="*/ 1541301 h 1625350"/>
              <a:gd name="connsiteX0" fmla="*/ 4276 w 3943054"/>
              <a:gd name="connsiteY0" fmla="*/ 1525692 h 1609741"/>
              <a:gd name="connsiteX1" fmla="*/ 828 w 3943054"/>
              <a:gd name="connsiteY1" fmla="*/ 7803 h 1609741"/>
              <a:gd name="connsiteX2" fmla="*/ 88325 w 3943054"/>
              <a:gd name="connsiteY2" fmla="*/ 539 h 1609741"/>
              <a:gd name="connsiteX3" fmla="*/ 3859005 w 3943054"/>
              <a:gd name="connsiteY3" fmla="*/ 539 h 1609741"/>
              <a:gd name="connsiteX4" fmla="*/ 3943054 w 3943054"/>
              <a:gd name="connsiteY4" fmla="*/ 84588 h 1609741"/>
              <a:gd name="connsiteX5" fmla="*/ 3943054 w 3943054"/>
              <a:gd name="connsiteY5" fmla="*/ 1525692 h 1609741"/>
              <a:gd name="connsiteX6" fmla="*/ 3859005 w 3943054"/>
              <a:gd name="connsiteY6" fmla="*/ 1609741 h 1609741"/>
              <a:gd name="connsiteX7" fmla="*/ 88325 w 3943054"/>
              <a:gd name="connsiteY7" fmla="*/ 1609741 h 1609741"/>
              <a:gd name="connsiteX8" fmla="*/ 4276 w 3943054"/>
              <a:gd name="connsiteY8" fmla="*/ 1525692 h 1609741"/>
              <a:gd name="connsiteX0" fmla="*/ 3584 w 3942362"/>
              <a:gd name="connsiteY0" fmla="*/ 1525692 h 1609741"/>
              <a:gd name="connsiteX1" fmla="*/ 136 w 3942362"/>
              <a:gd name="connsiteY1" fmla="*/ 7803 h 1609741"/>
              <a:gd name="connsiteX2" fmla="*/ 87633 w 3942362"/>
              <a:gd name="connsiteY2" fmla="*/ 539 h 1609741"/>
              <a:gd name="connsiteX3" fmla="*/ 3858313 w 3942362"/>
              <a:gd name="connsiteY3" fmla="*/ 539 h 1609741"/>
              <a:gd name="connsiteX4" fmla="*/ 3942362 w 3942362"/>
              <a:gd name="connsiteY4" fmla="*/ 84588 h 1609741"/>
              <a:gd name="connsiteX5" fmla="*/ 3942362 w 3942362"/>
              <a:gd name="connsiteY5" fmla="*/ 1525692 h 1609741"/>
              <a:gd name="connsiteX6" fmla="*/ 3858313 w 3942362"/>
              <a:gd name="connsiteY6" fmla="*/ 1609741 h 1609741"/>
              <a:gd name="connsiteX7" fmla="*/ 87633 w 3942362"/>
              <a:gd name="connsiteY7" fmla="*/ 1609741 h 1609741"/>
              <a:gd name="connsiteX8" fmla="*/ 3584 w 3942362"/>
              <a:gd name="connsiteY8" fmla="*/ 1525692 h 1609741"/>
              <a:gd name="connsiteX0" fmla="*/ 3644 w 3942422"/>
              <a:gd name="connsiteY0" fmla="*/ 1525692 h 1609741"/>
              <a:gd name="connsiteX1" fmla="*/ 196 w 3942422"/>
              <a:gd name="connsiteY1" fmla="*/ 7803 h 1609741"/>
              <a:gd name="connsiteX2" fmla="*/ 87693 w 3942422"/>
              <a:gd name="connsiteY2" fmla="*/ 539 h 1609741"/>
              <a:gd name="connsiteX3" fmla="*/ 3858373 w 3942422"/>
              <a:gd name="connsiteY3" fmla="*/ 539 h 1609741"/>
              <a:gd name="connsiteX4" fmla="*/ 3942422 w 3942422"/>
              <a:gd name="connsiteY4" fmla="*/ 84588 h 1609741"/>
              <a:gd name="connsiteX5" fmla="*/ 3942422 w 3942422"/>
              <a:gd name="connsiteY5" fmla="*/ 1525692 h 1609741"/>
              <a:gd name="connsiteX6" fmla="*/ 3858373 w 3942422"/>
              <a:gd name="connsiteY6" fmla="*/ 1609741 h 1609741"/>
              <a:gd name="connsiteX7" fmla="*/ 87693 w 3942422"/>
              <a:gd name="connsiteY7" fmla="*/ 1609741 h 1609741"/>
              <a:gd name="connsiteX8" fmla="*/ 3644 w 3942422"/>
              <a:gd name="connsiteY8" fmla="*/ 1525692 h 1609741"/>
              <a:gd name="connsiteX0" fmla="*/ 225140 w 4163918"/>
              <a:gd name="connsiteY0" fmla="*/ 1528731 h 1674428"/>
              <a:gd name="connsiteX1" fmla="*/ 224074 w 4163918"/>
              <a:gd name="connsiteY1" fmla="*/ 3699 h 1674428"/>
              <a:gd name="connsiteX2" fmla="*/ 309189 w 4163918"/>
              <a:gd name="connsiteY2" fmla="*/ 3578 h 1674428"/>
              <a:gd name="connsiteX3" fmla="*/ 4079869 w 4163918"/>
              <a:gd name="connsiteY3" fmla="*/ 3578 h 1674428"/>
              <a:gd name="connsiteX4" fmla="*/ 4163918 w 4163918"/>
              <a:gd name="connsiteY4" fmla="*/ 87627 h 1674428"/>
              <a:gd name="connsiteX5" fmla="*/ 4163918 w 4163918"/>
              <a:gd name="connsiteY5" fmla="*/ 1528731 h 1674428"/>
              <a:gd name="connsiteX6" fmla="*/ 4079869 w 4163918"/>
              <a:gd name="connsiteY6" fmla="*/ 1612780 h 1674428"/>
              <a:gd name="connsiteX7" fmla="*/ 309189 w 4163918"/>
              <a:gd name="connsiteY7" fmla="*/ 1612780 h 1674428"/>
              <a:gd name="connsiteX8" fmla="*/ 225140 w 4163918"/>
              <a:gd name="connsiteY8" fmla="*/ 1528731 h 1674428"/>
              <a:gd name="connsiteX0" fmla="*/ 6880 w 3945658"/>
              <a:gd name="connsiteY0" fmla="*/ 1528731 h 1674428"/>
              <a:gd name="connsiteX1" fmla="*/ 5814 w 3945658"/>
              <a:gd name="connsiteY1" fmla="*/ 3699 h 1674428"/>
              <a:gd name="connsiteX2" fmla="*/ 90929 w 3945658"/>
              <a:gd name="connsiteY2" fmla="*/ 3578 h 1674428"/>
              <a:gd name="connsiteX3" fmla="*/ 3861609 w 3945658"/>
              <a:gd name="connsiteY3" fmla="*/ 3578 h 1674428"/>
              <a:gd name="connsiteX4" fmla="*/ 3945658 w 3945658"/>
              <a:gd name="connsiteY4" fmla="*/ 87627 h 1674428"/>
              <a:gd name="connsiteX5" fmla="*/ 3945658 w 3945658"/>
              <a:gd name="connsiteY5" fmla="*/ 1528731 h 1674428"/>
              <a:gd name="connsiteX6" fmla="*/ 3861609 w 3945658"/>
              <a:gd name="connsiteY6" fmla="*/ 1612780 h 1674428"/>
              <a:gd name="connsiteX7" fmla="*/ 90929 w 3945658"/>
              <a:gd name="connsiteY7" fmla="*/ 1612780 h 1674428"/>
              <a:gd name="connsiteX8" fmla="*/ 6880 w 3945658"/>
              <a:gd name="connsiteY8" fmla="*/ 1528731 h 1674428"/>
              <a:gd name="connsiteX0" fmla="*/ 225140 w 4163918"/>
              <a:gd name="connsiteY0" fmla="*/ 1526452 h 1671925"/>
              <a:gd name="connsiteX1" fmla="*/ 224074 w 4163918"/>
              <a:gd name="connsiteY1" fmla="*/ 4595 h 1671925"/>
              <a:gd name="connsiteX2" fmla="*/ 309189 w 4163918"/>
              <a:gd name="connsiteY2" fmla="*/ 1299 h 1671925"/>
              <a:gd name="connsiteX3" fmla="*/ 4079869 w 4163918"/>
              <a:gd name="connsiteY3" fmla="*/ 1299 h 1671925"/>
              <a:gd name="connsiteX4" fmla="*/ 4163918 w 4163918"/>
              <a:gd name="connsiteY4" fmla="*/ 85348 h 1671925"/>
              <a:gd name="connsiteX5" fmla="*/ 4163918 w 4163918"/>
              <a:gd name="connsiteY5" fmla="*/ 1526452 h 1671925"/>
              <a:gd name="connsiteX6" fmla="*/ 4079869 w 4163918"/>
              <a:gd name="connsiteY6" fmla="*/ 1610501 h 1671925"/>
              <a:gd name="connsiteX7" fmla="*/ 309189 w 4163918"/>
              <a:gd name="connsiteY7" fmla="*/ 1610501 h 1671925"/>
              <a:gd name="connsiteX8" fmla="*/ 225140 w 4163918"/>
              <a:gd name="connsiteY8" fmla="*/ 1526452 h 1671925"/>
              <a:gd name="connsiteX0" fmla="*/ 6880 w 3945658"/>
              <a:gd name="connsiteY0" fmla="*/ 1527596 h 1673069"/>
              <a:gd name="connsiteX1" fmla="*/ 5814 w 3945658"/>
              <a:gd name="connsiteY1" fmla="*/ 5739 h 1673069"/>
              <a:gd name="connsiteX2" fmla="*/ 90929 w 3945658"/>
              <a:gd name="connsiteY2" fmla="*/ 2443 h 1673069"/>
              <a:gd name="connsiteX3" fmla="*/ 3861609 w 3945658"/>
              <a:gd name="connsiteY3" fmla="*/ 2443 h 1673069"/>
              <a:gd name="connsiteX4" fmla="*/ 3945658 w 3945658"/>
              <a:gd name="connsiteY4" fmla="*/ 86492 h 1673069"/>
              <a:gd name="connsiteX5" fmla="*/ 3945658 w 3945658"/>
              <a:gd name="connsiteY5" fmla="*/ 1527596 h 1673069"/>
              <a:gd name="connsiteX6" fmla="*/ 3861609 w 3945658"/>
              <a:gd name="connsiteY6" fmla="*/ 1611645 h 1673069"/>
              <a:gd name="connsiteX7" fmla="*/ 90929 w 3945658"/>
              <a:gd name="connsiteY7" fmla="*/ 1611645 h 1673069"/>
              <a:gd name="connsiteX8" fmla="*/ 6880 w 3945658"/>
              <a:gd name="connsiteY8" fmla="*/ 1527596 h 1673069"/>
              <a:gd name="connsiteX0" fmla="*/ 4095 w 3942873"/>
              <a:gd name="connsiteY0" fmla="*/ 1527596 h 1611653"/>
              <a:gd name="connsiteX1" fmla="*/ 3029 w 3942873"/>
              <a:gd name="connsiteY1" fmla="*/ 5739 h 1611653"/>
              <a:gd name="connsiteX2" fmla="*/ 88144 w 3942873"/>
              <a:gd name="connsiteY2" fmla="*/ 2443 h 1611653"/>
              <a:gd name="connsiteX3" fmla="*/ 3858824 w 3942873"/>
              <a:gd name="connsiteY3" fmla="*/ 2443 h 1611653"/>
              <a:gd name="connsiteX4" fmla="*/ 3942873 w 3942873"/>
              <a:gd name="connsiteY4" fmla="*/ 86492 h 1611653"/>
              <a:gd name="connsiteX5" fmla="*/ 3942873 w 3942873"/>
              <a:gd name="connsiteY5" fmla="*/ 1527596 h 1611653"/>
              <a:gd name="connsiteX6" fmla="*/ 3858824 w 3942873"/>
              <a:gd name="connsiteY6" fmla="*/ 1611645 h 1611653"/>
              <a:gd name="connsiteX7" fmla="*/ 88144 w 3942873"/>
              <a:gd name="connsiteY7" fmla="*/ 1611645 h 1611653"/>
              <a:gd name="connsiteX8" fmla="*/ 4095 w 3942873"/>
              <a:gd name="connsiteY8" fmla="*/ 1527596 h 1611653"/>
              <a:gd name="connsiteX0" fmla="*/ 9512 w 3948290"/>
              <a:gd name="connsiteY0" fmla="*/ 1527596 h 1673069"/>
              <a:gd name="connsiteX1" fmla="*/ 8446 w 3948290"/>
              <a:gd name="connsiteY1" fmla="*/ 5739 h 1673069"/>
              <a:gd name="connsiteX2" fmla="*/ 93561 w 3948290"/>
              <a:gd name="connsiteY2" fmla="*/ 2443 h 1673069"/>
              <a:gd name="connsiteX3" fmla="*/ 3864241 w 3948290"/>
              <a:gd name="connsiteY3" fmla="*/ 2443 h 1673069"/>
              <a:gd name="connsiteX4" fmla="*/ 3948290 w 3948290"/>
              <a:gd name="connsiteY4" fmla="*/ 86492 h 1673069"/>
              <a:gd name="connsiteX5" fmla="*/ 3948290 w 3948290"/>
              <a:gd name="connsiteY5" fmla="*/ 1527596 h 1673069"/>
              <a:gd name="connsiteX6" fmla="*/ 3864241 w 3948290"/>
              <a:gd name="connsiteY6" fmla="*/ 1611645 h 1673069"/>
              <a:gd name="connsiteX7" fmla="*/ 129280 w 3948290"/>
              <a:gd name="connsiteY7" fmla="*/ 1611645 h 1673069"/>
              <a:gd name="connsiteX8" fmla="*/ 9512 w 3948290"/>
              <a:gd name="connsiteY8" fmla="*/ 1527596 h 1673069"/>
              <a:gd name="connsiteX0" fmla="*/ 3242 w 3942020"/>
              <a:gd name="connsiteY0" fmla="*/ 1527596 h 1614938"/>
              <a:gd name="connsiteX1" fmla="*/ 2176 w 3942020"/>
              <a:gd name="connsiteY1" fmla="*/ 5739 h 1614938"/>
              <a:gd name="connsiteX2" fmla="*/ 87291 w 3942020"/>
              <a:gd name="connsiteY2" fmla="*/ 2443 h 1614938"/>
              <a:gd name="connsiteX3" fmla="*/ 3857971 w 3942020"/>
              <a:gd name="connsiteY3" fmla="*/ 2443 h 1614938"/>
              <a:gd name="connsiteX4" fmla="*/ 3942020 w 3942020"/>
              <a:gd name="connsiteY4" fmla="*/ 86492 h 1614938"/>
              <a:gd name="connsiteX5" fmla="*/ 3942020 w 3942020"/>
              <a:gd name="connsiteY5" fmla="*/ 1527596 h 1614938"/>
              <a:gd name="connsiteX6" fmla="*/ 3857971 w 3942020"/>
              <a:gd name="connsiteY6" fmla="*/ 1611645 h 1614938"/>
              <a:gd name="connsiteX7" fmla="*/ 123010 w 3942020"/>
              <a:gd name="connsiteY7" fmla="*/ 1611645 h 1614938"/>
              <a:gd name="connsiteX8" fmla="*/ 3242 w 3942020"/>
              <a:gd name="connsiteY8" fmla="*/ 1527596 h 1614938"/>
              <a:gd name="connsiteX0" fmla="*/ 1552 w 3940330"/>
              <a:gd name="connsiteY0" fmla="*/ 1527596 h 1612398"/>
              <a:gd name="connsiteX1" fmla="*/ 486 w 3940330"/>
              <a:gd name="connsiteY1" fmla="*/ 5739 h 1612398"/>
              <a:gd name="connsiteX2" fmla="*/ 85601 w 3940330"/>
              <a:gd name="connsiteY2" fmla="*/ 2443 h 1612398"/>
              <a:gd name="connsiteX3" fmla="*/ 3856281 w 3940330"/>
              <a:gd name="connsiteY3" fmla="*/ 2443 h 1612398"/>
              <a:gd name="connsiteX4" fmla="*/ 3940330 w 3940330"/>
              <a:gd name="connsiteY4" fmla="*/ 86492 h 1612398"/>
              <a:gd name="connsiteX5" fmla="*/ 3940330 w 3940330"/>
              <a:gd name="connsiteY5" fmla="*/ 1527596 h 1612398"/>
              <a:gd name="connsiteX6" fmla="*/ 3856281 w 3940330"/>
              <a:gd name="connsiteY6" fmla="*/ 1611645 h 1612398"/>
              <a:gd name="connsiteX7" fmla="*/ 121320 w 3940330"/>
              <a:gd name="connsiteY7" fmla="*/ 1611645 h 1612398"/>
              <a:gd name="connsiteX8" fmla="*/ 1552 w 3940330"/>
              <a:gd name="connsiteY8" fmla="*/ 1527596 h 1612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40330" h="1612398">
                <a:moveTo>
                  <a:pt x="1552" y="1527596"/>
                </a:moveTo>
                <a:cubicBezTo>
                  <a:pt x="463" y="1429014"/>
                  <a:pt x="-671" y="14002"/>
                  <a:pt x="486" y="5739"/>
                </a:cubicBezTo>
                <a:cubicBezTo>
                  <a:pt x="1643" y="-2524"/>
                  <a:pt x="8119" y="-183"/>
                  <a:pt x="85601" y="2443"/>
                </a:cubicBezTo>
                <a:cubicBezTo>
                  <a:pt x="163083" y="5069"/>
                  <a:pt x="2599388" y="2443"/>
                  <a:pt x="3856281" y="2443"/>
                </a:cubicBezTo>
                <a:cubicBezTo>
                  <a:pt x="3902700" y="2443"/>
                  <a:pt x="3940330" y="40073"/>
                  <a:pt x="3940330" y="86492"/>
                </a:cubicBezTo>
                <a:lnTo>
                  <a:pt x="3940330" y="1527596"/>
                </a:lnTo>
                <a:cubicBezTo>
                  <a:pt x="3940330" y="1574015"/>
                  <a:pt x="3902700" y="1611645"/>
                  <a:pt x="3856281" y="1611645"/>
                </a:cubicBezTo>
                <a:lnTo>
                  <a:pt x="121320" y="1611645"/>
                </a:lnTo>
                <a:cubicBezTo>
                  <a:pt x="74901" y="1611645"/>
                  <a:pt x="2641" y="1626178"/>
                  <a:pt x="1552" y="1527596"/>
                </a:cubicBezTo>
                <a:close/>
              </a:path>
            </a:pathLst>
          </a:custGeom>
          <a:solidFill>
            <a:schemeClr val="bg2">
              <a:alpha val="85000"/>
            </a:schemeClr>
          </a:solidFill>
        </p:spPr>
        <p:txBody>
          <a:bodyPr vert="horz" lIns="360000" tIns="252000" rIns="360000" bIns="360000" rtlCol="0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nl-NL" sz="8419" b="0" dirty="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70000"/>
              </a:lnSpc>
              <a:defRPr lang="nl-NL" dirty="0">
                <a:solidFill>
                  <a:schemeClr val="bg1"/>
                </a:solidFill>
                <a:latin typeface="+mj-lt"/>
              </a:defRPr>
            </a:lvl2pPr>
            <a:lvl3pPr>
              <a:lnSpc>
                <a:spcPct val="70000"/>
              </a:lnSpc>
              <a:defRPr lang="nl-NL" dirty="0">
                <a:solidFill>
                  <a:schemeClr val="bg1"/>
                </a:solidFill>
                <a:latin typeface="+mj-lt"/>
              </a:defRPr>
            </a:lvl3pPr>
            <a:lvl4pPr>
              <a:lnSpc>
                <a:spcPct val="70000"/>
              </a:lnSpc>
              <a:defRPr lang="nl-NL" sz="8419" dirty="0">
                <a:solidFill>
                  <a:schemeClr val="bg1"/>
                </a:solidFill>
                <a:latin typeface="+mj-lt"/>
              </a:defRPr>
            </a:lvl4pPr>
            <a:lvl5pPr>
              <a:lnSpc>
                <a:spcPct val="70000"/>
              </a:lnSpc>
              <a:defRPr lang="nl-NL" b="0" dirty="0">
                <a:solidFill>
                  <a:schemeClr val="bg1"/>
                </a:solidFill>
              </a:defRPr>
            </a:lvl5pPr>
            <a:lvl6pPr>
              <a:lnSpc>
                <a:spcPct val="70000"/>
              </a:lnSpc>
              <a:defRPr lang="nl-NL" dirty="0"/>
            </a:lvl6pPr>
          </a:lstStyle>
          <a:p>
            <a:pPr lvl="0"/>
            <a:r>
              <a:rPr lang="nl-NL" noProof="0"/>
              <a:t>Klik om tekst in te voegen</a:t>
            </a:r>
          </a:p>
        </p:txBody>
      </p:sp>
      <p:sp>
        <p:nvSpPr>
          <p:cNvPr id="18" name="Tijdelijke aanduiding voor datum 3">
            <a:extLst>
              <a:ext uri="{FF2B5EF4-FFF2-40B4-BE49-F238E27FC236}">
                <a16:creationId xmlns:a16="http://schemas.microsoft.com/office/drawing/2014/main" id="{272E1BA3-CCCF-465D-9A0D-4F665A96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00A5A8C-9EFD-4AD5-BD15-C5E0C8E9E405}" type="datetime1">
              <a:rPr lang="nl-NL" noProof="0" smtClean="0"/>
              <a:t>26-6-2023</a:t>
            </a:fld>
            <a:endParaRPr lang="nl-NL" noProof="0"/>
          </a:p>
        </p:txBody>
      </p:sp>
      <p:grpSp>
        <p:nvGrpSpPr>
          <p:cNvPr id="180" name="Groep 258">
            <a:extLst>
              <a:ext uri="{FF2B5EF4-FFF2-40B4-BE49-F238E27FC236}">
                <a16:creationId xmlns:a16="http://schemas.microsoft.com/office/drawing/2014/main" id="{85EF3D0B-59E7-4AC4-9317-4F0D3F91CFF8}"/>
              </a:ext>
            </a:extLst>
          </p:cNvPr>
          <p:cNvGrpSpPr/>
          <p:nvPr userDrawn="1"/>
        </p:nvGrpSpPr>
        <p:grpSpPr>
          <a:xfrm>
            <a:off x="43467416" y="5"/>
            <a:ext cx="11167745" cy="23084356"/>
            <a:chOff x="12391601" y="0"/>
            <a:chExt cx="3183678" cy="5229113"/>
          </a:xfrm>
        </p:grpSpPr>
        <p:grpSp>
          <p:nvGrpSpPr>
            <p:cNvPr id="181" name="Meer informatie">
              <a:extLst>
                <a:ext uri="{FF2B5EF4-FFF2-40B4-BE49-F238E27FC236}">
                  <a16:creationId xmlns:a16="http://schemas.microsoft.com/office/drawing/2014/main" id="{094442AC-DEFB-4FBC-A6FC-D9B17099600B}"/>
                </a:ext>
              </a:extLst>
            </p:cNvPr>
            <p:cNvGrpSpPr/>
            <p:nvPr userDrawn="1"/>
          </p:nvGrpSpPr>
          <p:grpSpPr>
            <a:xfrm>
              <a:off x="12396764" y="4445840"/>
              <a:ext cx="3178515" cy="783273"/>
              <a:chOff x="-3741486" y="3386444"/>
              <a:chExt cx="3178515" cy="783273"/>
            </a:xfrm>
          </p:grpSpPr>
          <p:sp>
            <p:nvSpPr>
              <p:cNvPr id="237" name="Freeform 101">
                <a:extLst>
                  <a:ext uri="{FF2B5EF4-FFF2-40B4-BE49-F238E27FC236}">
                    <a16:creationId xmlns:a16="http://schemas.microsoft.com/office/drawing/2014/main" id="{2DA43AFA-A195-42A8-AD29-8D5D18AB3A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238" name="Rechthoek 306">
                <a:extLst>
                  <a:ext uri="{FF2B5EF4-FFF2-40B4-BE49-F238E27FC236}">
                    <a16:creationId xmlns:a16="http://schemas.microsoft.com/office/drawing/2014/main" id="{C0480B14-11BC-41F5-9E35-C261D6C9061F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39" name="Rechte verbindingslijn 307">
                <a:extLst>
                  <a:ext uri="{FF2B5EF4-FFF2-40B4-BE49-F238E27FC236}">
                    <a16:creationId xmlns:a16="http://schemas.microsoft.com/office/drawing/2014/main" id="{9C2E1315-CAB9-498D-B138-9A53CF072D0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82" name="Rechthoek 260">
              <a:extLst>
                <a:ext uri="{FF2B5EF4-FFF2-40B4-BE49-F238E27FC236}">
                  <a16:creationId xmlns:a16="http://schemas.microsoft.com/office/drawing/2014/main" id="{7AF07C0D-E7A5-430C-B291-F3E1DE1C18C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183" name="Ovaal 261">
              <a:extLst>
                <a:ext uri="{FF2B5EF4-FFF2-40B4-BE49-F238E27FC236}">
                  <a16:creationId xmlns:a16="http://schemas.microsoft.com/office/drawing/2014/main" id="{C1D04F3B-93B9-4EFB-B64C-A5F9D8302D86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84" name="Rechte verbindingslijn 262">
              <a:extLst>
                <a:ext uri="{FF2B5EF4-FFF2-40B4-BE49-F238E27FC236}">
                  <a16:creationId xmlns:a16="http://schemas.microsoft.com/office/drawing/2014/main" id="{B4DAF6EA-68D1-43DA-B525-76E18B573F2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5" name="Rechte verbindingslijn 263">
              <a:extLst>
                <a:ext uri="{FF2B5EF4-FFF2-40B4-BE49-F238E27FC236}">
                  <a16:creationId xmlns:a16="http://schemas.microsoft.com/office/drawing/2014/main" id="{AB8C44A2-00F9-43D3-B0B5-16EBFA7C65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86" name="Rechthoek 264">
              <a:extLst>
                <a:ext uri="{FF2B5EF4-FFF2-40B4-BE49-F238E27FC236}">
                  <a16:creationId xmlns:a16="http://schemas.microsoft.com/office/drawing/2014/main" id="{F1627388-9FBE-433F-9A3C-540958DBD4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oor deze te selecteren en op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om een nieuwe afbeelding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87" name="Rechte verbindingslijn 265">
              <a:extLst>
                <a:ext uri="{FF2B5EF4-FFF2-40B4-BE49-F238E27FC236}">
                  <a16:creationId xmlns:a16="http://schemas.microsoft.com/office/drawing/2014/main" id="{BD2560AB-E4B1-4FB9-981B-3DEC3D57964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4327957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88" name="Ovaal 266">
              <a:extLst>
                <a:ext uri="{FF2B5EF4-FFF2-40B4-BE49-F238E27FC236}">
                  <a16:creationId xmlns:a16="http://schemas.microsoft.com/office/drawing/2014/main" id="{7C416F0E-0568-4E3F-8ADB-8E61AD2BBB8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89" name="Rechthoek 267">
              <a:extLst>
                <a:ext uri="{FF2B5EF4-FFF2-40B4-BE49-F238E27FC236}">
                  <a16:creationId xmlns:a16="http://schemas.microsoft.com/office/drawing/2014/main" id="{A292EE0D-C7E6-4B85-8288-EC2F31433C3A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90" name="Groep 268">
              <a:extLst>
                <a:ext uri="{FF2B5EF4-FFF2-40B4-BE49-F238E27FC236}">
                  <a16:creationId xmlns:a16="http://schemas.microsoft.com/office/drawing/2014/main" id="{9E9A9367-EC6B-4197-8FA0-96E1F9E5F9D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34" name="Rechthoek 302">
                <a:extLst>
                  <a:ext uri="{FF2B5EF4-FFF2-40B4-BE49-F238E27FC236}">
                    <a16:creationId xmlns:a16="http://schemas.microsoft.com/office/drawing/2014/main" id="{4D54B517-306E-4291-9C4F-81FF2A0113CC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235" name="Rechte verbindingslijn 303">
                <a:extLst>
                  <a:ext uri="{FF2B5EF4-FFF2-40B4-BE49-F238E27FC236}">
                    <a16:creationId xmlns:a16="http://schemas.microsoft.com/office/drawing/2014/main" id="{30203F76-9A47-4493-AEF3-C40FBF3A4F0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36" name="Gelijkbenige driehoek 304">
                <a:extLst>
                  <a:ext uri="{FF2B5EF4-FFF2-40B4-BE49-F238E27FC236}">
                    <a16:creationId xmlns:a16="http://schemas.microsoft.com/office/drawing/2014/main" id="{E9B5BAF1-5630-47EC-9E69-1D5ED2112EC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91" name="Groep 269">
              <a:extLst>
                <a:ext uri="{FF2B5EF4-FFF2-40B4-BE49-F238E27FC236}">
                  <a16:creationId xmlns:a16="http://schemas.microsoft.com/office/drawing/2014/main" id="{D4C40DF4-2EAE-4FA7-9410-36EF66286AF8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228" name="Rechthoek 296">
                <a:extLst>
                  <a:ext uri="{FF2B5EF4-FFF2-40B4-BE49-F238E27FC236}">
                    <a16:creationId xmlns:a16="http://schemas.microsoft.com/office/drawing/2014/main" id="{E1281EFA-DE5E-440E-AEB4-A0490FBC2D7C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9" name="Ovaal 297">
                <a:extLst>
                  <a:ext uri="{FF2B5EF4-FFF2-40B4-BE49-F238E27FC236}">
                    <a16:creationId xmlns:a16="http://schemas.microsoft.com/office/drawing/2014/main" id="{D3DB4830-3508-45C6-BCCA-955F55428B9A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30" name="Vrije vorm: vorm 298">
                <a:extLst>
                  <a:ext uri="{FF2B5EF4-FFF2-40B4-BE49-F238E27FC236}">
                    <a16:creationId xmlns:a16="http://schemas.microsoft.com/office/drawing/2014/main" id="{89D30EF8-3A2D-4463-85F4-2CBF0D46C74E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31" name="Rechthoek: afgeronde hoeken 299">
                <a:extLst>
                  <a:ext uri="{FF2B5EF4-FFF2-40B4-BE49-F238E27FC236}">
                    <a16:creationId xmlns:a16="http://schemas.microsoft.com/office/drawing/2014/main" id="{7A73EC4B-5214-4DEC-AC2F-BCB91590585E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232" name="Rechte verbindingslijn 300">
                <a:extLst>
                  <a:ext uri="{FF2B5EF4-FFF2-40B4-BE49-F238E27FC236}">
                    <a16:creationId xmlns:a16="http://schemas.microsoft.com/office/drawing/2014/main" id="{F4AFDC55-B06C-409E-A49C-EB62D8188EC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33" name="Rechte verbindingslijn 301">
                <a:extLst>
                  <a:ext uri="{FF2B5EF4-FFF2-40B4-BE49-F238E27FC236}">
                    <a16:creationId xmlns:a16="http://schemas.microsoft.com/office/drawing/2014/main" id="{0A1A0432-1DE3-4078-B7F3-CDD89C48551C}"/>
                  </a:ext>
                </a:extLst>
              </p:cNvPr>
              <p:cNvCxnSpPr>
                <a:cxnSpLocks/>
                <a:stCxn id="23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92" name="Ovaal 270">
              <a:extLst>
                <a:ext uri="{FF2B5EF4-FFF2-40B4-BE49-F238E27FC236}">
                  <a16:creationId xmlns:a16="http://schemas.microsoft.com/office/drawing/2014/main" id="{F5E4CE74-BC6B-42D9-BDEB-33BB16E7B23A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93" name="Rechthoek 271">
              <a:extLst>
                <a:ext uri="{FF2B5EF4-FFF2-40B4-BE49-F238E27FC236}">
                  <a16:creationId xmlns:a16="http://schemas.microsoft.com/office/drawing/2014/main" id="{AD1B83CB-D7B9-4260-8F3A-EE29E5ACAEC1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43320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aan de linker kant van het scherm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94" name="Rechte verbindingslijn 272">
              <a:extLst>
                <a:ext uri="{FF2B5EF4-FFF2-40B4-BE49-F238E27FC236}">
                  <a16:creationId xmlns:a16="http://schemas.microsoft.com/office/drawing/2014/main" id="{7B5D5B99-21DA-48B1-8DF4-253EF8E61C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95" name="Rechthoek 273">
              <a:extLst>
                <a:ext uri="{FF2B5EF4-FFF2-40B4-BE49-F238E27FC236}">
                  <a16:creationId xmlns:a16="http://schemas.microsoft.com/office/drawing/2014/main" id="{B25F762E-81F0-466F-81CB-4B14AA19F0AD}"/>
                </a:ext>
              </a:extLst>
            </p:cNvPr>
            <p:cNvSpPr/>
            <p:nvPr userDrawn="1"/>
          </p:nvSpPr>
          <p:spPr>
            <a:xfrm>
              <a:off x="12654153" y="3238910"/>
              <a:ext cx="1624926" cy="805220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3509" b="0" i="1" noProof="0">
                <a:solidFill>
                  <a:schemeClr val="tx1"/>
                </a:solidFill>
              </a:endParaRPr>
            </a:p>
          </p:txBody>
        </p:sp>
        <p:grpSp>
          <p:nvGrpSpPr>
            <p:cNvPr id="196" name="Groep 274">
              <a:extLst>
                <a:ext uri="{FF2B5EF4-FFF2-40B4-BE49-F238E27FC236}">
                  <a16:creationId xmlns:a16="http://schemas.microsoft.com/office/drawing/2014/main" id="{38715314-EC12-4872-85F5-DC48D0434C73}"/>
                </a:ext>
              </a:extLst>
            </p:cNvPr>
            <p:cNvGrpSpPr/>
            <p:nvPr userDrawn="1"/>
          </p:nvGrpSpPr>
          <p:grpSpPr>
            <a:xfrm>
              <a:off x="13614067" y="3535184"/>
              <a:ext cx="1195438" cy="678267"/>
              <a:chOff x="12757284" y="3224292"/>
              <a:chExt cx="1195438" cy="678267"/>
            </a:xfrm>
          </p:grpSpPr>
          <p:sp>
            <p:nvSpPr>
              <p:cNvPr id="197" name="Rechthoek 275">
                <a:extLst>
                  <a:ext uri="{FF2B5EF4-FFF2-40B4-BE49-F238E27FC236}">
                    <a16:creationId xmlns:a16="http://schemas.microsoft.com/office/drawing/2014/main" id="{6E8BB704-40C6-478D-B37E-A6BA473827BF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8" name="Rechthoek 276">
                <a:extLst>
                  <a:ext uri="{FF2B5EF4-FFF2-40B4-BE49-F238E27FC236}">
                    <a16:creationId xmlns:a16="http://schemas.microsoft.com/office/drawing/2014/main" id="{E8EE5A6A-267B-4CDF-AEB4-071D93D5BDAF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99" name="Groep 277">
                <a:extLst>
                  <a:ext uri="{FF2B5EF4-FFF2-40B4-BE49-F238E27FC236}">
                    <a16:creationId xmlns:a16="http://schemas.microsoft.com/office/drawing/2014/main" id="{12B5F916-2745-4DFA-B42C-7DECFBCDDF6A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212" name="Rechthoek: afgeronde hoeken 290">
                  <a:extLst>
                    <a:ext uri="{FF2B5EF4-FFF2-40B4-BE49-F238E27FC236}">
                      <a16:creationId xmlns:a16="http://schemas.microsoft.com/office/drawing/2014/main" id="{C4F0991F-8969-46A5-8299-C281E112BCC2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endPara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3" name="Rechthoek 291">
                  <a:extLst>
                    <a:ext uri="{FF2B5EF4-FFF2-40B4-BE49-F238E27FC236}">
                      <a16:creationId xmlns:a16="http://schemas.microsoft.com/office/drawing/2014/main" id="{BAD4FCAD-85E5-47C8-B0D6-AF159002D671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4" name="Rechthoek 292">
                  <a:extLst>
                    <a:ext uri="{FF2B5EF4-FFF2-40B4-BE49-F238E27FC236}">
                      <a16:creationId xmlns:a16="http://schemas.microsoft.com/office/drawing/2014/main" id="{DF8003A9-7C16-443C-9218-30B8D63A2977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5" name="Rechthoek 293">
                  <a:extLst>
                    <a:ext uri="{FF2B5EF4-FFF2-40B4-BE49-F238E27FC236}">
                      <a16:creationId xmlns:a16="http://schemas.microsoft.com/office/drawing/2014/main" id="{BEEB4E54-3D33-4D16-87E2-1170DECB06D2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6" name="Rechthoek 294">
                  <a:extLst>
                    <a:ext uri="{FF2B5EF4-FFF2-40B4-BE49-F238E27FC236}">
                      <a16:creationId xmlns:a16="http://schemas.microsoft.com/office/drawing/2014/main" id="{F9EEE1F0-8B23-4C7B-AE93-E83209BF8757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7" name="Rechthoek 295">
                  <a:extLst>
                    <a:ext uri="{FF2B5EF4-FFF2-40B4-BE49-F238E27FC236}">
                      <a16:creationId xmlns:a16="http://schemas.microsoft.com/office/drawing/2014/main" id="{6CCAE864-0170-472F-B125-677A87BBBD84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200" name="Groep 278">
                <a:extLst>
                  <a:ext uri="{FF2B5EF4-FFF2-40B4-BE49-F238E27FC236}">
                    <a16:creationId xmlns:a16="http://schemas.microsoft.com/office/drawing/2014/main" id="{56741DF2-7BA3-4325-A837-64B6FFAE3D26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204" name="Groep 282">
                  <a:extLst>
                    <a:ext uri="{FF2B5EF4-FFF2-40B4-BE49-F238E27FC236}">
                      <a16:creationId xmlns:a16="http://schemas.microsoft.com/office/drawing/2014/main" id="{FEDC01BC-36E6-4C21-810B-9897256EFBEB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206" name="Rechthoek: afgeronde hoeken 284">
                    <a:extLst>
                      <a:ext uri="{FF2B5EF4-FFF2-40B4-BE49-F238E27FC236}">
                        <a16:creationId xmlns:a16="http://schemas.microsoft.com/office/drawing/2014/main" id="{16578572-7E06-4290-949B-61109C8A2FE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2105"/>
                      </a:spcBef>
                      <a:spcAft>
                        <a:spcPts val="2105"/>
                      </a:spcAft>
                    </a:pPr>
                    <a:endParaRPr lang="nl-NL" sz="280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07" name="Rechthoek 285">
                    <a:extLst>
                      <a:ext uri="{FF2B5EF4-FFF2-40B4-BE49-F238E27FC236}">
                        <a16:creationId xmlns:a16="http://schemas.microsoft.com/office/drawing/2014/main" id="{6410265C-9D29-47DF-87A6-E033C3F610E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8" name="Rechthoek 286">
                    <a:extLst>
                      <a:ext uri="{FF2B5EF4-FFF2-40B4-BE49-F238E27FC236}">
                        <a16:creationId xmlns:a16="http://schemas.microsoft.com/office/drawing/2014/main" id="{6F0FEA28-254F-4A16-92A2-29867CCCBB7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9" name="Rechthoek 287">
                    <a:extLst>
                      <a:ext uri="{FF2B5EF4-FFF2-40B4-BE49-F238E27FC236}">
                        <a16:creationId xmlns:a16="http://schemas.microsoft.com/office/drawing/2014/main" id="{E2177107-446F-40BA-B2A8-FF6B4D886D5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0" name="Rechthoek 288">
                    <a:extLst>
                      <a:ext uri="{FF2B5EF4-FFF2-40B4-BE49-F238E27FC236}">
                        <a16:creationId xmlns:a16="http://schemas.microsoft.com/office/drawing/2014/main" id="{4DE5D972-03E6-4AF7-8893-7D492261D0F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1" name="Rechthoek 289">
                    <a:extLst>
                      <a:ext uri="{FF2B5EF4-FFF2-40B4-BE49-F238E27FC236}">
                        <a16:creationId xmlns:a16="http://schemas.microsoft.com/office/drawing/2014/main" id="{1C842460-5630-4292-8F0C-73C8F82F52E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205" name="Boog 283">
                  <a:extLst>
                    <a:ext uri="{FF2B5EF4-FFF2-40B4-BE49-F238E27FC236}">
                      <a16:creationId xmlns:a16="http://schemas.microsoft.com/office/drawing/2014/main" id="{27C64B2C-2F70-4C27-82DA-A52F19F38C0E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</p:grpSp>
          <p:sp>
            <p:nvSpPr>
              <p:cNvPr id="201" name="Tekstvak 279">
                <a:extLst>
                  <a:ext uri="{FF2B5EF4-FFF2-40B4-BE49-F238E27FC236}">
                    <a16:creationId xmlns:a16="http://schemas.microsoft.com/office/drawing/2014/main" id="{CD7E2612-2AEF-4C1D-8C44-62DE8A136EAD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202" name="Tekstvak 280">
                <a:extLst>
                  <a:ext uri="{FF2B5EF4-FFF2-40B4-BE49-F238E27FC236}">
                    <a16:creationId xmlns:a16="http://schemas.microsoft.com/office/drawing/2014/main" id="{0E7A3664-C29E-4F66-B81B-9C375EF647E3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203" name="Picture 3">
                <a:extLst>
                  <a:ext uri="{FF2B5EF4-FFF2-40B4-BE49-F238E27FC236}">
                    <a16:creationId xmlns:a16="http://schemas.microsoft.com/office/drawing/2014/main" id="{610BCC81-F8D1-4CD3-9B57-33536D7ED87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810206" y="3671228"/>
                <a:ext cx="14251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grpSp>
        <p:nvGrpSpPr>
          <p:cNvPr id="76" name="Instructie">
            <a:extLst>
              <a:ext uri="{FF2B5EF4-FFF2-40B4-BE49-F238E27FC236}">
                <a16:creationId xmlns:a16="http://schemas.microsoft.com/office/drawing/2014/main" id="{4603085B-E399-4832-BCA3-76BCA627EC71}"/>
              </a:ext>
            </a:extLst>
          </p:cNvPr>
          <p:cNvGrpSpPr/>
          <p:nvPr userDrawn="1"/>
        </p:nvGrpSpPr>
        <p:grpSpPr>
          <a:xfrm>
            <a:off x="-11761540" y="0"/>
            <a:ext cx="11164508" cy="11743958"/>
            <a:chOff x="-3426088" y="4512342"/>
            <a:chExt cx="3182755" cy="2660264"/>
          </a:xfrm>
        </p:grpSpPr>
        <p:sp>
          <p:nvSpPr>
            <p:cNvPr id="77" name="Rechthoek 127">
              <a:extLst>
                <a:ext uri="{FF2B5EF4-FFF2-40B4-BE49-F238E27FC236}">
                  <a16:creationId xmlns:a16="http://schemas.microsoft.com/office/drawing/2014/main" id="{BFF4F3EC-F7CC-4926-BA67-59424C7E9E81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78" name="Rechte verbindingslijn 128">
              <a:extLst>
                <a:ext uri="{FF2B5EF4-FFF2-40B4-BE49-F238E27FC236}">
                  <a16:creationId xmlns:a16="http://schemas.microsoft.com/office/drawing/2014/main" id="{358CBB5E-9BA0-4D4A-98F7-43DBDCD5E0B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79" name="Rechthoek 130">
              <a:extLst>
                <a:ext uri="{FF2B5EF4-FFF2-40B4-BE49-F238E27FC236}">
                  <a16:creationId xmlns:a16="http://schemas.microsoft.com/office/drawing/2014/main" id="{E340B0A1-85BF-4C01-B9EB-3B2C78ECB25B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80" name="Rechthoek 133">
              <a:extLst>
                <a:ext uri="{FF2B5EF4-FFF2-40B4-BE49-F238E27FC236}">
                  <a16:creationId xmlns:a16="http://schemas.microsoft.com/office/drawing/2014/main" id="{2CBCD737-B2C3-4FF2-9C2B-260B623D367D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1" name="Rechthoek 136">
              <a:extLst>
                <a:ext uri="{FF2B5EF4-FFF2-40B4-BE49-F238E27FC236}">
                  <a16:creationId xmlns:a16="http://schemas.microsoft.com/office/drawing/2014/main" id="{592CF995-A6E6-4755-95C6-53ECB501F2E7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2" name="Rechthoek 139">
              <a:extLst>
                <a:ext uri="{FF2B5EF4-FFF2-40B4-BE49-F238E27FC236}">
                  <a16:creationId xmlns:a16="http://schemas.microsoft.com/office/drawing/2014/main" id="{79B706D0-8D58-40F3-8D42-6BF01C3F95ED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83" name="Rechte verbindingslijn 140">
              <a:extLst>
                <a:ext uri="{FF2B5EF4-FFF2-40B4-BE49-F238E27FC236}">
                  <a16:creationId xmlns:a16="http://schemas.microsoft.com/office/drawing/2014/main" id="{7E4623E2-3B20-49B9-8388-C465BE6F0EB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C7F23BAD-09D9-4D71-9A55-ADE82665CE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742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Grafiek 50%/5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el 1">
            <a:extLst>
              <a:ext uri="{FF2B5EF4-FFF2-40B4-BE49-F238E27FC236}">
                <a16:creationId xmlns:a16="http://schemas.microsoft.com/office/drawing/2014/main" id="{6FC02832-6172-4872-830B-0E200141D9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41" name="Tijdelijke aanduiding voor tekst 14">
            <a:extLst>
              <a:ext uri="{FF2B5EF4-FFF2-40B4-BE49-F238E27FC236}">
                <a16:creationId xmlns:a16="http://schemas.microsoft.com/office/drawing/2014/main" id="{92B3C0DD-4B30-41A4-ACF0-43DCC142EE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58" name="Tijdelijke aanduiding voor voettekst 4">
            <a:extLst>
              <a:ext uri="{FF2B5EF4-FFF2-40B4-BE49-F238E27FC236}">
                <a16:creationId xmlns:a16="http://schemas.microsoft.com/office/drawing/2014/main" id="{A767B2FF-AFB7-4C77-9D83-2891D4995E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59" name="Tijdelijke aanduiding voor dianummer 5">
            <a:extLst>
              <a:ext uri="{FF2B5EF4-FFF2-40B4-BE49-F238E27FC236}">
                <a16:creationId xmlns:a16="http://schemas.microsoft.com/office/drawing/2014/main" id="{9A2D0BED-D586-4A0C-92B4-0B9B621444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9" y="27329718"/>
            <a:ext cx="834509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cxnSp>
        <p:nvCxnSpPr>
          <p:cNvPr id="4" name="Rechte verbindingslijn 3">
            <a:extLst>
              <a:ext uri="{FF2B5EF4-FFF2-40B4-BE49-F238E27FC236}">
                <a16:creationId xmlns:a16="http://schemas.microsoft.com/office/drawing/2014/main" id="{B7132B7D-5165-4EF7-9B98-0281F140107D}"/>
              </a:ext>
            </a:extLst>
          </p:cNvPr>
          <p:cNvCxnSpPr/>
          <p:nvPr userDrawn="1"/>
        </p:nvCxnSpPr>
        <p:spPr>
          <a:xfrm>
            <a:off x="21383618" y="6476683"/>
            <a:ext cx="0" cy="19074342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jdelijke aanduiding voor datum 3">
            <a:extLst>
              <a:ext uri="{FF2B5EF4-FFF2-40B4-BE49-F238E27FC236}">
                <a16:creationId xmlns:a16="http://schemas.microsoft.com/office/drawing/2014/main" id="{954DA91E-C842-4007-B98B-6B2243FE611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19707B42-73DA-42CB-A5E3-8DE983276932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208" name="Tijdelijke aanduiding voor grafiek 7">
            <a:extLst>
              <a:ext uri="{FF2B5EF4-FFF2-40B4-BE49-F238E27FC236}">
                <a16:creationId xmlns:a16="http://schemas.microsoft.com/office/drawing/2014/main" id="{850783B6-C90B-4AAA-90BA-1DAFC9F22AA9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22853747" y="6476685"/>
            <a:ext cx="18130515" cy="19074338"/>
          </a:xfrm>
          <a:solidFill>
            <a:schemeClr val="bg1">
              <a:lumMod val="95000"/>
            </a:schemeClr>
          </a:solidFill>
        </p:spPr>
        <p:txBody>
          <a:bodyPr tIns="288000" bIns="1440000" anchor="b">
            <a:normAutofit/>
          </a:bodyPr>
          <a:lstStyle>
            <a:lvl1pPr marL="0" indent="0" algn="ctr">
              <a:spcAft>
                <a:spcPts val="0"/>
              </a:spcAft>
              <a:buNone/>
              <a:defRPr sz="4209" b="0" i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grafiek in te voegen</a:t>
            </a:r>
          </a:p>
        </p:txBody>
      </p:sp>
      <p:grpSp>
        <p:nvGrpSpPr>
          <p:cNvPr id="371" name="Instructie">
            <a:extLst>
              <a:ext uri="{FF2B5EF4-FFF2-40B4-BE49-F238E27FC236}">
                <a16:creationId xmlns:a16="http://schemas.microsoft.com/office/drawing/2014/main" id="{093D00D8-0169-418F-BBF9-0B59653C092A}"/>
              </a:ext>
            </a:extLst>
          </p:cNvPr>
          <p:cNvGrpSpPr/>
          <p:nvPr userDrawn="1"/>
        </p:nvGrpSpPr>
        <p:grpSpPr>
          <a:xfrm>
            <a:off x="43460797" y="12724935"/>
            <a:ext cx="11167742" cy="11242262"/>
            <a:chOff x="12389714" y="4327164"/>
            <a:chExt cx="3183677" cy="2546619"/>
          </a:xfrm>
        </p:grpSpPr>
        <p:grpSp>
          <p:nvGrpSpPr>
            <p:cNvPr id="372" name="Meer informatie">
              <a:extLst>
                <a:ext uri="{FF2B5EF4-FFF2-40B4-BE49-F238E27FC236}">
                  <a16:creationId xmlns:a16="http://schemas.microsoft.com/office/drawing/2014/main" id="{CD9D0A7D-373C-43C3-97F7-EEFBA9DDC665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10" name="Freeform 101">
                <a:extLst>
                  <a:ext uri="{FF2B5EF4-FFF2-40B4-BE49-F238E27FC236}">
                    <a16:creationId xmlns:a16="http://schemas.microsoft.com/office/drawing/2014/main" id="{41B52622-B9B7-426F-8D75-BD8B08FDD5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411" name="Rechthoek 67">
                <a:extLst>
                  <a:ext uri="{FF2B5EF4-FFF2-40B4-BE49-F238E27FC236}">
                    <a16:creationId xmlns:a16="http://schemas.microsoft.com/office/drawing/2014/main" id="{4CB3D13E-34A6-4EB3-9748-76ADFD6ED9BA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412" name="Rechte verbindingslijn 68">
                <a:extLst>
                  <a:ext uri="{FF2B5EF4-FFF2-40B4-BE49-F238E27FC236}">
                    <a16:creationId xmlns:a16="http://schemas.microsoft.com/office/drawing/2014/main" id="{E80D425F-D318-4BCE-B843-062A7B2C3F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373" name="Rechte verbindingslijn 18">
              <a:extLst>
                <a:ext uri="{FF2B5EF4-FFF2-40B4-BE49-F238E27FC236}">
                  <a16:creationId xmlns:a16="http://schemas.microsoft.com/office/drawing/2014/main" id="{7F7FD683-3666-4C67-922B-AA6BFC0E614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4" name="Rechthoek 19">
              <a:extLst>
                <a:ext uri="{FF2B5EF4-FFF2-40B4-BE49-F238E27FC236}">
                  <a16:creationId xmlns:a16="http://schemas.microsoft.com/office/drawing/2014/main" id="{F79488E0-33A2-49BB-88CF-6B9A0B62F300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Data van de Grafiek Bewerken</a:t>
              </a:r>
            </a:p>
          </p:txBody>
        </p:sp>
        <p:sp>
          <p:nvSpPr>
            <p:cNvPr id="375" name="Ovaal 20">
              <a:extLst>
                <a:ext uri="{FF2B5EF4-FFF2-40B4-BE49-F238E27FC236}">
                  <a16:creationId xmlns:a16="http://schemas.microsoft.com/office/drawing/2014/main" id="{F8AAD153-49ED-49B6-B9D7-6C39766BF907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6" name="Rechte verbindingslijn 21">
              <a:extLst>
                <a:ext uri="{FF2B5EF4-FFF2-40B4-BE49-F238E27FC236}">
                  <a16:creationId xmlns:a16="http://schemas.microsoft.com/office/drawing/2014/main" id="{A6B7FF75-2363-468F-983B-A790CB25A0E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7" name="Rechthoek 22">
              <a:extLst>
                <a:ext uri="{FF2B5EF4-FFF2-40B4-BE49-F238E27FC236}">
                  <a16:creationId xmlns:a16="http://schemas.microsoft.com/office/drawing/2014/main" id="{7F216100-59E5-4E02-AC7B-1A9B95C69C8C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3859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eer de grafiek, klik met de rechter muisknop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lang="nl-NL" sz="3859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Gegevens bewerk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.</a:t>
              </a:r>
              <a:endParaRPr lang="nl-NL" sz="3859" b="1" kern="0" noProof="0">
                <a:solidFill>
                  <a:schemeClr val="tx1"/>
                </a:solidFill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23">
              <a:extLst>
                <a:ext uri="{FF2B5EF4-FFF2-40B4-BE49-F238E27FC236}">
                  <a16:creationId xmlns:a16="http://schemas.microsoft.com/office/drawing/2014/main" id="{934A9BD4-E68E-4B49-A1BB-712DD237CBF3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379" name="Rechthoek 24">
                <a:extLst>
                  <a:ext uri="{FF2B5EF4-FFF2-40B4-BE49-F238E27FC236}">
                    <a16:creationId xmlns:a16="http://schemas.microsoft.com/office/drawing/2014/main" id="{AA005117-F46F-4614-8165-DC5C3277999A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80" name="Rechthoek 25">
                <a:extLst>
                  <a:ext uri="{FF2B5EF4-FFF2-40B4-BE49-F238E27FC236}">
                    <a16:creationId xmlns:a16="http://schemas.microsoft.com/office/drawing/2014/main" id="{2FFEF778-63EF-4AEB-AE8E-9A724DCC0DE8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1" name="Tekstvak 26">
                <a:extLst>
                  <a:ext uri="{FF2B5EF4-FFF2-40B4-BE49-F238E27FC236}">
                    <a16:creationId xmlns:a16="http://schemas.microsoft.com/office/drawing/2014/main" id="{0CCBAB9C-D1A6-4173-8429-8A0EA0922B9A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1199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3158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Grafiektype wijzigen</a:t>
                </a:r>
              </a:p>
            </p:txBody>
          </p:sp>
          <p:sp>
            <p:nvSpPr>
              <p:cNvPr id="382" name="Tekstvak 27">
                <a:extLst>
                  <a:ext uri="{FF2B5EF4-FFF2-40B4-BE49-F238E27FC236}">
                    <a16:creationId xmlns:a16="http://schemas.microsoft.com/office/drawing/2014/main" id="{CAAFD04C-9D5C-4FB7-B71A-59398FCB167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1199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3158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Gegevens bewerken</a:t>
                </a:r>
              </a:p>
            </p:txBody>
          </p:sp>
          <p:pic>
            <p:nvPicPr>
              <p:cNvPr id="383" name="Picture 3">
                <a:extLst>
                  <a:ext uri="{FF2B5EF4-FFF2-40B4-BE49-F238E27FC236}">
                    <a16:creationId xmlns:a16="http://schemas.microsoft.com/office/drawing/2014/main" id="{AD957B47-D1C9-48FE-84E5-A90F5EAD4F34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384" name="Groep 29">
                <a:extLst>
                  <a:ext uri="{FF2B5EF4-FFF2-40B4-BE49-F238E27FC236}">
                    <a16:creationId xmlns:a16="http://schemas.microsoft.com/office/drawing/2014/main" id="{C4113766-C094-4E7D-8EF6-7C1D276BF6F3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07" name="Rechthoek 63">
                  <a:extLst>
                    <a:ext uri="{FF2B5EF4-FFF2-40B4-BE49-F238E27FC236}">
                      <a16:creationId xmlns:a16="http://schemas.microsoft.com/office/drawing/2014/main" id="{E3BAF8E1-FDE8-47B5-8F23-38F32F317BD0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7016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08" name="Rechthoek 64">
                  <a:extLst>
                    <a:ext uri="{FF2B5EF4-FFF2-40B4-BE49-F238E27FC236}">
                      <a16:creationId xmlns:a16="http://schemas.microsoft.com/office/drawing/2014/main" id="{DCE7D256-538A-4446-BB7E-5518BB24FA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7016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09" name="Rechthoek 65">
                  <a:extLst>
                    <a:ext uri="{FF2B5EF4-FFF2-40B4-BE49-F238E27FC236}">
                      <a16:creationId xmlns:a16="http://schemas.microsoft.com/office/drawing/2014/main" id="{5CF4F56B-4ABB-4412-B96F-04ACF5FC75C8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7016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385" name="Groep 30">
                <a:extLst>
                  <a:ext uri="{FF2B5EF4-FFF2-40B4-BE49-F238E27FC236}">
                    <a16:creationId xmlns:a16="http://schemas.microsoft.com/office/drawing/2014/main" id="{11081DA6-EE72-4F42-A979-CC7211C22323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386" name="Rechthoek 32">
                  <a:extLst>
                    <a:ext uri="{FF2B5EF4-FFF2-40B4-BE49-F238E27FC236}">
                      <a16:creationId xmlns:a16="http://schemas.microsoft.com/office/drawing/2014/main" id="{A009DC1B-61F1-4654-9B32-557931970963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  <p:grpSp>
              <p:nvGrpSpPr>
                <p:cNvPr id="387" name="Groep 33">
                  <a:extLst>
                    <a:ext uri="{FF2B5EF4-FFF2-40B4-BE49-F238E27FC236}">
                      <a16:creationId xmlns:a16="http://schemas.microsoft.com/office/drawing/2014/main" id="{2C60AAEC-DABC-42FC-83A7-33F346E8A1C8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388" name="Groep 34">
                    <a:extLst>
                      <a:ext uri="{FF2B5EF4-FFF2-40B4-BE49-F238E27FC236}">
                        <a16:creationId xmlns:a16="http://schemas.microsoft.com/office/drawing/2014/main" id="{0BB4E1D5-852C-4565-A33D-56864A6CDE5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393" name="Rechthoek 40">
                      <a:extLst>
                        <a:ext uri="{FF2B5EF4-FFF2-40B4-BE49-F238E27FC236}">
                          <a16:creationId xmlns:a16="http://schemas.microsoft.com/office/drawing/2014/main" id="{A4014D79-6CB9-4DC9-9736-EFB5515AE7C8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nl-NL" sz="16213" noProof="0"/>
                    </a:p>
                  </p:txBody>
                </p:sp>
                <p:grpSp>
                  <p:nvGrpSpPr>
                    <p:cNvPr id="394" name="Groep 41">
                      <a:extLst>
                        <a:ext uri="{FF2B5EF4-FFF2-40B4-BE49-F238E27FC236}">
                          <a16:creationId xmlns:a16="http://schemas.microsoft.com/office/drawing/2014/main" id="{D6034686-3E41-472A-B084-4E1462C1312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00" name="Rechte verbindingslijn 54">
                        <a:extLst>
                          <a:ext uri="{FF2B5EF4-FFF2-40B4-BE49-F238E27FC236}">
                            <a16:creationId xmlns:a16="http://schemas.microsoft.com/office/drawing/2014/main" id="{735BD489-492A-446C-A70D-F96FC5D76FFF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01" name="Rechte verbindingslijn 57">
                        <a:extLst>
                          <a:ext uri="{FF2B5EF4-FFF2-40B4-BE49-F238E27FC236}">
                            <a16:creationId xmlns:a16="http://schemas.microsoft.com/office/drawing/2014/main" id="{D9969D38-3548-4DF5-815F-4F73EB32DE12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02" name="Groep 58">
                        <a:extLst>
                          <a:ext uri="{FF2B5EF4-FFF2-40B4-BE49-F238E27FC236}">
                            <a16:creationId xmlns:a16="http://schemas.microsoft.com/office/drawing/2014/main" id="{CE3DCB13-F63E-4ACB-B59C-46CAF9E573FD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03" name="Rechte verbindingslijn 59">
                          <a:extLst>
                            <a:ext uri="{FF2B5EF4-FFF2-40B4-BE49-F238E27FC236}">
                              <a16:creationId xmlns:a16="http://schemas.microsoft.com/office/drawing/2014/main" id="{168075E9-3C3F-481E-A03E-C71F9E99F045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04" name="Rechte verbindingslijn 60">
                          <a:extLst>
                            <a:ext uri="{FF2B5EF4-FFF2-40B4-BE49-F238E27FC236}">
                              <a16:creationId xmlns:a16="http://schemas.microsoft.com/office/drawing/2014/main" id="{F1223E69-7E15-4CE0-9A7F-0CEF4D3D2F2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05" name="Rechte verbindingslijn 61">
                          <a:extLst>
                            <a:ext uri="{FF2B5EF4-FFF2-40B4-BE49-F238E27FC236}">
                              <a16:creationId xmlns:a16="http://schemas.microsoft.com/office/drawing/2014/main" id="{796A5C2D-4401-46A3-9E8F-51008B5D6A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06" name="Rechte verbindingslijn 62">
                          <a:extLst>
                            <a:ext uri="{FF2B5EF4-FFF2-40B4-BE49-F238E27FC236}">
                              <a16:creationId xmlns:a16="http://schemas.microsoft.com/office/drawing/2014/main" id="{767A414E-12E2-4ED1-852F-7D084BB4184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395" name="Rechte verbindingslijn 42">
                      <a:extLst>
                        <a:ext uri="{FF2B5EF4-FFF2-40B4-BE49-F238E27FC236}">
                          <a16:creationId xmlns:a16="http://schemas.microsoft.com/office/drawing/2014/main" id="{A46391AF-2B1B-4114-B45B-83B29F36F281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396" name="Groep 43">
                      <a:extLst>
                        <a:ext uri="{FF2B5EF4-FFF2-40B4-BE49-F238E27FC236}">
                          <a16:creationId xmlns:a16="http://schemas.microsoft.com/office/drawing/2014/main" id="{913B35B5-33A3-41DB-ADA3-82513A2792CC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397" name="Rechte verbindingslijn 44">
                        <a:extLst>
                          <a:ext uri="{FF2B5EF4-FFF2-40B4-BE49-F238E27FC236}">
                            <a16:creationId xmlns:a16="http://schemas.microsoft.com/office/drawing/2014/main" id="{53A0FDE3-5029-4D2B-AE39-77072F1C5786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398" name="Rechte verbindingslijn 45">
                        <a:extLst>
                          <a:ext uri="{FF2B5EF4-FFF2-40B4-BE49-F238E27FC236}">
                            <a16:creationId xmlns:a16="http://schemas.microsoft.com/office/drawing/2014/main" id="{6EDB4DE3-8EAE-4A9F-839C-612A38F6A08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399" name="Rechte verbindingslijn 46">
                        <a:extLst>
                          <a:ext uri="{FF2B5EF4-FFF2-40B4-BE49-F238E27FC236}">
                            <a16:creationId xmlns:a16="http://schemas.microsoft.com/office/drawing/2014/main" id="{A4D9CE07-6E13-45BD-BE4C-50420D7F603B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389" name="Groep 35">
                    <a:extLst>
                      <a:ext uri="{FF2B5EF4-FFF2-40B4-BE49-F238E27FC236}">
                        <a16:creationId xmlns:a16="http://schemas.microsoft.com/office/drawing/2014/main" id="{4D9D5565-5115-4144-B47A-4BBA9094686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390" name="Rechthoek 36">
                      <a:extLst>
                        <a:ext uri="{FF2B5EF4-FFF2-40B4-BE49-F238E27FC236}">
                          <a16:creationId xmlns:a16="http://schemas.microsoft.com/office/drawing/2014/main" id="{6FDF3E12-3196-4FEB-981B-8372B0EF125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nl-NL" sz="16213" noProof="0"/>
                    </a:p>
                  </p:txBody>
                </p:sp>
                <p:sp>
                  <p:nvSpPr>
                    <p:cNvPr id="391" name="Rechthoek: afgeronde bovenhoeken 37">
                      <a:extLst>
                        <a:ext uri="{FF2B5EF4-FFF2-40B4-BE49-F238E27FC236}">
                          <a16:creationId xmlns:a16="http://schemas.microsoft.com/office/drawing/2014/main" id="{49FD1A47-04B4-4681-8C3C-4ADBABB982B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nl-NL" sz="16213" noProof="0"/>
                    </a:p>
                  </p:txBody>
                </p:sp>
                <p:sp>
                  <p:nvSpPr>
                    <p:cNvPr id="392" name="Gelijkbenige driehoek 39">
                      <a:extLst>
                        <a:ext uri="{FF2B5EF4-FFF2-40B4-BE49-F238E27FC236}">
                          <a16:creationId xmlns:a16="http://schemas.microsoft.com/office/drawing/2014/main" id="{150629DD-6053-43E8-B356-5C6C4E228D52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nl-NL" sz="16213" noProof="0"/>
                    </a:p>
                  </p:txBody>
                </p:sp>
              </p:grpSp>
            </p:grpSp>
          </p:grpSp>
        </p:grpSp>
      </p:grpSp>
      <p:grpSp>
        <p:nvGrpSpPr>
          <p:cNvPr id="413" name="Instructie">
            <a:extLst>
              <a:ext uri="{FF2B5EF4-FFF2-40B4-BE49-F238E27FC236}">
                <a16:creationId xmlns:a16="http://schemas.microsoft.com/office/drawing/2014/main" id="{68AFCB9B-7F75-432E-9160-7C164B29B927}"/>
              </a:ext>
            </a:extLst>
          </p:cNvPr>
          <p:cNvGrpSpPr/>
          <p:nvPr userDrawn="1"/>
        </p:nvGrpSpPr>
        <p:grpSpPr>
          <a:xfrm>
            <a:off x="43467415" y="2"/>
            <a:ext cx="11167742" cy="11035527"/>
            <a:chOff x="12391601" y="0"/>
            <a:chExt cx="3183677" cy="2499789"/>
          </a:xfrm>
        </p:grpSpPr>
        <p:sp>
          <p:nvSpPr>
            <p:cNvPr id="414" name="Rechthoek 70">
              <a:extLst>
                <a:ext uri="{FF2B5EF4-FFF2-40B4-BE49-F238E27FC236}">
                  <a16:creationId xmlns:a16="http://schemas.microsoft.com/office/drawing/2014/main" id="{2EBBABD9-7F82-43E6-A6D7-0F272E8A572F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Grafiek invoegen/veranderen</a:t>
              </a:r>
            </a:p>
          </p:txBody>
        </p:sp>
        <p:sp>
          <p:nvSpPr>
            <p:cNvPr id="415" name="Ovaal 71">
              <a:extLst>
                <a:ext uri="{FF2B5EF4-FFF2-40B4-BE49-F238E27FC236}">
                  <a16:creationId xmlns:a16="http://schemas.microsoft.com/office/drawing/2014/main" id="{309D0D22-FC9C-43D4-8212-1DEBBC68CA78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16" name="Rechte verbindingslijn 72">
              <a:extLst>
                <a:ext uri="{FF2B5EF4-FFF2-40B4-BE49-F238E27FC236}">
                  <a16:creationId xmlns:a16="http://schemas.microsoft.com/office/drawing/2014/main" id="{7E3992A7-AA23-45CA-8D5E-CB79B60EDFC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17" name="Rechte verbindingslijn 73">
              <a:extLst>
                <a:ext uri="{FF2B5EF4-FFF2-40B4-BE49-F238E27FC236}">
                  <a16:creationId xmlns:a16="http://schemas.microsoft.com/office/drawing/2014/main" id="{C2771FE0-721C-4E2A-95D0-FA6AE2EF90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18" name="Rechthoek 74">
              <a:extLst>
                <a:ext uri="{FF2B5EF4-FFF2-40B4-BE49-F238E27FC236}">
                  <a16:creationId xmlns:a16="http://schemas.microsoft.com/office/drawing/2014/main" id="{61A4532D-0E16-4C18-8B14-49EA7F3BE0E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grafiek d.m.v.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knop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Klik op het pictogram om een nieuwe grafiek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19" name="Ovaal 75">
              <a:extLst>
                <a:ext uri="{FF2B5EF4-FFF2-40B4-BE49-F238E27FC236}">
                  <a16:creationId xmlns:a16="http://schemas.microsoft.com/office/drawing/2014/main" id="{0CDF15F8-A88D-4EC1-8947-3960A756906A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20" name="Rechthoek 76">
              <a:extLst>
                <a:ext uri="{FF2B5EF4-FFF2-40B4-BE49-F238E27FC236}">
                  <a16:creationId xmlns:a16="http://schemas.microsoft.com/office/drawing/2014/main" id="{0ED0146D-904B-4673-8E6F-FCBAD8403E01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grafiek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21" name="Groep 77">
              <a:extLst>
                <a:ext uri="{FF2B5EF4-FFF2-40B4-BE49-F238E27FC236}">
                  <a16:creationId xmlns:a16="http://schemas.microsoft.com/office/drawing/2014/main" id="{840DE3CA-AB32-4179-9F54-9F7F38509EE5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27" name="Rechthoek 83">
                <a:extLst>
                  <a:ext uri="{FF2B5EF4-FFF2-40B4-BE49-F238E27FC236}">
                    <a16:creationId xmlns:a16="http://schemas.microsoft.com/office/drawing/2014/main" id="{BB172C15-FF99-452D-B4B8-342A8A46D4BA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428" name="Rechte verbindingslijn 84">
                <a:extLst>
                  <a:ext uri="{FF2B5EF4-FFF2-40B4-BE49-F238E27FC236}">
                    <a16:creationId xmlns:a16="http://schemas.microsoft.com/office/drawing/2014/main" id="{298F9C24-5592-4D67-8508-29F6D056FB09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29" name="Gelijkbenige driehoek 85">
                <a:extLst>
                  <a:ext uri="{FF2B5EF4-FFF2-40B4-BE49-F238E27FC236}">
                    <a16:creationId xmlns:a16="http://schemas.microsoft.com/office/drawing/2014/main" id="{864D7842-5CDC-4CB3-B51D-CF3987D8DEA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22" name="Rechte verbindingslijn 78">
              <a:extLst>
                <a:ext uri="{FF2B5EF4-FFF2-40B4-BE49-F238E27FC236}">
                  <a16:creationId xmlns:a16="http://schemas.microsoft.com/office/drawing/2014/main" id="{E647B0A0-E24F-4069-8CAD-422ACA3A1E7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23" name="Groep 79">
              <a:extLst>
                <a:ext uri="{FF2B5EF4-FFF2-40B4-BE49-F238E27FC236}">
                  <a16:creationId xmlns:a16="http://schemas.microsoft.com/office/drawing/2014/main" id="{903D9559-4BCA-488C-8A02-A13C81868821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24" name="Rechthoek 80">
                <a:extLst>
                  <a:ext uri="{FF2B5EF4-FFF2-40B4-BE49-F238E27FC236}">
                    <a16:creationId xmlns:a16="http://schemas.microsoft.com/office/drawing/2014/main" id="{11273E51-6562-486D-819A-1A616E8704FF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213" noProof="0"/>
              </a:p>
            </p:txBody>
          </p:sp>
          <p:sp>
            <p:nvSpPr>
              <p:cNvPr id="425" name="Rechthoek 81">
                <a:extLst>
                  <a:ext uri="{FF2B5EF4-FFF2-40B4-BE49-F238E27FC236}">
                    <a16:creationId xmlns:a16="http://schemas.microsoft.com/office/drawing/2014/main" id="{9B517314-CE28-4E37-A8F1-3E4924550431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213" noProof="0"/>
              </a:p>
            </p:txBody>
          </p:sp>
          <p:sp>
            <p:nvSpPr>
              <p:cNvPr id="426" name="Rechthoek 82">
                <a:extLst>
                  <a:ext uri="{FF2B5EF4-FFF2-40B4-BE49-F238E27FC236}">
                    <a16:creationId xmlns:a16="http://schemas.microsoft.com/office/drawing/2014/main" id="{29646C08-5840-416B-A1AC-36700BF6CF92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213" noProof="0"/>
              </a:p>
            </p:txBody>
          </p:sp>
        </p:grpSp>
      </p:grp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A6AE8251-BA1F-4B6F-B210-0675BB1002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42373" y="6476685"/>
            <a:ext cx="18171872" cy="1907433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bullet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bullet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grpSp>
        <p:nvGrpSpPr>
          <p:cNvPr id="153" name="Groep 101">
            <a:extLst>
              <a:ext uri="{FF2B5EF4-FFF2-40B4-BE49-F238E27FC236}">
                <a16:creationId xmlns:a16="http://schemas.microsoft.com/office/drawing/2014/main" id="{B07B2DB9-C554-4F5A-8A6B-05AF422F8883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154" name="Rechthoek 102">
              <a:extLst>
                <a:ext uri="{FF2B5EF4-FFF2-40B4-BE49-F238E27FC236}">
                  <a16:creationId xmlns:a16="http://schemas.microsoft.com/office/drawing/2014/main" id="{737D46D0-24CE-4011-B6A7-492605AE3110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155" name="Ovaal 103">
              <a:extLst>
                <a:ext uri="{FF2B5EF4-FFF2-40B4-BE49-F238E27FC236}">
                  <a16:creationId xmlns:a16="http://schemas.microsoft.com/office/drawing/2014/main" id="{34892FDB-5F2E-439E-BFD5-E5FB48CABB52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6" name="Rechte verbindingslijn 104">
              <a:extLst>
                <a:ext uri="{FF2B5EF4-FFF2-40B4-BE49-F238E27FC236}">
                  <a16:creationId xmlns:a16="http://schemas.microsoft.com/office/drawing/2014/main" id="{ECA8D625-3B6A-423E-826C-9F6AAA899F8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7" name="Groep 105">
              <a:extLst>
                <a:ext uri="{FF2B5EF4-FFF2-40B4-BE49-F238E27FC236}">
                  <a16:creationId xmlns:a16="http://schemas.microsoft.com/office/drawing/2014/main" id="{43A45C39-6F05-4C84-92CE-4E34F6D034B8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2" name="Rechthoek 130">
                <a:extLst>
                  <a:ext uri="{FF2B5EF4-FFF2-40B4-BE49-F238E27FC236}">
                    <a16:creationId xmlns:a16="http://schemas.microsoft.com/office/drawing/2014/main" id="{FDCB2FA9-7820-4259-A6C8-18B4ABD55CAC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183" name="Rechte verbindingslijn 131">
                <a:extLst>
                  <a:ext uri="{FF2B5EF4-FFF2-40B4-BE49-F238E27FC236}">
                    <a16:creationId xmlns:a16="http://schemas.microsoft.com/office/drawing/2014/main" id="{6BB55DFD-B9E8-4842-ADAA-2C4FC40E8A4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Rechte verbindingslijn 132">
                <a:extLst>
                  <a:ext uri="{FF2B5EF4-FFF2-40B4-BE49-F238E27FC236}">
                    <a16:creationId xmlns:a16="http://schemas.microsoft.com/office/drawing/2014/main" id="{7B77BBA0-2016-4ADC-A959-5EC38A2C61F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5" name="Rechthoek 133">
                <a:extLst>
                  <a:ext uri="{FF2B5EF4-FFF2-40B4-BE49-F238E27FC236}">
                    <a16:creationId xmlns:a16="http://schemas.microsoft.com/office/drawing/2014/main" id="{57A623FF-4601-475F-B6BA-B290E5EF252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6" name="Groep 134">
                <a:extLst>
                  <a:ext uri="{FF2B5EF4-FFF2-40B4-BE49-F238E27FC236}">
                    <a16:creationId xmlns:a16="http://schemas.microsoft.com/office/drawing/2014/main" id="{FF0906F1-7DD8-4E81-A1BB-EE693FEA58B0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41" name="Groep 175">
                  <a:extLst>
                    <a:ext uri="{FF2B5EF4-FFF2-40B4-BE49-F238E27FC236}">
                      <a16:creationId xmlns:a16="http://schemas.microsoft.com/office/drawing/2014/main" id="{69FF20A8-0C79-4B19-9910-EA16DE7727DF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45" name="Rechte verbindingslijn 179">
                    <a:extLst>
                      <a:ext uri="{FF2B5EF4-FFF2-40B4-BE49-F238E27FC236}">
                        <a16:creationId xmlns:a16="http://schemas.microsoft.com/office/drawing/2014/main" id="{36323E0D-0EBE-42FA-BF3E-6E07F479F5E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6" name="Rechte verbindingslijn 180">
                    <a:extLst>
                      <a:ext uri="{FF2B5EF4-FFF2-40B4-BE49-F238E27FC236}">
                        <a16:creationId xmlns:a16="http://schemas.microsoft.com/office/drawing/2014/main" id="{FF17AFD3-A0A9-4696-8B8B-E92B23CFC0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7" name="Rechte verbindingslijn 181">
                    <a:extLst>
                      <a:ext uri="{FF2B5EF4-FFF2-40B4-BE49-F238E27FC236}">
                        <a16:creationId xmlns:a16="http://schemas.microsoft.com/office/drawing/2014/main" id="{067AF921-A81F-4D66-81AD-4D1C1258F4D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8" name="Rechte verbindingslijn 182">
                    <a:extLst>
                      <a:ext uri="{FF2B5EF4-FFF2-40B4-BE49-F238E27FC236}">
                        <a16:creationId xmlns:a16="http://schemas.microsoft.com/office/drawing/2014/main" id="{84CBA6D6-8FA0-4586-9C13-5D96B6F6D6E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9" name="Rechte verbindingslijn 183">
                    <a:extLst>
                      <a:ext uri="{FF2B5EF4-FFF2-40B4-BE49-F238E27FC236}">
                        <a16:creationId xmlns:a16="http://schemas.microsoft.com/office/drawing/2014/main" id="{B4BE99DF-C042-4814-B8B1-364AD391E95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2" name="Groep 176">
                  <a:extLst>
                    <a:ext uri="{FF2B5EF4-FFF2-40B4-BE49-F238E27FC236}">
                      <a16:creationId xmlns:a16="http://schemas.microsoft.com/office/drawing/2014/main" id="{6A8DD279-8E18-4803-B7E4-27343B8C70C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43" name="Rechthoek 177">
                    <a:extLst>
                      <a:ext uri="{FF2B5EF4-FFF2-40B4-BE49-F238E27FC236}">
                        <a16:creationId xmlns:a16="http://schemas.microsoft.com/office/drawing/2014/main" id="{27E197A7-241D-486E-9241-1ABC6BC5D7D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44" name="Pijl: punthaak 178">
                    <a:extLst>
                      <a:ext uri="{FF2B5EF4-FFF2-40B4-BE49-F238E27FC236}">
                        <a16:creationId xmlns:a16="http://schemas.microsoft.com/office/drawing/2014/main" id="{707E1501-AE42-4EC9-B2BC-7F026B6A085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87" name="Groep 135">
                <a:extLst>
                  <a:ext uri="{FF2B5EF4-FFF2-40B4-BE49-F238E27FC236}">
                    <a16:creationId xmlns:a16="http://schemas.microsoft.com/office/drawing/2014/main" id="{AF0FA085-F85B-4F48-8D2E-C1D6EDE4CEF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32" name="Groep 166">
                  <a:extLst>
                    <a:ext uri="{FF2B5EF4-FFF2-40B4-BE49-F238E27FC236}">
                      <a16:creationId xmlns:a16="http://schemas.microsoft.com/office/drawing/2014/main" id="{0064F9E4-1392-4082-9B97-0ED5859618D6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36" name="Rechte verbindingslijn 170">
                    <a:extLst>
                      <a:ext uri="{FF2B5EF4-FFF2-40B4-BE49-F238E27FC236}">
                        <a16:creationId xmlns:a16="http://schemas.microsoft.com/office/drawing/2014/main" id="{3D24178D-2ED9-4505-A93C-4EC7B20C8F6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7" name="Rechte verbindingslijn 171">
                    <a:extLst>
                      <a:ext uri="{FF2B5EF4-FFF2-40B4-BE49-F238E27FC236}">
                        <a16:creationId xmlns:a16="http://schemas.microsoft.com/office/drawing/2014/main" id="{F7E2A6E6-C380-4A50-9929-C1886F640E9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8" name="Rechte verbindingslijn 172">
                    <a:extLst>
                      <a:ext uri="{FF2B5EF4-FFF2-40B4-BE49-F238E27FC236}">
                        <a16:creationId xmlns:a16="http://schemas.microsoft.com/office/drawing/2014/main" id="{18416647-9058-4103-BE83-50FFA0C4FDE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9" name="Rechte verbindingslijn 173">
                    <a:extLst>
                      <a:ext uri="{FF2B5EF4-FFF2-40B4-BE49-F238E27FC236}">
                        <a16:creationId xmlns:a16="http://schemas.microsoft.com/office/drawing/2014/main" id="{BA8D4F74-C5C7-4420-9B81-1598CA1CC72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0" name="Rechte verbindingslijn 174">
                    <a:extLst>
                      <a:ext uri="{FF2B5EF4-FFF2-40B4-BE49-F238E27FC236}">
                        <a16:creationId xmlns:a16="http://schemas.microsoft.com/office/drawing/2014/main" id="{B8F66B19-01D0-4C31-9125-CEAAF76A686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33" name="Groep 167">
                  <a:extLst>
                    <a:ext uri="{FF2B5EF4-FFF2-40B4-BE49-F238E27FC236}">
                      <a16:creationId xmlns:a16="http://schemas.microsoft.com/office/drawing/2014/main" id="{0CC52204-E61B-49A9-9026-876F8615AA7C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34" name="Rechthoek 168">
                    <a:extLst>
                      <a:ext uri="{FF2B5EF4-FFF2-40B4-BE49-F238E27FC236}">
                        <a16:creationId xmlns:a16="http://schemas.microsoft.com/office/drawing/2014/main" id="{49A2AC66-8C59-4DF2-B968-E9203E29B41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5" name="Pijl: punthaak 169">
                    <a:extLst>
                      <a:ext uri="{FF2B5EF4-FFF2-40B4-BE49-F238E27FC236}">
                        <a16:creationId xmlns:a16="http://schemas.microsoft.com/office/drawing/2014/main" id="{F2A3A900-7A1C-47DC-B6CE-220530BAE8FA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88" name="Rechte verbindingslijn 136">
                <a:extLst>
                  <a:ext uri="{FF2B5EF4-FFF2-40B4-BE49-F238E27FC236}">
                    <a16:creationId xmlns:a16="http://schemas.microsoft.com/office/drawing/2014/main" id="{9F3EA019-B34E-47A5-BFCA-584D9B34D34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89" name="Rechte verbindingslijn 137">
                <a:extLst>
                  <a:ext uri="{FF2B5EF4-FFF2-40B4-BE49-F238E27FC236}">
                    <a16:creationId xmlns:a16="http://schemas.microsoft.com/office/drawing/2014/main" id="{835A1A01-4417-474D-A829-43B77CB5E28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0" name="Groep 138">
                <a:extLst>
                  <a:ext uri="{FF2B5EF4-FFF2-40B4-BE49-F238E27FC236}">
                    <a16:creationId xmlns:a16="http://schemas.microsoft.com/office/drawing/2014/main" id="{B885C1C5-394E-41FB-98AB-7B3ED8EC43A9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5" name="Rechthoek 155">
                  <a:extLst>
                    <a:ext uri="{FF2B5EF4-FFF2-40B4-BE49-F238E27FC236}">
                      <a16:creationId xmlns:a16="http://schemas.microsoft.com/office/drawing/2014/main" id="{3450A321-D798-4BA0-9209-8768B34071EA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6" name="Groep 156">
                  <a:extLst>
                    <a:ext uri="{FF2B5EF4-FFF2-40B4-BE49-F238E27FC236}">
                      <a16:creationId xmlns:a16="http://schemas.microsoft.com/office/drawing/2014/main" id="{3DCFE25D-ECE1-4AED-8C66-A3D5C667A388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7" name="Groep 157">
                    <a:extLst>
                      <a:ext uri="{FF2B5EF4-FFF2-40B4-BE49-F238E27FC236}">
                        <a16:creationId xmlns:a16="http://schemas.microsoft.com/office/drawing/2014/main" id="{C6840F30-3051-4F63-BB1A-165BC8343CD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27" name="Rechte verbindingslijn 161">
                      <a:extLst>
                        <a:ext uri="{FF2B5EF4-FFF2-40B4-BE49-F238E27FC236}">
                          <a16:creationId xmlns:a16="http://schemas.microsoft.com/office/drawing/2014/main" id="{3DB9C978-0A81-4B88-91B9-5EE89822353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8" name="Rechte verbindingslijn 162">
                      <a:extLst>
                        <a:ext uri="{FF2B5EF4-FFF2-40B4-BE49-F238E27FC236}">
                          <a16:creationId xmlns:a16="http://schemas.microsoft.com/office/drawing/2014/main" id="{2975E4EC-019D-4D67-88EB-1F191BA4F7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9" name="Rechte verbindingslijn 163">
                      <a:extLst>
                        <a:ext uri="{FF2B5EF4-FFF2-40B4-BE49-F238E27FC236}">
                          <a16:creationId xmlns:a16="http://schemas.microsoft.com/office/drawing/2014/main" id="{9D7261BA-545C-4FE5-AF62-860DB894288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0" name="Rechte verbindingslijn 164">
                      <a:extLst>
                        <a:ext uri="{FF2B5EF4-FFF2-40B4-BE49-F238E27FC236}">
                          <a16:creationId xmlns:a16="http://schemas.microsoft.com/office/drawing/2014/main" id="{25A781D2-8E4B-4609-B2AA-017643BD719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1" name="Rechte verbindingslijn 165">
                      <a:extLst>
                        <a:ext uri="{FF2B5EF4-FFF2-40B4-BE49-F238E27FC236}">
                          <a16:creationId xmlns:a16="http://schemas.microsoft.com/office/drawing/2014/main" id="{014DD1AE-D119-49A0-A1A6-5D1F86EC069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24" name="Groep 158">
                    <a:extLst>
                      <a:ext uri="{FF2B5EF4-FFF2-40B4-BE49-F238E27FC236}">
                        <a16:creationId xmlns:a16="http://schemas.microsoft.com/office/drawing/2014/main" id="{DB25CBFF-B328-4AF9-8B49-08EBF08918C0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25" name="Rechthoek 159">
                      <a:extLst>
                        <a:ext uri="{FF2B5EF4-FFF2-40B4-BE49-F238E27FC236}">
                          <a16:creationId xmlns:a16="http://schemas.microsoft.com/office/drawing/2014/main" id="{4C5D30B6-1824-4479-9968-F3AB2F12F3F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26" name="Pijl: punthaak 160">
                      <a:extLst>
                        <a:ext uri="{FF2B5EF4-FFF2-40B4-BE49-F238E27FC236}">
                          <a16:creationId xmlns:a16="http://schemas.microsoft.com/office/drawing/2014/main" id="{11B0241C-284C-47D9-8718-DA9AD3A53F62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1" name="Groep 139">
                <a:extLst>
                  <a:ext uri="{FF2B5EF4-FFF2-40B4-BE49-F238E27FC236}">
                    <a16:creationId xmlns:a16="http://schemas.microsoft.com/office/drawing/2014/main" id="{6C827328-E172-45E7-ACFE-44FC4705E944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4" name="Rechthoek 142">
                  <a:extLst>
                    <a:ext uri="{FF2B5EF4-FFF2-40B4-BE49-F238E27FC236}">
                      <a16:creationId xmlns:a16="http://schemas.microsoft.com/office/drawing/2014/main" id="{9B0D82EB-4B36-4770-BC34-326E02C8043D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5" name="Groep 143">
                  <a:extLst>
                    <a:ext uri="{FF2B5EF4-FFF2-40B4-BE49-F238E27FC236}">
                      <a16:creationId xmlns:a16="http://schemas.microsoft.com/office/drawing/2014/main" id="{9FC525C1-A250-43C1-A7EA-D846A73209D5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6" name="Groep 144">
                    <a:extLst>
                      <a:ext uri="{FF2B5EF4-FFF2-40B4-BE49-F238E27FC236}">
                        <a16:creationId xmlns:a16="http://schemas.microsoft.com/office/drawing/2014/main" id="{7504C414-3AF2-468E-9DC4-0D58EDEDE7A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0" name="Rechte verbindingslijn 150">
                      <a:extLst>
                        <a:ext uri="{FF2B5EF4-FFF2-40B4-BE49-F238E27FC236}">
                          <a16:creationId xmlns:a16="http://schemas.microsoft.com/office/drawing/2014/main" id="{B17EA66D-288A-4E5E-A9DF-ABD72A1CB29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1" name="Rechte verbindingslijn 151">
                      <a:extLst>
                        <a:ext uri="{FF2B5EF4-FFF2-40B4-BE49-F238E27FC236}">
                          <a16:creationId xmlns:a16="http://schemas.microsoft.com/office/drawing/2014/main" id="{530F4292-7F58-4609-B9E0-94EEDBEB590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2" name="Rechte verbindingslijn 152">
                      <a:extLst>
                        <a:ext uri="{FF2B5EF4-FFF2-40B4-BE49-F238E27FC236}">
                          <a16:creationId xmlns:a16="http://schemas.microsoft.com/office/drawing/2014/main" id="{C12B51EF-C0AB-4DF5-96DB-0B319522964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153">
                      <a:extLst>
                        <a:ext uri="{FF2B5EF4-FFF2-40B4-BE49-F238E27FC236}">
                          <a16:creationId xmlns:a16="http://schemas.microsoft.com/office/drawing/2014/main" id="{79C11B02-EFB8-407F-A733-152042C2657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154">
                      <a:extLst>
                        <a:ext uri="{FF2B5EF4-FFF2-40B4-BE49-F238E27FC236}">
                          <a16:creationId xmlns:a16="http://schemas.microsoft.com/office/drawing/2014/main" id="{1725CD57-4891-4ED8-9473-039A1CAF2C6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7" name="Groep 147">
                    <a:extLst>
                      <a:ext uri="{FF2B5EF4-FFF2-40B4-BE49-F238E27FC236}">
                        <a16:creationId xmlns:a16="http://schemas.microsoft.com/office/drawing/2014/main" id="{DC3FD518-FF68-4CEA-8E17-96DE9C06B728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8" name="Rechthoek 148">
                      <a:extLst>
                        <a:ext uri="{FF2B5EF4-FFF2-40B4-BE49-F238E27FC236}">
                          <a16:creationId xmlns:a16="http://schemas.microsoft.com/office/drawing/2014/main" id="{65CC7189-5331-49FB-9F33-73BED3E56FB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9" name="Pijl: punthaak 149">
                      <a:extLst>
                        <a:ext uri="{FF2B5EF4-FFF2-40B4-BE49-F238E27FC236}">
                          <a16:creationId xmlns:a16="http://schemas.microsoft.com/office/drawing/2014/main" id="{F7EC566A-8DFD-4EA5-9166-A54CD2286310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2" name="Rechthoek 140">
                <a:extLst>
                  <a:ext uri="{FF2B5EF4-FFF2-40B4-BE49-F238E27FC236}">
                    <a16:creationId xmlns:a16="http://schemas.microsoft.com/office/drawing/2014/main" id="{CA83ECBD-81CE-4371-84CE-92C72A1F90B1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193" name="Rechthoek 141">
                <a:extLst>
                  <a:ext uri="{FF2B5EF4-FFF2-40B4-BE49-F238E27FC236}">
                    <a16:creationId xmlns:a16="http://schemas.microsoft.com/office/drawing/2014/main" id="{10774EEF-6A4F-4E55-9C6E-0FF2EEB2881A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158" name="Rechte verbindingslijn 106">
              <a:extLst>
                <a:ext uri="{FF2B5EF4-FFF2-40B4-BE49-F238E27FC236}">
                  <a16:creationId xmlns:a16="http://schemas.microsoft.com/office/drawing/2014/main" id="{676CE7AB-140D-44A7-9AD5-16AEB684192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9" name="Rechthoek 107">
              <a:extLst>
                <a:ext uri="{FF2B5EF4-FFF2-40B4-BE49-F238E27FC236}">
                  <a16:creationId xmlns:a16="http://schemas.microsoft.com/office/drawing/2014/main" id="{3F0568CC-C7F1-443E-B649-4879AFC467D0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160" name="Ovaal 108">
              <a:extLst>
                <a:ext uri="{FF2B5EF4-FFF2-40B4-BE49-F238E27FC236}">
                  <a16:creationId xmlns:a16="http://schemas.microsoft.com/office/drawing/2014/main" id="{2C6685AA-D5C9-48DF-9657-8E02C6E7BDF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61" name="Rechthoek 109">
              <a:extLst>
                <a:ext uri="{FF2B5EF4-FFF2-40B4-BE49-F238E27FC236}">
                  <a16:creationId xmlns:a16="http://schemas.microsoft.com/office/drawing/2014/main" id="{8D597373-E4FF-4494-B14B-3F88BA35F207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162" name="Ovaal 110">
              <a:extLst>
                <a:ext uri="{FF2B5EF4-FFF2-40B4-BE49-F238E27FC236}">
                  <a16:creationId xmlns:a16="http://schemas.microsoft.com/office/drawing/2014/main" id="{DDE13801-D793-4697-810B-50FCB1551075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3" name="Rechthoek 111">
              <a:extLst>
                <a:ext uri="{FF2B5EF4-FFF2-40B4-BE49-F238E27FC236}">
                  <a16:creationId xmlns:a16="http://schemas.microsoft.com/office/drawing/2014/main" id="{00CBFBFB-B51A-4494-B718-5E937DFAF8ED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64" name="Ovaal 112">
              <a:extLst>
                <a:ext uri="{FF2B5EF4-FFF2-40B4-BE49-F238E27FC236}">
                  <a16:creationId xmlns:a16="http://schemas.microsoft.com/office/drawing/2014/main" id="{B91370E5-2326-414F-A4C9-F957B2F1EB52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5" name="Rechthoek 113">
              <a:extLst>
                <a:ext uri="{FF2B5EF4-FFF2-40B4-BE49-F238E27FC236}">
                  <a16:creationId xmlns:a16="http://schemas.microsoft.com/office/drawing/2014/main" id="{B63E6D8B-F044-4051-B4DE-F6C9672EC15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166" name="Ovaal 114">
              <a:extLst>
                <a:ext uri="{FF2B5EF4-FFF2-40B4-BE49-F238E27FC236}">
                  <a16:creationId xmlns:a16="http://schemas.microsoft.com/office/drawing/2014/main" id="{C6516C02-A104-48D8-AB56-9FEB02184B93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7" name="Rechthoek 115">
              <a:extLst>
                <a:ext uri="{FF2B5EF4-FFF2-40B4-BE49-F238E27FC236}">
                  <a16:creationId xmlns:a16="http://schemas.microsoft.com/office/drawing/2014/main" id="{3C00F6DD-CB7D-4799-9377-322954CD34D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168" name="Rechte verbindingslijn 116">
              <a:extLst>
                <a:ext uri="{FF2B5EF4-FFF2-40B4-BE49-F238E27FC236}">
                  <a16:creationId xmlns:a16="http://schemas.microsoft.com/office/drawing/2014/main" id="{F4FABEF1-63DF-467A-9F9B-BDAF4E2A5E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69" name="Meer informatie">
              <a:extLst>
                <a:ext uri="{FF2B5EF4-FFF2-40B4-BE49-F238E27FC236}">
                  <a16:creationId xmlns:a16="http://schemas.microsoft.com/office/drawing/2014/main" id="{97BD3274-96CB-41A6-AF1B-A896FC96C08A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179" name="Freeform 101">
                <a:extLst>
                  <a:ext uri="{FF2B5EF4-FFF2-40B4-BE49-F238E27FC236}">
                    <a16:creationId xmlns:a16="http://schemas.microsoft.com/office/drawing/2014/main" id="{12CD403E-8B30-4C2F-B166-4755C9756C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180" name="Rechthoek 128">
                <a:extLst>
                  <a:ext uri="{FF2B5EF4-FFF2-40B4-BE49-F238E27FC236}">
                    <a16:creationId xmlns:a16="http://schemas.microsoft.com/office/drawing/2014/main" id="{1ABA16FA-DC70-40E2-BBFC-41933A5FDAB3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81" name="Rechte verbindingslijn 129">
                <a:extLst>
                  <a:ext uri="{FF2B5EF4-FFF2-40B4-BE49-F238E27FC236}">
                    <a16:creationId xmlns:a16="http://schemas.microsoft.com/office/drawing/2014/main" id="{EF013C89-C7F9-417D-B42D-96D3011363B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70" name="Rechthoek 118">
              <a:extLst>
                <a:ext uri="{FF2B5EF4-FFF2-40B4-BE49-F238E27FC236}">
                  <a16:creationId xmlns:a16="http://schemas.microsoft.com/office/drawing/2014/main" id="{241DFE93-4E9D-4CC5-B1CE-BAFF7EF493C1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171" name="Ovaal 119">
              <a:extLst>
                <a:ext uri="{FF2B5EF4-FFF2-40B4-BE49-F238E27FC236}">
                  <a16:creationId xmlns:a16="http://schemas.microsoft.com/office/drawing/2014/main" id="{63B1220F-CADE-402E-8DEA-313E543DEA84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72" name="Rechthoek 120">
              <a:extLst>
                <a:ext uri="{FF2B5EF4-FFF2-40B4-BE49-F238E27FC236}">
                  <a16:creationId xmlns:a16="http://schemas.microsoft.com/office/drawing/2014/main" id="{A0A4D364-DF6D-4C06-87CC-B31D6FF17FDB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73" name="Ovaal 121">
              <a:extLst>
                <a:ext uri="{FF2B5EF4-FFF2-40B4-BE49-F238E27FC236}">
                  <a16:creationId xmlns:a16="http://schemas.microsoft.com/office/drawing/2014/main" id="{795CF184-C15B-4454-87CB-F9DDCBDD683B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74" name="Rechthoek 122">
              <a:extLst>
                <a:ext uri="{FF2B5EF4-FFF2-40B4-BE49-F238E27FC236}">
                  <a16:creationId xmlns:a16="http://schemas.microsoft.com/office/drawing/2014/main" id="{D12B8DDF-C03D-4A58-A293-3873FFF0A403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175" name="Ovaal 123">
              <a:extLst>
                <a:ext uri="{FF2B5EF4-FFF2-40B4-BE49-F238E27FC236}">
                  <a16:creationId xmlns:a16="http://schemas.microsoft.com/office/drawing/2014/main" id="{E883818F-E1F4-48B9-A0E0-D948A338F543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76" name="Rechthoek 124">
              <a:extLst>
                <a:ext uri="{FF2B5EF4-FFF2-40B4-BE49-F238E27FC236}">
                  <a16:creationId xmlns:a16="http://schemas.microsoft.com/office/drawing/2014/main" id="{BF6EC4A1-3A46-4501-8722-FF7D3DBF2232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77" name="Rechthoek 125">
              <a:extLst>
                <a:ext uri="{FF2B5EF4-FFF2-40B4-BE49-F238E27FC236}">
                  <a16:creationId xmlns:a16="http://schemas.microsoft.com/office/drawing/2014/main" id="{0434856F-B0B2-458F-87C7-87233BD64C6C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178" name="Ovaal 126">
              <a:extLst>
                <a:ext uri="{FF2B5EF4-FFF2-40B4-BE49-F238E27FC236}">
                  <a16:creationId xmlns:a16="http://schemas.microsoft.com/office/drawing/2014/main" id="{0A995F4E-2C2F-49E0-B8B2-E29D8D7804BC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  <p:pic>
        <p:nvPicPr>
          <p:cNvPr id="250" name="Afbeelding 249">
            <a:extLst>
              <a:ext uri="{FF2B5EF4-FFF2-40B4-BE49-F238E27FC236}">
                <a16:creationId xmlns:a16="http://schemas.microsoft.com/office/drawing/2014/main" id="{B7333475-27ED-427D-91B5-0755C377F9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3709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100% Kolomm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">
            <a:extLst>
              <a:ext uri="{FF2B5EF4-FFF2-40B4-BE49-F238E27FC236}">
                <a16:creationId xmlns:a16="http://schemas.microsoft.com/office/drawing/2014/main" id="{1C9A417D-54A5-4A71-8B81-7526013FD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78" y="1766065"/>
            <a:ext cx="32281087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B97E484-7855-4B8D-9492-641CD9CF34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78" y="3469430"/>
            <a:ext cx="32281087" cy="1195424"/>
          </a:xfrm>
        </p:spPr>
        <p:txBody>
          <a:bodyPr>
            <a:noAutofit/>
          </a:bodyPr>
          <a:lstStyle>
            <a:lvl1pPr marL="0" indent="0">
              <a:buNone/>
              <a:defRPr sz="2794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32" name="Tijdelijke aanduiding voor datum 3">
            <a:extLst>
              <a:ext uri="{FF2B5EF4-FFF2-40B4-BE49-F238E27FC236}">
                <a16:creationId xmlns:a16="http://schemas.microsoft.com/office/drawing/2014/main" id="{6354BF0C-BC33-44FF-BF92-624A7D6DA1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503"/>
            <a:ext cx="9622631" cy="1000848"/>
          </a:xfrm>
        </p:spPr>
        <p:txBody>
          <a:bodyPr/>
          <a:lstStyle/>
          <a:p>
            <a:fld id="{1EB8EFDF-A3EC-46A8-9B15-FE22A84EA0AA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33" name="Tijdelijke aanduiding voor voettekst 4">
            <a:extLst>
              <a:ext uri="{FF2B5EF4-FFF2-40B4-BE49-F238E27FC236}">
                <a16:creationId xmlns:a16="http://schemas.microsoft.com/office/drawing/2014/main" id="{20812B2F-B80B-4623-8A5A-F50D2B9A2D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7" y="27345278"/>
            <a:ext cx="18027561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4" name="Tijdelijke aanduiding voor dianummer 5">
            <a:extLst>
              <a:ext uri="{FF2B5EF4-FFF2-40B4-BE49-F238E27FC236}">
                <a16:creationId xmlns:a16="http://schemas.microsoft.com/office/drawing/2014/main" id="{DF970716-837B-4314-A35A-D69EAD1B74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7"/>
            <a:ext cx="899254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90" name="Tijdelijke aanduiding voor verticale tekst 2">
            <a:extLst>
              <a:ext uri="{FF2B5EF4-FFF2-40B4-BE49-F238E27FC236}">
                <a16:creationId xmlns:a16="http://schemas.microsoft.com/office/drawing/2014/main" id="{BDC964F3-713E-4B53-BB28-52B5ACE9F960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742386" y="6476684"/>
            <a:ext cx="39282479" cy="19046186"/>
          </a:xfrm>
        </p:spPr>
        <p:txBody>
          <a:bodyPr vert="horz" numCol="2" spcCol="576000"/>
          <a:lstStyle>
            <a:lvl1pPr>
              <a:defRPr sz="2235"/>
            </a:lvl1pPr>
            <a:lvl2pPr>
              <a:defRPr sz="1957"/>
            </a:lvl2pPr>
            <a:lvl3pPr>
              <a:defRPr sz="1957"/>
            </a:lvl3pPr>
            <a:lvl4pPr>
              <a:defRPr sz="1957"/>
            </a:lvl4pPr>
            <a:lvl5pPr>
              <a:defRPr sz="1957"/>
            </a:lvl5pPr>
            <a:lvl6pPr marL="505566" indent="-252781">
              <a:buFont typeface="Arial" panose="020B0604020202020204" pitchFamily="34" charset="0"/>
              <a:buChar char="•"/>
              <a:defRPr sz="1677" baseline="0">
                <a:latin typeface="+mj-lt"/>
              </a:defRPr>
            </a:lvl6pPr>
            <a:lvl7pPr>
              <a:defRPr sz="1957"/>
            </a:lvl7pPr>
            <a:lvl8pPr>
              <a:defRPr sz="1677"/>
            </a:lvl8pPr>
            <a:lvl9pPr>
              <a:defRPr sz="3352"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pic>
        <p:nvPicPr>
          <p:cNvPr id="91" name="Afbeelding 90">
            <a:extLst>
              <a:ext uri="{FF2B5EF4-FFF2-40B4-BE49-F238E27FC236}">
                <a16:creationId xmlns:a16="http://schemas.microsoft.com/office/drawing/2014/main" id="{2BBB23CB-7F4B-419B-AEE2-1E578FE5BA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5" y="831727"/>
            <a:ext cx="9249575" cy="4281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9209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0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9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ek 10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el 1">
            <a:extLst>
              <a:ext uri="{FF2B5EF4-FFF2-40B4-BE49-F238E27FC236}">
                <a16:creationId xmlns:a16="http://schemas.microsoft.com/office/drawing/2014/main" id="{87553EBB-B807-40D8-8ED2-0562C9B374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9" name="Tijdelijke aanduiding voor tekst 14">
            <a:extLst>
              <a:ext uri="{FF2B5EF4-FFF2-40B4-BE49-F238E27FC236}">
                <a16:creationId xmlns:a16="http://schemas.microsoft.com/office/drawing/2014/main" id="{C209BF21-5280-447B-A53B-6C6365D8189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56" name="Tijdelijke aanduiding voor voettekst 4">
            <a:extLst>
              <a:ext uri="{FF2B5EF4-FFF2-40B4-BE49-F238E27FC236}">
                <a16:creationId xmlns:a16="http://schemas.microsoft.com/office/drawing/2014/main" id="{791AE8B8-F5E6-4264-A78D-66A2883015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57" name="Tijdelijke aanduiding voor dianummer 5">
            <a:extLst>
              <a:ext uri="{FF2B5EF4-FFF2-40B4-BE49-F238E27FC236}">
                <a16:creationId xmlns:a16="http://schemas.microsoft.com/office/drawing/2014/main" id="{2D1565BC-73A2-4D18-B68D-8C2F7ADBE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9" y="27329718"/>
            <a:ext cx="836259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15" name="Tijdelijke aanduiding voor datum 3">
            <a:extLst>
              <a:ext uri="{FF2B5EF4-FFF2-40B4-BE49-F238E27FC236}">
                <a16:creationId xmlns:a16="http://schemas.microsoft.com/office/drawing/2014/main" id="{33EDF0CC-2116-441B-BB74-14D41A6FF9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BA924F38-C553-4513-9DED-E0AB471B3E16}" type="datetime1">
              <a:rPr lang="nl-NL" noProof="0" smtClean="0"/>
              <a:t>26-6-2023</a:t>
            </a:fld>
            <a:endParaRPr lang="nl-NL" noProof="0"/>
          </a:p>
        </p:txBody>
      </p:sp>
      <p:grpSp>
        <p:nvGrpSpPr>
          <p:cNvPr id="70" name="Instructie">
            <a:extLst>
              <a:ext uri="{FF2B5EF4-FFF2-40B4-BE49-F238E27FC236}">
                <a16:creationId xmlns:a16="http://schemas.microsoft.com/office/drawing/2014/main" id="{4F288FD3-05D1-4099-935D-17FF265B8685}"/>
              </a:ext>
            </a:extLst>
          </p:cNvPr>
          <p:cNvGrpSpPr/>
          <p:nvPr userDrawn="1"/>
        </p:nvGrpSpPr>
        <p:grpSpPr>
          <a:xfrm>
            <a:off x="43467415" y="2"/>
            <a:ext cx="11167742" cy="11035527"/>
            <a:chOff x="12391601" y="0"/>
            <a:chExt cx="3183677" cy="2499789"/>
          </a:xfrm>
        </p:grpSpPr>
        <p:sp>
          <p:nvSpPr>
            <p:cNvPr id="71" name="Rechthoek 70">
              <a:extLst>
                <a:ext uri="{FF2B5EF4-FFF2-40B4-BE49-F238E27FC236}">
                  <a16:creationId xmlns:a16="http://schemas.microsoft.com/office/drawing/2014/main" id="{80A633F5-2F23-4231-A702-033EBB96D3D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Grafiek invoegen/veranderen</a:t>
              </a:r>
            </a:p>
          </p:txBody>
        </p:sp>
        <p:sp>
          <p:nvSpPr>
            <p:cNvPr id="72" name="Ovaal 71">
              <a:extLst>
                <a:ext uri="{FF2B5EF4-FFF2-40B4-BE49-F238E27FC236}">
                  <a16:creationId xmlns:a16="http://schemas.microsoft.com/office/drawing/2014/main" id="{F2A3122B-D2BD-4946-9657-4CE3B5618E28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73" name="Rechte verbindingslijn 72">
              <a:extLst>
                <a:ext uri="{FF2B5EF4-FFF2-40B4-BE49-F238E27FC236}">
                  <a16:creationId xmlns:a16="http://schemas.microsoft.com/office/drawing/2014/main" id="{DCD1DFF7-D117-413A-AEC4-5BCD59AA84F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74" name="Rechte verbindingslijn 73">
              <a:extLst>
                <a:ext uri="{FF2B5EF4-FFF2-40B4-BE49-F238E27FC236}">
                  <a16:creationId xmlns:a16="http://schemas.microsoft.com/office/drawing/2014/main" id="{85D795B6-3D3A-4FBC-9B53-59315D88AB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75" name="Rechthoek 74">
              <a:extLst>
                <a:ext uri="{FF2B5EF4-FFF2-40B4-BE49-F238E27FC236}">
                  <a16:creationId xmlns:a16="http://schemas.microsoft.com/office/drawing/2014/main" id="{3951DCB9-1786-4CF0-B268-BBEDCFDAE8CC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grafiek d.m.v.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knop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Klik op het pictogram om een nieuwe grafiek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76" name="Ovaal 75">
              <a:extLst>
                <a:ext uri="{FF2B5EF4-FFF2-40B4-BE49-F238E27FC236}">
                  <a16:creationId xmlns:a16="http://schemas.microsoft.com/office/drawing/2014/main" id="{6CC665F5-C71A-4733-BEF6-36417F67603A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77" name="Rechthoek 76">
              <a:extLst>
                <a:ext uri="{FF2B5EF4-FFF2-40B4-BE49-F238E27FC236}">
                  <a16:creationId xmlns:a16="http://schemas.microsoft.com/office/drawing/2014/main" id="{D10D0AF0-EF84-4B57-9ED2-2840C01EC791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grafiek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78" name="Groep 77">
              <a:extLst>
                <a:ext uri="{FF2B5EF4-FFF2-40B4-BE49-F238E27FC236}">
                  <a16:creationId xmlns:a16="http://schemas.microsoft.com/office/drawing/2014/main" id="{8486C80A-5EFA-4995-AA81-95160B4194FC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84" name="Rechthoek 83">
                <a:extLst>
                  <a:ext uri="{FF2B5EF4-FFF2-40B4-BE49-F238E27FC236}">
                    <a16:creationId xmlns:a16="http://schemas.microsoft.com/office/drawing/2014/main" id="{D2EC9DF5-7074-4347-B6B3-6102F1842D33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85" name="Rechte verbindingslijn 84">
                <a:extLst>
                  <a:ext uri="{FF2B5EF4-FFF2-40B4-BE49-F238E27FC236}">
                    <a16:creationId xmlns:a16="http://schemas.microsoft.com/office/drawing/2014/main" id="{DCCA9796-766E-47B3-8B94-1A5609C11781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86" name="Gelijkbenige driehoek 85">
                <a:extLst>
                  <a:ext uri="{FF2B5EF4-FFF2-40B4-BE49-F238E27FC236}">
                    <a16:creationId xmlns:a16="http://schemas.microsoft.com/office/drawing/2014/main" id="{09C46A8C-F799-41C8-8CDE-348B54FDA05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79" name="Rechte verbindingslijn 78">
              <a:extLst>
                <a:ext uri="{FF2B5EF4-FFF2-40B4-BE49-F238E27FC236}">
                  <a16:creationId xmlns:a16="http://schemas.microsoft.com/office/drawing/2014/main" id="{3CD85963-77B0-41A2-968B-2E82770F651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80" name="Groep 79">
              <a:extLst>
                <a:ext uri="{FF2B5EF4-FFF2-40B4-BE49-F238E27FC236}">
                  <a16:creationId xmlns:a16="http://schemas.microsoft.com/office/drawing/2014/main" id="{66DAA3A2-F4D3-48D5-AF57-B97F1FFAC64D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81" name="Rechthoek 80">
                <a:extLst>
                  <a:ext uri="{FF2B5EF4-FFF2-40B4-BE49-F238E27FC236}">
                    <a16:creationId xmlns:a16="http://schemas.microsoft.com/office/drawing/2014/main" id="{BD49D11A-45BD-4A4A-BF27-06207FA8FA6F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213" noProof="0"/>
              </a:p>
            </p:txBody>
          </p:sp>
          <p:sp>
            <p:nvSpPr>
              <p:cNvPr id="82" name="Rechthoek 81">
                <a:extLst>
                  <a:ext uri="{FF2B5EF4-FFF2-40B4-BE49-F238E27FC236}">
                    <a16:creationId xmlns:a16="http://schemas.microsoft.com/office/drawing/2014/main" id="{76F0992F-AFC9-43DD-ADAB-05884C6BFF57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213" noProof="0"/>
              </a:p>
            </p:txBody>
          </p:sp>
          <p:sp>
            <p:nvSpPr>
              <p:cNvPr id="83" name="Rechthoek 82">
                <a:extLst>
                  <a:ext uri="{FF2B5EF4-FFF2-40B4-BE49-F238E27FC236}">
                    <a16:creationId xmlns:a16="http://schemas.microsoft.com/office/drawing/2014/main" id="{85CFF2E3-9064-43B0-950E-92AE39C359D0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213" noProof="0"/>
              </a:p>
            </p:txBody>
          </p:sp>
        </p:grpSp>
      </p:grpSp>
      <p:sp>
        <p:nvSpPr>
          <p:cNvPr id="87" name="Tijdelijke aanduiding voor grafiek 7">
            <a:extLst>
              <a:ext uri="{FF2B5EF4-FFF2-40B4-BE49-F238E27FC236}">
                <a16:creationId xmlns:a16="http://schemas.microsoft.com/office/drawing/2014/main" id="{A9C16D6A-032C-433A-A11B-424C800889B5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1731100" y="6476684"/>
            <a:ext cx="39293754" cy="19046182"/>
          </a:xfrm>
          <a:solidFill>
            <a:schemeClr val="bg1">
              <a:lumMod val="95000"/>
            </a:schemeClr>
          </a:solidFill>
        </p:spPr>
        <p:txBody>
          <a:bodyPr tIns="1260000"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grafiek in te voegen</a:t>
            </a:r>
          </a:p>
        </p:txBody>
      </p:sp>
      <p:grpSp>
        <p:nvGrpSpPr>
          <p:cNvPr id="88" name="Instructie">
            <a:extLst>
              <a:ext uri="{FF2B5EF4-FFF2-40B4-BE49-F238E27FC236}">
                <a16:creationId xmlns:a16="http://schemas.microsoft.com/office/drawing/2014/main" id="{53F7785A-34C7-452E-A1C1-38DE0432DAD8}"/>
              </a:ext>
            </a:extLst>
          </p:cNvPr>
          <p:cNvGrpSpPr/>
          <p:nvPr userDrawn="1"/>
        </p:nvGrpSpPr>
        <p:grpSpPr>
          <a:xfrm>
            <a:off x="43460797" y="12724935"/>
            <a:ext cx="11167742" cy="11242262"/>
            <a:chOff x="12389714" y="4327164"/>
            <a:chExt cx="3183677" cy="2546619"/>
          </a:xfrm>
        </p:grpSpPr>
        <p:grpSp>
          <p:nvGrpSpPr>
            <p:cNvPr id="89" name="Meer informatie">
              <a:extLst>
                <a:ext uri="{FF2B5EF4-FFF2-40B4-BE49-F238E27FC236}">
                  <a16:creationId xmlns:a16="http://schemas.microsoft.com/office/drawing/2014/main" id="{7DD20BE5-1851-47FD-923A-646B1B5B1285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27" name="Freeform 101">
                <a:extLst>
                  <a:ext uri="{FF2B5EF4-FFF2-40B4-BE49-F238E27FC236}">
                    <a16:creationId xmlns:a16="http://schemas.microsoft.com/office/drawing/2014/main" id="{0561BCF6-F9D6-47A3-87C7-BB97886934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128" name="Rechthoek 67">
                <a:extLst>
                  <a:ext uri="{FF2B5EF4-FFF2-40B4-BE49-F238E27FC236}">
                    <a16:creationId xmlns:a16="http://schemas.microsoft.com/office/drawing/2014/main" id="{A7CB8F7D-F7F0-4620-8F5C-408E2BEA3852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9" name="Rechte verbindingslijn 68">
                <a:extLst>
                  <a:ext uri="{FF2B5EF4-FFF2-40B4-BE49-F238E27FC236}">
                    <a16:creationId xmlns:a16="http://schemas.microsoft.com/office/drawing/2014/main" id="{6BF45B2F-0EAE-4976-9150-40DA9CFFC00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90" name="Rechte verbindingslijn 18">
              <a:extLst>
                <a:ext uri="{FF2B5EF4-FFF2-40B4-BE49-F238E27FC236}">
                  <a16:creationId xmlns:a16="http://schemas.microsoft.com/office/drawing/2014/main" id="{4F5C4FCC-62C4-4880-A55C-720365500A9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1" name="Rechthoek 19">
              <a:extLst>
                <a:ext uri="{FF2B5EF4-FFF2-40B4-BE49-F238E27FC236}">
                  <a16:creationId xmlns:a16="http://schemas.microsoft.com/office/drawing/2014/main" id="{951788F5-C0D5-45F2-8CC2-00E00F35EB2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Data van de Grafiek Bewerken</a:t>
              </a:r>
            </a:p>
          </p:txBody>
        </p:sp>
        <p:sp>
          <p:nvSpPr>
            <p:cNvPr id="92" name="Ovaal 20">
              <a:extLst>
                <a:ext uri="{FF2B5EF4-FFF2-40B4-BE49-F238E27FC236}">
                  <a16:creationId xmlns:a16="http://schemas.microsoft.com/office/drawing/2014/main" id="{B6978B74-6709-4498-941B-E7B011D2A3A9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3" name="Rechte verbindingslijn 21">
              <a:extLst>
                <a:ext uri="{FF2B5EF4-FFF2-40B4-BE49-F238E27FC236}">
                  <a16:creationId xmlns:a16="http://schemas.microsoft.com/office/drawing/2014/main" id="{29FE9002-40FB-4F9E-AD3E-B6F2CDCF644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4" name="Rechthoek 22">
              <a:extLst>
                <a:ext uri="{FF2B5EF4-FFF2-40B4-BE49-F238E27FC236}">
                  <a16:creationId xmlns:a16="http://schemas.microsoft.com/office/drawing/2014/main" id="{84347C12-6C19-4086-A84F-C8094EA6DAD5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3859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eer de grafiek, klik met de rechter muisknop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lang="nl-NL" sz="3859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Gegevens bewerk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.</a:t>
              </a:r>
              <a:endParaRPr lang="nl-NL" sz="3859" b="1" kern="0" noProof="0">
                <a:solidFill>
                  <a:schemeClr val="tx1"/>
                </a:solidFill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95" name="Groep 23">
              <a:extLst>
                <a:ext uri="{FF2B5EF4-FFF2-40B4-BE49-F238E27FC236}">
                  <a16:creationId xmlns:a16="http://schemas.microsoft.com/office/drawing/2014/main" id="{CE33C2F0-2E7D-48D1-8C55-50F538B4194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96" name="Rechthoek 24">
                <a:extLst>
                  <a:ext uri="{FF2B5EF4-FFF2-40B4-BE49-F238E27FC236}">
                    <a16:creationId xmlns:a16="http://schemas.microsoft.com/office/drawing/2014/main" id="{66EC7A12-1A64-447B-868E-060FE4FD08AD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7" name="Rechthoek 25">
                <a:extLst>
                  <a:ext uri="{FF2B5EF4-FFF2-40B4-BE49-F238E27FC236}">
                    <a16:creationId xmlns:a16="http://schemas.microsoft.com/office/drawing/2014/main" id="{DB48068D-635D-4706-91B1-C091089BDA66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98" name="Tekstvak 26">
                <a:extLst>
                  <a:ext uri="{FF2B5EF4-FFF2-40B4-BE49-F238E27FC236}">
                    <a16:creationId xmlns:a16="http://schemas.microsoft.com/office/drawing/2014/main" id="{8D7C2E97-4A43-4FC9-B2B2-25AD92EA2650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1199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3158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Grafiektype wijzigen</a:t>
                </a:r>
              </a:p>
            </p:txBody>
          </p:sp>
          <p:sp>
            <p:nvSpPr>
              <p:cNvPr id="99" name="Tekstvak 27">
                <a:extLst>
                  <a:ext uri="{FF2B5EF4-FFF2-40B4-BE49-F238E27FC236}">
                    <a16:creationId xmlns:a16="http://schemas.microsoft.com/office/drawing/2014/main" id="{B51CB4EF-DE70-44A4-8C17-C490F222C671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1199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3158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Gegevens bewerken</a:t>
                </a:r>
              </a:p>
            </p:txBody>
          </p:sp>
          <p:pic>
            <p:nvPicPr>
              <p:cNvPr id="100" name="Picture 3">
                <a:extLst>
                  <a:ext uri="{FF2B5EF4-FFF2-40B4-BE49-F238E27FC236}">
                    <a16:creationId xmlns:a16="http://schemas.microsoft.com/office/drawing/2014/main" id="{CA1C2B67-981A-4B9F-893B-AF816501B632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01" name="Groep 29">
                <a:extLst>
                  <a:ext uri="{FF2B5EF4-FFF2-40B4-BE49-F238E27FC236}">
                    <a16:creationId xmlns:a16="http://schemas.microsoft.com/office/drawing/2014/main" id="{4BF7F814-165D-43E1-9FD8-9B1CDB53F65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24" name="Rechthoek 63">
                  <a:extLst>
                    <a:ext uri="{FF2B5EF4-FFF2-40B4-BE49-F238E27FC236}">
                      <a16:creationId xmlns:a16="http://schemas.microsoft.com/office/drawing/2014/main" id="{1021EA66-9820-4EF4-A601-75D164B751BF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7016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25" name="Rechthoek 64">
                  <a:extLst>
                    <a:ext uri="{FF2B5EF4-FFF2-40B4-BE49-F238E27FC236}">
                      <a16:creationId xmlns:a16="http://schemas.microsoft.com/office/drawing/2014/main" id="{AFCF2F70-4ACF-4D6F-8021-B18FEC7A021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7016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26" name="Rechthoek 65">
                  <a:extLst>
                    <a:ext uri="{FF2B5EF4-FFF2-40B4-BE49-F238E27FC236}">
                      <a16:creationId xmlns:a16="http://schemas.microsoft.com/office/drawing/2014/main" id="{8588A13F-ED52-4C13-82DB-DD1A0121A75C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7016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102" name="Groep 30">
                <a:extLst>
                  <a:ext uri="{FF2B5EF4-FFF2-40B4-BE49-F238E27FC236}">
                    <a16:creationId xmlns:a16="http://schemas.microsoft.com/office/drawing/2014/main" id="{9CC8A7BB-A217-4E82-83FE-18B0CF6CFDDE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03" name="Rechthoek 32">
                  <a:extLst>
                    <a:ext uri="{FF2B5EF4-FFF2-40B4-BE49-F238E27FC236}">
                      <a16:creationId xmlns:a16="http://schemas.microsoft.com/office/drawing/2014/main" id="{DD1653FA-0745-45C9-AB44-9771CBDFB789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  <p:grpSp>
              <p:nvGrpSpPr>
                <p:cNvPr id="104" name="Groep 33">
                  <a:extLst>
                    <a:ext uri="{FF2B5EF4-FFF2-40B4-BE49-F238E27FC236}">
                      <a16:creationId xmlns:a16="http://schemas.microsoft.com/office/drawing/2014/main" id="{E6934D63-7531-43B5-970A-EA9D1E828E6D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05" name="Groep 34">
                    <a:extLst>
                      <a:ext uri="{FF2B5EF4-FFF2-40B4-BE49-F238E27FC236}">
                        <a16:creationId xmlns:a16="http://schemas.microsoft.com/office/drawing/2014/main" id="{F220610C-864B-41F5-BF47-263678A5654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10" name="Rechthoek 40">
                      <a:extLst>
                        <a:ext uri="{FF2B5EF4-FFF2-40B4-BE49-F238E27FC236}">
                          <a16:creationId xmlns:a16="http://schemas.microsoft.com/office/drawing/2014/main" id="{1560DB24-BB90-4DBF-8F10-5835B8C29D3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nl-NL" sz="16213" noProof="0"/>
                    </a:p>
                  </p:txBody>
                </p:sp>
                <p:grpSp>
                  <p:nvGrpSpPr>
                    <p:cNvPr id="111" name="Groep 41">
                      <a:extLst>
                        <a:ext uri="{FF2B5EF4-FFF2-40B4-BE49-F238E27FC236}">
                          <a16:creationId xmlns:a16="http://schemas.microsoft.com/office/drawing/2014/main" id="{8793715A-8E5D-448A-B251-A757AAC6896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17" name="Rechte verbindingslijn 54">
                        <a:extLst>
                          <a:ext uri="{FF2B5EF4-FFF2-40B4-BE49-F238E27FC236}">
                            <a16:creationId xmlns:a16="http://schemas.microsoft.com/office/drawing/2014/main" id="{379454F7-5D8E-4388-BFCE-20C5192CC396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18" name="Rechte verbindingslijn 57">
                        <a:extLst>
                          <a:ext uri="{FF2B5EF4-FFF2-40B4-BE49-F238E27FC236}">
                            <a16:creationId xmlns:a16="http://schemas.microsoft.com/office/drawing/2014/main" id="{D30E02CE-A815-4EB8-86C8-FCCCFD6F9DC2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19" name="Groep 58">
                        <a:extLst>
                          <a:ext uri="{FF2B5EF4-FFF2-40B4-BE49-F238E27FC236}">
                            <a16:creationId xmlns:a16="http://schemas.microsoft.com/office/drawing/2014/main" id="{30FD823C-0C8A-48E0-BE3D-41D3364B4F84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20" name="Rechte verbindingslijn 59">
                          <a:extLst>
                            <a:ext uri="{FF2B5EF4-FFF2-40B4-BE49-F238E27FC236}">
                              <a16:creationId xmlns:a16="http://schemas.microsoft.com/office/drawing/2014/main" id="{5EE368B5-695E-40BB-8BE4-2D60A5FD31E3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21" name="Rechte verbindingslijn 60">
                          <a:extLst>
                            <a:ext uri="{FF2B5EF4-FFF2-40B4-BE49-F238E27FC236}">
                              <a16:creationId xmlns:a16="http://schemas.microsoft.com/office/drawing/2014/main" id="{08250238-2CEC-4486-86E7-87E49DBC950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22" name="Rechte verbindingslijn 61">
                          <a:extLst>
                            <a:ext uri="{FF2B5EF4-FFF2-40B4-BE49-F238E27FC236}">
                              <a16:creationId xmlns:a16="http://schemas.microsoft.com/office/drawing/2014/main" id="{A2916DE2-51F6-431A-989C-6B50E91300B3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23" name="Rechte verbindingslijn 62">
                          <a:extLst>
                            <a:ext uri="{FF2B5EF4-FFF2-40B4-BE49-F238E27FC236}">
                              <a16:creationId xmlns:a16="http://schemas.microsoft.com/office/drawing/2014/main" id="{D01FABA5-56B1-4508-8520-0970B835AA80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12" name="Rechte verbindingslijn 42">
                      <a:extLst>
                        <a:ext uri="{FF2B5EF4-FFF2-40B4-BE49-F238E27FC236}">
                          <a16:creationId xmlns:a16="http://schemas.microsoft.com/office/drawing/2014/main" id="{829D683C-C761-4019-A267-A69DCA14701D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13" name="Groep 43">
                      <a:extLst>
                        <a:ext uri="{FF2B5EF4-FFF2-40B4-BE49-F238E27FC236}">
                          <a16:creationId xmlns:a16="http://schemas.microsoft.com/office/drawing/2014/main" id="{8FA65023-6EBC-42D9-BB44-8F0DA6161724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14" name="Rechte verbindingslijn 44">
                        <a:extLst>
                          <a:ext uri="{FF2B5EF4-FFF2-40B4-BE49-F238E27FC236}">
                            <a16:creationId xmlns:a16="http://schemas.microsoft.com/office/drawing/2014/main" id="{F69C7BF7-CC6B-4928-82BF-951383DD605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15" name="Rechte verbindingslijn 45">
                        <a:extLst>
                          <a:ext uri="{FF2B5EF4-FFF2-40B4-BE49-F238E27FC236}">
                            <a16:creationId xmlns:a16="http://schemas.microsoft.com/office/drawing/2014/main" id="{72AA022E-334F-402C-BF6A-3F130AABEF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16" name="Rechte verbindingslijn 46">
                        <a:extLst>
                          <a:ext uri="{FF2B5EF4-FFF2-40B4-BE49-F238E27FC236}">
                            <a16:creationId xmlns:a16="http://schemas.microsoft.com/office/drawing/2014/main" id="{9A3B6704-48DA-4BFA-9D19-7DD1FB958A8F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06" name="Groep 35">
                    <a:extLst>
                      <a:ext uri="{FF2B5EF4-FFF2-40B4-BE49-F238E27FC236}">
                        <a16:creationId xmlns:a16="http://schemas.microsoft.com/office/drawing/2014/main" id="{36E216B6-C2D1-4038-8361-EAC40813570A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07" name="Rechthoek 36">
                      <a:extLst>
                        <a:ext uri="{FF2B5EF4-FFF2-40B4-BE49-F238E27FC236}">
                          <a16:creationId xmlns:a16="http://schemas.microsoft.com/office/drawing/2014/main" id="{58ED66A8-E7B6-420C-AB99-3A4926A323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nl-NL" sz="16213" noProof="0"/>
                    </a:p>
                  </p:txBody>
                </p:sp>
                <p:sp>
                  <p:nvSpPr>
                    <p:cNvPr id="108" name="Rechthoek: afgeronde bovenhoeken 37">
                      <a:extLst>
                        <a:ext uri="{FF2B5EF4-FFF2-40B4-BE49-F238E27FC236}">
                          <a16:creationId xmlns:a16="http://schemas.microsoft.com/office/drawing/2014/main" id="{690E7ED7-B57C-4D4D-AA59-D3D7262A464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nl-NL" sz="16213" noProof="0"/>
                    </a:p>
                  </p:txBody>
                </p:sp>
                <p:sp>
                  <p:nvSpPr>
                    <p:cNvPr id="109" name="Gelijkbenige driehoek 39">
                      <a:extLst>
                        <a:ext uri="{FF2B5EF4-FFF2-40B4-BE49-F238E27FC236}">
                          <a16:creationId xmlns:a16="http://schemas.microsoft.com/office/drawing/2014/main" id="{43D322D6-9AC6-4A4D-8837-A6FDD92E98B8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nl-NL" sz="16213" noProof="0"/>
                    </a:p>
                  </p:txBody>
                </p:sp>
              </p:grpSp>
            </p:grpSp>
          </p:grpSp>
        </p:grpSp>
      </p:grp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620E16FE-96C3-4B35-80A7-63041DAC8C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417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7" grpId="0" animBg="1"/>
    </p:bld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Tabel 50%/5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tabel 8"/>
          <p:cNvSpPr>
            <a:spLocks noGrp="1"/>
          </p:cNvSpPr>
          <p:nvPr>
            <p:ph type="tbl" sz="quarter" idx="15" hasCustomPrompt="1"/>
          </p:nvPr>
        </p:nvSpPr>
        <p:spPr>
          <a:xfrm>
            <a:off x="22853749" y="6476679"/>
            <a:ext cx="18171107" cy="19074347"/>
          </a:xfrm>
          <a:solidFill>
            <a:schemeClr val="bg1">
              <a:lumMod val="95000"/>
            </a:schemeClr>
          </a:solidFill>
        </p:spPr>
        <p:txBody>
          <a:bodyPr tIns="936000" anchor="ctr">
            <a:normAutofit/>
          </a:bodyPr>
          <a:lstStyle>
            <a:lvl1pPr marL="0" indent="0" algn="ctr"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tabel in te voegen</a:t>
            </a:r>
          </a:p>
        </p:txBody>
      </p:sp>
      <p:sp>
        <p:nvSpPr>
          <p:cNvPr id="34" name="Titel 1">
            <a:extLst>
              <a:ext uri="{FF2B5EF4-FFF2-40B4-BE49-F238E27FC236}">
                <a16:creationId xmlns:a16="http://schemas.microsoft.com/office/drawing/2014/main" id="{53A6CE20-1E7A-4F87-96EC-7E964AA913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41" name="Tijdelijke aanduiding voor tekst 14">
            <a:extLst>
              <a:ext uri="{FF2B5EF4-FFF2-40B4-BE49-F238E27FC236}">
                <a16:creationId xmlns:a16="http://schemas.microsoft.com/office/drawing/2014/main" id="{4B035891-3F3E-4E86-9D5A-96D1E3B9D0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58" name="Tijdelijke aanduiding voor voettekst 4">
            <a:extLst>
              <a:ext uri="{FF2B5EF4-FFF2-40B4-BE49-F238E27FC236}">
                <a16:creationId xmlns:a16="http://schemas.microsoft.com/office/drawing/2014/main" id="{0E659B60-CF7C-460A-A879-0DDBF9C652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59" name="Tijdelijke aanduiding voor dianummer 5">
            <a:extLst>
              <a:ext uri="{FF2B5EF4-FFF2-40B4-BE49-F238E27FC236}">
                <a16:creationId xmlns:a16="http://schemas.microsoft.com/office/drawing/2014/main" id="{F1A38C1E-7B15-4C30-B676-08D9095C1F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9" y="27329718"/>
            <a:ext cx="834509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cxnSp>
        <p:nvCxnSpPr>
          <p:cNvPr id="16" name="Rechte verbindingslijn 15">
            <a:extLst>
              <a:ext uri="{FF2B5EF4-FFF2-40B4-BE49-F238E27FC236}">
                <a16:creationId xmlns:a16="http://schemas.microsoft.com/office/drawing/2014/main" id="{FFF3BAD7-1631-43B4-803E-B259FAD5CBD9}"/>
              </a:ext>
            </a:extLst>
          </p:cNvPr>
          <p:cNvCxnSpPr/>
          <p:nvPr userDrawn="1"/>
        </p:nvCxnSpPr>
        <p:spPr>
          <a:xfrm>
            <a:off x="21383618" y="6476683"/>
            <a:ext cx="0" cy="19074342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jdelijke aanduiding voor datum 3">
            <a:extLst>
              <a:ext uri="{FF2B5EF4-FFF2-40B4-BE49-F238E27FC236}">
                <a16:creationId xmlns:a16="http://schemas.microsoft.com/office/drawing/2014/main" id="{1CAF262E-2810-4D1F-9499-C43352B839B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40D1CF22-7FF8-47A0-9650-2B0221F03856}" type="datetime1">
              <a:rPr lang="nl-NL" noProof="0" smtClean="0"/>
              <a:t>26-6-2023</a:t>
            </a:fld>
            <a:endParaRPr lang="nl-NL" noProof="0"/>
          </a:p>
        </p:txBody>
      </p:sp>
      <p:grpSp>
        <p:nvGrpSpPr>
          <p:cNvPr id="280" name="Instructie">
            <a:extLst>
              <a:ext uri="{FF2B5EF4-FFF2-40B4-BE49-F238E27FC236}">
                <a16:creationId xmlns:a16="http://schemas.microsoft.com/office/drawing/2014/main" id="{2B4A24AC-D413-4868-8058-2E7028169D2D}"/>
              </a:ext>
            </a:extLst>
          </p:cNvPr>
          <p:cNvGrpSpPr/>
          <p:nvPr userDrawn="1"/>
        </p:nvGrpSpPr>
        <p:grpSpPr>
          <a:xfrm>
            <a:off x="43467416" y="0"/>
            <a:ext cx="11167745" cy="15089920"/>
            <a:chOff x="12391601" y="0"/>
            <a:chExt cx="3183678" cy="3418198"/>
          </a:xfrm>
        </p:grpSpPr>
        <p:grpSp>
          <p:nvGrpSpPr>
            <p:cNvPr id="281" name="Meer informatie">
              <a:extLst>
                <a:ext uri="{FF2B5EF4-FFF2-40B4-BE49-F238E27FC236}">
                  <a16:creationId xmlns:a16="http://schemas.microsoft.com/office/drawing/2014/main" id="{9243C2AD-1B75-45D3-92DD-DD1FB0FD99FA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03" name="Freeform 101">
                <a:extLst>
                  <a:ext uri="{FF2B5EF4-FFF2-40B4-BE49-F238E27FC236}">
                    <a16:creationId xmlns:a16="http://schemas.microsoft.com/office/drawing/2014/main" id="{2C391DC9-8B6D-4222-8692-E7BF2DBE2E6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304" name="Rechthoek 42">
                <a:extLst>
                  <a:ext uri="{FF2B5EF4-FFF2-40B4-BE49-F238E27FC236}">
                    <a16:creationId xmlns:a16="http://schemas.microsoft.com/office/drawing/2014/main" id="{FF65114B-0581-431C-AB31-34A98540EC8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05" name="Rechte verbindingslijn 43">
                <a:extLst>
                  <a:ext uri="{FF2B5EF4-FFF2-40B4-BE49-F238E27FC236}">
                    <a16:creationId xmlns:a16="http://schemas.microsoft.com/office/drawing/2014/main" id="{A4B20D59-F67D-4587-99BA-C28562D568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82" name="Rechthoek 18">
              <a:extLst>
                <a:ext uri="{FF2B5EF4-FFF2-40B4-BE49-F238E27FC236}">
                  <a16:creationId xmlns:a16="http://schemas.microsoft.com/office/drawing/2014/main" id="{34C62FF0-4CB9-400C-B7FA-3540D4950E77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abel invoegen/veranderen</a:t>
              </a:r>
            </a:p>
          </p:txBody>
        </p:sp>
        <p:sp>
          <p:nvSpPr>
            <p:cNvPr id="283" name="Ovaal 19">
              <a:extLst>
                <a:ext uri="{FF2B5EF4-FFF2-40B4-BE49-F238E27FC236}">
                  <a16:creationId xmlns:a16="http://schemas.microsoft.com/office/drawing/2014/main" id="{124D720E-45AC-4FC1-8F70-1AC44897E716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84" name="Rechte verbindingslijn 20">
              <a:extLst>
                <a:ext uri="{FF2B5EF4-FFF2-40B4-BE49-F238E27FC236}">
                  <a16:creationId xmlns:a16="http://schemas.microsoft.com/office/drawing/2014/main" id="{AA8A2DE9-5C6E-4413-B83A-1258C023B84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85" name="Rechte verbindingslijn 21">
              <a:extLst>
                <a:ext uri="{FF2B5EF4-FFF2-40B4-BE49-F238E27FC236}">
                  <a16:creationId xmlns:a16="http://schemas.microsoft.com/office/drawing/2014/main" id="{1BF8BE4C-0321-40BF-90C0-75FB67D901E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86" name="Rechthoek 22">
              <a:extLst>
                <a:ext uri="{FF2B5EF4-FFF2-40B4-BE49-F238E27FC236}">
                  <a16:creationId xmlns:a16="http://schemas.microsoft.com/office/drawing/2014/main" id="{79699C99-630D-4ECC-AE0D-E9BAF27776BF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tabel d.m.v.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knop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Klik op het pictogram om een nieuwe tabel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87" name="Ovaal 23">
              <a:extLst>
                <a:ext uri="{FF2B5EF4-FFF2-40B4-BE49-F238E27FC236}">
                  <a16:creationId xmlns:a16="http://schemas.microsoft.com/office/drawing/2014/main" id="{C9AFDD1C-F9AE-4720-9E74-A1569AB69780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88" name="Rechthoek 24">
              <a:extLst>
                <a:ext uri="{FF2B5EF4-FFF2-40B4-BE49-F238E27FC236}">
                  <a16:creationId xmlns:a16="http://schemas.microsoft.com/office/drawing/2014/main" id="{7ABBC656-B28C-4130-B400-5607AA4923A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het gewenste aantal rijen en kolommen en klik op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OK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89" name="Groep 25">
              <a:extLst>
                <a:ext uri="{FF2B5EF4-FFF2-40B4-BE49-F238E27FC236}">
                  <a16:creationId xmlns:a16="http://schemas.microsoft.com/office/drawing/2014/main" id="{553EF675-8D57-4CDB-96AE-82482E39D73C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00" name="Rechthoek 38">
                <a:extLst>
                  <a:ext uri="{FF2B5EF4-FFF2-40B4-BE49-F238E27FC236}">
                    <a16:creationId xmlns:a16="http://schemas.microsoft.com/office/drawing/2014/main" id="{2F857859-306A-4329-8E7B-5FBDD9ADE31D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01" name="Rechte verbindingslijn 39">
                <a:extLst>
                  <a:ext uri="{FF2B5EF4-FFF2-40B4-BE49-F238E27FC236}">
                    <a16:creationId xmlns:a16="http://schemas.microsoft.com/office/drawing/2014/main" id="{7DE06FE1-B8EA-41EE-ADC6-40F6101952F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02" name="Gelijkbenige driehoek 40">
                <a:extLst>
                  <a:ext uri="{FF2B5EF4-FFF2-40B4-BE49-F238E27FC236}">
                    <a16:creationId xmlns:a16="http://schemas.microsoft.com/office/drawing/2014/main" id="{7E63E397-3C23-4D4C-AE99-F9FD9BAC558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90" name="Rechte verbindingslijn 26">
              <a:extLst>
                <a:ext uri="{FF2B5EF4-FFF2-40B4-BE49-F238E27FC236}">
                  <a16:creationId xmlns:a16="http://schemas.microsoft.com/office/drawing/2014/main" id="{1375935E-2E70-4D67-92F9-D1CB32E3F7E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91" name="Tabel icoon">
              <a:extLst>
                <a:ext uri="{FF2B5EF4-FFF2-40B4-BE49-F238E27FC236}">
                  <a16:creationId xmlns:a16="http://schemas.microsoft.com/office/drawing/2014/main" id="{F80D05A0-B5F2-45BC-B9FC-0832D5DF8AF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292" name="Rechthoek 28">
                <a:extLst>
                  <a:ext uri="{FF2B5EF4-FFF2-40B4-BE49-F238E27FC236}">
                    <a16:creationId xmlns:a16="http://schemas.microsoft.com/office/drawing/2014/main" id="{70B563BA-0620-491B-B293-056902650706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213" noProof="0"/>
              </a:p>
            </p:txBody>
          </p:sp>
          <p:sp>
            <p:nvSpPr>
              <p:cNvPr id="293" name="Rechthoek 29">
                <a:extLst>
                  <a:ext uri="{FF2B5EF4-FFF2-40B4-BE49-F238E27FC236}">
                    <a16:creationId xmlns:a16="http://schemas.microsoft.com/office/drawing/2014/main" id="{35D5FEF4-598D-4BBF-9B8D-1CA3FB8FFF8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213" noProof="0"/>
              </a:p>
            </p:txBody>
          </p:sp>
          <p:cxnSp>
            <p:nvCxnSpPr>
              <p:cNvPr id="294" name="Rechte verbindingslijn 31">
                <a:extLst>
                  <a:ext uri="{FF2B5EF4-FFF2-40B4-BE49-F238E27FC236}">
                    <a16:creationId xmlns:a16="http://schemas.microsoft.com/office/drawing/2014/main" id="{7BF67D53-15DA-455D-863E-D2527CD34144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5" name="Rechte verbindingslijn 32">
                <a:extLst>
                  <a:ext uri="{FF2B5EF4-FFF2-40B4-BE49-F238E27FC236}">
                    <a16:creationId xmlns:a16="http://schemas.microsoft.com/office/drawing/2014/main" id="{00D1984A-FE07-4608-A2C0-F79191030836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6" name="Rechte verbindingslijn 33">
                <a:extLst>
                  <a:ext uri="{FF2B5EF4-FFF2-40B4-BE49-F238E27FC236}">
                    <a16:creationId xmlns:a16="http://schemas.microsoft.com/office/drawing/2014/main" id="{F80FBDA0-7AC6-415C-96ED-2EA9BDDEA33E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7" name="Rechte verbindingslijn 34">
                <a:extLst>
                  <a:ext uri="{FF2B5EF4-FFF2-40B4-BE49-F238E27FC236}">
                    <a16:creationId xmlns:a16="http://schemas.microsoft.com/office/drawing/2014/main" id="{41F1123B-31D8-4B3F-B094-FC72371A715D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8" name="Rechte verbindingslijn 35">
                <a:extLst>
                  <a:ext uri="{FF2B5EF4-FFF2-40B4-BE49-F238E27FC236}">
                    <a16:creationId xmlns:a16="http://schemas.microsoft.com/office/drawing/2014/main" id="{6A12731C-DD13-4DC0-AC4B-5D001DA969D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99" name="Rechthoek 36">
                <a:extLst>
                  <a:ext uri="{FF2B5EF4-FFF2-40B4-BE49-F238E27FC236}">
                    <a16:creationId xmlns:a16="http://schemas.microsoft.com/office/drawing/2014/main" id="{C065C823-BDF7-4F3A-97CF-917B4D5F0E6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213" noProof="0"/>
              </a:p>
            </p:txBody>
          </p:sp>
        </p:grpSp>
      </p:grpSp>
      <p:sp>
        <p:nvSpPr>
          <p:cNvPr id="131" name="Tijdelijke aanduiding voor tekst 4">
            <a:extLst>
              <a:ext uri="{FF2B5EF4-FFF2-40B4-BE49-F238E27FC236}">
                <a16:creationId xmlns:a16="http://schemas.microsoft.com/office/drawing/2014/main" id="{00E166CD-7E11-4ACD-A2FC-A33D649ED95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42373" y="6476685"/>
            <a:ext cx="18171872" cy="1907433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bullet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bullet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grpSp>
        <p:nvGrpSpPr>
          <p:cNvPr id="132" name="Groep 101">
            <a:extLst>
              <a:ext uri="{FF2B5EF4-FFF2-40B4-BE49-F238E27FC236}">
                <a16:creationId xmlns:a16="http://schemas.microsoft.com/office/drawing/2014/main" id="{567835C9-B128-4388-A905-EC39C38F0441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133" name="Rechthoek 102">
              <a:extLst>
                <a:ext uri="{FF2B5EF4-FFF2-40B4-BE49-F238E27FC236}">
                  <a16:creationId xmlns:a16="http://schemas.microsoft.com/office/drawing/2014/main" id="{A1EC0658-3BB0-4EBF-9091-A1C16CAC101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134" name="Ovaal 103">
              <a:extLst>
                <a:ext uri="{FF2B5EF4-FFF2-40B4-BE49-F238E27FC236}">
                  <a16:creationId xmlns:a16="http://schemas.microsoft.com/office/drawing/2014/main" id="{9BF17C1E-019D-4DD2-9095-5982D00EFB2E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5" name="Rechte verbindingslijn 104">
              <a:extLst>
                <a:ext uri="{FF2B5EF4-FFF2-40B4-BE49-F238E27FC236}">
                  <a16:creationId xmlns:a16="http://schemas.microsoft.com/office/drawing/2014/main" id="{8B774C17-9041-40BA-8A5E-45B2AC79C0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6" name="Groep 105">
              <a:extLst>
                <a:ext uri="{FF2B5EF4-FFF2-40B4-BE49-F238E27FC236}">
                  <a16:creationId xmlns:a16="http://schemas.microsoft.com/office/drawing/2014/main" id="{2413DCA5-AAC1-4C49-AF1A-1BE0D77A5558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61" name="Rechthoek 130">
                <a:extLst>
                  <a:ext uri="{FF2B5EF4-FFF2-40B4-BE49-F238E27FC236}">
                    <a16:creationId xmlns:a16="http://schemas.microsoft.com/office/drawing/2014/main" id="{BBBFDFCF-1B35-4472-8144-07BB29BECE4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162" name="Rechte verbindingslijn 131">
                <a:extLst>
                  <a:ext uri="{FF2B5EF4-FFF2-40B4-BE49-F238E27FC236}">
                    <a16:creationId xmlns:a16="http://schemas.microsoft.com/office/drawing/2014/main" id="{1D6D1223-7E7A-447F-9E2B-CDDC6DF1873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Rechte verbindingslijn 132">
                <a:extLst>
                  <a:ext uri="{FF2B5EF4-FFF2-40B4-BE49-F238E27FC236}">
                    <a16:creationId xmlns:a16="http://schemas.microsoft.com/office/drawing/2014/main" id="{FBEDABC6-8278-4769-B611-FF1331F5011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4" name="Rechthoek 133">
                <a:extLst>
                  <a:ext uri="{FF2B5EF4-FFF2-40B4-BE49-F238E27FC236}">
                    <a16:creationId xmlns:a16="http://schemas.microsoft.com/office/drawing/2014/main" id="{16F083F3-851B-4977-9633-B9F5A6F619CB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65" name="Groep 134">
                <a:extLst>
                  <a:ext uri="{FF2B5EF4-FFF2-40B4-BE49-F238E27FC236}">
                    <a16:creationId xmlns:a16="http://schemas.microsoft.com/office/drawing/2014/main" id="{89C60A64-B359-45DD-9C74-76A52EF0C235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04" name="Groep 175">
                  <a:extLst>
                    <a:ext uri="{FF2B5EF4-FFF2-40B4-BE49-F238E27FC236}">
                      <a16:creationId xmlns:a16="http://schemas.microsoft.com/office/drawing/2014/main" id="{88927F47-5879-43A0-8F81-4DCE1E99E6D8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08" name="Rechte verbindingslijn 179">
                    <a:extLst>
                      <a:ext uri="{FF2B5EF4-FFF2-40B4-BE49-F238E27FC236}">
                        <a16:creationId xmlns:a16="http://schemas.microsoft.com/office/drawing/2014/main" id="{43230C98-0AAF-4558-BFF4-296310BAE8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9" name="Rechte verbindingslijn 180">
                    <a:extLst>
                      <a:ext uri="{FF2B5EF4-FFF2-40B4-BE49-F238E27FC236}">
                        <a16:creationId xmlns:a16="http://schemas.microsoft.com/office/drawing/2014/main" id="{11A08B21-977F-47F9-88E6-D179CA04DCD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0" name="Rechte verbindingslijn 181">
                    <a:extLst>
                      <a:ext uri="{FF2B5EF4-FFF2-40B4-BE49-F238E27FC236}">
                        <a16:creationId xmlns:a16="http://schemas.microsoft.com/office/drawing/2014/main" id="{8AD3D414-8938-49CF-8C4C-0D5EA87C69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1" name="Rechte verbindingslijn 182">
                    <a:extLst>
                      <a:ext uri="{FF2B5EF4-FFF2-40B4-BE49-F238E27FC236}">
                        <a16:creationId xmlns:a16="http://schemas.microsoft.com/office/drawing/2014/main" id="{A4FC1E39-E2CE-4241-AD9D-D78149DD9F1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06" name="Rechte verbindingslijn 183">
                    <a:extLst>
                      <a:ext uri="{FF2B5EF4-FFF2-40B4-BE49-F238E27FC236}">
                        <a16:creationId xmlns:a16="http://schemas.microsoft.com/office/drawing/2014/main" id="{B5ABCD7F-C89B-4AC4-98A1-2A3602A9CE9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5" name="Groep 176">
                  <a:extLst>
                    <a:ext uri="{FF2B5EF4-FFF2-40B4-BE49-F238E27FC236}">
                      <a16:creationId xmlns:a16="http://schemas.microsoft.com/office/drawing/2014/main" id="{8C0CBCED-C746-4BED-BB8C-077E2FB407F8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6" name="Rechthoek 177">
                    <a:extLst>
                      <a:ext uri="{FF2B5EF4-FFF2-40B4-BE49-F238E27FC236}">
                        <a16:creationId xmlns:a16="http://schemas.microsoft.com/office/drawing/2014/main" id="{457E2ECD-5F1C-46E4-8EDC-1950FCEBE6F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7" name="Pijl: punthaak 178">
                    <a:extLst>
                      <a:ext uri="{FF2B5EF4-FFF2-40B4-BE49-F238E27FC236}">
                        <a16:creationId xmlns:a16="http://schemas.microsoft.com/office/drawing/2014/main" id="{14C3D550-F63B-4EFD-9437-DFBEB8D634E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66" name="Groep 135">
                <a:extLst>
                  <a:ext uri="{FF2B5EF4-FFF2-40B4-BE49-F238E27FC236}">
                    <a16:creationId xmlns:a16="http://schemas.microsoft.com/office/drawing/2014/main" id="{2D66C02B-AC8C-4DD9-B0BA-E7415F7FAA0E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95" name="Groep 166">
                  <a:extLst>
                    <a:ext uri="{FF2B5EF4-FFF2-40B4-BE49-F238E27FC236}">
                      <a16:creationId xmlns:a16="http://schemas.microsoft.com/office/drawing/2014/main" id="{63089621-8CD3-4A7E-B49F-3E98199D8233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9" name="Rechte verbindingslijn 170">
                    <a:extLst>
                      <a:ext uri="{FF2B5EF4-FFF2-40B4-BE49-F238E27FC236}">
                        <a16:creationId xmlns:a16="http://schemas.microsoft.com/office/drawing/2014/main" id="{B222357E-96F6-4F02-ACDE-789C4510C0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171">
                    <a:extLst>
                      <a:ext uri="{FF2B5EF4-FFF2-40B4-BE49-F238E27FC236}">
                        <a16:creationId xmlns:a16="http://schemas.microsoft.com/office/drawing/2014/main" id="{3C21D942-0C6D-450B-80E3-0A352500F55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172">
                    <a:extLst>
                      <a:ext uri="{FF2B5EF4-FFF2-40B4-BE49-F238E27FC236}">
                        <a16:creationId xmlns:a16="http://schemas.microsoft.com/office/drawing/2014/main" id="{BE96836E-2C3B-4FDB-AEA0-0D35027CD8C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173">
                    <a:extLst>
                      <a:ext uri="{FF2B5EF4-FFF2-40B4-BE49-F238E27FC236}">
                        <a16:creationId xmlns:a16="http://schemas.microsoft.com/office/drawing/2014/main" id="{AA56C7F1-454C-4A11-AD98-A557E9FE261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174">
                    <a:extLst>
                      <a:ext uri="{FF2B5EF4-FFF2-40B4-BE49-F238E27FC236}">
                        <a16:creationId xmlns:a16="http://schemas.microsoft.com/office/drawing/2014/main" id="{30FAD6E7-EF7B-4889-94B7-22AE7525C15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167">
                  <a:extLst>
                    <a:ext uri="{FF2B5EF4-FFF2-40B4-BE49-F238E27FC236}">
                      <a16:creationId xmlns:a16="http://schemas.microsoft.com/office/drawing/2014/main" id="{EA046BA6-00A4-4295-A460-CCCD1171F13F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168">
                    <a:extLst>
                      <a:ext uri="{FF2B5EF4-FFF2-40B4-BE49-F238E27FC236}">
                        <a16:creationId xmlns:a16="http://schemas.microsoft.com/office/drawing/2014/main" id="{6AD43176-054E-4C6C-9AE0-26004C8E2B31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Pijl: punthaak 169">
                    <a:extLst>
                      <a:ext uri="{FF2B5EF4-FFF2-40B4-BE49-F238E27FC236}">
                        <a16:creationId xmlns:a16="http://schemas.microsoft.com/office/drawing/2014/main" id="{3879E932-3544-4208-A00E-C51AA6F78D4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67" name="Rechte verbindingslijn 136">
                <a:extLst>
                  <a:ext uri="{FF2B5EF4-FFF2-40B4-BE49-F238E27FC236}">
                    <a16:creationId xmlns:a16="http://schemas.microsoft.com/office/drawing/2014/main" id="{35B1AAEB-05FD-4D50-AFC3-5E5954C009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68" name="Rechte verbindingslijn 137">
                <a:extLst>
                  <a:ext uri="{FF2B5EF4-FFF2-40B4-BE49-F238E27FC236}">
                    <a16:creationId xmlns:a16="http://schemas.microsoft.com/office/drawing/2014/main" id="{C4FB6C9C-C5E3-436A-9A8C-09F05847DC5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9" name="Groep 138">
                <a:extLst>
                  <a:ext uri="{FF2B5EF4-FFF2-40B4-BE49-F238E27FC236}">
                    <a16:creationId xmlns:a16="http://schemas.microsoft.com/office/drawing/2014/main" id="{129CEDA6-1545-4C1C-A3E1-F2AF3C3BF9FC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84" name="Rechthoek 155">
                  <a:extLst>
                    <a:ext uri="{FF2B5EF4-FFF2-40B4-BE49-F238E27FC236}">
                      <a16:creationId xmlns:a16="http://schemas.microsoft.com/office/drawing/2014/main" id="{841DC097-5E36-4C64-9283-2BB0777BE43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5" name="Groep 156">
                  <a:extLst>
                    <a:ext uri="{FF2B5EF4-FFF2-40B4-BE49-F238E27FC236}">
                      <a16:creationId xmlns:a16="http://schemas.microsoft.com/office/drawing/2014/main" id="{40AE14A5-58AB-40D8-A8CC-0C5C94E8C6F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86" name="Groep 157">
                    <a:extLst>
                      <a:ext uri="{FF2B5EF4-FFF2-40B4-BE49-F238E27FC236}">
                        <a16:creationId xmlns:a16="http://schemas.microsoft.com/office/drawing/2014/main" id="{B6D9D285-90D2-431F-9E7A-8A701B39441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0" name="Rechte verbindingslijn 161">
                      <a:extLst>
                        <a:ext uri="{FF2B5EF4-FFF2-40B4-BE49-F238E27FC236}">
                          <a16:creationId xmlns:a16="http://schemas.microsoft.com/office/drawing/2014/main" id="{9A870CDF-6C59-4275-9555-7D3347C60AB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1" name="Rechte verbindingslijn 162">
                      <a:extLst>
                        <a:ext uri="{FF2B5EF4-FFF2-40B4-BE49-F238E27FC236}">
                          <a16:creationId xmlns:a16="http://schemas.microsoft.com/office/drawing/2014/main" id="{7E50BD3C-FE61-42F0-9534-A1CDE34341E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2" name="Rechte verbindingslijn 163">
                      <a:extLst>
                        <a:ext uri="{FF2B5EF4-FFF2-40B4-BE49-F238E27FC236}">
                          <a16:creationId xmlns:a16="http://schemas.microsoft.com/office/drawing/2014/main" id="{61385B85-5234-4A41-9923-CABD8165C0B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3" name="Rechte verbindingslijn 164">
                      <a:extLst>
                        <a:ext uri="{FF2B5EF4-FFF2-40B4-BE49-F238E27FC236}">
                          <a16:creationId xmlns:a16="http://schemas.microsoft.com/office/drawing/2014/main" id="{6236E2B2-29F0-4263-81F0-A83E4AADD3D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4" name="Rechte verbindingslijn 165">
                      <a:extLst>
                        <a:ext uri="{FF2B5EF4-FFF2-40B4-BE49-F238E27FC236}">
                          <a16:creationId xmlns:a16="http://schemas.microsoft.com/office/drawing/2014/main" id="{34F45B6F-E663-4C97-800E-860BA67D050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7" name="Groep 158">
                    <a:extLst>
                      <a:ext uri="{FF2B5EF4-FFF2-40B4-BE49-F238E27FC236}">
                        <a16:creationId xmlns:a16="http://schemas.microsoft.com/office/drawing/2014/main" id="{ADC83032-FF34-4D00-86C6-D5F21D296BF4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8" name="Rechthoek 159">
                      <a:extLst>
                        <a:ext uri="{FF2B5EF4-FFF2-40B4-BE49-F238E27FC236}">
                          <a16:creationId xmlns:a16="http://schemas.microsoft.com/office/drawing/2014/main" id="{70902A04-7D59-4C17-98ED-BC310A23E8A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9" name="Pijl: punthaak 160">
                      <a:extLst>
                        <a:ext uri="{FF2B5EF4-FFF2-40B4-BE49-F238E27FC236}">
                          <a16:creationId xmlns:a16="http://schemas.microsoft.com/office/drawing/2014/main" id="{93B4D83B-F085-46CF-973B-2524AD42920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0" name="Groep 139">
                <a:extLst>
                  <a:ext uri="{FF2B5EF4-FFF2-40B4-BE49-F238E27FC236}">
                    <a16:creationId xmlns:a16="http://schemas.microsoft.com/office/drawing/2014/main" id="{37C09F35-B81E-45AB-A0A3-D10C5CB705D3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3" name="Rechthoek 142">
                  <a:extLst>
                    <a:ext uri="{FF2B5EF4-FFF2-40B4-BE49-F238E27FC236}">
                      <a16:creationId xmlns:a16="http://schemas.microsoft.com/office/drawing/2014/main" id="{79A80045-72E1-4D66-85A6-DCE9C4B3641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4" name="Groep 143">
                  <a:extLst>
                    <a:ext uri="{FF2B5EF4-FFF2-40B4-BE49-F238E27FC236}">
                      <a16:creationId xmlns:a16="http://schemas.microsoft.com/office/drawing/2014/main" id="{5DFFF8E4-6A9D-4924-8B4E-A5AAB1937BEC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75" name="Groep 144">
                    <a:extLst>
                      <a:ext uri="{FF2B5EF4-FFF2-40B4-BE49-F238E27FC236}">
                        <a16:creationId xmlns:a16="http://schemas.microsoft.com/office/drawing/2014/main" id="{69D647B7-A8C1-40D3-BF5A-886857789E3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9" name="Rechte verbindingslijn 150">
                      <a:extLst>
                        <a:ext uri="{FF2B5EF4-FFF2-40B4-BE49-F238E27FC236}">
                          <a16:creationId xmlns:a16="http://schemas.microsoft.com/office/drawing/2014/main" id="{D201D167-1A34-4576-9B51-9EF1AA3A4C5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0" name="Rechte verbindingslijn 151">
                      <a:extLst>
                        <a:ext uri="{FF2B5EF4-FFF2-40B4-BE49-F238E27FC236}">
                          <a16:creationId xmlns:a16="http://schemas.microsoft.com/office/drawing/2014/main" id="{3724FC78-B582-43EC-A683-F52EE41CA88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1" name="Rechte verbindingslijn 152">
                      <a:extLst>
                        <a:ext uri="{FF2B5EF4-FFF2-40B4-BE49-F238E27FC236}">
                          <a16:creationId xmlns:a16="http://schemas.microsoft.com/office/drawing/2014/main" id="{DF40A37B-A2E6-4233-A64B-2B159E6E081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153">
                      <a:extLst>
                        <a:ext uri="{FF2B5EF4-FFF2-40B4-BE49-F238E27FC236}">
                          <a16:creationId xmlns:a16="http://schemas.microsoft.com/office/drawing/2014/main" id="{6C86622D-01C6-4049-BD86-69AC95CCC5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154">
                      <a:extLst>
                        <a:ext uri="{FF2B5EF4-FFF2-40B4-BE49-F238E27FC236}">
                          <a16:creationId xmlns:a16="http://schemas.microsoft.com/office/drawing/2014/main" id="{064CF244-2AEB-4EAF-863F-9E538AF59D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6" name="Groep 147">
                    <a:extLst>
                      <a:ext uri="{FF2B5EF4-FFF2-40B4-BE49-F238E27FC236}">
                        <a16:creationId xmlns:a16="http://schemas.microsoft.com/office/drawing/2014/main" id="{27F889A0-DD66-4969-B5F3-49ABF8BA546F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7" name="Rechthoek 148">
                      <a:extLst>
                        <a:ext uri="{FF2B5EF4-FFF2-40B4-BE49-F238E27FC236}">
                          <a16:creationId xmlns:a16="http://schemas.microsoft.com/office/drawing/2014/main" id="{7ECD9D23-35BF-4754-BE5D-20F0F1C7157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78" name="Pijl: punthaak 149">
                      <a:extLst>
                        <a:ext uri="{FF2B5EF4-FFF2-40B4-BE49-F238E27FC236}">
                          <a16:creationId xmlns:a16="http://schemas.microsoft.com/office/drawing/2014/main" id="{0BB7F6B3-64AF-4729-BA23-8F114249C0F2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1" name="Rechthoek 140">
                <a:extLst>
                  <a:ext uri="{FF2B5EF4-FFF2-40B4-BE49-F238E27FC236}">
                    <a16:creationId xmlns:a16="http://schemas.microsoft.com/office/drawing/2014/main" id="{87D45D06-B442-44D0-B66A-F6851F4A04AF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172" name="Rechthoek 141">
                <a:extLst>
                  <a:ext uri="{FF2B5EF4-FFF2-40B4-BE49-F238E27FC236}">
                    <a16:creationId xmlns:a16="http://schemas.microsoft.com/office/drawing/2014/main" id="{02F3FAEE-393B-4E88-91C1-8E64AFE73E01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137" name="Rechte verbindingslijn 106">
              <a:extLst>
                <a:ext uri="{FF2B5EF4-FFF2-40B4-BE49-F238E27FC236}">
                  <a16:creationId xmlns:a16="http://schemas.microsoft.com/office/drawing/2014/main" id="{AFB99157-DA5C-46C3-85E6-82E74922C86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38" name="Rechthoek 107">
              <a:extLst>
                <a:ext uri="{FF2B5EF4-FFF2-40B4-BE49-F238E27FC236}">
                  <a16:creationId xmlns:a16="http://schemas.microsoft.com/office/drawing/2014/main" id="{1EB70A77-4D24-4B1F-A168-9C6633B7B45E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139" name="Ovaal 108">
              <a:extLst>
                <a:ext uri="{FF2B5EF4-FFF2-40B4-BE49-F238E27FC236}">
                  <a16:creationId xmlns:a16="http://schemas.microsoft.com/office/drawing/2014/main" id="{93BDBE71-0899-40AB-9228-23FFBA3F1A3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0" name="Rechthoek 109">
              <a:extLst>
                <a:ext uri="{FF2B5EF4-FFF2-40B4-BE49-F238E27FC236}">
                  <a16:creationId xmlns:a16="http://schemas.microsoft.com/office/drawing/2014/main" id="{C1EC5EDC-3D42-4554-A084-0E0A90DF279B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141" name="Ovaal 110">
              <a:extLst>
                <a:ext uri="{FF2B5EF4-FFF2-40B4-BE49-F238E27FC236}">
                  <a16:creationId xmlns:a16="http://schemas.microsoft.com/office/drawing/2014/main" id="{2CC0A145-60E4-462A-A69C-0C364F924528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2" name="Rechthoek 111">
              <a:extLst>
                <a:ext uri="{FF2B5EF4-FFF2-40B4-BE49-F238E27FC236}">
                  <a16:creationId xmlns:a16="http://schemas.microsoft.com/office/drawing/2014/main" id="{D2CDA024-405E-4DA2-ABD4-ECCE29B0C6D4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43" name="Ovaal 112">
              <a:extLst>
                <a:ext uri="{FF2B5EF4-FFF2-40B4-BE49-F238E27FC236}">
                  <a16:creationId xmlns:a16="http://schemas.microsoft.com/office/drawing/2014/main" id="{2B2E7192-0402-4FCF-AF31-A170B4FF60C8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4" name="Rechthoek 113">
              <a:extLst>
                <a:ext uri="{FF2B5EF4-FFF2-40B4-BE49-F238E27FC236}">
                  <a16:creationId xmlns:a16="http://schemas.microsoft.com/office/drawing/2014/main" id="{73AD1A30-4E0C-427A-991A-1E7E8EBF0CB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145" name="Ovaal 114">
              <a:extLst>
                <a:ext uri="{FF2B5EF4-FFF2-40B4-BE49-F238E27FC236}">
                  <a16:creationId xmlns:a16="http://schemas.microsoft.com/office/drawing/2014/main" id="{D0AB2B93-DF30-4D53-9B11-276748D84CB4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6" name="Rechthoek 115">
              <a:extLst>
                <a:ext uri="{FF2B5EF4-FFF2-40B4-BE49-F238E27FC236}">
                  <a16:creationId xmlns:a16="http://schemas.microsoft.com/office/drawing/2014/main" id="{DCEEC80C-03E8-4ED4-8042-8E160D2DBFA6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147" name="Rechte verbindingslijn 116">
              <a:extLst>
                <a:ext uri="{FF2B5EF4-FFF2-40B4-BE49-F238E27FC236}">
                  <a16:creationId xmlns:a16="http://schemas.microsoft.com/office/drawing/2014/main" id="{CC419C43-526A-4F3A-BC3F-12C32F2C15B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48" name="Meer informatie">
              <a:extLst>
                <a:ext uri="{FF2B5EF4-FFF2-40B4-BE49-F238E27FC236}">
                  <a16:creationId xmlns:a16="http://schemas.microsoft.com/office/drawing/2014/main" id="{8725FBB4-0254-4BC3-9A16-F6F60B765C19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158" name="Freeform 101">
                <a:extLst>
                  <a:ext uri="{FF2B5EF4-FFF2-40B4-BE49-F238E27FC236}">
                    <a16:creationId xmlns:a16="http://schemas.microsoft.com/office/drawing/2014/main" id="{CFBA7BDB-DF1A-4849-A772-762E5DF987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159" name="Rechthoek 128">
                <a:extLst>
                  <a:ext uri="{FF2B5EF4-FFF2-40B4-BE49-F238E27FC236}">
                    <a16:creationId xmlns:a16="http://schemas.microsoft.com/office/drawing/2014/main" id="{3B188684-AC32-4862-A945-C623AB851D52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60" name="Rechte verbindingslijn 129">
                <a:extLst>
                  <a:ext uri="{FF2B5EF4-FFF2-40B4-BE49-F238E27FC236}">
                    <a16:creationId xmlns:a16="http://schemas.microsoft.com/office/drawing/2014/main" id="{5F7DC580-5AEB-4513-B436-052BFA01B91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Rechthoek 118">
              <a:extLst>
                <a:ext uri="{FF2B5EF4-FFF2-40B4-BE49-F238E27FC236}">
                  <a16:creationId xmlns:a16="http://schemas.microsoft.com/office/drawing/2014/main" id="{27C5F8F2-478C-4DA0-BA95-9B1969EA3167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150" name="Ovaal 119">
              <a:extLst>
                <a:ext uri="{FF2B5EF4-FFF2-40B4-BE49-F238E27FC236}">
                  <a16:creationId xmlns:a16="http://schemas.microsoft.com/office/drawing/2014/main" id="{658643E3-49C5-4076-B365-96476588E226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51" name="Rechthoek 120">
              <a:extLst>
                <a:ext uri="{FF2B5EF4-FFF2-40B4-BE49-F238E27FC236}">
                  <a16:creationId xmlns:a16="http://schemas.microsoft.com/office/drawing/2014/main" id="{D0E05C12-73DC-4E9F-8C5B-033E096621A5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52" name="Ovaal 121">
              <a:extLst>
                <a:ext uri="{FF2B5EF4-FFF2-40B4-BE49-F238E27FC236}">
                  <a16:creationId xmlns:a16="http://schemas.microsoft.com/office/drawing/2014/main" id="{81C45B65-BEC7-47D3-877D-B5BE0C066D58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53" name="Rechthoek 122">
              <a:extLst>
                <a:ext uri="{FF2B5EF4-FFF2-40B4-BE49-F238E27FC236}">
                  <a16:creationId xmlns:a16="http://schemas.microsoft.com/office/drawing/2014/main" id="{F3B30888-2411-4496-9C47-716D822BB671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154" name="Ovaal 123">
              <a:extLst>
                <a:ext uri="{FF2B5EF4-FFF2-40B4-BE49-F238E27FC236}">
                  <a16:creationId xmlns:a16="http://schemas.microsoft.com/office/drawing/2014/main" id="{C6FDCC2B-F897-440A-8333-0CE5AD6CD5ED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55" name="Rechthoek 124">
              <a:extLst>
                <a:ext uri="{FF2B5EF4-FFF2-40B4-BE49-F238E27FC236}">
                  <a16:creationId xmlns:a16="http://schemas.microsoft.com/office/drawing/2014/main" id="{05563509-8824-4428-85BB-F0DEE1A81C9A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56" name="Rechthoek 125">
              <a:extLst>
                <a:ext uri="{FF2B5EF4-FFF2-40B4-BE49-F238E27FC236}">
                  <a16:creationId xmlns:a16="http://schemas.microsoft.com/office/drawing/2014/main" id="{3E6957DA-D08C-4A4B-9F06-1D6A08D914AE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157" name="Ovaal 126">
              <a:extLst>
                <a:ext uri="{FF2B5EF4-FFF2-40B4-BE49-F238E27FC236}">
                  <a16:creationId xmlns:a16="http://schemas.microsoft.com/office/drawing/2014/main" id="{5CA2E8CD-A03D-41DF-BCC8-ABB9FFB2E45E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  <p:pic>
        <p:nvPicPr>
          <p:cNvPr id="307" name="Afbeelding 306">
            <a:extLst>
              <a:ext uri="{FF2B5EF4-FFF2-40B4-BE49-F238E27FC236}">
                <a16:creationId xmlns:a16="http://schemas.microsoft.com/office/drawing/2014/main" id="{F7CBAA26-C3F6-4707-A0EF-91BEAF96AB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6919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 10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tabel 8"/>
          <p:cNvSpPr>
            <a:spLocks noGrp="1"/>
          </p:cNvSpPr>
          <p:nvPr>
            <p:ph type="tbl" sz="quarter" idx="15" hasCustomPrompt="1"/>
          </p:nvPr>
        </p:nvSpPr>
        <p:spPr>
          <a:xfrm>
            <a:off x="1731104" y="6504861"/>
            <a:ext cx="39293754" cy="19046172"/>
          </a:xfrm>
          <a:solidFill>
            <a:schemeClr val="bg1">
              <a:lumMod val="95000"/>
            </a:schemeClr>
          </a:solidFill>
        </p:spPr>
        <p:txBody>
          <a:bodyPr tIns="1008000" anchor="ctr">
            <a:normAutofit/>
          </a:bodyPr>
          <a:lstStyle>
            <a:lvl1pPr marL="0" indent="0" algn="ctr"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tabel in te voegen</a:t>
            </a:r>
          </a:p>
        </p:txBody>
      </p:sp>
      <p:sp>
        <p:nvSpPr>
          <p:cNvPr id="31" name="Titel 1">
            <a:extLst>
              <a:ext uri="{FF2B5EF4-FFF2-40B4-BE49-F238E27FC236}">
                <a16:creationId xmlns:a16="http://schemas.microsoft.com/office/drawing/2014/main" id="{BFC323C8-4E0C-4511-852A-2596E66977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8" name="Tijdelijke aanduiding voor tekst 14">
            <a:extLst>
              <a:ext uri="{FF2B5EF4-FFF2-40B4-BE49-F238E27FC236}">
                <a16:creationId xmlns:a16="http://schemas.microsoft.com/office/drawing/2014/main" id="{8DA7C7FA-DB31-4BAA-B073-75C781A5B1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55" name="Tijdelijke aanduiding voor voettekst 4">
            <a:extLst>
              <a:ext uri="{FF2B5EF4-FFF2-40B4-BE49-F238E27FC236}">
                <a16:creationId xmlns:a16="http://schemas.microsoft.com/office/drawing/2014/main" id="{A0E628BA-C2CD-4496-9DDE-D19D860FA9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56" name="Tijdelijke aanduiding voor dianummer 5">
            <a:extLst>
              <a:ext uri="{FF2B5EF4-FFF2-40B4-BE49-F238E27FC236}">
                <a16:creationId xmlns:a16="http://schemas.microsoft.com/office/drawing/2014/main" id="{16FCF319-FDBA-49D0-94CD-E4F09D9A89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7" y="27329718"/>
            <a:ext cx="888118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15" name="Tijdelijke aanduiding voor datum 3">
            <a:extLst>
              <a:ext uri="{FF2B5EF4-FFF2-40B4-BE49-F238E27FC236}">
                <a16:creationId xmlns:a16="http://schemas.microsoft.com/office/drawing/2014/main" id="{9ACCADF5-C9AA-4EE4-AA1D-F3AA86363F4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FEAEE37F-F197-4C21-9E5F-56F480958CE7}" type="datetime1">
              <a:rPr lang="nl-NL" noProof="0" smtClean="0"/>
              <a:t>26-6-2023</a:t>
            </a:fld>
            <a:endParaRPr lang="nl-NL" noProof="0"/>
          </a:p>
        </p:txBody>
      </p:sp>
      <p:grpSp>
        <p:nvGrpSpPr>
          <p:cNvPr id="17" name="Instructie">
            <a:extLst>
              <a:ext uri="{FF2B5EF4-FFF2-40B4-BE49-F238E27FC236}">
                <a16:creationId xmlns:a16="http://schemas.microsoft.com/office/drawing/2014/main" id="{D0346CC6-5714-49A4-B402-7D09C66BA7DC}"/>
              </a:ext>
            </a:extLst>
          </p:cNvPr>
          <p:cNvGrpSpPr/>
          <p:nvPr userDrawn="1"/>
        </p:nvGrpSpPr>
        <p:grpSpPr>
          <a:xfrm>
            <a:off x="43467416" y="0"/>
            <a:ext cx="11167745" cy="15089920"/>
            <a:chOff x="12391601" y="0"/>
            <a:chExt cx="3183678" cy="3418198"/>
          </a:xfrm>
        </p:grpSpPr>
        <p:grpSp>
          <p:nvGrpSpPr>
            <p:cNvPr id="18" name="Meer informatie">
              <a:extLst>
                <a:ext uri="{FF2B5EF4-FFF2-40B4-BE49-F238E27FC236}">
                  <a16:creationId xmlns:a16="http://schemas.microsoft.com/office/drawing/2014/main" id="{A59BD865-259C-4528-9B81-5A4BD0072F22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42" name="Freeform 101">
                <a:extLst>
                  <a:ext uri="{FF2B5EF4-FFF2-40B4-BE49-F238E27FC236}">
                    <a16:creationId xmlns:a16="http://schemas.microsoft.com/office/drawing/2014/main" id="{5D8CEEAB-B360-4AEA-A355-9A60F90296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9762ABFA-1C61-4AB0-A828-E7C6E3F74827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44" name="Rechte verbindingslijn 43">
                <a:extLst>
                  <a:ext uri="{FF2B5EF4-FFF2-40B4-BE49-F238E27FC236}">
                    <a16:creationId xmlns:a16="http://schemas.microsoft.com/office/drawing/2014/main" id="{23FAD46D-568E-49D2-A42C-7494B770004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E040640F-8072-4826-9B23-4EA805C14D62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abel invoegen/veranderen</a:t>
              </a:r>
            </a:p>
          </p:txBody>
        </p:sp>
        <p:sp>
          <p:nvSpPr>
            <p:cNvPr id="20" name="Ovaal 19">
              <a:extLst>
                <a:ext uri="{FF2B5EF4-FFF2-40B4-BE49-F238E27FC236}">
                  <a16:creationId xmlns:a16="http://schemas.microsoft.com/office/drawing/2014/main" id="{61A65DC2-EB15-4A25-8F4B-3D0FCCFF56F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" name="Rechte verbindingslijn 20">
              <a:extLst>
                <a:ext uri="{FF2B5EF4-FFF2-40B4-BE49-F238E27FC236}">
                  <a16:creationId xmlns:a16="http://schemas.microsoft.com/office/drawing/2014/main" id="{C62AE54A-037E-49C1-B6BE-F4CD20DBA8B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2" name="Rechte verbindingslijn 21">
              <a:extLst>
                <a:ext uri="{FF2B5EF4-FFF2-40B4-BE49-F238E27FC236}">
                  <a16:creationId xmlns:a16="http://schemas.microsoft.com/office/drawing/2014/main" id="{280B39BD-F3C4-43B4-9A07-4F651B59484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D2C0F12F-1A93-4418-BA52-07C58BD25ED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tabel d.m.v.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knop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Klik op het pictogram om een nieuwe tabel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4" name="Ovaal 23">
              <a:extLst>
                <a:ext uri="{FF2B5EF4-FFF2-40B4-BE49-F238E27FC236}">
                  <a16:creationId xmlns:a16="http://schemas.microsoft.com/office/drawing/2014/main" id="{5FAB0342-BB5D-4A76-90F3-EAB8DA00321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5" name="Rechthoek 24">
              <a:extLst>
                <a:ext uri="{FF2B5EF4-FFF2-40B4-BE49-F238E27FC236}">
                  <a16:creationId xmlns:a16="http://schemas.microsoft.com/office/drawing/2014/main" id="{2032FDA1-E921-4F09-9866-58C690F9B84F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het gewenste aantal rijen en kolommen en klik op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OK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6" name="Groep 25">
              <a:extLst>
                <a:ext uri="{FF2B5EF4-FFF2-40B4-BE49-F238E27FC236}">
                  <a16:creationId xmlns:a16="http://schemas.microsoft.com/office/drawing/2014/main" id="{053614B9-F09D-4A52-BF22-D148EF9FF325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A629ECB7-22D1-481C-B742-0CB46560111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40" name="Rechte verbindingslijn 39">
                <a:extLst>
                  <a:ext uri="{FF2B5EF4-FFF2-40B4-BE49-F238E27FC236}">
                    <a16:creationId xmlns:a16="http://schemas.microsoft.com/office/drawing/2014/main" id="{F3C55515-F56B-4DC5-8E35-7F18535736B9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1" name="Gelijkbenige driehoek 40">
                <a:extLst>
                  <a:ext uri="{FF2B5EF4-FFF2-40B4-BE49-F238E27FC236}">
                    <a16:creationId xmlns:a16="http://schemas.microsoft.com/office/drawing/2014/main" id="{BDF352CD-1AA1-43E9-9AC9-586BFE30485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7" name="Rechte verbindingslijn 26">
              <a:extLst>
                <a:ext uri="{FF2B5EF4-FFF2-40B4-BE49-F238E27FC236}">
                  <a16:creationId xmlns:a16="http://schemas.microsoft.com/office/drawing/2014/main" id="{8DD3AD9A-78D7-4780-868E-1108CFBD2D8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8" name="Tabel icoon">
              <a:extLst>
                <a:ext uri="{FF2B5EF4-FFF2-40B4-BE49-F238E27FC236}">
                  <a16:creationId xmlns:a16="http://schemas.microsoft.com/office/drawing/2014/main" id="{77722F23-9340-4348-BF03-CCA96C179576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7D54DD3-F79F-47C5-AEAE-C764015A5D9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213" noProof="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A23A456A-C5E3-4D8A-B905-AC67661B538C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213" noProof="0"/>
              </a:p>
            </p:txBody>
          </p:sp>
          <p:cxnSp>
            <p:nvCxnSpPr>
              <p:cNvPr id="32" name="Rechte verbindingslijn 31">
                <a:extLst>
                  <a:ext uri="{FF2B5EF4-FFF2-40B4-BE49-F238E27FC236}">
                    <a16:creationId xmlns:a16="http://schemas.microsoft.com/office/drawing/2014/main" id="{C5839E5F-7E96-417B-8E38-C3EE1FE2ACE3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Rechte verbindingslijn 32">
                <a:extLst>
                  <a:ext uri="{FF2B5EF4-FFF2-40B4-BE49-F238E27FC236}">
                    <a16:creationId xmlns:a16="http://schemas.microsoft.com/office/drawing/2014/main" id="{66AFE308-FDE2-4808-9A4E-A2B97233F5E6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Rechte verbindingslijn 33">
                <a:extLst>
                  <a:ext uri="{FF2B5EF4-FFF2-40B4-BE49-F238E27FC236}">
                    <a16:creationId xmlns:a16="http://schemas.microsoft.com/office/drawing/2014/main" id="{C9884DB6-B915-4200-A819-9B011A3A61C9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Rechte verbindingslijn 34">
                <a:extLst>
                  <a:ext uri="{FF2B5EF4-FFF2-40B4-BE49-F238E27FC236}">
                    <a16:creationId xmlns:a16="http://schemas.microsoft.com/office/drawing/2014/main" id="{FE4535EA-8903-4DFD-BDCE-F4237F1865B7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Rechte verbindingslijn 35">
                <a:extLst>
                  <a:ext uri="{FF2B5EF4-FFF2-40B4-BE49-F238E27FC236}">
                    <a16:creationId xmlns:a16="http://schemas.microsoft.com/office/drawing/2014/main" id="{F1635C72-1564-42E5-ACD8-0A7E4491C70B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CDB83B29-3F8A-475E-BF3D-E21565008D00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213" noProof="0"/>
              </a:p>
            </p:txBody>
          </p:sp>
        </p:grpSp>
      </p:grpSp>
      <p:pic>
        <p:nvPicPr>
          <p:cNvPr id="45" name="Afbeelding 44">
            <a:extLst>
              <a:ext uri="{FF2B5EF4-FFF2-40B4-BE49-F238E27FC236}">
                <a16:creationId xmlns:a16="http://schemas.microsoft.com/office/drawing/2014/main" id="{7F985B6B-526C-49E8-AACA-872BB87435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2763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id="{C99B9AD0-B92A-4C48-A52A-FAE4B74811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18" name="Tijdelijke aanduiding voor tekst 14">
            <a:extLst>
              <a:ext uri="{FF2B5EF4-FFF2-40B4-BE49-F238E27FC236}">
                <a16:creationId xmlns:a16="http://schemas.microsoft.com/office/drawing/2014/main" id="{3EAC74E4-7359-43B9-BD46-0CBB8C9D38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21" name="Tijdelijke aanduiding voor voettekst 4">
            <a:extLst>
              <a:ext uri="{FF2B5EF4-FFF2-40B4-BE49-F238E27FC236}">
                <a16:creationId xmlns:a16="http://schemas.microsoft.com/office/drawing/2014/main" id="{A5D9591E-4C98-475E-B8D6-C3C11099BF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22" name="Tijdelijke aanduiding voor dianummer 5">
            <a:extLst>
              <a:ext uri="{FF2B5EF4-FFF2-40B4-BE49-F238E27FC236}">
                <a16:creationId xmlns:a16="http://schemas.microsoft.com/office/drawing/2014/main" id="{943A493B-8731-4825-81F9-F1B852A8C7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8" y="27329718"/>
            <a:ext cx="863059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19" name="Tijdelijke aanduiding voor datum 3">
            <a:extLst>
              <a:ext uri="{FF2B5EF4-FFF2-40B4-BE49-F238E27FC236}">
                <a16:creationId xmlns:a16="http://schemas.microsoft.com/office/drawing/2014/main" id="{7AF0D1FE-8D2B-44E6-B3D5-0C8F9474C79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1F9EDFB3-D3AA-4F39-950A-ED89DC69A420}" type="datetime1">
              <a:rPr lang="nl-NL" noProof="0" smtClean="0"/>
              <a:t>26-6-2023</a:t>
            </a:fld>
            <a:endParaRPr lang="nl-NL" noProof="0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3F7DA627-C135-4D0D-8C88-2B07C2C3B7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0966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rnpunten + Tekstvlak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jdelijke aanduiding voor afbeelding 35">
            <a:extLst>
              <a:ext uri="{FF2B5EF4-FFF2-40B4-BE49-F238E27FC236}">
                <a16:creationId xmlns:a16="http://schemas.microsoft.com/office/drawing/2014/main" id="{DDF59742-AC42-4AAA-9941-6163D1AD1558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1742382" y="8813275"/>
            <a:ext cx="12350590" cy="12648664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881" h="2865200">
                <a:moveTo>
                  <a:pt x="1036" y="89"/>
                </a:moveTo>
                <a:lnTo>
                  <a:pt x="3319663" y="6217"/>
                </a:lnTo>
                <a:cubicBezTo>
                  <a:pt x="3430792" y="6217"/>
                  <a:pt x="3520881" y="73784"/>
                  <a:pt x="3520881" y="157131"/>
                </a:cubicBezTo>
                <a:lnTo>
                  <a:pt x="3520881" y="2714286"/>
                </a:lnTo>
                <a:cubicBezTo>
                  <a:pt x="3520881" y="2797633"/>
                  <a:pt x="3430792" y="2865200"/>
                  <a:pt x="3319663" y="2865200"/>
                </a:cubicBezTo>
                <a:lnTo>
                  <a:pt x="201219" y="2865200"/>
                </a:lnTo>
                <a:cubicBezTo>
                  <a:pt x="90089" y="2865200"/>
                  <a:pt x="0" y="2797633"/>
                  <a:pt x="0" y="2714286"/>
                </a:cubicBezTo>
                <a:lnTo>
                  <a:pt x="0" y="157131"/>
                </a:lnTo>
                <a:cubicBezTo>
                  <a:pt x="0" y="73784"/>
                  <a:pt x="211" y="-2975"/>
                  <a:pt x="1036" y="8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188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7" name="Tijdelijke aanduiding voor afbeelding 36">
            <a:extLst>
              <a:ext uri="{FF2B5EF4-FFF2-40B4-BE49-F238E27FC236}">
                <a16:creationId xmlns:a16="http://schemas.microsoft.com/office/drawing/2014/main" id="{74727CE5-EDB8-480E-B745-73C1373713EB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15265721" y="8813275"/>
            <a:ext cx="12350590" cy="12648664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881" h="2865200">
                <a:moveTo>
                  <a:pt x="1036" y="89"/>
                </a:moveTo>
                <a:lnTo>
                  <a:pt x="3319663" y="6217"/>
                </a:lnTo>
                <a:cubicBezTo>
                  <a:pt x="3430792" y="6217"/>
                  <a:pt x="3520881" y="73784"/>
                  <a:pt x="3520881" y="157131"/>
                </a:cubicBezTo>
                <a:lnTo>
                  <a:pt x="3520881" y="2714286"/>
                </a:lnTo>
                <a:cubicBezTo>
                  <a:pt x="3520881" y="2797633"/>
                  <a:pt x="3430792" y="2865200"/>
                  <a:pt x="3319663" y="2865200"/>
                </a:cubicBezTo>
                <a:lnTo>
                  <a:pt x="201219" y="2865200"/>
                </a:lnTo>
                <a:cubicBezTo>
                  <a:pt x="90089" y="2865200"/>
                  <a:pt x="0" y="2797633"/>
                  <a:pt x="0" y="2714286"/>
                </a:cubicBezTo>
                <a:lnTo>
                  <a:pt x="0" y="157131"/>
                </a:lnTo>
                <a:cubicBezTo>
                  <a:pt x="0" y="73784"/>
                  <a:pt x="211" y="-2975"/>
                  <a:pt x="1036" y="8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188000" anchor="ctr">
            <a:noAutofit/>
          </a:bodyPr>
          <a:lstStyle>
            <a:lvl1pPr marL="0" indent="0" algn="ctr">
              <a:buNone/>
              <a:defRPr lang="nl-NL" sz="4209" b="0" i="1" kern="1200" noProof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8" name="Tijdelijke aanduiding voor afbeelding 37">
            <a:extLst>
              <a:ext uri="{FF2B5EF4-FFF2-40B4-BE49-F238E27FC236}">
                <a16:creationId xmlns:a16="http://schemas.microsoft.com/office/drawing/2014/main" id="{B4DAE761-2905-4370-925B-2CBA8CDD4757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28808926" y="8813275"/>
            <a:ext cx="12350590" cy="12648664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881" h="2865200">
                <a:moveTo>
                  <a:pt x="1036" y="89"/>
                </a:moveTo>
                <a:lnTo>
                  <a:pt x="3319663" y="6217"/>
                </a:lnTo>
                <a:cubicBezTo>
                  <a:pt x="3430792" y="6217"/>
                  <a:pt x="3520881" y="73784"/>
                  <a:pt x="3520881" y="157131"/>
                </a:cubicBezTo>
                <a:lnTo>
                  <a:pt x="3520881" y="2714286"/>
                </a:lnTo>
                <a:cubicBezTo>
                  <a:pt x="3520881" y="2797633"/>
                  <a:pt x="3430792" y="2865200"/>
                  <a:pt x="3319663" y="2865200"/>
                </a:cubicBezTo>
                <a:lnTo>
                  <a:pt x="201219" y="2865200"/>
                </a:lnTo>
                <a:cubicBezTo>
                  <a:pt x="90089" y="2865200"/>
                  <a:pt x="0" y="2797633"/>
                  <a:pt x="0" y="2714286"/>
                </a:cubicBezTo>
                <a:lnTo>
                  <a:pt x="0" y="157131"/>
                </a:lnTo>
                <a:cubicBezTo>
                  <a:pt x="0" y="73784"/>
                  <a:pt x="211" y="-2975"/>
                  <a:pt x="1036" y="8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188000" anchor="ctr">
            <a:noAutofit/>
          </a:bodyPr>
          <a:lstStyle>
            <a:lvl1pPr marL="0" indent="0" algn="ctr"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5" name="Tijdelijke aanduiding voor tekst 5">
            <a:extLst>
              <a:ext uri="{FF2B5EF4-FFF2-40B4-BE49-F238E27FC236}">
                <a16:creationId xmlns:a16="http://schemas.microsoft.com/office/drawing/2014/main" id="{7581CA50-F401-4352-B20E-C61DC891A3E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740476" y="22013647"/>
            <a:ext cx="12352499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6" name="Tijdelijke aanduiding voor tekst 5">
            <a:extLst>
              <a:ext uri="{FF2B5EF4-FFF2-40B4-BE49-F238E27FC236}">
                <a16:creationId xmlns:a16="http://schemas.microsoft.com/office/drawing/2014/main" id="{EE7615E9-55F0-4367-ADAF-BF9E9F9AFF0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265724" y="22013647"/>
            <a:ext cx="12352499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32" name="Tijdelijke aanduiding voor tekst 5">
            <a:extLst>
              <a:ext uri="{FF2B5EF4-FFF2-40B4-BE49-F238E27FC236}">
                <a16:creationId xmlns:a16="http://schemas.microsoft.com/office/drawing/2014/main" id="{1F90D83A-4F8A-4644-B6AA-08EAF0B98A5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8807971" y="22013647"/>
            <a:ext cx="12352499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6644E39-2AF2-4EA0-9C3F-28C89D5A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9" y="27329718"/>
            <a:ext cx="758217" cy="101640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55B2A88A-B7BD-41B1-9FCB-9BE633251ACA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7" name="Tijdelijke aanduiding voor tekst 14">
            <a:extLst>
              <a:ext uri="{FF2B5EF4-FFF2-40B4-BE49-F238E27FC236}">
                <a16:creationId xmlns:a16="http://schemas.microsoft.com/office/drawing/2014/main" id="{A6BF4B27-7FC5-4896-80CE-3BA6119B83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sp>
        <p:nvSpPr>
          <p:cNvPr id="33" name="Tijdelijke aanduiding voor voettekst 4">
            <a:extLst>
              <a:ext uri="{FF2B5EF4-FFF2-40B4-BE49-F238E27FC236}">
                <a16:creationId xmlns:a16="http://schemas.microsoft.com/office/drawing/2014/main" id="{3C7CF4CB-CF25-44A3-95AE-206B86BFD6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29" name="Tijdelijke aanduiding voor datum 3">
            <a:extLst>
              <a:ext uri="{FF2B5EF4-FFF2-40B4-BE49-F238E27FC236}">
                <a16:creationId xmlns:a16="http://schemas.microsoft.com/office/drawing/2014/main" id="{53600F14-A3DB-4812-872D-DFA76F4B6A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2937E998-9E7B-429D-9513-ADEE2CA512AF}" type="datetime1">
              <a:rPr lang="nl-NL" noProof="0" smtClean="0"/>
              <a:t>26-6-2023</a:t>
            </a:fld>
            <a:endParaRPr lang="nl-NL" noProof="0"/>
          </a:p>
        </p:txBody>
      </p:sp>
      <p:grpSp>
        <p:nvGrpSpPr>
          <p:cNvPr id="78" name="Groep 77">
            <a:extLst>
              <a:ext uri="{FF2B5EF4-FFF2-40B4-BE49-F238E27FC236}">
                <a16:creationId xmlns:a16="http://schemas.microsoft.com/office/drawing/2014/main" id="{3AE5AB64-8340-4F51-84F1-0689CC1F0040}"/>
              </a:ext>
            </a:extLst>
          </p:cNvPr>
          <p:cNvGrpSpPr/>
          <p:nvPr userDrawn="1"/>
        </p:nvGrpSpPr>
        <p:grpSpPr>
          <a:xfrm>
            <a:off x="43467414" y="0"/>
            <a:ext cx="13065546" cy="24210246"/>
            <a:chOff x="12391601" y="0"/>
            <a:chExt cx="3724699" cy="5484152"/>
          </a:xfrm>
        </p:grpSpPr>
        <p:sp>
          <p:nvSpPr>
            <p:cNvPr id="79" name="Rechthoek 78">
              <a:extLst>
                <a:ext uri="{FF2B5EF4-FFF2-40B4-BE49-F238E27FC236}">
                  <a16:creationId xmlns:a16="http://schemas.microsoft.com/office/drawing/2014/main" id="{1BC70D0B-A563-4378-A4B9-B7CF753887CA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80" name="Ovaal 79">
              <a:extLst>
                <a:ext uri="{FF2B5EF4-FFF2-40B4-BE49-F238E27FC236}">
                  <a16:creationId xmlns:a16="http://schemas.microsoft.com/office/drawing/2014/main" id="{0958AC26-34C7-4462-86FF-D439EBB0CE17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81" name="Rechte verbindingslijn 80">
              <a:extLst>
                <a:ext uri="{FF2B5EF4-FFF2-40B4-BE49-F238E27FC236}">
                  <a16:creationId xmlns:a16="http://schemas.microsoft.com/office/drawing/2014/main" id="{45D58254-B81E-498A-92DE-FFDDBAC5DB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82" name="Rechte verbindingslijn 81">
              <a:extLst>
                <a:ext uri="{FF2B5EF4-FFF2-40B4-BE49-F238E27FC236}">
                  <a16:creationId xmlns:a16="http://schemas.microsoft.com/office/drawing/2014/main" id="{0D0C6154-8A47-49AD-B9B6-522CBE26F3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7A24331A-A18A-419D-81A5-CC97C29414A5}"/>
                </a:ext>
              </a:extLst>
            </p:cNvPr>
            <p:cNvSpPr/>
            <p:nvPr userDrawn="1"/>
          </p:nvSpPr>
          <p:spPr>
            <a:xfrm>
              <a:off x="12757282" y="432552"/>
              <a:ext cx="335901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fbeelding door deze te selecteren en op 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m een nieuwe afbeelding in te voegen.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84" name="Ovaal 83">
              <a:extLst>
                <a:ext uri="{FF2B5EF4-FFF2-40B4-BE49-F238E27FC236}">
                  <a16:creationId xmlns:a16="http://schemas.microsoft.com/office/drawing/2014/main" id="{22A301B4-A678-49DF-929A-7634AAEFD1E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EA1F09D8-BE0E-4518-AA4D-93C0FDC4260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86" name="Groep 85">
              <a:extLst>
                <a:ext uri="{FF2B5EF4-FFF2-40B4-BE49-F238E27FC236}">
                  <a16:creationId xmlns:a16="http://schemas.microsoft.com/office/drawing/2014/main" id="{C194BC71-105E-4A50-8301-3D3053C327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20" name="Rechthoek 119">
                <a:extLst>
                  <a:ext uri="{FF2B5EF4-FFF2-40B4-BE49-F238E27FC236}">
                    <a16:creationId xmlns:a16="http://schemas.microsoft.com/office/drawing/2014/main" id="{AE8CDF89-F2C4-474C-8F4B-171F0D0F9B34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121" name="Rechte verbindingslijn 120">
                <a:extLst>
                  <a:ext uri="{FF2B5EF4-FFF2-40B4-BE49-F238E27FC236}">
                    <a16:creationId xmlns:a16="http://schemas.microsoft.com/office/drawing/2014/main" id="{1A798482-3FD6-4D86-9D97-A5504AF4F83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22" name="Gelijkbenige driehoek 121">
                <a:extLst>
                  <a:ext uri="{FF2B5EF4-FFF2-40B4-BE49-F238E27FC236}">
                    <a16:creationId xmlns:a16="http://schemas.microsoft.com/office/drawing/2014/main" id="{7289D0F7-422E-47C9-A151-6EAB63C96CFE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7" name="Groep 86">
              <a:extLst>
                <a:ext uri="{FF2B5EF4-FFF2-40B4-BE49-F238E27FC236}">
                  <a16:creationId xmlns:a16="http://schemas.microsoft.com/office/drawing/2014/main" id="{2A4AD7B8-237D-47EB-BB83-30279D27A333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63468371-244E-4198-8913-6C89A2EC83C1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Ovaal 114">
                <a:extLst>
                  <a:ext uri="{FF2B5EF4-FFF2-40B4-BE49-F238E27FC236}">
                    <a16:creationId xmlns:a16="http://schemas.microsoft.com/office/drawing/2014/main" id="{171AA342-EE56-4160-89DE-E1E0AB5F2AD6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Vrije vorm: vorm 115">
                <a:extLst>
                  <a:ext uri="{FF2B5EF4-FFF2-40B4-BE49-F238E27FC236}">
                    <a16:creationId xmlns:a16="http://schemas.microsoft.com/office/drawing/2014/main" id="{0121CB61-CFC1-4060-A943-B92A88D5179B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7" name="Rechthoek: afgeronde hoeken 116">
                <a:extLst>
                  <a:ext uri="{FF2B5EF4-FFF2-40B4-BE49-F238E27FC236}">
                    <a16:creationId xmlns:a16="http://schemas.microsoft.com/office/drawing/2014/main" id="{C84CFF36-08DE-429E-9E10-88E55C6F8783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C889250C-8391-4388-9036-A4EE23D6419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9" name="Rechte verbindingslijn 118">
                <a:extLst>
                  <a:ext uri="{FF2B5EF4-FFF2-40B4-BE49-F238E27FC236}">
                    <a16:creationId xmlns:a16="http://schemas.microsoft.com/office/drawing/2014/main" id="{C7AB0633-436E-4EEA-BC5A-472A9EAC0D36}"/>
                  </a:ext>
                </a:extLst>
              </p:cNvPr>
              <p:cNvCxnSpPr>
                <a:cxnSpLocks/>
                <a:stCxn id="11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grpSp>
          <p:nvGrpSpPr>
            <p:cNvPr id="88" name="Groep 87">
              <a:extLst>
                <a:ext uri="{FF2B5EF4-FFF2-40B4-BE49-F238E27FC236}">
                  <a16:creationId xmlns:a16="http://schemas.microsoft.com/office/drawing/2014/main" id="{EB656A73-9A5C-432C-88B5-410EF50B86C6}"/>
                </a:ext>
              </a:extLst>
            </p:cNvPr>
            <p:cNvGrpSpPr/>
            <p:nvPr userDrawn="1"/>
          </p:nvGrpSpPr>
          <p:grpSpPr>
            <a:xfrm>
              <a:off x="12391601" y="2643684"/>
              <a:ext cx="3183678" cy="2840468"/>
              <a:chOff x="12952763" y="4572241"/>
              <a:chExt cx="3183678" cy="2840468"/>
            </a:xfrm>
          </p:grpSpPr>
          <p:grpSp>
            <p:nvGrpSpPr>
              <p:cNvPr id="89" name="Meer informatie">
                <a:extLst>
                  <a:ext uri="{FF2B5EF4-FFF2-40B4-BE49-F238E27FC236}">
                    <a16:creationId xmlns:a16="http://schemas.microsoft.com/office/drawing/2014/main" id="{6334D062-3D0C-405C-8DA1-89A6823B91EF}"/>
                  </a:ext>
                </a:extLst>
              </p:cNvPr>
              <p:cNvGrpSpPr/>
              <p:nvPr userDrawn="1"/>
            </p:nvGrpSpPr>
            <p:grpSpPr>
              <a:xfrm>
                <a:off x="12957926" y="6629436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1" name="Freeform 101">
                  <a:extLst>
                    <a:ext uri="{FF2B5EF4-FFF2-40B4-BE49-F238E27FC236}">
                      <a16:creationId xmlns:a16="http://schemas.microsoft.com/office/drawing/2014/main" id="{D145E3BC-AEA9-4943-BF41-CCFB4546C70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3859" noProof="0"/>
                </a:p>
              </p:txBody>
            </p:sp>
            <p:sp>
              <p:nvSpPr>
                <p:cNvPr id="112" name="Rechthoek 111">
                  <a:extLst>
                    <a:ext uri="{FF2B5EF4-FFF2-40B4-BE49-F238E27FC236}">
                      <a16:creationId xmlns:a16="http://schemas.microsoft.com/office/drawing/2014/main" id="{C4D0A52E-EB9F-4438-9FCE-8450817B688C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3207489" eaLnBrk="1" fontAlgn="auto" latinLnBrk="0" hangingPunct="1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Meer weten?</a:t>
                  </a:r>
                  <a:b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a naar dia </a:t>
                  </a:r>
                  <a:r>
                    <a:rPr kumimoji="0" lang="nl-NL" sz="3859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´Instructie dia: YouTube links´</a:t>
                  </a: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deze in de diavoorstelling en klik op de gewenste video link.</a:t>
                  </a:r>
                </a:p>
              </p:txBody>
            </p:sp>
            <p:cxnSp>
              <p:nvCxnSpPr>
                <p:cNvPr id="113" name="Rechte verbindingslijn 112">
                  <a:extLst>
                    <a:ext uri="{FF2B5EF4-FFF2-40B4-BE49-F238E27FC236}">
                      <a16:creationId xmlns:a16="http://schemas.microsoft.com/office/drawing/2014/main" id="{28D376CA-5A05-46BD-88F7-81710C38A042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90" name="Rechte verbindingslijn 89">
                <a:extLst>
                  <a:ext uri="{FF2B5EF4-FFF2-40B4-BE49-F238E27FC236}">
                    <a16:creationId xmlns:a16="http://schemas.microsoft.com/office/drawing/2014/main" id="{B5F786BA-3814-4BEF-842E-600E777CC4A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958423" y="651155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91" name="Ovaal 90">
                <a:extLst>
                  <a:ext uri="{FF2B5EF4-FFF2-40B4-BE49-F238E27FC236}">
                    <a16:creationId xmlns:a16="http://schemas.microsoft.com/office/drawing/2014/main" id="{3C3B8FF6-D8CC-493B-9336-25A7E33D170C}"/>
                  </a:ext>
                </a:extLst>
              </p:cNvPr>
              <p:cNvSpPr/>
              <p:nvPr userDrawn="1"/>
            </p:nvSpPr>
            <p:spPr>
              <a:xfrm>
                <a:off x="12952763" y="4690403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320748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92" name="Rechthoek 91">
                <a:extLst>
                  <a:ext uri="{FF2B5EF4-FFF2-40B4-BE49-F238E27FC236}">
                    <a16:creationId xmlns:a16="http://schemas.microsoft.com/office/drawing/2014/main" id="{02EE6908-553D-437B-BF2C-05319F42C140}"/>
                  </a:ext>
                </a:extLst>
              </p:cNvPr>
              <p:cNvSpPr/>
              <p:nvPr userDrawn="1"/>
            </p:nvSpPr>
            <p:spPr>
              <a:xfrm>
                <a:off x="13318445" y="4756466"/>
                <a:ext cx="2817996" cy="887319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Om de afbeelding te schalen of bij te snijden, ga naar de tab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Hulpmiddelen voor afbeeldingen - Opmaak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 en klik op de knop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Bijsnijden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Schaal met de bolletjes de afbeelding en met de hoekjes het afbeeldingskader.</a:t>
                </a:r>
                <a:endPara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93" name="Rechte verbindingslijn 92">
                <a:extLst>
                  <a:ext uri="{FF2B5EF4-FFF2-40B4-BE49-F238E27FC236}">
                    <a16:creationId xmlns:a16="http://schemas.microsoft.com/office/drawing/2014/main" id="{02010F72-E415-4D25-A743-0DEDB755951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958423" y="457224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94" name="Groep 93">
                <a:extLst>
                  <a:ext uri="{FF2B5EF4-FFF2-40B4-BE49-F238E27FC236}">
                    <a16:creationId xmlns:a16="http://schemas.microsoft.com/office/drawing/2014/main" id="{742C7EAD-2D08-47C9-90B2-7FE4C9534365}"/>
                  </a:ext>
                </a:extLst>
              </p:cNvPr>
              <p:cNvGrpSpPr/>
              <p:nvPr userDrawn="1"/>
            </p:nvGrpSpPr>
            <p:grpSpPr>
              <a:xfrm>
                <a:off x="13257676" y="5773610"/>
                <a:ext cx="514284" cy="612917"/>
                <a:chOff x="12682980" y="3403271"/>
                <a:chExt cx="622284" cy="741637"/>
              </a:xfrm>
            </p:grpSpPr>
            <p:grpSp>
              <p:nvGrpSpPr>
                <p:cNvPr id="95" name="Groep 94">
                  <a:extLst>
                    <a:ext uri="{FF2B5EF4-FFF2-40B4-BE49-F238E27FC236}">
                      <a16:creationId xmlns:a16="http://schemas.microsoft.com/office/drawing/2014/main" id="{F52F60B4-8728-40ED-8825-D955BB64F42B}"/>
                    </a:ext>
                  </a:extLst>
                </p:cNvPr>
                <p:cNvGrpSpPr/>
                <p:nvPr userDrawn="1"/>
              </p:nvGrpSpPr>
              <p:grpSpPr>
                <a:xfrm>
                  <a:off x="12771568" y="3403271"/>
                  <a:ext cx="467138" cy="448459"/>
                  <a:chOff x="12782195" y="3403271"/>
                  <a:chExt cx="467138" cy="448459"/>
                </a:xfrm>
              </p:grpSpPr>
              <p:grpSp>
                <p:nvGrpSpPr>
                  <p:cNvPr id="98" name="Groep 97">
                    <a:extLst>
                      <a:ext uri="{FF2B5EF4-FFF2-40B4-BE49-F238E27FC236}">
                        <a16:creationId xmlns:a16="http://schemas.microsoft.com/office/drawing/2014/main" id="{6E6FC6F2-5E18-40DE-B47C-9288761F78A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2782195" y="3403271"/>
                    <a:ext cx="412967" cy="393910"/>
                    <a:chOff x="13554906" y="3320143"/>
                    <a:chExt cx="443906" cy="423422"/>
                  </a:xfrm>
                </p:grpSpPr>
                <p:grpSp>
                  <p:nvGrpSpPr>
                    <p:cNvPr id="105" name="Groep 104">
                      <a:extLst>
                        <a:ext uri="{FF2B5EF4-FFF2-40B4-BE49-F238E27FC236}">
                          <a16:creationId xmlns:a16="http://schemas.microsoft.com/office/drawing/2014/main" id="{B06B6FA3-B875-403E-A3F7-007FB0F146AB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3554906" y="3320143"/>
                      <a:ext cx="443906" cy="423422"/>
                      <a:chOff x="12909684" y="1276177"/>
                      <a:chExt cx="443906" cy="423422"/>
                    </a:xfrm>
                  </p:grpSpPr>
                  <p:sp>
                    <p:nvSpPr>
                      <p:cNvPr id="108" name="Rechthoek 107">
                        <a:extLst>
                          <a:ext uri="{FF2B5EF4-FFF2-40B4-BE49-F238E27FC236}">
                            <a16:creationId xmlns:a16="http://schemas.microsoft.com/office/drawing/2014/main" id="{D0141A93-DD57-4B76-AEF3-78D99093E503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2918700" y="1285299"/>
                        <a:ext cx="434890" cy="414300"/>
                      </a:xfrm>
                      <a:prstGeom prst="rect">
                        <a:avLst/>
                      </a:prstGeom>
                      <a:noFill/>
                      <a:ln w="12700">
                        <a:solidFill>
                          <a:srgbClr val="818181"/>
                        </a:solidFill>
                        <a:prstDash val="dash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2105"/>
                          </a:spcBef>
                          <a:spcAft>
                            <a:spcPts val="2105"/>
                          </a:spcAft>
                        </a:pPr>
                        <a:endParaRPr lang="nl-NL" sz="2806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109" name="Rechthoek 108">
                        <a:extLst>
                          <a:ext uri="{FF2B5EF4-FFF2-40B4-BE49-F238E27FC236}">
                            <a16:creationId xmlns:a16="http://schemas.microsoft.com/office/drawing/2014/main" id="{B53A8AB6-0744-47A7-A8D0-782789A41C7A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2909684" y="1276177"/>
                        <a:ext cx="261629" cy="257808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12700">
                        <a:solidFill>
                          <a:srgbClr val="81818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2105"/>
                          </a:spcBef>
                          <a:spcAft>
                            <a:spcPts val="2105"/>
                          </a:spcAft>
                        </a:pPr>
                        <a:endParaRPr lang="nl-NL" sz="2806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110" name="Ovaal 109">
                        <a:extLst>
                          <a:ext uri="{FF2B5EF4-FFF2-40B4-BE49-F238E27FC236}">
                            <a16:creationId xmlns:a16="http://schemas.microsoft.com/office/drawing/2014/main" id="{75E96358-D170-4997-A079-D02F36BBE562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3069071" y="1308734"/>
                        <a:ext cx="72187" cy="72188"/>
                      </a:xfrm>
                      <a:prstGeom prst="ellipse">
                        <a:avLst/>
                      </a:prstGeom>
                      <a:solidFill>
                        <a:srgbClr val="ECC679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="horz" wrap="square" lIns="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l"/>
                        <a:endParaRPr lang="nl-NL" sz="3509" b="1" noProof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  <p:pic>
                  <p:nvPicPr>
                    <p:cNvPr id="106" name="Afbeelding 105">
                      <a:extLst>
                        <a:ext uri="{FF2B5EF4-FFF2-40B4-BE49-F238E27FC236}">
                          <a16:creationId xmlns:a16="http://schemas.microsoft.com/office/drawing/2014/main" id="{10893C65-CF40-4A9F-92D7-F850D3363D3D}"/>
                        </a:ext>
                      </a:extLst>
                    </p:cNvPr>
                    <p:cNvPicPr>
                      <a:picLocks noChangeAspect="1"/>
                    </p:cNvPicPr>
                    <p:nvPr userDrawn="1"/>
                  </p:nvPicPr>
                  <p:blipFill>
                    <a:blip r:embed="rId2" cstate="screen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3567296" y="3424991"/>
                      <a:ext cx="173367" cy="14022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07" name="Afbeelding 106">
                      <a:extLst>
                        <a:ext uri="{FF2B5EF4-FFF2-40B4-BE49-F238E27FC236}">
                          <a16:creationId xmlns:a16="http://schemas.microsoft.com/office/drawing/2014/main" id="{BCEC5AAD-CE99-4211-9E3E-B7307F594531}"/>
                        </a:ext>
                      </a:extLst>
                    </p:cNvPr>
                    <p:cNvPicPr>
                      <a:picLocks noChangeAspect="1"/>
                    </p:cNvPicPr>
                    <p:nvPr userDrawn="1"/>
                  </p:nvPicPr>
                  <p:blipFill>
                    <a:blip r:embed="rId4" cstate="screen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5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flipH="1">
                      <a:off x="13635598" y="3454393"/>
                      <a:ext cx="173366" cy="111424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99" name="Groep 98">
                    <a:extLst>
                      <a:ext uri="{FF2B5EF4-FFF2-40B4-BE49-F238E27FC236}">
                        <a16:creationId xmlns:a16="http://schemas.microsoft.com/office/drawing/2014/main" id="{9092CF40-E1D8-4C21-A620-52B3E96A965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103513" y="3705278"/>
                    <a:ext cx="145820" cy="146452"/>
                    <a:chOff x="13096169" y="3602288"/>
                    <a:chExt cx="145820" cy="146452"/>
                  </a:xfrm>
                </p:grpSpPr>
                <p:sp>
                  <p:nvSpPr>
                    <p:cNvPr id="103" name="Rechthoek 102">
                      <a:extLst>
                        <a:ext uri="{FF2B5EF4-FFF2-40B4-BE49-F238E27FC236}">
                          <a16:creationId xmlns:a16="http://schemas.microsoft.com/office/drawing/2014/main" id="{87414375-65B8-488E-B7DE-ACB31CA1D1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96169" y="360228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4" name="Rechthoek 103">
                      <a:extLst>
                        <a:ext uri="{FF2B5EF4-FFF2-40B4-BE49-F238E27FC236}">
                          <a16:creationId xmlns:a16="http://schemas.microsoft.com/office/drawing/2014/main" id="{0C94A221-1B33-4598-A023-0B71A6776FC2}"/>
                        </a:ext>
                      </a:extLst>
                    </p:cNvPr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grpSp>
                <p:nvGrpSpPr>
                  <p:cNvPr id="100" name="Groep 99">
                    <a:extLst>
                      <a:ext uri="{FF2B5EF4-FFF2-40B4-BE49-F238E27FC236}">
                        <a16:creationId xmlns:a16="http://schemas.microsoft.com/office/drawing/2014/main" id="{DA9FC4DB-2135-4E21-8294-2BF93B03380C}"/>
                      </a:ext>
                    </a:extLst>
                  </p:cNvPr>
                  <p:cNvGrpSpPr/>
                  <p:nvPr userDrawn="1"/>
                </p:nvGrpSpPr>
                <p:grpSpPr>
                  <a:xfrm rot="10800000">
                    <a:off x="13061402" y="3665668"/>
                    <a:ext cx="145820" cy="146461"/>
                    <a:chOff x="13096169" y="3602248"/>
                    <a:chExt cx="145820" cy="146461"/>
                  </a:xfrm>
                </p:grpSpPr>
                <p:sp>
                  <p:nvSpPr>
                    <p:cNvPr id="101" name="Rechthoek 100">
                      <a:extLst>
                        <a:ext uri="{FF2B5EF4-FFF2-40B4-BE49-F238E27FC236}">
                          <a16:creationId xmlns:a16="http://schemas.microsoft.com/office/drawing/2014/main" id="{D2DAE12E-DD7F-4E8A-8A3A-0B75855949B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96169" y="360224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2" name="Rechthoek 101">
                      <a:extLst>
                        <a:ext uri="{FF2B5EF4-FFF2-40B4-BE49-F238E27FC236}">
                          <a16:creationId xmlns:a16="http://schemas.microsoft.com/office/drawing/2014/main" id="{9621E962-F807-49DB-817C-42F252BEDB79}"/>
                        </a:ext>
                      </a:extLst>
                    </p:cNvPr>
                    <p:cNvSpPr/>
                    <p:nvPr userDrawn="1"/>
                  </p:nvSpPr>
                  <p:spPr>
                    <a:xfrm rot="5400000">
                      <a:off x="13037453" y="3661605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  <p:sp>
              <p:nvSpPr>
                <p:cNvPr id="96" name="Rechthoek 95">
                  <a:extLst>
                    <a:ext uri="{FF2B5EF4-FFF2-40B4-BE49-F238E27FC236}">
                      <a16:creationId xmlns:a16="http://schemas.microsoft.com/office/drawing/2014/main" id="{BD59B386-A0F4-4C1C-9F26-C793A166017C}"/>
                    </a:ext>
                  </a:extLst>
                </p:cNvPr>
                <p:cNvSpPr/>
                <p:nvPr userDrawn="1"/>
              </p:nvSpPr>
              <p:spPr>
                <a:xfrm>
                  <a:off x="12682980" y="3889920"/>
                  <a:ext cx="622284" cy="16117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r>
                    <a:rPr lang="nl-NL" sz="3158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Bijsnijden</a:t>
                  </a:r>
                </a:p>
              </p:txBody>
            </p:sp>
            <p:sp>
              <p:nvSpPr>
                <p:cNvPr id="97" name="Gelijkbenige driehoek 96">
                  <a:extLst>
                    <a:ext uri="{FF2B5EF4-FFF2-40B4-BE49-F238E27FC236}">
                      <a16:creationId xmlns:a16="http://schemas.microsoft.com/office/drawing/2014/main" id="{B61165A8-DBBE-4C5F-A61A-6C05B1E6E1CD}"/>
                    </a:ext>
                  </a:extLst>
                </p:cNvPr>
                <p:cNvSpPr/>
                <p:nvPr userDrawn="1"/>
              </p:nvSpPr>
              <p:spPr>
                <a:xfrm rot="10800000">
                  <a:off x="12950688" y="4093761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136" name="Instructie">
            <a:extLst>
              <a:ext uri="{FF2B5EF4-FFF2-40B4-BE49-F238E27FC236}">
                <a16:creationId xmlns:a16="http://schemas.microsoft.com/office/drawing/2014/main" id="{AE23586F-EDF8-4041-A121-12EE4F3091A7}"/>
              </a:ext>
            </a:extLst>
          </p:cNvPr>
          <p:cNvGrpSpPr/>
          <p:nvPr userDrawn="1"/>
        </p:nvGrpSpPr>
        <p:grpSpPr>
          <a:xfrm>
            <a:off x="-11761540" y="0"/>
            <a:ext cx="11164508" cy="11743958"/>
            <a:chOff x="-3426088" y="4512342"/>
            <a:chExt cx="3182755" cy="2660264"/>
          </a:xfrm>
        </p:grpSpPr>
        <p:sp>
          <p:nvSpPr>
            <p:cNvPr id="137" name="Rechthoek 127">
              <a:extLst>
                <a:ext uri="{FF2B5EF4-FFF2-40B4-BE49-F238E27FC236}">
                  <a16:creationId xmlns:a16="http://schemas.microsoft.com/office/drawing/2014/main" id="{86334EF9-7762-4B48-A926-74C6227815F9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138" name="Rechte verbindingslijn 128">
              <a:extLst>
                <a:ext uri="{FF2B5EF4-FFF2-40B4-BE49-F238E27FC236}">
                  <a16:creationId xmlns:a16="http://schemas.microsoft.com/office/drawing/2014/main" id="{9D646A08-9F80-4BF1-AAC1-7B7C40C1367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39" name="Rechthoek 130">
              <a:extLst>
                <a:ext uri="{FF2B5EF4-FFF2-40B4-BE49-F238E27FC236}">
                  <a16:creationId xmlns:a16="http://schemas.microsoft.com/office/drawing/2014/main" id="{6622125B-9088-4607-ABB0-3AB956BFF3CD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140" name="Rechthoek 133">
              <a:extLst>
                <a:ext uri="{FF2B5EF4-FFF2-40B4-BE49-F238E27FC236}">
                  <a16:creationId xmlns:a16="http://schemas.microsoft.com/office/drawing/2014/main" id="{2BFF82BB-BED7-4DA1-9510-01EA78FE2670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41" name="Rechthoek 136">
              <a:extLst>
                <a:ext uri="{FF2B5EF4-FFF2-40B4-BE49-F238E27FC236}">
                  <a16:creationId xmlns:a16="http://schemas.microsoft.com/office/drawing/2014/main" id="{34C11746-ACE8-498B-84EA-EC6FB41DDBAC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42" name="Rechthoek 139">
              <a:extLst>
                <a:ext uri="{FF2B5EF4-FFF2-40B4-BE49-F238E27FC236}">
                  <a16:creationId xmlns:a16="http://schemas.microsoft.com/office/drawing/2014/main" id="{5F442C93-DF19-4578-AB31-347B80C7DDC3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143" name="Rechte verbindingslijn 140">
              <a:extLst>
                <a:ext uri="{FF2B5EF4-FFF2-40B4-BE49-F238E27FC236}">
                  <a16:creationId xmlns:a16="http://schemas.microsoft.com/office/drawing/2014/main" id="{786C2F4B-C7F5-49D5-A362-CFD43945E9D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67" name="Afbeelding 66">
            <a:extLst>
              <a:ext uri="{FF2B5EF4-FFF2-40B4-BE49-F238E27FC236}">
                <a16:creationId xmlns:a16="http://schemas.microsoft.com/office/drawing/2014/main" id="{ABF56545-77FC-49FE-B0DB-389C796A74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8032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rnpunten + Tekstvlakke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jdelijke aanduiding voor afbeelding 35">
            <a:extLst>
              <a:ext uri="{FF2B5EF4-FFF2-40B4-BE49-F238E27FC236}">
                <a16:creationId xmlns:a16="http://schemas.microsoft.com/office/drawing/2014/main" id="{DDF59742-AC42-4AAA-9941-6163D1AD1558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1742385" y="10288803"/>
            <a:ext cx="8792735" cy="9004942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881" h="2865200">
                <a:moveTo>
                  <a:pt x="1036" y="89"/>
                </a:moveTo>
                <a:lnTo>
                  <a:pt x="3319663" y="6217"/>
                </a:lnTo>
                <a:cubicBezTo>
                  <a:pt x="3430792" y="6217"/>
                  <a:pt x="3520881" y="73784"/>
                  <a:pt x="3520881" y="157131"/>
                </a:cubicBezTo>
                <a:lnTo>
                  <a:pt x="3520881" y="2714286"/>
                </a:lnTo>
                <a:cubicBezTo>
                  <a:pt x="3520881" y="2797633"/>
                  <a:pt x="3430792" y="2865200"/>
                  <a:pt x="3319663" y="2865200"/>
                </a:cubicBezTo>
                <a:lnTo>
                  <a:pt x="201219" y="2865200"/>
                </a:lnTo>
                <a:cubicBezTo>
                  <a:pt x="90089" y="2865200"/>
                  <a:pt x="0" y="2797633"/>
                  <a:pt x="0" y="2714286"/>
                </a:cubicBezTo>
                <a:lnTo>
                  <a:pt x="0" y="157131"/>
                </a:lnTo>
                <a:cubicBezTo>
                  <a:pt x="0" y="73784"/>
                  <a:pt x="211" y="-2975"/>
                  <a:pt x="1036" y="8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188000" anchor="ctr">
            <a:noAutofit/>
          </a:bodyPr>
          <a:lstStyle>
            <a:lvl1pPr marL="0" indent="0" algn="ctr"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7" name="Tijdelijke aanduiding voor afbeelding 36">
            <a:extLst>
              <a:ext uri="{FF2B5EF4-FFF2-40B4-BE49-F238E27FC236}">
                <a16:creationId xmlns:a16="http://schemas.microsoft.com/office/drawing/2014/main" id="{74727CE5-EDB8-480E-B745-73C1373713EB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11892101" y="10288803"/>
            <a:ext cx="8792735" cy="9004942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881" h="2865200">
                <a:moveTo>
                  <a:pt x="1036" y="89"/>
                </a:moveTo>
                <a:lnTo>
                  <a:pt x="3319663" y="6217"/>
                </a:lnTo>
                <a:cubicBezTo>
                  <a:pt x="3430792" y="6217"/>
                  <a:pt x="3520881" y="73784"/>
                  <a:pt x="3520881" y="157131"/>
                </a:cubicBezTo>
                <a:lnTo>
                  <a:pt x="3520881" y="2714286"/>
                </a:lnTo>
                <a:cubicBezTo>
                  <a:pt x="3520881" y="2797633"/>
                  <a:pt x="3430792" y="2865200"/>
                  <a:pt x="3319663" y="2865200"/>
                </a:cubicBezTo>
                <a:lnTo>
                  <a:pt x="201219" y="2865200"/>
                </a:lnTo>
                <a:cubicBezTo>
                  <a:pt x="90089" y="2865200"/>
                  <a:pt x="0" y="2797633"/>
                  <a:pt x="0" y="2714286"/>
                </a:cubicBezTo>
                <a:lnTo>
                  <a:pt x="0" y="157131"/>
                </a:lnTo>
                <a:cubicBezTo>
                  <a:pt x="0" y="73784"/>
                  <a:pt x="211" y="-2975"/>
                  <a:pt x="1036" y="8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188000" anchor="ctr">
            <a:noAutofit/>
          </a:bodyPr>
          <a:lstStyle>
            <a:lvl1pPr marL="0" indent="0" algn="ctr"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8" name="Tijdelijke aanduiding voor afbeelding 37">
            <a:extLst>
              <a:ext uri="{FF2B5EF4-FFF2-40B4-BE49-F238E27FC236}">
                <a16:creationId xmlns:a16="http://schemas.microsoft.com/office/drawing/2014/main" id="{B4DAE761-2905-4370-925B-2CBA8CDD4757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22041817" y="10288803"/>
            <a:ext cx="8792735" cy="9004942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881" h="2865200">
                <a:moveTo>
                  <a:pt x="1036" y="89"/>
                </a:moveTo>
                <a:lnTo>
                  <a:pt x="3319663" y="6217"/>
                </a:lnTo>
                <a:cubicBezTo>
                  <a:pt x="3430792" y="6217"/>
                  <a:pt x="3520881" y="73784"/>
                  <a:pt x="3520881" y="157131"/>
                </a:cubicBezTo>
                <a:lnTo>
                  <a:pt x="3520881" y="2714286"/>
                </a:lnTo>
                <a:cubicBezTo>
                  <a:pt x="3520881" y="2797633"/>
                  <a:pt x="3430792" y="2865200"/>
                  <a:pt x="3319663" y="2865200"/>
                </a:cubicBezTo>
                <a:lnTo>
                  <a:pt x="201219" y="2865200"/>
                </a:lnTo>
                <a:cubicBezTo>
                  <a:pt x="90089" y="2865200"/>
                  <a:pt x="0" y="2797633"/>
                  <a:pt x="0" y="2714286"/>
                </a:cubicBezTo>
                <a:lnTo>
                  <a:pt x="0" y="157131"/>
                </a:lnTo>
                <a:cubicBezTo>
                  <a:pt x="0" y="73784"/>
                  <a:pt x="211" y="-2975"/>
                  <a:pt x="1036" y="8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188000" anchor="ctr">
            <a:noAutofit/>
          </a:bodyPr>
          <a:lstStyle>
            <a:lvl1pPr marL="0" indent="0" algn="ctr"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5" name="Tijdelijke aanduiding voor tekst 5">
            <a:extLst>
              <a:ext uri="{FF2B5EF4-FFF2-40B4-BE49-F238E27FC236}">
                <a16:creationId xmlns:a16="http://schemas.microsoft.com/office/drawing/2014/main" id="{7581CA50-F401-4352-B20E-C61DC891A3E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740479" y="19884610"/>
            <a:ext cx="8792735" cy="1515884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6" name="Tijdelijke aanduiding voor tekst 5">
            <a:extLst>
              <a:ext uri="{FF2B5EF4-FFF2-40B4-BE49-F238E27FC236}">
                <a16:creationId xmlns:a16="http://schemas.microsoft.com/office/drawing/2014/main" id="{EE7615E9-55F0-4367-ADAF-BF9E9F9AFF0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1892101" y="19884610"/>
            <a:ext cx="8792735" cy="1515884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32" name="Tijdelijke aanduiding voor tekst 5">
            <a:extLst>
              <a:ext uri="{FF2B5EF4-FFF2-40B4-BE49-F238E27FC236}">
                <a16:creationId xmlns:a16="http://schemas.microsoft.com/office/drawing/2014/main" id="{1F90D83A-4F8A-4644-B6AA-08EAF0B98A5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2041817" y="19884610"/>
            <a:ext cx="8792735" cy="1515884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grpSp>
        <p:nvGrpSpPr>
          <p:cNvPr id="19" name="GRID" hidden="1"/>
          <p:cNvGrpSpPr/>
          <p:nvPr userDrawn="1"/>
        </p:nvGrpSpPr>
        <p:grpSpPr>
          <a:xfrm>
            <a:off x="5" y="0"/>
            <a:ext cx="42767261" cy="30275213"/>
            <a:chOff x="0" y="0"/>
            <a:chExt cx="12192003" cy="6858000"/>
          </a:xfrm>
        </p:grpSpPr>
        <p:sp>
          <p:nvSpPr>
            <p:cNvPr id="20" name="Rechthoek 19"/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1" name="Rechthoek 20"/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2" name="Rechthoek 21"/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4" name="Rechthoek 23"/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8" name="Rechthoek 27">
              <a:extLst>
                <a:ext uri="{FF2B5EF4-FFF2-40B4-BE49-F238E27FC236}">
                  <a16:creationId xmlns:a16="http://schemas.microsoft.com/office/drawing/2014/main" id="{6BC69531-4B5F-447E-B7A9-2951B17E6FC2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6644E39-2AF2-4EA0-9C3F-28C89D5A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8"/>
            <a:ext cx="707315" cy="101640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7" name="Tijdelijke aanduiding voor tekst 14">
            <a:extLst>
              <a:ext uri="{FF2B5EF4-FFF2-40B4-BE49-F238E27FC236}">
                <a16:creationId xmlns:a16="http://schemas.microsoft.com/office/drawing/2014/main" id="{A6BF4B27-7FC5-4896-80CE-3BA6119B83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sp>
        <p:nvSpPr>
          <p:cNvPr id="33" name="Tijdelijke aanduiding voor voettekst 4">
            <a:extLst>
              <a:ext uri="{FF2B5EF4-FFF2-40B4-BE49-F238E27FC236}">
                <a16:creationId xmlns:a16="http://schemas.microsoft.com/office/drawing/2014/main" id="{3C7CF4CB-CF25-44A3-95AE-206B86BFD6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endParaRPr lang="nl-NL" noProof="0"/>
          </a:p>
        </p:txBody>
      </p:sp>
      <p:sp>
        <p:nvSpPr>
          <p:cNvPr id="29" name="Tijdelijke aanduiding voor datum 3">
            <a:extLst>
              <a:ext uri="{FF2B5EF4-FFF2-40B4-BE49-F238E27FC236}">
                <a16:creationId xmlns:a16="http://schemas.microsoft.com/office/drawing/2014/main" id="{53600F14-A3DB-4812-872D-DFA76F4B6A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endParaRPr lang="nl-NL" noProof="0"/>
          </a:p>
        </p:txBody>
      </p:sp>
      <p:sp>
        <p:nvSpPr>
          <p:cNvPr id="155" name="Tijdelijke aanduiding voor afbeelding 37">
            <a:extLst>
              <a:ext uri="{FF2B5EF4-FFF2-40B4-BE49-F238E27FC236}">
                <a16:creationId xmlns:a16="http://schemas.microsoft.com/office/drawing/2014/main" id="{4B086C57-3BEE-4549-87B3-7562F8DF0AE6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2191528" y="10288803"/>
            <a:ext cx="8792735" cy="9004942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881" h="2865200">
                <a:moveTo>
                  <a:pt x="1036" y="89"/>
                </a:moveTo>
                <a:lnTo>
                  <a:pt x="3319663" y="6217"/>
                </a:lnTo>
                <a:cubicBezTo>
                  <a:pt x="3430792" y="6217"/>
                  <a:pt x="3520881" y="73784"/>
                  <a:pt x="3520881" y="157131"/>
                </a:cubicBezTo>
                <a:lnTo>
                  <a:pt x="3520881" y="2714286"/>
                </a:lnTo>
                <a:cubicBezTo>
                  <a:pt x="3520881" y="2797633"/>
                  <a:pt x="3430792" y="2865200"/>
                  <a:pt x="3319663" y="2865200"/>
                </a:cubicBezTo>
                <a:lnTo>
                  <a:pt x="201219" y="2865200"/>
                </a:lnTo>
                <a:cubicBezTo>
                  <a:pt x="90089" y="2865200"/>
                  <a:pt x="0" y="2797633"/>
                  <a:pt x="0" y="2714286"/>
                </a:cubicBezTo>
                <a:lnTo>
                  <a:pt x="0" y="157131"/>
                </a:lnTo>
                <a:cubicBezTo>
                  <a:pt x="0" y="73784"/>
                  <a:pt x="211" y="-2975"/>
                  <a:pt x="1036" y="8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188000" anchor="ctr">
            <a:noAutofit/>
          </a:bodyPr>
          <a:lstStyle>
            <a:lvl1pPr marL="0" indent="0" algn="ctr"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156" name="Tijdelijke aanduiding voor tekst 5">
            <a:extLst>
              <a:ext uri="{FF2B5EF4-FFF2-40B4-BE49-F238E27FC236}">
                <a16:creationId xmlns:a16="http://schemas.microsoft.com/office/drawing/2014/main" id="{9E15389D-5806-474F-9FEF-A9CFC8A7F10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191528" y="19884610"/>
            <a:ext cx="8792735" cy="1515884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grpSp>
        <p:nvGrpSpPr>
          <p:cNvPr id="23" name="Groep 77">
            <a:extLst>
              <a:ext uri="{FF2B5EF4-FFF2-40B4-BE49-F238E27FC236}">
                <a16:creationId xmlns:a16="http://schemas.microsoft.com/office/drawing/2014/main" id="{0468A530-E655-4CD0-9279-D73BD9964B56}"/>
              </a:ext>
            </a:extLst>
          </p:cNvPr>
          <p:cNvGrpSpPr/>
          <p:nvPr userDrawn="1"/>
        </p:nvGrpSpPr>
        <p:grpSpPr>
          <a:xfrm>
            <a:off x="43467414" y="0"/>
            <a:ext cx="13065546" cy="24210246"/>
            <a:chOff x="12391601" y="0"/>
            <a:chExt cx="3724699" cy="5484152"/>
          </a:xfrm>
        </p:grpSpPr>
        <p:sp>
          <p:nvSpPr>
            <p:cNvPr id="30" name="Rechthoek 78">
              <a:extLst>
                <a:ext uri="{FF2B5EF4-FFF2-40B4-BE49-F238E27FC236}">
                  <a16:creationId xmlns:a16="http://schemas.microsoft.com/office/drawing/2014/main" id="{CB2EF92C-47CE-4B1C-8716-E252AD601198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34" name="Ovaal 79">
              <a:extLst>
                <a:ext uri="{FF2B5EF4-FFF2-40B4-BE49-F238E27FC236}">
                  <a16:creationId xmlns:a16="http://schemas.microsoft.com/office/drawing/2014/main" id="{E64DCE4A-B2F3-40EF-B3AB-99C66418E59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" name="Rechte verbindingslijn 80">
              <a:extLst>
                <a:ext uri="{FF2B5EF4-FFF2-40B4-BE49-F238E27FC236}">
                  <a16:creationId xmlns:a16="http://schemas.microsoft.com/office/drawing/2014/main" id="{6E501F87-2B4D-4305-865A-BAEE2B2BAB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9" name="Rechte verbindingslijn 81">
              <a:extLst>
                <a:ext uri="{FF2B5EF4-FFF2-40B4-BE49-F238E27FC236}">
                  <a16:creationId xmlns:a16="http://schemas.microsoft.com/office/drawing/2014/main" id="{308FF073-FC3F-4D40-869F-C44E3F53890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0" name="Rechthoek 82">
              <a:extLst>
                <a:ext uri="{FF2B5EF4-FFF2-40B4-BE49-F238E27FC236}">
                  <a16:creationId xmlns:a16="http://schemas.microsoft.com/office/drawing/2014/main" id="{4FFC976C-D85D-41A4-975F-E5F2F9BA884F}"/>
                </a:ext>
              </a:extLst>
            </p:cNvPr>
            <p:cNvSpPr/>
            <p:nvPr userDrawn="1"/>
          </p:nvSpPr>
          <p:spPr>
            <a:xfrm>
              <a:off x="12757282" y="432552"/>
              <a:ext cx="335901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fbeelding door deze te selecteren en op 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m een nieuwe afbeelding in te voegen.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1" name="Ovaal 83">
              <a:extLst>
                <a:ext uri="{FF2B5EF4-FFF2-40B4-BE49-F238E27FC236}">
                  <a16:creationId xmlns:a16="http://schemas.microsoft.com/office/drawing/2014/main" id="{42F6A2B0-90FC-43BB-80EE-D59BC5BAA399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2" name="Rechthoek 84">
              <a:extLst>
                <a:ext uri="{FF2B5EF4-FFF2-40B4-BE49-F238E27FC236}">
                  <a16:creationId xmlns:a16="http://schemas.microsoft.com/office/drawing/2014/main" id="{10F8F89D-8788-4126-9EC5-D945BA72531D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3" name="Groep 85">
              <a:extLst>
                <a:ext uri="{FF2B5EF4-FFF2-40B4-BE49-F238E27FC236}">
                  <a16:creationId xmlns:a16="http://schemas.microsoft.com/office/drawing/2014/main" id="{0E013ED8-1A62-4B6A-85D8-E398F2415EB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77" name="Rechthoek 119">
                <a:extLst>
                  <a:ext uri="{FF2B5EF4-FFF2-40B4-BE49-F238E27FC236}">
                    <a16:creationId xmlns:a16="http://schemas.microsoft.com/office/drawing/2014/main" id="{CAD6791F-9DDA-4A28-A37B-25816D2C7BED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78" name="Rechte verbindingslijn 120">
                <a:extLst>
                  <a:ext uri="{FF2B5EF4-FFF2-40B4-BE49-F238E27FC236}">
                    <a16:creationId xmlns:a16="http://schemas.microsoft.com/office/drawing/2014/main" id="{0F2EFEF9-689C-4E65-A9BD-A96F73B337A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79" name="Gelijkbenige driehoek 121">
                <a:extLst>
                  <a:ext uri="{FF2B5EF4-FFF2-40B4-BE49-F238E27FC236}">
                    <a16:creationId xmlns:a16="http://schemas.microsoft.com/office/drawing/2014/main" id="{C81F16C2-653E-4114-839A-E93F04F37D87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44" name="Groep 86">
              <a:extLst>
                <a:ext uri="{FF2B5EF4-FFF2-40B4-BE49-F238E27FC236}">
                  <a16:creationId xmlns:a16="http://schemas.microsoft.com/office/drawing/2014/main" id="{3BB5EC83-5AF4-488B-9938-16CD2B13A485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71" name="Rechthoek 113">
                <a:extLst>
                  <a:ext uri="{FF2B5EF4-FFF2-40B4-BE49-F238E27FC236}">
                    <a16:creationId xmlns:a16="http://schemas.microsoft.com/office/drawing/2014/main" id="{D984611D-AD7C-4050-A672-CD77B8231E14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2" name="Ovaal 114">
                <a:extLst>
                  <a:ext uri="{FF2B5EF4-FFF2-40B4-BE49-F238E27FC236}">
                    <a16:creationId xmlns:a16="http://schemas.microsoft.com/office/drawing/2014/main" id="{2DDD42D3-22F4-4D2B-9167-681EFE0988C4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73" name="Vrije vorm: vorm 115">
                <a:extLst>
                  <a:ext uri="{FF2B5EF4-FFF2-40B4-BE49-F238E27FC236}">
                    <a16:creationId xmlns:a16="http://schemas.microsoft.com/office/drawing/2014/main" id="{2633247A-517D-4A61-932D-CE21137DE44D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74" name="Rechthoek: afgeronde hoeken 116">
                <a:extLst>
                  <a:ext uri="{FF2B5EF4-FFF2-40B4-BE49-F238E27FC236}">
                    <a16:creationId xmlns:a16="http://schemas.microsoft.com/office/drawing/2014/main" id="{934318F6-11A4-4025-AF46-7F2420FA5ED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75" name="Rechte verbindingslijn 117">
                <a:extLst>
                  <a:ext uri="{FF2B5EF4-FFF2-40B4-BE49-F238E27FC236}">
                    <a16:creationId xmlns:a16="http://schemas.microsoft.com/office/drawing/2014/main" id="{959C2DA5-732B-46CF-B312-9907EECEBAC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6" name="Rechte verbindingslijn 118">
                <a:extLst>
                  <a:ext uri="{FF2B5EF4-FFF2-40B4-BE49-F238E27FC236}">
                    <a16:creationId xmlns:a16="http://schemas.microsoft.com/office/drawing/2014/main" id="{7204575F-60DD-419C-AD09-C21157F2811E}"/>
                  </a:ext>
                </a:extLst>
              </p:cNvPr>
              <p:cNvCxnSpPr>
                <a:cxnSpLocks/>
                <a:stCxn id="7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grpSp>
          <p:nvGrpSpPr>
            <p:cNvPr id="45" name="Groep 87">
              <a:extLst>
                <a:ext uri="{FF2B5EF4-FFF2-40B4-BE49-F238E27FC236}">
                  <a16:creationId xmlns:a16="http://schemas.microsoft.com/office/drawing/2014/main" id="{1BDCDCA0-C8B6-423A-B6A4-BE5D008A88C1}"/>
                </a:ext>
              </a:extLst>
            </p:cNvPr>
            <p:cNvGrpSpPr/>
            <p:nvPr userDrawn="1"/>
          </p:nvGrpSpPr>
          <p:grpSpPr>
            <a:xfrm>
              <a:off x="12391601" y="2643684"/>
              <a:ext cx="3183678" cy="2840468"/>
              <a:chOff x="12952763" y="4572241"/>
              <a:chExt cx="3183678" cy="2840468"/>
            </a:xfrm>
          </p:grpSpPr>
          <p:grpSp>
            <p:nvGrpSpPr>
              <p:cNvPr id="46" name="Meer informatie">
                <a:extLst>
                  <a:ext uri="{FF2B5EF4-FFF2-40B4-BE49-F238E27FC236}">
                    <a16:creationId xmlns:a16="http://schemas.microsoft.com/office/drawing/2014/main" id="{EE8D9D7A-12CE-442A-9A5E-9A169076FB52}"/>
                  </a:ext>
                </a:extLst>
              </p:cNvPr>
              <p:cNvGrpSpPr/>
              <p:nvPr userDrawn="1"/>
            </p:nvGrpSpPr>
            <p:grpSpPr>
              <a:xfrm>
                <a:off x="12957926" y="6629436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68" name="Freeform 101">
                  <a:extLst>
                    <a:ext uri="{FF2B5EF4-FFF2-40B4-BE49-F238E27FC236}">
                      <a16:creationId xmlns:a16="http://schemas.microsoft.com/office/drawing/2014/main" id="{885E1488-C4C2-463A-94CE-D3F2769291D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3859" noProof="0"/>
                </a:p>
              </p:txBody>
            </p:sp>
            <p:sp>
              <p:nvSpPr>
                <p:cNvPr id="69" name="Rechthoek 111">
                  <a:extLst>
                    <a:ext uri="{FF2B5EF4-FFF2-40B4-BE49-F238E27FC236}">
                      <a16:creationId xmlns:a16="http://schemas.microsoft.com/office/drawing/2014/main" id="{75557234-A71B-4F6B-A9BB-B9E9BD1AE4A3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3207489" eaLnBrk="1" fontAlgn="auto" latinLnBrk="0" hangingPunct="1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Meer weten?</a:t>
                  </a:r>
                  <a:b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a naar dia </a:t>
                  </a:r>
                  <a:r>
                    <a:rPr kumimoji="0" lang="nl-NL" sz="3859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´Instructie dia: YouTube links´</a:t>
                  </a: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deze in de diavoorstelling en klik op de gewenste video link.</a:t>
                  </a:r>
                </a:p>
              </p:txBody>
            </p:sp>
            <p:cxnSp>
              <p:nvCxnSpPr>
                <p:cNvPr id="70" name="Rechte verbindingslijn 112">
                  <a:extLst>
                    <a:ext uri="{FF2B5EF4-FFF2-40B4-BE49-F238E27FC236}">
                      <a16:creationId xmlns:a16="http://schemas.microsoft.com/office/drawing/2014/main" id="{6F1932C4-9D71-457B-A6BA-9892F3F77D89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47" name="Rechte verbindingslijn 89">
                <a:extLst>
                  <a:ext uri="{FF2B5EF4-FFF2-40B4-BE49-F238E27FC236}">
                    <a16:creationId xmlns:a16="http://schemas.microsoft.com/office/drawing/2014/main" id="{EB176900-69AB-41B9-9BEE-925B239EAE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958423" y="651155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48" name="Ovaal 90">
                <a:extLst>
                  <a:ext uri="{FF2B5EF4-FFF2-40B4-BE49-F238E27FC236}">
                    <a16:creationId xmlns:a16="http://schemas.microsoft.com/office/drawing/2014/main" id="{F0924036-1C20-476C-86C4-DF0762F0BB53}"/>
                  </a:ext>
                </a:extLst>
              </p:cNvPr>
              <p:cNvSpPr/>
              <p:nvPr userDrawn="1"/>
            </p:nvSpPr>
            <p:spPr>
              <a:xfrm>
                <a:off x="12952763" y="4690403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320748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49" name="Rechthoek 91">
                <a:extLst>
                  <a:ext uri="{FF2B5EF4-FFF2-40B4-BE49-F238E27FC236}">
                    <a16:creationId xmlns:a16="http://schemas.microsoft.com/office/drawing/2014/main" id="{B23EBAB0-5449-4C3F-B731-7C013E219477}"/>
                  </a:ext>
                </a:extLst>
              </p:cNvPr>
              <p:cNvSpPr/>
              <p:nvPr userDrawn="1"/>
            </p:nvSpPr>
            <p:spPr>
              <a:xfrm>
                <a:off x="13318445" y="4756466"/>
                <a:ext cx="2817996" cy="887319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Om de afbeelding te schalen of bij te snijden, ga naar de tab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Hulpmiddelen voor afbeeldingen - Opmaak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 en klik op de knop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Bijsnijden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Schaal met de bolletjes de afbeelding en met de hoekjes het afbeeldingskader.</a:t>
                </a:r>
                <a:endPara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50" name="Rechte verbindingslijn 92">
                <a:extLst>
                  <a:ext uri="{FF2B5EF4-FFF2-40B4-BE49-F238E27FC236}">
                    <a16:creationId xmlns:a16="http://schemas.microsoft.com/office/drawing/2014/main" id="{EB445B59-B91B-4EB4-B4CF-9DC1A7F9602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958423" y="457224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51" name="Groep 93">
                <a:extLst>
                  <a:ext uri="{FF2B5EF4-FFF2-40B4-BE49-F238E27FC236}">
                    <a16:creationId xmlns:a16="http://schemas.microsoft.com/office/drawing/2014/main" id="{081846A5-6996-44AF-A2FD-5F3614EB4ACD}"/>
                  </a:ext>
                </a:extLst>
              </p:cNvPr>
              <p:cNvGrpSpPr/>
              <p:nvPr userDrawn="1"/>
            </p:nvGrpSpPr>
            <p:grpSpPr>
              <a:xfrm>
                <a:off x="13257676" y="5773610"/>
                <a:ext cx="514284" cy="612917"/>
                <a:chOff x="12682980" y="3403271"/>
                <a:chExt cx="622284" cy="741637"/>
              </a:xfrm>
            </p:grpSpPr>
            <p:grpSp>
              <p:nvGrpSpPr>
                <p:cNvPr id="52" name="Groep 94">
                  <a:extLst>
                    <a:ext uri="{FF2B5EF4-FFF2-40B4-BE49-F238E27FC236}">
                      <a16:creationId xmlns:a16="http://schemas.microsoft.com/office/drawing/2014/main" id="{1BBE9C95-950A-4E45-82E0-6271D0B4E37A}"/>
                    </a:ext>
                  </a:extLst>
                </p:cNvPr>
                <p:cNvGrpSpPr/>
                <p:nvPr userDrawn="1"/>
              </p:nvGrpSpPr>
              <p:grpSpPr>
                <a:xfrm>
                  <a:off x="12771568" y="3403271"/>
                  <a:ext cx="467138" cy="448459"/>
                  <a:chOff x="12782195" y="3403271"/>
                  <a:chExt cx="467138" cy="448459"/>
                </a:xfrm>
              </p:grpSpPr>
              <p:grpSp>
                <p:nvGrpSpPr>
                  <p:cNvPr id="55" name="Groep 97">
                    <a:extLst>
                      <a:ext uri="{FF2B5EF4-FFF2-40B4-BE49-F238E27FC236}">
                        <a16:creationId xmlns:a16="http://schemas.microsoft.com/office/drawing/2014/main" id="{7AEA0B09-140B-468B-AC61-07FD9B39ECB0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2782195" y="3403271"/>
                    <a:ext cx="412967" cy="393910"/>
                    <a:chOff x="13554906" y="3320143"/>
                    <a:chExt cx="443906" cy="423422"/>
                  </a:xfrm>
                </p:grpSpPr>
                <p:grpSp>
                  <p:nvGrpSpPr>
                    <p:cNvPr id="62" name="Groep 104">
                      <a:extLst>
                        <a:ext uri="{FF2B5EF4-FFF2-40B4-BE49-F238E27FC236}">
                          <a16:creationId xmlns:a16="http://schemas.microsoft.com/office/drawing/2014/main" id="{0354EF40-8196-4104-8A51-CD98155CBEB7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3554906" y="3320143"/>
                      <a:ext cx="443906" cy="423422"/>
                      <a:chOff x="12909684" y="1276177"/>
                      <a:chExt cx="443906" cy="423422"/>
                    </a:xfrm>
                  </p:grpSpPr>
                  <p:sp>
                    <p:nvSpPr>
                      <p:cNvPr id="65" name="Rechthoek 107">
                        <a:extLst>
                          <a:ext uri="{FF2B5EF4-FFF2-40B4-BE49-F238E27FC236}">
                            <a16:creationId xmlns:a16="http://schemas.microsoft.com/office/drawing/2014/main" id="{7621A7A9-FE6A-4BBD-A712-55AE46B42A60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2918700" y="1285299"/>
                        <a:ext cx="434890" cy="414300"/>
                      </a:xfrm>
                      <a:prstGeom prst="rect">
                        <a:avLst/>
                      </a:prstGeom>
                      <a:noFill/>
                      <a:ln w="12700">
                        <a:solidFill>
                          <a:srgbClr val="818181"/>
                        </a:solidFill>
                        <a:prstDash val="dash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2105"/>
                          </a:spcBef>
                          <a:spcAft>
                            <a:spcPts val="2105"/>
                          </a:spcAft>
                        </a:pPr>
                        <a:endParaRPr lang="nl-NL" sz="2806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66" name="Rechthoek 108">
                        <a:extLst>
                          <a:ext uri="{FF2B5EF4-FFF2-40B4-BE49-F238E27FC236}">
                            <a16:creationId xmlns:a16="http://schemas.microsoft.com/office/drawing/2014/main" id="{E9BF3FB5-9508-4AC7-8D70-ACB9EEC81C68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2909684" y="1276177"/>
                        <a:ext cx="261629" cy="257808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12700">
                        <a:solidFill>
                          <a:srgbClr val="81818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2105"/>
                          </a:spcBef>
                          <a:spcAft>
                            <a:spcPts val="2105"/>
                          </a:spcAft>
                        </a:pPr>
                        <a:endParaRPr lang="nl-NL" sz="2806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67" name="Ovaal 109">
                        <a:extLst>
                          <a:ext uri="{FF2B5EF4-FFF2-40B4-BE49-F238E27FC236}">
                            <a16:creationId xmlns:a16="http://schemas.microsoft.com/office/drawing/2014/main" id="{1EDE13F5-A9A3-4675-ACC3-8DBE694D83EF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3069071" y="1308734"/>
                        <a:ext cx="72187" cy="72188"/>
                      </a:xfrm>
                      <a:prstGeom prst="ellipse">
                        <a:avLst/>
                      </a:prstGeom>
                      <a:solidFill>
                        <a:srgbClr val="ECC679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="horz" wrap="square" lIns="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l"/>
                        <a:endParaRPr lang="nl-NL" sz="3509" b="1" noProof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  <p:pic>
                  <p:nvPicPr>
                    <p:cNvPr id="63" name="Afbeelding 105">
                      <a:extLst>
                        <a:ext uri="{FF2B5EF4-FFF2-40B4-BE49-F238E27FC236}">
                          <a16:creationId xmlns:a16="http://schemas.microsoft.com/office/drawing/2014/main" id="{2BB2B0A0-26FD-4422-922E-8256BCEB8A09}"/>
                        </a:ext>
                      </a:extLst>
                    </p:cNvPr>
                    <p:cNvPicPr>
                      <a:picLocks noChangeAspect="1"/>
                    </p:cNvPicPr>
                    <p:nvPr userDrawn="1"/>
                  </p:nvPicPr>
                  <p:blipFill>
                    <a:blip r:embed="rId2" cstate="screen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3567296" y="3424991"/>
                      <a:ext cx="173367" cy="14022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64" name="Afbeelding 106">
                      <a:extLst>
                        <a:ext uri="{FF2B5EF4-FFF2-40B4-BE49-F238E27FC236}">
                          <a16:creationId xmlns:a16="http://schemas.microsoft.com/office/drawing/2014/main" id="{5EA5B6DA-D17B-4A6F-9695-3F6C3FCFAA06}"/>
                        </a:ext>
                      </a:extLst>
                    </p:cNvPr>
                    <p:cNvPicPr>
                      <a:picLocks noChangeAspect="1"/>
                    </p:cNvPicPr>
                    <p:nvPr userDrawn="1"/>
                  </p:nvPicPr>
                  <p:blipFill>
                    <a:blip r:embed="rId4" cstate="screen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5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flipH="1">
                      <a:off x="13635598" y="3454393"/>
                      <a:ext cx="173366" cy="111424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56" name="Groep 98">
                    <a:extLst>
                      <a:ext uri="{FF2B5EF4-FFF2-40B4-BE49-F238E27FC236}">
                        <a16:creationId xmlns:a16="http://schemas.microsoft.com/office/drawing/2014/main" id="{C2700FA0-3DC9-4FB9-86A5-B6413274FA7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103513" y="3705278"/>
                    <a:ext cx="145820" cy="146452"/>
                    <a:chOff x="13096169" y="3602288"/>
                    <a:chExt cx="145820" cy="146452"/>
                  </a:xfrm>
                </p:grpSpPr>
                <p:sp>
                  <p:nvSpPr>
                    <p:cNvPr id="60" name="Rechthoek 102">
                      <a:extLst>
                        <a:ext uri="{FF2B5EF4-FFF2-40B4-BE49-F238E27FC236}">
                          <a16:creationId xmlns:a16="http://schemas.microsoft.com/office/drawing/2014/main" id="{02395FD7-CC1B-402E-BA31-B0749AC11A0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96169" y="360228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1" name="Rechthoek 103">
                      <a:extLst>
                        <a:ext uri="{FF2B5EF4-FFF2-40B4-BE49-F238E27FC236}">
                          <a16:creationId xmlns:a16="http://schemas.microsoft.com/office/drawing/2014/main" id="{D8D86DCD-B10A-4C36-8EEF-39A8008D6B25}"/>
                        </a:ext>
                      </a:extLst>
                    </p:cNvPr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grpSp>
                <p:nvGrpSpPr>
                  <p:cNvPr id="57" name="Groep 99">
                    <a:extLst>
                      <a:ext uri="{FF2B5EF4-FFF2-40B4-BE49-F238E27FC236}">
                        <a16:creationId xmlns:a16="http://schemas.microsoft.com/office/drawing/2014/main" id="{C82629AB-1182-4B1C-B862-48B42F920438}"/>
                      </a:ext>
                    </a:extLst>
                  </p:cNvPr>
                  <p:cNvGrpSpPr/>
                  <p:nvPr userDrawn="1"/>
                </p:nvGrpSpPr>
                <p:grpSpPr>
                  <a:xfrm rot="10800000">
                    <a:off x="13061402" y="3665668"/>
                    <a:ext cx="145820" cy="146461"/>
                    <a:chOff x="13096169" y="3602248"/>
                    <a:chExt cx="145820" cy="146461"/>
                  </a:xfrm>
                </p:grpSpPr>
                <p:sp>
                  <p:nvSpPr>
                    <p:cNvPr id="58" name="Rechthoek 100">
                      <a:extLst>
                        <a:ext uri="{FF2B5EF4-FFF2-40B4-BE49-F238E27FC236}">
                          <a16:creationId xmlns:a16="http://schemas.microsoft.com/office/drawing/2014/main" id="{4C042A34-DC50-40B0-99DE-8A5A1B4920F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96169" y="360224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59" name="Rechthoek 101">
                      <a:extLst>
                        <a:ext uri="{FF2B5EF4-FFF2-40B4-BE49-F238E27FC236}">
                          <a16:creationId xmlns:a16="http://schemas.microsoft.com/office/drawing/2014/main" id="{1DDE9F82-2C0C-4C21-9D1A-913D0051DF45}"/>
                        </a:ext>
                      </a:extLst>
                    </p:cNvPr>
                    <p:cNvSpPr/>
                    <p:nvPr userDrawn="1"/>
                  </p:nvSpPr>
                  <p:spPr>
                    <a:xfrm rot="5400000">
                      <a:off x="13037453" y="3661605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  <p:sp>
              <p:nvSpPr>
                <p:cNvPr id="53" name="Rechthoek 95">
                  <a:extLst>
                    <a:ext uri="{FF2B5EF4-FFF2-40B4-BE49-F238E27FC236}">
                      <a16:creationId xmlns:a16="http://schemas.microsoft.com/office/drawing/2014/main" id="{E6E57F44-B0A2-4528-B0C9-2F6A8F6F7A4D}"/>
                    </a:ext>
                  </a:extLst>
                </p:cNvPr>
                <p:cNvSpPr/>
                <p:nvPr userDrawn="1"/>
              </p:nvSpPr>
              <p:spPr>
                <a:xfrm>
                  <a:off x="12682980" y="3889920"/>
                  <a:ext cx="622284" cy="16117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r>
                    <a:rPr lang="nl-NL" sz="3158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Bijsnijden</a:t>
                  </a:r>
                </a:p>
              </p:txBody>
            </p:sp>
            <p:sp>
              <p:nvSpPr>
                <p:cNvPr id="54" name="Gelijkbenige driehoek 96">
                  <a:extLst>
                    <a:ext uri="{FF2B5EF4-FFF2-40B4-BE49-F238E27FC236}">
                      <a16:creationId xmlns:a16="http://schemas.microsoft.com/office/drawing/2014/main" id="{11B8AC6F-F74A-4A1E-B322-2B5623763CF7}"/>
                    </a:ext>
                  </a:extLst>
                </p:cNvPr>
                <p:cNvSpPr/>
                <p:nvPr userDrawn="1"/>
              </p:nvSpPr>
              <p:spPr>
                <a:xfrm rot="10800000">
                  <a:off x="12950688" y="4093761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pic>
        <p:nvPicPr>
          <p:cNvPr id="80" name="Afbeelding 79">
            <a:extLst>
              <a:ext uri="{FF2B5EF4-FFF2-40B4-BE49-F238E27FC236}">
                <a16:creationId xmlns:a16="http://schemas.microsoft.com/office/drawing/2014/main" id="{6639F2A8-E8F6-4DE3-9FA2-A221B750E3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  <p:grpSp>
        <p:nvGrpSpPr>
          <p:cNvPr id="81" name="Instructie">
            <a:extLst>
              <a:ext uri="{FF2B5EF4-FFF2-40B4-BE49-F238E27FC236}">
                <a16:creationId xmlns:a16="http://schemas.microsoft.com/office/drawing/2014/main" id="{7D0604FF-8B88-4A6C-AE3D-EF159F49580B}"/>
              </a:ext>
            </a:extLst>
          </p:cNvPr>
          <p:cNvGrpSpPr/>
          <p:nvPr userDrawn="1"/>
        </p:nvGrpSpPr>
        <p:grpSpPr>
          <a:xfrm>
            <a:off x="-11761540" y="0"/>
            <a:ext cx="11164508" cy="11743958"/>
            <a:chOff x="-3426088" y="4512342"/>
            <a:chExt cx="3182755" cy="2660264"/>
          </a:xfrm>
        </p:grpSpPr>
        <p:sp>
          <p:nvSpPr>
            <p:cNvPr id="82" name="Rechthoek 127">
              <a:extLst>
                <a:ext uri="{FF2B5EF4-FFF2-40B4-BE49-F238E27FC236}">
                  <a16:creationId xmlns:a16="http://schemas.microsoft.com/office/drawing/2014/main" id="{BF5AAC15-CCCB-403E-A283-66CEE40F0C07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83" name="Rechte verbindingslijn 128">
              <a:extLst>
                <a:ext uri="{FF2B5EF4-FFF2-40B4-BE49-F238E27FC236}">
                  <a16:creationId xmlns:a16="http://schemas.microsoft.com/office/drawing/2014/main" id="{8667BB0D-DE62-447D-9BE0-395814812DD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84" name="Rechthoek 130">
              <a:extLst>
                <a:ext uri="{FF2B5EF4-FFF2-40B4-BE49-F238E27FC236}">
                  <a16:creationId xmlns:a16="http://schemas.microsoft.com/office/drawing/2014/main" id="{00D4CEB4-F52F-4829-AF7E-DE2DF96A2706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85" name="Rechthoek 133">
              <a:extLst>
                <a:ext uri="{FF2B5EF4-FFF2-40B4-BE49-F238E27FC236}">
                  <a16:creationId xmlns:a16="http://schemas.microsoft.com/office/drawing/2014/main" id="{5A1D17C0-9BAE-421A-BF68-3DC91B34E90E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6" name="Rechthoek 136">
              <a:extLst>
                <a:ext uri="{FF2B5EF4-FFF2-40B4-BE49-F238E27FC236}">
                  <a16:creationId xmlns:a16="http://schemas.microsoft.com/office/drawing/2014/main" id="{6B51F6D5-BBA0-4366-B67D-88CCA73266C6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7" name="Rechthoek 139">
              <a:extLst>
                <a:ext uri="{FF2B5EF4-FFF2-40B4-BE49-F238E27FC236}">
                  <a16:creationId xmlns:a16="http://schemas.microsoft.com/office/drawing/2014/main" id="{8B49CDC0-8B02-4340-BC83-610569B95BE3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88" name="Rechte verbindingslijn 140">
              <a:extLst>
                <a:ext uri="{FF2B5EF4-FFF2-40B4-BE49-F238E27FC236}">
                  <a16:creationId xmlns:a16="http://schemas.microsoft.com/office/drawing/2014/main" id="{CF4C8A17-FDC3-46DA-8F4A-21774820140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254782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100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10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10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7" grpId="0" animBg="1"/>
      <p:bldP spid="38" grpId="0" animBg="1"/>
      <p:bldP spid="25" grpId="0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2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2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" grpId="0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2" grpId="0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3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3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5" grpId="0" animBg="1"/>
      <p:bldP spid="156" grpId="0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5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5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rnpunten + Tekstvlakke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jdelijke aanduiding voor afbeelding 35">
            <a:extLst>
              <a:ext uri="{FF2B5EF4-FFF2-40B4-BE49-F238E27FC236}">
                <a16:creationId xmlns:a16="http://schemas.microsoft.com/office/drawing/2014/main" id="{DDF59742-AC42-4AAA-9941-6163D1AD1558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1742383" y="5815907"/>
            <a:ext cx="12350720" cy="6929700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958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82707"/>
              <a:gd name="connsiteX1" fmla="*/ 3386338 w 3520881"/>
              <a:gd name="connsiteY1" fmla="*/ 6216 h 2882707"/>
              <a:gd name="connsiteX2" fmla="*/ 3520881 w 3520881"/>
              <a:gd name="connsiteY2" fmla="*/ 157131 h 2882707"/>
              <a:gd name="connsiteX3" fmla="*/ 3520881 w 3520881"/>
              <a:gd name="connsiteY3" fmla="*/ 2714286 h 2882707"/>
              <a:gd name="connsiteX4" fmla="*/ 3395863 w 3520881"/>
              <a:gd name="connsiteY4" fmla="*/ 2865200 h 2882707"/>
              <a:gd name="connsiteX5" fmla="*/ 125019 w 3520881"/>
              <a:gd name="connsiteY5" fmla="*/ 2882707 h 2882707"/>
              <a:gd name="connsiteX6" fmla="*/ 0 w 3520881"/>
              <a:gd name="connsiteY6" fmla="*/ 2714286 h 2882707"/>
              <a:gd name="connsiteX7" fmla="*/ 0 w 3520881"/>
              <a:gd name="connsiteY7" fmla="*/ 157131 h 2882707"/>
              <a:gd name="connsiteX8" fmla="*/ 1036 w 3520881"/>
              <a:gd name="connsiteY8" fmla="*/ 89 h 2882707"/>
              <a:gd name="connsiteX0" fmla="*/ 1036 w 3522188"/>
              <a:gd name="connsiteY0" fmla="*/ 2627 h 2885245"/>
              <a:gd name="connsiteX1" fmla="*/ 3429201 w 3522188"/>
              <a:gd name="connsiteY1" fmla="*/ 0 h 2885245"/>
              <a:gd name="connsiteX2" fmla="*/ 3520881 w 3522188"/>
              <a:gd name="connsiteY2" fmla="*/ 159669 h 2885245"/>
              <a:gd name="connsiteX3" fmla="*/ 3520881 w 3522188"/>
              <a:gd name="connsiteY3" fmla="*/ 2716824 h 2885245"/>
              <a:gd name="connsiteX4" fmla="*/ 3395863 w 3522188"/>
              <a:gd name="connsiteY4" fmla="*/ 2867738 h 2885245"/>
              <a:gd name="connsiteX5" fmla="*/ 125019 w 3522188"/>
              <a:gd name="connsiteY5" fmla="*/ 2885245 h 2885245"/>
              <a:gd name="connsiteX6" fmla="*/ 0 w 3522188"/>
              <a:gd name="connsiteY6" fmla="*/ 2716824 h 2885245"/>
              <a:gd name="connsiteX7" fmla="*/ 0 w 3522188"/>
              <a:gd name="connsiteY7" fmla="*/ 159669 h 2885245"/>
              <a:gd name="connsiteX8" fmla="*/ 1036 w 3522188"/>
              <a:gd name="connsiteY8" fmla="*/ 2627 h 2885245"/>
              <a:gd name="connsiteX0" fmla="*/ 1036 w 3520918"/>
              <a:gd name="connsiteY0" fmla="*/ 2627 h 2885245"/>
              <a:gd name="connsiteX1" fmla="*/ 3414913 w 3520918"/>
              <a:gd name="connsiteY1" fmla="*/ 0 h 2885245"/>
              <a:gd name="connsiteX2" fmla="*/ 3520881 w 3520918"/>
              <a:gd name="connsiteY2" fmla="*/ 159669 h 2885245"/>
              <a:gd name="connsiteX3" fmla="*/ 3520881 w 3520918"/>
              <a:gd name="connsiteY3" fmla="*/ 2716824 h 2885245"/>
              <a:gd name="connsiteX4" fmla="*/ 3395863 w 3520918"/>
              <a:gd name="connsiteY4" fmla="*/ 2867738 h 2885245"/>
              <a:gd name="connsiteX5" fmla="*/ 125019 w 3520918"/>
              <a:gd name="connsiteY5" fmla="*/ 2885245 h 2885245"/>
              <a:gd name="connsiteX6" fmla="*/ 0 w 3520918"/>
              <a:gd name="connsiteY6" fmla="*/ 2716824 h 2885245"/>
              <a:gd name="connsiteX7" fmla="*/ 0 w 3520918"/>
              <a:gd name="connsiteY7" fmla="*/ 159669 h 2885245"/>
              <a:gd name="connsiteX8" fmla="*/ 1036 w 3520918"/>
              <a:gd name="connsiteY8" fmla="*/ 2627 h 2885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918" h="2885245">
                <a:moveTo>
                  <a:pt x="1036" y="2627"/>
                </a:moveTo>
                <a:lnTo>
                  <a:pt x="3414913" y="0"/>
                </a:lnTo>
                <a:cubicBezTo>
                  <a:pt x="3526042" y="0"/>
                  <a:pt x="3520881" y="76322"/>
                  <a:pt x="3520881" y="159669"/>
                </a:cubicBezTo>
                <a:lnTo>
                  <a:pt x="3520881" y="2716824"/>
                </a:lnTo>
                <a:cubicBezTo>
                  <a:pt x="3520881" y="2800171"/>
                  <a:pt x="3506992" y="2867738"/>
                  <a:pt x="3395863" y="2867738"/>
                </a:cubicBezTo>
                <a:lnTo>
                  <a:pt x="125019" y="2885245"/>
                </a:lnTo>
                <a:cubicBezTo>
                  <a:pt x="13889" y="2885245"/>
                  <a:pt x="0" y="2800171"/>
                  <a:pt x="0" y="2716824"/>
                </a:cubicBezTo>
                <a:lnTo>
                  <a:pt x="0" y="159669"/>
                </a:lnTo>
                <a:cubicBezTo>
                  <a:pt x="0" y="76322"/>
                  <a:pt x="211" y="-437"/>
                  <a:pt x="1036" y="262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972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5" name="Tijdelijke aanduiding voor tekst 5">
            <a:extLst>
              <a:ext uri="{FF2B5EF4-FFF2-40B4-BE49-F238E27FC236}">
                <a16:creationId xmlns:a16="http://schemas.microsoft.com/office/drawing/2014/main" id="{7581CA50-F401-4352-B20E-C61DC891A3E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740476" y="13257591"/>
            <a:ext cx="12352499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6" name="Tijdelijke aanduiding voor tekst 5">
            <a:extLst>
              <a:ext uri="{FF2B5EF4-FFF2-40B4-BE49-F238E27FC236}">
                <a16:creationId xmlns:a16="http://schemas.microsoft.com/office/drawing/2014/main" id="{EE7615E9-55F0-4367-ADAF-BF9E9F9AFF0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265724" y="13257591"/>
            <a:ext cx="12352499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32" name="Tijdelijke aanduiding voor tekst 5">
            <a:extLst>
              <a:ext uri="{FF2B5EF4-FFF2-40B4-BE49-F238E27FC236}">
                <a16:creationId xmlns:a16="http://schemas.microsoft.com/office/drawing/2014/main" id="{1F90D83A-4F8A-4644-B6AA-08EAF0B98A5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8807971" y="13257591"/>
            <a:ext cx="12352499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grpSp>
        <p:nvGrpSpPr>
          <p:cNvPr id="19" name="GRID" hidden="1"/>
          <p:cNvGrpSpPr/>
          <p:nvPr userDrawn="1"/>
        </p:nvGrpSpPr>
        <p:grpSpPr>
          <a:xfrm>
            <a:off x="5" y="0"/>
            <a:ext cx="42767261" cy="30275213"/>
            <a:chOff x="0" y="0"/>
            <a:chExt cx="12192003" cy="6858000"/>
          </a:xfrm>
        </p:grpSpPr>
        <p:sp>
          <p:nvSpPr>
            <p:cNvPr id="20" name="Rechthoek 19"/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1" name="Rechthoek 20"/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2" name="Rechthoek 21"/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4" name="Rechthoek 23"/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8" name="Rechthoek 27">
              <a:extLst>
                <a:ext uri="{FF2B5EF4-FFF2-40B4-BE49-F238E27FC236}">
                  <a16:creationId xmlns:a16="http://schemas.microsoft.com/office/drawing/2014/main" id="{6BC69531-4B5F-447E-B7A9-2951B17E6FC2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6644E39-2AF2-4EA0-9C3F-28C89D5A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8"/>
            <a:ext cx="707315" cy="101640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7" name="Tijdelijke aanduiding voor tekst 14">
            <a:extLst>
              <a:ext uri="{FF2B5EF4-FFF2-40B4-BE49-F238E27FC236}">
                <a16:creationId xmlns:a16="http://schemas.microsoft.com/office/drawing/2014/main" id="{A6BF4B27-7FC5-4896-80CE-3BA6119B83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sp>
        <p:nvSpPr>
          <p:cNvPr id="33" name="Tijdelijke aanduiding voor voettekst 4">
            <a:extLst>
              <a:ext uri="{FF2B5EF4-FFF2-40B4-BE49-F238E27FC236}">
                <a16:creationId xmlns:a16="http://schemas.microsoft.com/office/drawing/2014/main" id="{3C7CF4CB-CF25-44A3-95AE-206B86BFD6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endParaRPr lang="nl-NL" noProof="0"/>
          </a:p>
        </p:txBody>
      </p:sp>
      <p:sp>
        <p:nvSpPr>
          <p:cNvPr id="29" name="Tijdelijke aanduiding voor datum 3">
            <a:extLst>
              <a:ext uri="{FF2B5EF4-FFF2-40B4-BE49-F238E27FC236}">
                <a16:creationId xmlns:a16="http://schemas.microsoft.com/office/drawing/2014/main" id="{53600F14-A3DB-4812-872D-DFA76F4B6A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endParaRPr lang="nl-NL" noProof="0"/>
          </a:p>
        </p:txBody>
      </p:sp>
      <p:sp>
        <p:nvSpPr>
          <p:cNvPr id="170" name="Tijdelijke aanduiding voor tekst 5">
            <a:extLst>
              <a:ext uri="{FF2B5EF4-FFF2-40B4-BE49-F238E27FC236}">
                <a16:creationId xmlns:a16="http://schemas.microsoft.com/office/drawing/2014/main" id="{3F0188AC-8892-4C7B-8E2B-B715F4DDB33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740476" y="24130217"/>
            <a:ext cx="12352499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71" name="Tijdelijke aanduiding voor tekst 5">
            <a:extLst>
              <a:ext uri="{FF2B5EF4-FFF2-40B4-BE49-F238E27FC236}">
                <a16:creationId xmlns:a16="http://schemas.microsoft.com/office/drawing/2014/main" id="{BCD28633-05C1-4036-ACD0-8B909BE0A8A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5265724" y="24130217"/>
            <a:ext cx="12352499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72" name="Tijdelijke aanduiding voor tekst 5">
            <a:extLst>
              <a:ext uri="{FF2B5EF4-FFF2-40B4-BE49-F238E27FC236}">
                <a16:creationId xmlns:a16="http://schemas.microsoft.com/office/drawing/2014/main" id="{FFCDB378-C3AB-408C-9AD4-E299B638AF03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8807971" y="24130217"/>
            <a:ext cx="12352499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73" name="Tijdelijke aanduiding voor afbeelding 35">
            <a:extLst>
              <a:ext uri="{FF2B5EF4-FFF2-40B4-BE49-F238E27FC236}">
                <a16:creationId xmlns:a16="http://schemas.microsoft.com/office/drawing/2014/main" id="{CEF46CD6-D59A-4DA6-83B8-A8A76F0275F7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5267499" y="5815907"/>
            <a:ext cx="12350720" cy="6929700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958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82707"/>
              <a:gd name="connsiteX1" fmla="*/ 3386338 w 3520881"/>
              <a:gd name="connsiteY1" fmla="*/ 6216 h 2882707"/>
              <a:gd name="connsiteX2" fmla="*/ 3520881 w 3520881"/>
              <a:gd name="connsiteY2" fmla="*/ 157131 h 2882707"/>
              <a:gd name="connsiteX3" fmla="*/ 3520881 w 3520881"/>
              <a:gd name="connsiteY3" fmla="*/ 2714286 h 2882707"/>
              <a:gd name="connsiteX4" fmla="*/ 3395863 w 3520881"/>
              <a:gd name="connsiteY4" fmla="*/ 2865200 h 2882707"/>
              <a:gd name="connsiteX5" fmla="*/ 125019 w 3520881"/>
              <a:gd name="connsiteY5" fmla="*/ 2882707 h 2882707"/>
              <a:gd name="connsiteX6" fmla="*/ 0 w 3520881"/>
              <a:gd name="connsiteY6" fmla="*/ 2714286 h 2882707"/>
              <a:gd name="connsiteX7" fmla="*/ 0 w 3520881"/>
              <a:gd name="connsiteY7" fmla="*/ 157131 h 2882707"/>
              <a:gd name="connsiteX8" fmla="*/ 1036 w 3520881"/>
              <a:gd name="connsiteY8" fmla="*/ 89 h 2882707"/>
              <a:gd name="connsiteX0" fmla="*/ 1036 w 3522188"/>
              <a:gd name="connsiteY0" fmla="*/ 2627 h 2885245"/>
              <a:gd name="connsiteX1" fmla="*/ 3429201 w 3522188"/>
              <a:gd name="connsiteY1" fmla="*/ 0 h 2885245"/>
              <a:gd name="connsiteX2" fmla="*/ 3520881 w 3522188"/>
              <a:gd name="connsiteY2" fmla="*/ 159669 h 2885245"/>
              <a:gd name="connsiteX3" fmla="*/ 3520881 w 3522188"/>
              <a:gd name="connsiteY3" fmla="*/ 2716824 h 2885245"/>
              <a:gd name="connsiteX4" fmla="*/ 3395863 w 3522188"/>
              <a:gd name="connsiteY4" fmla="*/ 2867738 h 2885245"/>
              <a:gd name="connsiteX5" fmla="*/ 125019 w 3522188"/>
              <a:gd name="connsiteY5" fmla="*/ 2885245 h 2885245"/>
              <a:gd name="connsiteX6" fmla="*/ 0 w 3522188"/>
              <a:gd name="connsiteY6" fmla="*/ 2716824 h 2885245"/>
              <a:gd name="connsiteX7" fmla="*/ 0 w 3522188"/>
              <a:gd name="connsiteY7" fmla="*/ 159669 h 2885245"/>
              <a:gd name="connsiteX8" fmla="*/ 1036 w 3522188"/>
              <a:gd name="connsiteY8" fmla="*/ 2627 h 2885245"/>
              <a:gd name="connsiteX0" fmla="*/ 1036 w 3520918"/>
              <a:gd name="connsiteY0" fmla="*/ 2627 h 2885245"/>
              <a:gd name="connsiteX1" fmla="*/ 3414913 w 3520918"/>
              <a:gd name="connsiteY1" fmla="*/ 0 h 2885245"/>
              <a:gd name="connsiteX2" fmla="*/ 3520881 w 3520918"/>
              <a:gd name="connsiteY2" fmla="*/ 159669 h 2885245"/>
              <a:gd name="connsiteX3" fmla="*/ 3520881 w 3520918"/>
              <a:gd name="connsiteY3" fmla="*/ 2716824 h 2885245"/>
              <a:gd name="connsiteX4" fmla="*/ 3395863 w 3520918"/>
              <a:gd name="connsiteY4" fmla="*/ 2867738 h 2885245"/>
              <a:gd name="connsiteX5" fmla="*/ 125019 w 3520918"/>
              <a:gd name="connsiteY5" fmla="*/ 2885245 h 2885245"/>
              <a:gd name="connsiteX6" fmla="*/ 0 w 3520918"/>
              <a:gd name="connsiteY6" fmla="*/ 2716824 h 2885245"/>
              <a:gd name="connsiteX7" fmla="*/ 0 w 3520918"/>
              <a:gd name="connsiteY7" fmla="*/ 159669 h 2885245"/>
              <a:gd name="connsiteX8" fmla="*/ 1036 w 3520918"/>
              <a:gd name="connsiteY8" fmla="*/ 2627 h 2885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918" h="2885245">
                <a:moveTo>
                  <a:pt x="1036" y="2627"/>
                </a:moveTo>
                <a:lnTo>
                  <a:pt x="3414913" y="0"/>
                </a:lnTo>
                <a:cubicBezTo>
                  <a:pt x="3526042" y="0"/>
                  <a:pt x="3520881" y="76322"/>
                  <a:pt x="3520881" y="159669"/>
                </a:cubicBezTo>
                <a:lnTo>
                  <a:pt x="3520881" y="2716824"/>
                </a:lnTo>
                <a:cubicBezTo>
                  <a:pt x="3520881" y="2800171"/>
                  <a:pt x="3506992" y="2867738"/>
                  <a:pt x="3395863" y="2867738"/>
                </a:cubicBezTo>
                <a:lnTo>
                  <a:pt x="125019" y="2885245"/>
                </a:lnTo>
                <a:cubicBezTo>
                  <a:pt x="13889" y="2885245"/>
                  <a:pt x="0" y="2800171"/>
                  <a:pt x="0" y="2716824"/>
                </a:cubicBezTo>
                <a:lnTo>
                  <a:pt x="0" y="159669"/>
                </a:lnTo>
                <a:cubicBezTo>
                  <a:pt x="0" y="76322"/>
                  <a:pt x="211" y="-437"/>
                  <a:pt x="1036" y="262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972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174" name="Tijdelijke aanduiding voor afbeelding 35">
            <a:extLst>
              <a:ext uri="{FF2B5EF4-FFF2-40B4-BE49-F238E27FC236}">
                <a16:creationId xmlns:a16="http://schemas.microsoft.com/office/drawing/2014/main" id="{F620ACD4-13AF-4B66-AAF5-56B1F26AF5D4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28809745" y="5815907"/>
            <a:ext cx="12350720" cy="6929700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958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82707"/>
              <a:gd name="connsiteX1" fmla="*/ 3386338 w 3520881"/>
              <a:gd name="connsiteY1" fmla="*/ 6216 h 2882707"/>
              <a:gd name="connsiteX2" fmla="*/ 3520881 w 3520881"/>
              <a:gd name="connsiteY2" fmla="*/ 157131 h 2882707"/>
              <a:gd name="connsiteX3" fmla="*/ 3520881 w 3520881"/>
              <a:gd name="connsiteY3" fmla="*/ 2714286 h 2882707"/>
              <a:gd name="connsiteX4" fmla="*/ 3395863 w 3520881"/>
              <a:gd name="connsiteY4" fmla="*/ 2865200 h 2882707"/>
              <a:gd name="connsiteX5" fmla="*/ 125019 w 3520881"/>
              <a:gd name="connsiteY5" fmla="*/ 2882707 h 2882707"/>
              <a:gd name="connsiteX6" fmla="*/ 0 w 3520881"/>
              <a:gd name="connsiteY6" fmla="*/ 2714286 h 2882707"/>
              <a:gd name="connsiteX7" fmla="*/ 0 w 3520881"/>
              <a:gd name="connsiteY7" fmla="*/ 157131 h 2882707"/>
              <a:gd name="connsiteX8" fmla="*/ 1036 w 3520881"/>
              <a:gd name="connsiteY8" fmla="*/ 89 h 2882707"/>
              <a:gd name="connsiteX0" fmla="*/ 1036 w 3522188"/>
              <a:gd name="connsiteY0" fmla="*/ 2627 h 2885245"/>
              <a:gd name="connsiteX1" fmla="*/ 3429201 w 3522188"/>
              <a:gd name="connsiteY1" fmla="*/ 0 h 2885245"/>
              <a:gd name="connsiteX2" fmla="*/ 3520881 w 3522188"/>
              <a:gd name="connsiteY2" fmla="*/ 159669 h 2885245"/>
              <a:gd name="connsiteX3" fmla="*/ 3520881 w 3522188"/>
              <a:gd name="connsiteY3" fmla="*/ 2716824 h 2885245"/>
              <a:gd name="connsiteX4" fmla="*/ 3395863 w 3522188"/>
              <a:gd name="connsiteY4" fmla="*/ 2867738 h 2885245"/>
              <a:gd name="connsiteX5" fmla="*/ 125019 w 3522188"/>
              <a:gd name="connsiteY5" fmla="*/ 2885245 h 2885245"/>
              <a:gd name="connsiteX6" fmla="*/ 0 w 3522188"/>
              <a:gd name="connsiteY6" fmla="*/ 2716824 h 2885245"/>
              <a:gd name="connsiteX7" fmla="*/ 0 w 3522188"/>
              <a:gd name="connsiteY7" fmla="*/ 159669 h 2885245"/>
              <a:gd name="connsiteX8" fmla="*/ 1036 w 3522188"/>
              <a:gd name="connsiteY8" fmla="*/ 2627 h 2885245"/>
              <a:gd name="connsiteX0" fmla="*/ 1036 w 3520918"/>
              <a:gd name="connsiteY0" fmla="*/ 2627 h 2885245"/>
              <a:gd name="connsiteX1" fmla="*/ 3414913 w 3520918"/>
              <a:gd name="connsiteY1" fmla="*/ 0 h 2885245"/>
              <a:gd name="connsiteX2" fmla="*/ 3520881 w 3520918"/>
              <a:gd name="connsiteY2" fmla="*/ 159669 h 2885245"/>
              <a:gd name="connsiteX3" fmla="*/ 3520881 w 3520918"/>
              <a:gd name="connsiteY3" fmla="*/ 2716824 h 2885245"/>
              <a:gd name="connsiteX4" fmla="*/ 3395863 w 3520918"/>
              <a:gd name="connsiteY4" fmla="*/ 2867738 h 2885245"/>
              <a:gd name="connsiteX5" fmla="*/ 125019 w 3520918"/>
              <a:gd name="connsiteY5" fmla="*/ 2885245 h 2885245"/>
              <a:gd name="connsiteX6" fmla="*/ 0 w 3520918"/>
              <a:gd name="connsiteY6" fmla="*/ 2716824 h 2885245"/>
              <a:gd name="connsiteX7" fmla="*/ 0 w 3520918"/>
              <a:gd name="connsiteY7" fmla="*/ 159669 h 2885245"/>
              <a:gd name="connsiteX8" fmla="*/ 1036 w 3520918"/>
              <a:gd name="connsiteY8" fmla="*/ 2627 h 2885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918" h="2885245">
                <a:moveTo>
                  <a:pt x="1036" y="2627"/>
                </a:moveTo>
                <a:lnTo>
                  <a:pt x="3414913" y="0"/>
                </a:lnTo>
                <a:cubicBezTo>
                  <a:pt x="3526042" y="0"/>
                  <a:pt x="3520881" y="76322"/>
                  <a:pt x="3520881" y="159669"/>
                </a:cubicBezTo>
                <a:lnTo>
                  <a:pt x="3520881" y="2716824"/>
                </a:lnTo>
                <a:cubicBezTo>
                  <a:pt x="3520881" y="2800171"/>
                  <a:pt x="3506992" y="2867738"/>
                  <a:pt x="3395863" y="2867738"/>
                </a:cubicBezTo>
                <a:lnTo>
                  <a:pt x="125019" y="2885245"/>
                </a:lnTo>
                <a:cubicBezTo>
                  <a:pt x="13889" y="2885245"/>
                  <a:pt x="0" y="2800171"/>
                  <a:pt x="0" y="2716824"/>
                </a:cubicBezTo>
                <a:lnTo>
                  <a:pt x="0" y="159669"/>
                </a:lnTo>
                <a:cubicBezTo>
                  <a:pt x="0" y="76322"/>
                  <a:pt x="211" y="-437"/>
                  <a:pt x="1036" y="262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972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175" name="Tijdelijke aanduiding voor afbeelding 35">
            <a:extLst>
              <a:ext uri="{FF2B5EF4-FFF2-40B4-BE49-F238E27FC236}">
                <a16:creationId xmlns:a16="http://schemas.microsoft.com/office/drawing/2014/main" id="{D24E1274-C596-458A-AA45-713DA34AEAEF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1742383" y="16696707"/>
            <a:ext cx="12350720" cy="6929700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958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82707"/>
              <a:gd name="connsiteX1" fmla="*/ 3386338 w 3520881"/>
              <a:gd name="connsiteY1" fmla="*/ 6216 h 2882707"/>
              <a:gd name="connsiteX2" fmla="*/ 3520881 w 3520881"/>
              <a:gd name="connsiteY2" fmla="*/ 157131 h 2882707"/>
              <a:gd name="connsiteX3" fmla="*/ 3520881 w 3520881"/>
              <a:gd name="connsiteY3" fmla="*/ 2714286 h 2882707"/>
              <a:gd name="connsiteX4" fmla="*/ 3395863 w 3520881"/>
              <a:gd name="connsiteY4" fmla="*/ 2865200 h 2882707"/>
              <a:gd name="connsiteX5" fmla="*/ 125019 w 3520881"/>
              <a:gd name="connsiteY5" fmla="*/ 2882707 h 2882707"/>
              <a:gd name="connsiteX6" fmla="*/ 0 w 3520881"/>
              <a:gd name="connsiteY6" fmla="*/ 2714286 h 2882707"/>
              <a:gd name="connsiteX7" fmla="*/ 0 w 3520881"/>
              <a:gd name="connsiteY7" fmla="*/ 157131 h 2882707"/>
              <a:gd name="connsiteX8" fmla="*/ 1036 w 3520881"/>
              <a:gd name="connsiteY8" fmla="*/ 89 h 2882707"/>
              <a:gd name="connsiteX0" fmla="*/ 1036 w 3522188"/>
              <a:gd name="connsiteY0" fmla="*/ 2627 h 2885245"/>
              <a:gd name="connsiteX1" fmla="*/ 3429201 w 3522188"/>
              <a:gd name="connsiteY1" fmla="*/ 0 h 2885245"/>
              <a:gd name="connsiteX2" fmla="*/ 3520881 w 3522188"/>
              <a:gd name="connsiteY2" fmla="*/ 159669 h 2885245"/>
              <a:gd name="connsiteX3" fmla="*/ 3520881 w 3522188"/>
              <a:gd name="connsiteY3" fmla="*/ 2716824 h 2885245"/>
              <a:gd name="connsiteX4" fmla="*/ 3395863 w 3522188"/>
              <a:gd name="connsiteY4" fmla="*/ 2867738 h 2885245"/>
              <a:gd name="connsiteX5" fmla="*/ 125019 w 3522188"/>
              <a:gd name="connsiteY5" fmla="*/ 2885245 h 2885245"/>
              <a:gd name="connsiteX6" fmla="*/ 0 w 3522188"/>
              <a:gd name="connsiteY6" fmla="*/ 2716824 h 2885245"/>
              <a:gd name="connsiteX7" fmla="*/ 0 w 3522188"/>
              <a:gd name="connsiteY7" fmla="*/ 159669 h 2885245"/>
              <a:gd name="connsiteX8" fmla="*/ 1036 w 3522188"/>
              <a:gd name="connsiteY8" fmla="*/ 2627 h 2885245"/>
              <a:gd name="connsiteX0" fmla="*/ 1036 w 3520918"/>
              <a:gd name="connsiteY0" fmla="*/ 2627 h 2885245"/>
              <a:gd name="connsiteX1" fmla="*/ 3414913 w 3520918"/>
              <a:gd name="connsiteY1" fmla="*/ 0 h 2885245"/>
              <a:gd name="connsiteX2" fmla="*/ 3520881 w 3520918"/>
              <a:gd name="connsiteY2" fmla="*/ 159669 h 2885245"/>
              <a:gd name="connsiteX3" fmla="*/ 3520881 w 3520918"/>
              <a:gd name="connsiteY3" fmla="*/ 2716824 h 2885245"/>
              <a:gd name="connsiteX4" fmla="*/ 3395863 w 3520918"/>
              <a:gd name="connsiteY4" fmla="*/ 2867738 h 2885245"/>
              <a:gd name="connsiteX5" fmla="*/ 125019 w 3520918"/>
              <a:gd name="connsiteY5" fmla="*/ 2885245 h 2885245"/>
              <a:gd name="connsiteX6" fmla="*/ 0 w 3520918"/>
              <a:gd name="connsiteY6" fmla="*/ 2716824 h 2885245"/>
              <a:gd name="connsiteX7" fmla="*/ 0 w 3520918"/>
              <a:gd name="connsiteY7" fmla="*/ 159669 h 2885245"/>
              <a:gd name="connsiteX8" fmla="*/ 1036 w 3520918"/>
              <a:gd name="connsiteY8" fmla="*/ 2627 h 2885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918" h="2885245">
                <a:moveTo>
                  <a:pt x="1036" y="2627"/>
                </a:moveTo>
                <a:lnTo>
                  <a:pt x="3414913" y="0"/>
                </a:lnTo>
                <a:cubicBezTo>
                  <a:pt x="3526042" y="0"/>
                  <a:pt x="3520881" y="76322"/>
                  <a:pt x="3520881" y="159669"/>
                </a:cubicBezTo>
                <a:lnTo>
                  <a:pt x="3520881" y="2716824"/>
                </a:lnTo>
                <a:cubicBezTo>
                  <a:pt x="3520881" y="2800171"/>
                  <a:pt x="3506992" y="2867738"/>
                  <a:pt x="3395863" y="2867738"/>
                </a:cubicBezTo>
                <a:lnTo>
                  <a:pt x="125019" y="2885245"/>
                </a:lnTo>
                <a:cubicBezTo>
                  <a:pt x="13889" y="2885245"/>
                  <a:pt x="0" y="2800171"/>
                  <a:pt x="0" y="2716824"/>
                </a:cubicBezTo>
                <a:lnTo>
                  <a:pt x="0" y="159669"/>
                </a:lnTo>
                <a:cubicBezTo>
                  <a:pt x="0" y="76322"/>
                  <a:pt x="211" y="-437"/>
                  <a:pt x="1036" y="262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972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176" name="Tijdelijke aanduiding voor afbeelding 35">
            <a:extLst>
              <a:ext uri="{FF2B5EF4-FFF2-40B4-BE49-F238E27FC236}">
                <a16:creationId xmlns:a16="http://schemas.microsoft.com/office/drawing/2014/main" id="{936A94BE-D794-43E5-987F-0D0A37508FAA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15267499" y="16696707"/>
            <a:ext cx="12350720" cy="6929700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958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82707"/>
              <a:gd name="connsiteX1" fmla="*/ 3386338 w 3520881"/>
              <a:gd name="connsiteY1" fmla="*/ 6216 h 2882707"/>
              <a:gd name="connsiteX2" fmla="*/ 3520881 w 3520881"/>
              <a:gd name="connsiteY2" fmla="*/ 157131 h 2882707"/>
              <a:gd name="connsiteX3" fmla="*/ 3520881 w 3520881"/>
              <a:gd name="connsiteY3" fmla="*/ 2714286 h 2882707"/>
              <a:gd name="connsiteX4" fmla="*/ 3395863 w 3520881"/>
              <a:gd name="connsiteY4" fmla="*/ 2865200 h 2882707"/>
              <a:gd name="connsiteX5" fmla="*/ 125019 w 3520881"/>
              <a:gd name="connsiteY5" fmla="*/ 2882707 h 2882707"/>
              <a:gd name="connsiteX6" fmla="*/ 0 w 3520881"/>
              <a:gd name="connsiteY6" fmla="*/ 2714286 h 2882707"/>
              <a:gd name="connsiteX7" fmla="*/ 0 w 3520881"/>
              <a:gd name="connsiteY7" fmla="*/ 157131 h 2882707"/>
              <a:gd name="connsiteX8" fmla="*/ 1036 w 3520881"/>
              <a:gd name="connsiteY8" fmla="*/ 89 h 2882707"/>
              <a:gd name="connsiteX0" fmla="*/ 1036 w 3522188"/>
              <a:gd name="connsiteY0" fmla="*/ 2627 h 2885245"/>
              <a:gd name="connsiteX1" fmla="*/ 3429201 w 3522188"/>
              <a:gd name="connsiteY1" fmla="*/ 0 h 2885245"/>
              <a:gd name="connsiteX2" fmla="*/ 3520881 w 3522188"/>
              <a:gd name="connsiteY2" fmla="*/ 159669 h 2885245"/>
              <a:gd name="connsiteX3" fmla="*/ 3520881 w 3522188"/>
              <a:gd name="connsiteY3" fmla="*/ 2716824 h 2885245"/>
              <a:gd name="connsiteX4" fmla="*/ 3395863 w 3522188"/>
              <a:gd name="connsiteY4" fmla="*/ 2867738 h 2885245"/>
              <a:gd name="connsiteX5" fmla="*/ 125019 w 3522188"/>
              <a:gd name="connsiteY5" fmla="*/ 2885245 h 2885245"/>
              <a:gd name="connsiteX6" fmla="*/ 0 w 3522188"/>
              <a:gd name="connsiteY6" fmla="*/ 2716824 h 2885245"/>
              <a:gd name="connsiteX7" fmla="*/ 0 w 3522188"/>
              <a:gd name="connsiteY7" fmla="*/ 159669 h 2885245"/>
              <a:gd name="connsiteX8" fmla="*/ 1036 w 3522188"/>
              <a:gd name="connsiteY8" fmla="*/ 2627 h 2885245"/>
              <a:gd name="connsiteX0" fmla="*/ 1036 w 3520918"/>
              <a:gd name="connsiteY0" fmla="*/ 2627 h 2885245"/>
              <a:gd name="connsiteX1" fmla="*/ 3414913 w 3520918"/>
              <a:gd name="connsiteY1" fmla="*/ 0 h 2885245"/>
              <a:gd name="connsiteX2" fmla="*/ 3520881 w 3520918"/>
              <a:gd name="connsiteY2" fmla="*/ 159669 h 2885245"/>
              <a:gd name="connsiteX3" fmla="*/ 3520881 w 3520918"/>
              <a:gd name="connsiteY3" fmla="*/ 2716824 h 2885245"/>
              <a:gd name="connsiteX4" fmla="*/ 3395863 w 3520918"/>
              <a:gd name="connsiteY4" fmla="*/ 2867738 h 2885245"/>
              <a:gd name="connsiteX5" fmla="*/ 125019 w 3520918"/>
              <a:gd name="connsiteY5" fmla="*/ 2885245 h 2885245"/>
              <a:gd name="connsiteX6" fmla="*/ 0 w 3520918"/>
              <a:gd name="connsiteY6" fmla="*/ 2716824 h 2885245"/>
              <a:gd name="connsiteX7" fmla="*/ 0 w 3520918"/>
              <a:gd name="connsiteY7" fmla="*/ 159669 h 2885245"/>
              <a:gd name="connsiteX8" fmla="*/ 1036 w 3520918"/>
              <a:gd name="connsiteY8" fmla="*/ 2627 h 2885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918" h="2885245">
                <a:moveTo>
                  <a:pt x="1036" y="2627"/>
                </a:moveTo>
                <a:lnTo>
                  <a:pt x="3414913" y="0"/>
                </a:lnTo>
                <a:cubicBezTo>
                  <a:pt x="3526042" y="0"/>
                  <a:pt x="3520881" y="76322"/>
                  <a:pt x="3520881" y="159669"/>
                </a:cubicBezTo>
                <a:lnTo>
                  <a:pt x="3520881" y="2716824"/>
                </a:lnTo>
                <a:cubicBezTo>
                  <a:pt x="3520881" y="2800171"/>
                  <a:pt x="3506992" y="2867738"/>
                  <a:pt x="3395863" y="2867738"/>
                </a:cubicBezTo>
                <a:lnTo>
                  <a:pt x="125019" y="2885245"/>
                </a:lnTo>
                <a:cubicBezTo>
                  <a:pt x="13889" y="2885245"/>
                  <a:pt x="0" y="2800171"/>
                  <a:pt x="0" y="2716824"/>
                </a:cubicBezTo>
                <a:lnTo>
                  <a:pt x="0" y="159669"/>
                </a:lnTo>
                <a:cubicBezTo>
                  <a:pt x="0" y="76322"/>
                  <a:pt x="211" y="-437"/>
                  <a:pt x="1036" y="262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972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177" name="Tijdelijke aanduiding voor afbeelding 35">
            <a:extLst>
              <a:ext uri="{FF2B5EF4-FFF2-40B4-BE49-F238E27FC236}">
                <a16:creationId xmlns:a16="http://schemas.microsoft.com/office/drawing/2014/main" id="{E5BA7F73-6327-420C-A063-660A2696DB9E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28809745" y="16696707"/>
            <a:ext cx="12350720" cy="6929700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958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82707"/>
              <a:gd name="connsiteX1" fmla="*/ 3386338 w 3520881"/>
              <a:gd name="connsiteY1" fmla="*/ 6216 h 2882707"/>
              <a:gd name="connsiteX2" fmla="*/ 3520881 w 3520881"/>
              <a:gd name="connsiteY2" fmla="*/ 157131 h 2882707"/>
              <a:gd name="connsiteX3" fmla="*/ 3520881 w 3520881"/>
              <a:gd name="connsiteY3" fmla="*/ 2714286 h 2882707"/>
              <a:gd name="connsiteX4" fmla="*/ 3395863 w 3520881"/>
              <a:gd name="connsiteY4" fmla="*/ 2865200 h 2882707"/>
              <a:gd name="connsiteX5" fmla="*/ 125019 w 3520881"/>
              <a:gd name="connsiteY5" fmla="*/ 2882707 h 2882707"/>
              <a:gd name="connsiteX6" fmla="*/ 0 w 3520881"/>
              <a:gd name="connsiteY6" fmla="*/ 2714286 h 2882707"/>
              <a:gd name="connsiteX7" fmla="*/ 0 w 3520881"/>
              <a:gd name="connsiteY7" fmla="*/ 157131 h 2882707"/>
              <a:gd name="connsiteX8" fmla="*/ 1036 w 3520881"/>
              <a:gd name="connsiteY8" fmla="*/ 89 h 2882707"/>
              <a:gd name="connsiteX0" fmla="*/ 1036 w 3522188"/>
              <a:gd name="connsiteY0" fmla="*/ 2627 h 2885245"/>
              <a:gd name="connsiteX1" fmla="*/ 3429201 w 3522188"/>
              <a:gd name="connsiteY1" fmla="*/ 0 h 2885245"/>
              <a:gd name="connsiteX2" fmla="*/ 3520881 w 3522188"/>
              <a:gd name="connsiteY2" fmla="*/ 159669 h 2885245"/>
              <a:gd name="connsiteX3" fmla="*/ 3520881 w 3522188"/>
              <a:gd name="connsiteY3" fmla="*/ 2716824 h 2885245"/>
              <a:gd name="connsiteX4" fmla="*/ 3395863 w 3522188"/>
              <a:gd name="connsiteY4" fmla="*/ 2867738 h 2885245"/>
              <a:gd name="connsiteX5" fmla="*/ 125019 w 3522188"/>
              <a:gd name="connsiteY5" fmla="*/ 2885245 h 2885245"/>
              <a:gd name="connsiteX6" fmla="*/ 0 w 3522188"/>
              <a:gd name="connsiteY6" fmla="*/ 2716824 h 2885245"/>
              <a:gd name="connsiteX7" fmla="*/ 0 w 3522188"/>
              <a:gd name="connsiteY7" fmla="*/ 159669 h 2885245"/>
              <a:gd name="connsiteX8" fmla="*/ 1036 w 3522188"/>
              <a:gd name="connsiteY8" fmla="*/ 2627 h 2885245"/>
              <a:gd name="connsiteX0" fmla="*/ 1036 w 3520918"/>
              <a:gd name="connsiteY0" fmla="*/ 2627 h 2885245"/>
              <a:gd name="connsiteX1" fmla="*/ 3414913 w 3520918"/>
              <a:gd name="connsiteY1" fmla="*/ 0 h 2885245"/>
              <a:gd name="connsiteX2" fmla="*/ 3520881 w 3520918"/>
              <a:gd name="connsiteY2" fmla="*/ 159669 h 2885245"/>
              <a:gd name="connsiteX3" fmla="*/ 3520881 w 3520918"/>
              <a:gd name="connsiteY3" fmla="*/ 2716824 h 2885245"/>
              <a:gd name="connsiteX4" fmla="*/ 3395863 w 3520918"/>
              <a:gd name="connsiteY4" fmla="*/ 2867738 h 2885245"/>
              <a:gd name="connsiteX5" fmla="*/ 125019 w 3520918"/>
              <a:gd name="connsiteY5" fmla="*/ 2885245 h 2885245"/>
              <a:gd name="connsiteX6" fmla="*/ 0 w 3520918"/>
              <a:gd name="connsiteY6" fmla="*/ 2716824 h 2885245"/>
              <a:gd name="connsiteX7" fmla="*/ 0 w 3520918"/>
              <a:gd name="connsiteY7" fmla="*/ 159669 h 2885245"/>
              <a:gd name="connsiteX8" fmla="*/ 1036 w 3520918"/>
              <a:gd name="connsiteY8" fmla="*/ 2627 h 2885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918" h="2885245">
                <a:moveTo>
                  <a:pt x="1036" y="2627"/>
                </a:moveTo>
                <a:lnTo>
                  <a:pt x="3414913" y="0"/>
                </a:lnTo>
                <a:cubicBezTo>
                  <a:pt x="3526042" y="0"/>
                  <a:pt x="3520881" y="76322"/>
                  <a:pt x="3520881" y="159669"/>
                </a:cubicBezTo>
                <a:lnTo>
                  <a:pt x="3520881" y="2716824"/>
                </a:lnTo>
                <a:cubicBezTo>
                  <a:pt x="3520881" y="2800171"/>
                  <a:pt x="3506992" y="2867738"/>
                  <a:pt x="3395863" y="2867738"/>
                </a:cubicBezTo>
                <a:lnTo>
                  <a:pt x="125019" y="2885245"/>
                </a:lnTo>
                <a:cubicBezTo>
                  <a:pt x="13889" y="2885245"/>
                  <a:pt x="0" y="2800171"/>
                  <a:pt x="0" y="2716824"/>
                </a:cubicBezTo>
                <a:lnTo>
                  <a:pt x="0" y="159669"/>
                </a:lnTo>
                <a:cubicBezTo>
                  <a:pt x="0" y="76322"/>
                  <a:pt x="211" y="-437"/>
                  <a:pt x="1036" y="262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972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grpSp>
        <p:nvGrpSpPr>
          <p:cNvPr id="30" name="Groep 77">
            <a:extLst>
              <a:ext uri="{FF2B5EF4-FFF2-40B4-BE49-F238E27FC236}">
                <a16:creationId xmlns:a16="http://schemas.microsoft.com/office/drawing/2014/main" id="{7FB7A082-7B56-4D47-8A59-636070D8C349}"/>
              </a:ext>
            </a:extLst>
          </p:cNvPr>
          <p:cNvGrpSpPr/>
          <p:nvPr userDrawn="1"/>
        </p:nvGrpSpPr>
        <p:grpSpPr>
          <a:xfrm>
            <a:off x="43467414" y="0"/>
            <a:ext cx="13065546" cy="24210246"/>
            <a:chOff x="12391601" y="0"/>
            <a:chExt cx="3724699" cy="5484152"/>
          </a:xfrm>
        </p:grpSpPr>
        <p:sp>
          <p:nvSpPr>
            <p:cNvPr id="34" name="Rechthoek 78">
              <a:extLst>
                <a:ext uri="{FF2B5EF4-FFF2-40B4-BE49-F238E27FC236}">
                  <a16:creationId xmlns:a16="http://schemas.microsoft.com/office/drawing/2014/main" id="{A3C6F6A9-8543-4A32-BC78-6E24E5375DCF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35" name="Ovaal 79">
              <a:extLst>
                <a:ext uri="{FF2B5EF4-FFF2-40B4-BE49-F238E27FC236}">
                  <a16:creationId xmlns:a16="http://schemas.microsoft.com/office/drawing/2014/main" id="{5507D03B-F415-4C78-9C38-FC872CF2BDE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" name="Rechte verbindingslijn 80">
              <a:extLst>
                <a:ext uri="{FF2B5EF4-FFF2-40B4-BE49-F238E27FC236}">
                  <a16:creationId xmlns:a16="http://schemas.microsoft.com/office/drawing/2014/main" id="{52FCC001-8172-4459-84D1-B8191107E7D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8" name="Rechte verbindingslijn 81">
              <a:extLst>
                <a:ext uri="{FF2B5EF4-FFF2-40B4-BE49-F238E27FC236}">
                  <a16:creationId xmlns:a16="http://schemas.microsoft.com/office/drawing/2014/main" id="{026E533A-E5BA-4AED-A381-EE7BD56FE5E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9" name="Rechthoek 82">
              <a:extLst>
                <a:ext uri="{FF2B5EF4-FFF2-40B4-BE49-F238E27FC236}">
                  <a16:creationId xmlns:a16="http://schemas.microsoft.com/office/drawing/2014/main" id="{ADA5BF47-17CA-4065-888D-2F787A8089B5}"/>
                </a:ext>
              </a:extLst>
            </p:cNvPr>
            <p:cNvSpPr/>
            <p:nvPr userDrawn="1"/>
          </p:nvSpPr>
          <p:spPr>
            <a:xfrm>
              <a:off x="12757282" y="432552"/>
              <a:ext cx="335901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fbeelding door deze te selecteren en op 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m een nieuwe afbeelding in te voegen.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0" name="Ovaal 83">
              <a:extLst>
                <a:ext uri="{FF2B5EF4-FFF2-40B4-BE49-F238E27FC236}">
                  <a16:creationId xmlns:a16="http://schemas.microsoft.com/office/drawing/2014/main" id="{C43D33E2-DCBF-4B77-95D4-5CFF220A200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1" name="Rechthoek 84">
              <a:extLst>
                <a:ext uri="{FF2B5EF4-FFF2-40B4-BE49-F238E27FC236}">
                  <a16:creationId xmlns:a16="http://schemas.microsoft.com/office/drawing/2014/main" id="{D0A224A0-DE92-4EC3-9892-7883B699A55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2" name="Groep 85">
              <a:extLst>
                <a:ext uri="{FF2B5EF4-FFF2-40B4-BE49-F238E27FC236}">
                  <a16:creationId xmlns:a16="http://schemas.microsoft.com/office/drawing/2014/main" id="{8818E2C1-2871-4A78-875B-1999AA852CEE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76" name="Rechthoek 119">
                <a:extLst>
                  <a:ext uri="{FF2B5EF4-FFF2-40B4-BE49-F238E27FC236}">
                    <a16:creationId xmlns:a16="http://schemas.microsoft.com/office/drawing/2014/main" id="{20E1018B-3072-4865-9261-9D30EA2E972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77" name="Rechte verbindingslijn 120">
                <a:extLst>
                  <a:ext uri="{FF2B5EF4-FFF2-40B4-BE49-F238E27FC236}">
                    <a16:creationId xmlns:a16="http://schemas.microsoft.com/office/drawing/2014/main" id="{0F90AF25-53A8-4E4C-9525-FDCB981D1F1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78" name="Gelijkbenige driehoek 121">
                <a:extLst>
                  <a:ext uri="{FF2B5EF4-FFF2-40B4-BE49-F238E27FC236}">
                    <a16:creationId xmlns:a16="http://schemas.microsoft.com/office/drawing/2014/main" id="{C97633D9-9A61-4B6F-B9C9-1A80D892538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43" name="Groep 86">
              <a:extLst>
                <a:ext uri="{FF2B5EF4-FFF2-40B4-BE49-F238E27FC236}">
                  <a16:creationId xmlns:a16="http://schemas.microsoft.com/office/drawing/2014/main" id="{71DAE5EE-3170-4B58-B062-69C84764C8F5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70" name="Rechthoek 113">
                <a:extLst>
                  <a:ext uri="{FF2B5EF4-FFF2-40B4-BE49-F238E27FC236}">
                    <a16:creationId xmlns:a16="http://schemas.microsoft.com/office/drawing/2014/main" id="{48659AA0-F397-4A27-8EFB-273794EA337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1" name="Ovaal 114">
                <a:extLst>
                  <a:ext uri="{FF2B5EF4-FFF2-40B4-BE49-F238E27FC236}">
                    <a16:creationId xmlns:a16="http://schemas.microsoft.com/office/drawing/2014/main" id="{42760525-FA29-424D-B56A-D41EBB5EDD93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72" name="Vrije vorm: vorm 115">
                <a:extLst>
                  <a:ext uri="{FF2B5EF4-FFF2-40B4-BE49-F238E27FC236}">
                    <a16:creationId xmlns:a16="http://schemas.microsoft.com/office/drawing/2014/main" id="{97A96654-BC05-4498-936A-B700F911B79A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73" name="Rechthoek: afgeronde hoeken 116">
                <a:extLst>
                  <a:ext uri="{FF2B5EF4-FFF2-40B4-BE49-F238E27FC236}">
                    <a16:creationId xmlns:a16="http://schemas.microsoft.com/office/drawing/2014/main" id="{23435A2C-E1C0-413D-9896-476F9970744D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74" name="Rechte verbindingslijn 117">
                <a:extLst>
                  <a:ext uri="{FF2B5EF4-FFF2-40B4-BE49-F238E27FC236}">
                    <a16:creationId xmlns:a16="http://schemas.microsoft.com/office/drawing/2014/main" id="{1FB12761-E5F7-4E84-BCA3-DBB8EAE4246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5" name="Rechte verbindingslijn 118">
                <a:extLst>
                  <a:ext uri="{FF2B5EF4-FFF2-40B4-BE49-F238E27FC236}">
                    <a16:creationId xmlns:a16="http://schemas.microsoft.com/office/drawing/2014/main" id="{4A397193-DCC7-4B0C-8D3C-96E5CD50F370}"/>
                  </a:ext>
                </a:extLst>
              </p:cNvPr>
              <p:cNvCxnSpPr>
                <a:cxnSpLocks/>
                <a:stCxn id="73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grpSp>
          <p:nvGrpSpPr>
            <p:cNvPr id="44" name="Groep 87">
              <a:extLst>
                <a:ext uri="{FF2B5EF4-FFF2-40B4-BE49-F238E27FC236}">
                  <a16:creationId xmlns:a16="http://schemas.microsoft.com/office/drawing/2014/main" id="{3D1C8F19-F1A0-4D7D-979C-AAA8D94EB9AE}"/>
                </a:ext>
              </a:extLst>
            </p:cNvPr>
            <p:cNvGrpSpPr/>
            <p:nvPr userDrawn="1"/>
          </p:nvGrpSpPr>
          <p:grpSpPr>
            <a:xfrm>
              <a:off x="12391601" y="2643684"/>
              <a:ext cx="3183678" cy="2840468"/>
              <a:chOff x="12952763" y="4572241"/>
              <a:chExt cx="3183678" cy="2840468"/>
            </a:xfrm>
          </p:grpSpPr>
          <p:grpSp>
            <p:nvGrpSpPr>
              <p:cNvPr id="45" name="Meer informatie">
                <a:extLst>
                  <a:ext uri="{FF2B5EF4-FFF2-40B4-BE49-F238E27FC236}">
                    <a16:creationId xmlns:a16="http://schemas.microsoft.com/office/drawing/2014/main" id="{C2049CED-EBBF-4C2D-80B8-559C2A7A5721}"/>
                  </a:ext>
                </a:extLst>
              </p:cNvPr>
              <p:cNvGrpSpPr/>
              <p:nvPr userDrawn="1"/>
            </p:nvGrpSpPr>
            <p:grpSpPr>
              <a:xfrm>
                <a:off x="12957926" y="6629436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67" name="Freeform 101">
                  <a:extLst>
                    <a:ext uri="{FF2B5EF4-FFF2-40B4-BE49-F238E27FC236}">
                      <a16:creationId xmlns:a16="http://schemas.microsoft.com/office/drawing/2014/main" id="{671C6C67-1839-45FF-A02D-BFEC7E4151A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3859" noProof="0"/>
                </a:p>
              </p:txBody>
            </p:sp>
            <p:sp>
              <p:nvSpPr>
                <p:cNvPr id="68" name="Rechthoek 111">
                  <a:extLst>
                    <a:ext uri="{FF2B5EF4-FFF2-40B4-BE49-F238E27FC236}">
                      <a16:creationId xmlns:a16="http://schemas.microsoft.com/office/drawing/2014/main" id="{747274C4-B69D-4818-855A-1CFE00B7783F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3207489" eaLnBrk="1" fontAlgn="auto" latinLnBrk="0" hangingPunct="1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Meer weten?</a:t>
                  </a:r>
                  <a:b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a naar dia </a:t>
                  </a:r>
                  <a:r>
                    <a:rPr kumimoji="0" lang="nl-NL" sz="3859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´Instructie dia: YouTube links´</a:t>
                  </a: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deze in de diavoorstelling en klik op de gewenste video link.</a:t>
                  </a:r>
                </a:p>
              </p:txBody>
            </p:sp>
            <p:cxnSp>
              <p:nvCxnSpPr>
                <p:cNvPr id="69" name="Rechte verbindingslijn 112">
                  <a:extLst>
                    <a:ext uri="{FF2B5EF4-FFF2-40B4-BE49-F238E27FC236}">
                      <a16:creationId xmlns:a16="http://schemas.microsoft.com/office/drawing/2014/main" id="{0984CF39-D099-4E5C-B7A9-4FBCD08FD26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46" name="Rechte verbindingslijn 89">
                <a:extLst>
                  <a:ext uri="{FF2B5EF4-FFF2-40B4-BE49-F238E27FC236}">
                    <a16:creationId xmlns:a16="http://schemas.microsoft.com/office/drawing/2014/main" id="{9553DC39-109E-4225-A711-5B670DC1492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958423" y="651155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47" name="Ovaal 90">
                <a:extLst>
                  <a:ext uri="{FF2B5EF4-FFF2-40B4-BE49-F238E27FC236}">
                    <a16:creationId xmlns:a16="http://schemas.microsoft.com/office/drawing/2014/main" id="{3DBA209E-0536-492B-986F-3A861EA6327E}"/>
                  </a:ext>
                </a:extLst>
              </p:cNvPr>
              <p:cNvSpPr/>
              <p:nvPr userDrawn="1"/>
            </p:nvSpPr>
            <p:spPr>
              <a:xfrm>
                <a:off x="12952763" y="4690403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320748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48" name="Rechthoek 91">
                <a:extLst>
                  <a:ext uri="{FF2B5EF4-FFF2-40B4-BE49-F238E27FC236}">
                    <a16:creationId xmlns:a16="http://schemas.microsoft.com/office/drawing/2014/main" id="{3D1B9EDB-BD7D-42E6-B49D-764578988CC5}"/>
                  </a:ext>
                </a:extLst>
              </p:cNvPr>
              <p:cNvSpPr/>
              <p:nvPr userDrawn="1"/>
            </p:nvSpPr>
            <p:spPr>
              <a:xfrm>
                <a:off x="13318445" y="4756466"/>
                <a:ext cx="2817996" cy="887319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Om de afbeelding te schalen of bij te snijden, ga naar de tab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Hulpmiddelen voor afbeeldingen - Opmaak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 en klik op de knop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Bijsnijden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Schaal met de bolletjes de afbeelding en met de hoekjes het afbeeldingskader.</a:t>
                </a:r>
                <a:endPara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49" name="Rechte verbindingslijn 92">
                <a:extLst>
                  <a:ext uri="{FF2B5EF4-FFF2-40B4-BE49-F238E27FC236}">
                    <a16:creationId xmlns:a16="http://schemas.microsoft.com/office/drawing/2014/main" id="{6DF15216-1283-441F-AF58-77D24140812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958423" y="457224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50" name="Groep 93">
                <a:extLst>
                  <a:ext uri="{FF2B5EF4-FFF2-40B4-BE49-F238E27FC236}">
                    <a16:creationId xmlns:a16="http://schemas.microsoft.com/office/drawing/2014/main" id="{D02A907B-7086-4178-8951-0E3990A332D5}"/>
                  </a:ext>
                </a:extLst>
              </p:cNvPr>
              <p:cNvGrpSpPr/>
              <p:nvPr userDrawn="1"/>
            </p:nvGrpSpPr>
            <p:grpSpPr>
              <a:xfrm>
                <a:off x="13257676" y="5773610"/>
                <a:ext cx="514284" cy="612917"/>
                <a:chOff x="12682980" y="3403271"/>
                <a:chExt cx="622284" cy="741637"/>
              </a:xfrm>
            </p:grpSpPr>
            <p:grpSp>
              <p:nvGrpSpPr>
                <p:cNvPr id="51" name="Groep 94">
                  <a:extLst>
                    <a:ext uri="{FF2B5EF4-FFF2-40B4-BE49-F238E27FC236}">
                      <a16:creationId xmlns:a16="http://schemas.microsoft.com/office/drawing/2014/main" id="{C7AB5EB0-8275-48C2-AD2B-43047AD2C3CB}"/>
                    </a:ext>
                  </a:extLst>
                </p:cNvPr>
                <p:cNvGrpSpPr/>
                <p:nvPr userDrawn="1"/>
              </p:nvGrpSpPr>
              <p:grpSpPr>
                <a:xfrm>
                  <a:off x="12771568" y="3403271"/>
                  <a:ext cx="467138" cy="448459"/>
                  <a:chOff x="12782195" y="3403271"/>
                  <a:chExt cx="467138" cy="448459"/>
                </a:xfrm>
              </p:grpSpPr>
              <p:grpSp>
                <p:nvGrpSpPr>
                  <p:cNvPr id="54" name="Groep 97">
                    <a:extLst>
                      <a:ext uri="{FF2B5EF4-FFF2-40B4-BE49-F238E27FC236}">
                        <a16:creationId xmlns:a16="http://schemas.microsoft.com/office/drawing/2014/main" id="{BC65DB95-F806-4DC5-B0C9-90A42812E12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2782195" y="3403271"/>
                    <a:ext cx="412967" cy="393910"/>
                    <a:chOff x="13554906" y="3320143"/>
                    <a:chExt cx="443906" cy="423422"/>
                  </a:xfrm>
                </p:grpSpPr>
                <p:grpSp>
                  <p:nvGrpSpPr>
                    <p:cNvPr id="61" name="Groep 104">
                      <a:extLst>
                        <a:ext uri="{FF2B5EF4-FFF2-40B4-BE49-F238E27FC236}">
                          <a16:creationId xmlns:a16="http://schemas.microsoft.com/office/drawing/2014/main" id="{5C7A9F0D-81CE-4704-B89E-DCEE3416F49E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3554906" y="3320143"/>
                      <a:ext cx="443906" cy="423422"/>
                      <a:chOff x="12909684" y="1276177"/>
                      <a:chExt cx="443906" cy="423422"/>
                    </a:xfrm>
                  </p:grpSpPr>
                  <p:sp>
                    <p:nvSpPr>
                      <p:cNvPr id="64" name="Rechthoek 107">
                        <a:extLst>
                          <a:ext uri="{FF2B5EF4-FFF2-40B4-BE49-F238E27FC236}">
                            <a16:creationId xmlns:a16="http://schemas.microsoft.com/office/drawing/2014/main" id="{531E2706-17D6-4BB9-95D3-0FB1DF3813E4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2918700" y="1285299"/>
                        <a:ext cx="434890" cy="414300"/>
                      </a:xfrm>
                      <a:prstGeom prst="rect">
                        <a:avLst/>
                      </a:prstGeom>
                      <a:noFill/>
                      <a:ln w="12700">
                        <a:solidFill>
                          <a:srgbClr val="818181"/>
                        </a:solidFill>
                        <a:prstDash val="dash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2105"/>
                          </a:spcBef>
                          <a:spcAft>
                            <a:spcPts val="2105"/>
                          </a:spcAft>
                        </a:pPr>
                        <a:endParaRPr lang="nl-NL" sz="2806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65" name="Rechthoek 108">
                        <a:extLst>
                          <a:ext uri="{FF2B5EF4-FFF2-40B4-BE49-F238E27FC236}">
                            <a16:creationId xmlns:a16="http://schemas.microsoft.com/office/drawing/2014/main" id="{AFFD0FF9-3BF3-4525-9791-DE4663486D65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2909684" y="1276177"/>
                        <a:ext cx="261629" cy="257808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12700">
                        <a:solidFill>
                          <a:srgbClr val="81818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2105"/>
                          </a:spcBef>
                          <a:spcAft>
                            <a:spcPts val="2105"/>
                          </a:spcAft>
                        </a:pPr>
                        <a:endParaRPr lang="nl-NL" sz="2806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66" name="Ovaal 109">
                        <a:extLst>
                          <a:ext uri="{FF2B5EF4-FFF2-40B4-BE49-F238E27FC236}">
                            <a16:creationId xmlns:a16="http://schemas.microsoft.com/office/drawing/2014/main" id="{3989BB42-E495-4291-9515-167435A610A7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3069071" y="1308734"/>
                        <a:ext cx="72187" cy="72188"/>
                      </a:xfrm>
                      <a:prstGeom prst="ellipse">
                        <a:avLst/>
                      </a:prstGeom>
                      <a:solidFill>
                        <a:srgbClr val="ECC679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="horz" wrap="square" lIns="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l"/>
                        <a:endParaRPr lang="nl-NL" sz="3509" b="1" noProof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  <p:pic>
                  <p:nvPicPr>
                    <p:cNvPr id="62" name="Afbeelding 105">
                      <a:extLst>
                        <a:ext uri="{FF2B5EF4-FFF2-40B4-BE49-F238E27FC236}">
                          <a16:creationId xmlns:a16="http://schemas.microsoft.com/office/drawing/2014/main" id="{8933B5C9-7442-4E09-A33D-EFBFF871A8B1}"/>
                        </a:ext>
                      </a:extLst>
                    </p:cNvPr>
                    <p:cNvPicPr>
                      <a:picLocks noChangeAspect="1"/>
                    </p:cNvPicPr>
                    <p:nvPr userDrawn="1"/>
                  </p:nvPicPr>
                  <p:blipFill>
                    <a:blip r:embed="rId2" cstate="screen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3567296" y="3424991"/>
                      <a:ext cx="173367" cy="14022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63" name="Afbeelding 106">
                      <a:extLst>
                        <a:ext uri="{FF2B5EF4-FFF2-40B4-BE49-F238E27FC236}">
                          <a16:creationId xmlns:a16="http://schemas.microsoft.com/office/drawing/2014/main" id="{0081EB06-F1B0-4455-AA9B-4A693599FBCB}"/>
                        </a:ext>
                      </a:extLst>
                    </p:cNvPr>
                    <p:cNvPicPr>
                      <a:picLocks noChangeAspect="1"/>
                    </p:cNvPicPr>
                    <p:nvPr userDrawn="1"/>
                  </p:nvPicPr>
                  <p:blipFill>
                    <a:blip r:embed="rId4" cstate="screen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5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flipH="1">
                      <a:off x="13635598" y="3454393"/>
                      <a:ext cx="173366" cy="111424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55" name="Groep 98">
                    <a:extLst>
                      <a:ext uri="{FF2B5EF4-FFF2-40B4-BE49-F238E27FC236}">
                        <a16:creationId xmlns:a16="http://schemas.microsoft.com/office/drawing/2014/main" id="{A55642DD-6F47-4176-B9AF-7FB23EBB392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103513" y="3705278"/>
                    <a:ext cx="145820" cy="146452"/>
                    <a:chOff x="13096169" y="3602288"/>
                    <a:chExt cx="145820" cy="146452"/>
                  </a:xfrm>
                </p:grpSpPr>
                <p:sp>
                  <p:nvSpPr>
                    <p:cNvPr id="59" name="Rechthoek 102">
                      <a:extLst>
                        <a:ext uri="{FF2B5EF4-FFF2-40B4-BE49-F238E27FC236}">
                          <a16:creationId xmlns:a16="http://schemas.microsoft.com/office/drawing/2014/main" id="{8D454A61-AD7E-452F-BFCE-1AB74E96D20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96169" y="360228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0" name="Rechthoek 103">
                      <a:extLst>
                        <a:ext uri="{FF2B5EF4-FFF2-40B4-BE49-F238E27FC236}">
                          <a16:creationId xmlns:a16="http://schemas.microsoft.com/office/drawing/2014/main" id="{E436B1EC-4B74-4D84-A20E-1C690F824932}"/>
                        </a:ext>
                      </a:extLst>
                    </p:cNvPr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grpSp>
                <p:nvGrpSpPr>
                  <p:cNvPr id="56" name="Groep 99">
                    <a:extLst>
                      <a:ext uri="{FF2B5EF4-FFF2-40B4-BE49-F238E27FC236}">
                        <a16:creationId xmlns:a16="http://schemas.microsoft.com/office/drawing/2014/main" id="{BD74EB39-5FA1-4374-A24F-AECE8A2FF61C}"/>
                      </a:ext>
                    </a:extLst>
                  </p:cNvPr>
                  <p:cNvGrpSpPr/>
                  <p:nvPr userDrawn="1"/>
                </p:nvGrpSpPr>
                <p:grpSpPr>
                  <a:xfrm rot="10800000">
                    <a:off x="13061402" y="3665668"/>
                    <a:ext cx="145820" cy="146461"/>
                    <a:chOff x="13096169" y="3602248"/>
                    <a:chExt cx="145820" cy="146461"/>
                  </a:xfrm>
                </p:grpSpPr>
                <p:sp>
                  <p:nvSpPr>
                    <p:cNvPr id="57" name="Rechthoek 100">
                      <a:extLst>
                        <a:ext uri="{FF2B5EF4-FFF2-40B4-BE49-F238E27FC236}">
                          <a16:creationId xmlns:a16="http://schemas.microsoft.com/office/drawing/2014/main" id="{810562A6-8E67-483D-A859-5A001C48B76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96169" y="360224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58" name="Rechthoek 101">
                      <a:extLst>
                        <a:ext uri="{FF2B5EF4-FFF2-40B4-BE49-F238E27FC236}">
                          <a16:creationId xmlns:a16="http://schemas.microsoft.com/office/drawing/2014/main" id="{7BAAA463-B34B-4C1B-90D7-4C7606F42C15}"/>
                        </a:ext>
                      </a:extLst>
                    </p:cNvPr>
                    <p:cNvSpPr/>
                    <p:nvPr userDrawn="1"/>
                  </p:nvSpPr>
                  <p:spPr>
                    <a:xfrm rot="5400000">
                      <a:off x="13037453" y="3661605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  <p:sp>
              <p:nvSpPr>
                <p:cNvPr id="52" name="Rechthoek 95">
                  <a:extLst>
                    <a:ext uri="{FF2B5EF4-FFF2-40B4-BE49-F238E27FC236}">
                      <a16:creationId xmlns:a16="http://schemas.microsoft.com/office/drawing/2014/main" id="{C20629BC-E436-45EC-8C8C-F0B0CDC0C933}"/>
                    </a:ext>
                  </a:extLst>
                </p:cNvPr>
                <p:cNvSpPr/>
                <p:nvPr userDrawn="1"/>
              </p:nvSpPr>
              <p:spPr>
                <a:xfrm>
                  <a:off x="12682980" y="3889920"/>
                  <a:ext cx="622284" cy="16117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r>
                    <a:rPr lang="nl-NL" sz="3158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Bijsnijden</a:t>
                  </a:r>
                </a:p>
              </p:txBody>
            </p:sp>
            <p:sp>
              <p:nvSpPr>
                <p:cNvPr id="53" name="Gelijkbenige driehoek 96">
                  <a:extLst>
                    <a:ext uri="{FF2B5EF4-FFF2-40B4-BE49-F238E27FC236}">
                      <a16:creationId xmlns:a16="http://schemas.microsoft.com/office/drawing/2014/main" id="{2392616C-C884-469B-9BDD-930D09DE92BA}"/>
                    </a:ext>
                  </a:extLst>
                </p:cNvPr>
                <p:cNvSpPr/>
                <p:nvPr userDrawn="1"/>
              </p:nvSpPr>
              <p:spPr>
                <a:xfrm rot="10800000">
                  <a:off x="12950688" y="4093761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pic>
        <p:nvPicPr>
          <p:cNvPr id="79" name="Afbeelding 78">
            <a:extLst>
              <a:ext uri="{FF2B5EF4-FFF2-40B4-BE49-F238E27FC236}">
                <a16:creationId xmlns:a16="http://schemas.microsoft.com/office/drawing/2014/main" id="{FFEF7835-07BB-4DA8-AB27-DB859E6A8D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  <p:grpSp>
        <p:nvGrpSpPr>
          <p:cNvPr id="80" name="Instructie">
            <a:extLst>
              <a:ext uri="{FF2B5EF4-FFF2-40B4-BE49-F238E27FC236}">
                <a16:creationId xmlns:a16="http://schemas.microsoft.com/office/drawing/2014/main" id="{770C3081-02B2-4EA5-B67E-7C9629472DC2}"/>
              </a:ext>
            </a:extLst>
          </p:cNvPr>
          <p:cNvGrpSpPr/>
          <p:nvPr userDrawn="1"/>
        </p:nvGrpSpPr>
        <p:grpSpPr>
          <a:xfrm>
            <a:off x="-11761540" y="0"/>
            <a:ext cx="11164508" cy="11743958"/>
            <a:chOff x="-3426088" y="4512342"/>
            <a:chExt cx="3182755" cy="2660264"/>
          </a:xfrm>
        </p:grpSpPr>
        <p:sp>
          <p:nvSpPr>
            <p:cNvPr id="81" name="Rechthoek 127">
              <a:extLst>
                <a:ext uri="{FF2B5EF4-FFF2-40B4-BE49-F238E27FC236}">
                  <a16:creationId xmlns:a16="http://schemas.microsoft.com/office/drawing/2014/main" id="{EB5E83EA-A25A-49D3-B271-48BFD8BD7063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82" name="Rechte verbindingslijn 128">
              <a:extLst>
                <a:ext uri="{FF2B5EF4-FFF2-40B4-BE49-F238E27FC236}">
                  <a16:creationId xmlns:a16="http://schemas.microsoft.com/office/drawing/2014/main" id="{3E5F842F-7DCD-432E-ABDF-93B5971CA5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83" name="Rechthoek 130">
              <a:extLst>
                <a:ext uri="{FF2B5EF4-FFF2-40B4-BE49-F238E27FC236}">
                  <a16:creationId xmlns:a16="http://schemas.microsoft.com/office/drawing/2014/main" id="{C8F58CF4-9698-4C7C-8A5C-B043340A293D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84" name="Rechthoek 133">
              <a:extLst>
                <a:ext uri="{FF2B5EF4-FFF2-40B4-BE49-F238E27FC236}">
                  <a16:creationId xmlns:a16="http://schemas.microsoft.com/office/drawing/2014/main" id="{C62687C3-1FCB-48A1-B3EE-DA002621F05B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5" name="Rechthoek 136">
              <a:extLst>
                <a:ext uri="{FF2B5EF4-FFF2-40B4-BE49-F238E27FC236}">
                  <a16:creationId xmlns:a16="http://schemas.microsoft.com/office/drawing/2014/main" id="{E4EFD6C9-34C8-4845-A321-7F3FFC9619F9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6" name="Rechthoek 139">
              <a:extLst>
                <a:ext uri="{FF2B5EF4-FFF2-40B4-BE49-F238E27FC236}">
                  <a16:creationId xmlns:a16="http://schemas.microsoft.com/office/drawing/2014/main" id="{83AD7091-D037-45FA-BE47-881DB08D6ED1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87" name="Rechte verbindingslijn 140">
              <a:extLst>
                <a:ext uri="{FF2B5EF4-FFF2-40B4-BE49-F238E27FC236}">
                  <a16:creationId xmlns:a16="http://schemas.microsoft.com/office/drawing/2014/main" id="{AD87EEF8-DF38-4DCF-8FBD-1D9DA299A57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39538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25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2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0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1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2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3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3" grpId="0" animBg="1"/>
      <p:bldP spid="174" grpId="0" animBg="1"/>
      <p:bldP spid="175" grpId="0" animBg="1"/>
      <p:bldP spid="176" grpId="0" animBg="1"/>
      <p:bldP spid="177" grpId="0" animBg="1"/>
    </p:bld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rnpunten + Ico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5B16B44F-53F8-4476-BF86-4B2D1AD65ECB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9" y="27329718"/>
            <a:ext cx="834509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9B18BDE9-18FD-4C97-9F64-E73C2C770EF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57139" y="10897677"/>
            <a:ext cx="11802765" cy="13168314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087536" y="0"/>
                </a:lnTo>
                <a:cubicBezTo>
                  <a:pt x="32406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240614" y="2982912"/>
                  <a:pt x="3087536" y="2982912"/>
                </a:cubicBezTo>
                <a:lnTo>
                  <a:pt x="281143" y="2982912"/>
                </a:lnTo>
                <a:cubicBezTo>
                  <a:pt x="12806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>
              <a:defRPr sz="4911">
                <a:solidFill>
                  <a:schemeClr val="bg1"/>
                </a:solidFill>
              </a:defRPr>
            </a:lvl1pPr>
            <a:lvl2pPr>
              <a:defRPr sz="4911">
                <a:solidFill>
                  <a:schemeClr val="bg1"/>
                </a:solidFill>
              </a:defRPr>
            </a:lvl2pPr>
            <a:lvl3pPr>
              <a:defRPr sz="4911">
                <a:solidFill>
                  <a:schemeClr val="bg1"/>
                </a:solidFill>
              </a:defRPr>
            </a:lvl3pPr>
            <a:lvl4pPr>
              <a:defRPr sz="4911">
                <a:solidFill>
                  <a:schemeClr val="bg1"/>
                </a:solidFill>
              </a:defRPr>
            </a:lvl4pPr>
            <a:lvl5pPr>
              <a:defRPr sz="5612"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21" name="Tijdelijke aanduiding voor tekst 3">
            <a:extLst>
              <a:ext uri="{FF2B5EF4-FFF2-40B4-BE49-F238E27FC236}">
                <a16:creationId xmlns:a16="http://schemas.microsoft.com/office/drawing/2014/main" id="{548B21C5-7247-47FE-96DC-CDF5B1CD27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482243" y="10897677"/>
            <a:ext cx="11802765" cy="13168314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087536" y="0"/>
                </a:lnTo>
                <a:cubicBezTo>
                  <a:pt x="32406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240614" y="2982912"/>
                  <a:pt x="3087536" y="2982912"/>
                </a:cubicBezTo>
                <a:lnTo>
                  <a:pt x="281143" y="2982912"/>
                </a:lnTo>
                <a:cubicBezTo>
                  <a:pt x="12806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>
              <a:defRPr sz="4911">
                <a:solidFill>
                  <a:schemeClr val="bg1"/>
                </a:solidFill>
              </a:defRPr>
            </a:lvl1pPr>
            <a:lvl2pPr>
              <a:defRPr sz="4911">
                <a:solidFill>
                  <a:schemeClr val="bg1"/>
                </a:solidFill>
              </a:defRPr>
            </a:lvl2pPr>
            <a:lvl3pPr>
              <a:defRPr sz="4911">
                <a:solidFill>
                  <a:schemeClr val="bg1"/>
                </a:solidFill>
              </a:defRPr>
            </a:lvl3pPr>
            <a:lvl4pPr>
              <a:defRPr sz="4911">
                <a:solidFill>
                  <a:schemeClr val="bg1"/>
                </a:solidFill>
              </a:defRPr>
            </a:lvl4pPr>
            <a:lvl5pPr>
              <a:defRPr sz="5612"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24" name="Tijdelijke aanduiding voor tekst 3">
            <a:extLst>
              <a:ext uri="{FF2B5EF4-FFF2-40B4-BE49-F238E27FC236}">
                <a16:creationId xmlns:a16="http://schemas.microsoft.com/office/drawing/2014/main" id="{DDC7D301-B09D-45A2-84F5-FAC25F143C2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207348" y="10897677"/>
            <a:ext cx="11802765" cy="13168314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087536" y="0"/>
                </a:lnTo>
                <a:cubicBezTo>
                  <a:pt x="32406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240614" y="2982912"/>
                  <a:pt x="3087536" y="2982912"/>
                </a:cubicBezTo>
                <a:lnTo>
                  <a:pt x="281143" y="2982912"/>
                </a:lnTo>
                <a:cubicBezTo>
                  <a:pt x="12806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>
              <a:defRPr sz="4911">
                <a:solidFill>
                  <a:schemeClr val="bg1"/>
                </a:solidFill>
              </a:defRPr>
            </a:lvl1pPr>
            <a:lvl2pPr>
              <a:defRPr sz="4911">
                <a:solidFill>
                  <a:schemeClr val="bg1"/>
                </a:solidFill>
              </a:defRPr>
            </a:lvl2pPr>
            <a:lvl3pPr>
              <a:defRPr sz="4911">
                <a:solidFill>
                  <a:schemeClr val="bg1"/>
                </a:solidFill>
              </a:defRPr>
            </a:lvl3pPr>
            <a:lvl4pPr>
              <a:defRPr sz="4911">
                <a:solidFill>
                  <a:schemeClr val="bg1"/>
                </a:solidFill>
              </a:defRPr>
            </a:lvl4pPr>
            <a:lvl5pPr>
              <a:defRPr sz="5612"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id="{3B2874ED-CC7F-4F0C-BB1D-75A9CC43DC3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9699110" y="8777721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 sz="351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nl-NL" noProof="0"/>
          </a:p>
        </p:txBody>
      </p:sp>
      <p:sp>
        <p:nvSpPr>
          <p:cNvPr id="48" name="Tijdelijke aanduiding voor tekst 14">
            <a:extLst>
              <a:ext uri="{FF2B5EF4-FFF2-40B4-BE49-F238E27FC236}">
                <a16:creationId xmlns:a16="http://schemas.microsoft.com/office/drawing/2014/main" id="{F1653C5F-83B0-4357-9779-FCA8C005D7E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974001" y="8777721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 sz="351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nl-NL" noProof="0"/>
          </a:p>
        </p:txBody>
      </p:sp>
      <p:sp>
        <p:nvSpPr>
          <p:cNvPr id="50" name="Tijdelijke aanduiding voor tekst 14">
            <a:extLst>
              <a:ext uri="{FF2B5EF4-FFF2-40B4-BE49-F238E27FC236}">
                <a16:creationId xmlns:a16="http://schemas.microsoft.com/office/drawing/2014/main" id="{3AA2D7D9-83DC-4599-894C-1EA7D9983FA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424213" y="8777721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 sz="351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nl-NL" noProof="0"/>
          </a:p>
        </p:txBody>
      </p:sp>
      <p:pic>
        <p:nvPicPr>
          <p:cNvPr id="285" name="Afbeelding 284">
            <a:extLst>
              <a:ext uri="{FF2B5EF4-FFF2-40B4-BE49-F238E27FC236}">
                <a16:creationId xmlns:a16="http://schemas.microsoft.com/office/drawing/2014/main" id="{3BD56D34-C124-47A1-AAB3-51268E6794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  <p:grpSp>
        <p:nvGrpSpPr>
          <p:cNvPr id="297" name="Meer informatie">
            <a:extLst>
              <a:ext uri="{FF2B5EF4-FFF2-40B4-BE49-F238E27FC236}">
                <a16:creationId xmlns:a16="http://schemas.microsoft.com/office/drawing/2014/main" id="{69FCEAEE-2275-42B9-AB43-7996341B291E}"/>
              </a:ext>
            </a:extLst>
          </p:cNvPr>
          <p:cNvGrpSpPr/>
          <p:nvPr userDrawn="1"/>
        </p:nvGrpSpPr>
        <p:grpSpPr>
          <a:xfrm>
            <a:off x="43487270" y="1774577"/>
            <a:ext cx="11147891" cy="3644433"/>
            <a:chOff x="-3740989" y="3458473"/>
            <a:chExt cx="3178018" cy="825544"/>
          </a:xfrm>
        </p:grpSpPr>
        <p:sp>
          <p:nvSpPr>
            <p:cNvPr id="298" name="Rechthoek 297">
              <a:extLst>
                <a:ext uri="{FF2B5EF4-FFF2-40B4-BE49-F238E27FC236}">
                  <a16:creationId xmlns:a16="http://schemas.microsoft.com/office/drawing/2014/main" id="{B25CB412-679D-4563-95CD-4519C627EF32}"/>
                </a:ext>
              </a:extLst>
            </p:cNvPr>
            <p:cNvSpPr/>
            <p:nvPr userDrawn="1"/>
          </p:nvSpPr>
          <p:spPr>
            <a:xfrm>
              <a:off x="-3740989" y="3458473"/>
              <a:ext cx="2863716" cy="5921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conen vind je in de slide bibliotheek.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opieer (Ctrl-c) de icoon uit de bibliotheek en plak (Ctrl-v) deze op de gewenste plek. Iconen zijn aanpasbaar qua kleur en formaat.</a:t>
              </a:r>
            </a:p>
          </p:txBody>
        </p:sp>
        <p:cxnSp>
          <p:nvCxnSpPr>
            <p:cNvPr id="299" name="Rechte verbindingslijn 298">
              <a:extLst>
                <a:ext uri="{FF2B5EF4-FFF2-40B4-BE49-F238E27FC236}">
                  <a16:creationId xmlns:a16="http://schemas.microsoft.com/office/drawing/2014/main" id="{3C6B4A04-D8DF-4CA5-AC7B-2CDF9800DE4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740987" y="4284017"/>
              <a:ext cx="3178016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300" name="Rechthoek 299">
            <a:extLst>
              <a:ext uri="{FF2B5EF4-FFF2-40B4-BE49-F238E27FC236}">
                <a16:creationId xmlns:a16="http://schemas.microsoft.com/office/drawing/2014/main" id="{F89205DE-C3DD-4906-977D-F5869FC3C688}"/>
              </a:ext>
            </a:extLst>
          </p:cNvPr>
          <p:cNvSpPr/>
          <p:nvPr userDrawn="1"/>
        </p:nvSpPr>
        <p:spPr>
          <a:xfrm>
            <a:off x="43487272" y="5"/>
            <a:ext cx="11147884" cy="84588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defTabSz="3207489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rPr>
              <a:t>ICOON invoegen / veranderen</a:t>
            </a:r>
          </a:p>
        </p:txBody>
      </p:sp>
      <p:cxnSp>
        <p:nvCxnSpPr>
          <p:cNvPr id="301" name="Rechte verbindingslijn 300">
            <a:extLst>
              <a:ext uri="{FF2B5EF4-FFF2-40B4-BE49-F238E27FC236}">
                <a16:creationId xmlns:a16="http://schemas.microsoft.com/office/drawing/2014/main" id="{CF5A1158-976E-4157-B03D-2FF7CBCE5D0D}"/>
              </a:ext>
            </a:extLst>
          </p:cNvPr>
          <p:cNvCxnSpPr>
            <a:cxnSpLocks/>
          </p:cNvCxnSpPr>
          <p:nvPr userDrawn="1"/>
        </p:nvCxnSpPr>
        <p:spPr>
          <a:xfrm>
            <a:off x="43487269" y="1066718"/>
            <a:ext cx="11147888" cy="0"/>
          </a:xfrm>
          <a:prstGeom prst="line">
            <a:avLst/>
          </a:prstGeom>
          <a:noFill/>
          <a:ln w="3175" cap="flat" cmpd="sng" algn="ctr">
            <a:solidFill>
              <a:schemeClr val="accent1"/>
            </a:solidFill>
            <a:prstDash val="solid"/>
          </a:ln>
          <a:effectLst/>
        </p:spPr>
      </p:cxnSp>
      <p:grpSp>
        <p:nvGrpSpPr>
          <p:cNvPr id="302" name="Instructie">
            <a:extLst>
              <a:ext uri="{FF2B5EF4-FFF2-40B4-BE49-F238E27FC236}">
                <a16:creationId xmlns:a16="http://schemas.microsoft.com/office/drawing/2014/main" id="{152CEB51-48C8-4B7C-B7C9-39A86C65F4D2}"/>
              </a:ext>
            </a:extLst>
          </p:cNvPr>
          <p:cNvGrpSpPr/>
          <p:nvPr userDrawn="1"/>
        </p:nvGrpSpPr>
        <p:grpSpPr>
          <a:xfrm>
            <a:off x="43506534" y="6474547"/>
            <a:ext cx="11164508" cy="11743958"/>
            <a:chOff x="-3426088" y="4512342"/>
            <a:chExt cx="3182755" cy="2660264"/>
          </a:xfrm>
        </p:grpSpPr>
        <p:sp>
          <p:nvSpPr>
            <p:cNvPr id="303" name="Rechthoek 127">
              <a:extLst>
                <a:ext uri="{FF2B5EF4-FFF2-40B4-BE49-F238E27FC236}">
                  <a16:creationId xmlns:a16="http://schemas.microsoft.com/office/drawing/2014/main" id="{76F2455F-F82D-4E88-8010-21D7723C32A2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304" name="Rechte verbindingslijn 128">
              <a:extLst>
                <a:ext uri="{FF2B5EF4-FFF2-40B4-BE49-F238E27FC236}">
                  <a16:creationId xmlns:a16="http://schemas.microsoft.com/office/drawing/2014/main" id="{0B3E4862-C4AA-407C-966A-E8EBDE30B35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05" name="Rechthoek 130">
              <a:extLst>
                <a:ext uri="{FF2B5EF4-FFF2-40B4-BE49-F238E27FC236}">
                  <a16:creationId xmlns:a16="http://schemas.microsoft.com/office/drawing/2014/main" id="{591A4179-76F7-41B9-9617-1E08CC4C4B60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306" name="Rechthoek 133">
              <a:extLst>
                <a:ext uri="{FF2B5EF4-FFF2-40B4-BE49-F238E27FC236}">
                  <a16:creationId xmlns:a16="http://schemas.microsoft.com/office/drawing/2014/main" id="{1A70AE91-902A-4C2E-B515-48E694909317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307" name="Rechthoek 136">
              <a:extLst>
                <a:ext uri="{FF2B5EF4-FFF2-40B4-BE49-F238E27FC236}">
                  <a16:creationId xmlns:a16="http://schemas.microsoft.com/office/drawing/2014/main" id="{5925F747-3FA0-47E9-93E3-A81C74A4898E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308" name="Rechthoek 139">
              <a:extLst>
                <a:ext uri="{FF2B5EF4-FFF2-40B4-BE49-F238E27FC236}">
                  <a16:creationId xmlns:a16="http://schemas.microsoft.com/office/drawing/2014/main" id="{97BA09BA-A822-4E82-9039-7A968C36BB47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309" name="Rechte verbindingslijn 140">
              <a:extLst>
                <a:ext uri="{FF2B5EF4-FFF2-40B4-BE49-F238E27FC236}">
                  <a16:creationId xmlns:a16="http://schemas.microsoft.com/office/drawing/2014/main" id="{0DA6D147-A7F8-4D34-8B2A-2524551C85E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310" name="Groep 101">
            <a:extLst>
              <a:ext uri="{FF2B5EF4-FFF2-40B4-BE49-F238E27FC236}">
                <a16:creationId xmlns:a16="http://schemas.microsoft.com/office/drawing/2014/main" id="{82885683-4B8E-4B6E-8614-5197C14275A8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311" name="Rechthoek 102">
              <a:extLst>
                <a:ext uri="{FF2B5EF4-FFF2-40B4-BE49-F238E27FC236}">
                  <a16:creationId xmlns:a16="http://schemas.microsoft.com/office/drawing/2014/main" id="{13495BBB-F6EA-4A12-B089-66752A7E72AC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312" name="Ovaal 103">
              <a:extLst>
                <a:ext uri="{FF2B5EF4-FFF2-40B4-BE49-F238E27FC236}">
                  <a16:creationId xmlns:a16="http://schemas.microsoft.com/office/drawing/2014/main" id="{DF8731A8-AC67-456D-BB6D-C9FE5C2A4B5C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13" name="Rechte verbindingslijn 104">
              <a:extLst>
                <a:ext uri="{FF2B5EF4-FFF2-40B4-BE49-F238E27FC236}">
                  <a16:creationId xmlns:a16="http://schemas.microsoft.com/office/drawing/2014/main" id="{E9A5108C-BE33-4E02-BC2E-A2F400E2CCD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14" name="Groep 105">
              <a:extLst>
                <a:ext uri="{FF2B5EF4-FFF2-40B4-BE49-F238E27FC236}">
                  <a16:creationId xmlns:a16="http://schemas.microsoft.com/office/drawing/2014/main" id="{83496DC3-8D19-4D2D-BC64-CD3AFF0DC24B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339" name="Rechthoek 130">
                <a:extLst>
                  <a:ext uri="{FF2B5EF4-FFF2-40B4-BE49-F238E27FC236}">
                    <a16:creationId xmlns:a16="http://schemas.microsoft.com/office/drawing/2014/main" id="{9B5B1577-32F2-415E-A250-E59240C4B612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40" name="Rechte verbindingslijn 131">
                <a:extLst>
                  <a:ext uri="{FF2B5EF4-FFF2-40B4-BE49-F238E27FC236}">
                    <a16:creationId xmlns:a16="http://schemas.microsoft.com/office/drawing/2014/main" id="{5FC98B63-D584-44C1-B07C-B7875B3BB8F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1" name="Rechte verbindingslijn 132">
                <a:extLst>
                  <a:ext uri="{FF2B5EF4-FFF2-40B4-BE49-F238E27FC236}">
                    <a16:creationId xmlns:a16="http://schemas.microsoft.com/office/drawing/2014/main" id="{D7C39E6E-E41B-4B78-AEA4-AD388ABFDE6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42" name="Rechthoek 133">
                <a:extLst>
                  <a:ext uri="{FF2B5EF4-FFF2-40B4-BE49-F238E27FC236}">
                    <a16:creationId xmlns:a16="http://schemas.microsoft.com/office/drawing/2014/main" id="{C3B8BE2A-65A8-41EB-B679-E21300F57730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43" name="Groep 134">
                <a:extLst>
                  <a:ext uri="{FF2B5EF4-FFF2-40B4-BE49-F238E27FC236}">
                    <a16:creationId xmlns:a16="http://schemas.microsoft.com/office/drawing/2014/main" id="{7467A5F6-1915-4F14-9025-28B4BD8C052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87" name="Groep 175">
                  <a:extLst>
                    <a:ext uri="{FF2B5EF4-FFF2-40B4-BE49-F238E27FC236}">
                      <a16:creationId xmlns:a16="http://schemas.microsoft.com/office/drawing/2014/main" id="{20AE23E3-37FE-48F2-A6FE-39DFEBFAF80F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91" name="Rechte verbindingslijn 179">
                    <a:extLst>
                      <a:ext uri="{FF2B5EF4-FFF2-40B4-BE49-F238E27FC236}">
                        <a16:creationId xmlns:a16="http://schemas.microsoft.com/office/drawing/2014/main" id="{7FD0C23E-7659-46A0-B1C8-31A7BA78D82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92" name="Rechte verbindingslijn 180">
                    <a:extLst>
                      <a:ext uri="{FF2B5EF4-FFF2-40B4-BE49-F238E27FC236}">
                        <a16:creationId xmlns:a16="http://schemas.microsoft.com/office/drawing/2014/main" id="{2D599BE0-9EDE-4963-943E-12D2D456607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93" name="Rechte verbindingslijn 181">
                    <a:extLst>
                      <a:ext uri="{FF2B5EF4-FFF2-40B4-BE49-F238E27FC236}">
                        <a16:creationId xmlns:a16="http://schemas.microsoft.com/office/drawing/2014/main" id="{86228B0B-E5C7-4418-AD1D-A4011339B3A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94" name="Rechte verbindingslijn 182">
                    <a:extLst>
                      <a:ext uri="{FF2B5EF4-FFF2-40B4-BE49-F238E27FC236}">
                        <a16:creationId xmlns:a16="http://schemas.microsoft.com/office/drawing/2014/main" id="{14180E14-59B9-42D9-B950-6ECD4B0AB2B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95" name="Rechte verbindingslijn 183">
                    <a:extLst>
                      <a:ext uri="{FF2B5EF4-FFF2-40B4-BE49-F238E27FC236}">
                        <a16:creationId xmlns:a16="http://schemas.microsoft.com/office/drawing/2014/main" id="{448D9DB9-BF2F-4212-B26A-E2C6220445F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88" name="Groep 176">
                  <a:extLst>
                    <a:ext uri="{FF2B5EF4-FFF2-40B4-BE49-F238E27FC236}">
                      <a16:creationId xmlns:a16="http://schemas.microsoft.com/office/drawing/2014/main" id="{DDE9B3B2-5058-41A6-830F-1EF9EF7A4DB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89" name="Rechthoek 177">
                    <a:extLst>
                      <a:ext uri="{FF2B5EF4-FFF2-40B4-BE49-F238E27FC236}">
                        <a16:creationId xmlns:a16="http://schemas.microsoft.com/office/drawing/2014/main" id="{01F2A6EC-B4FE-4CEE-840D-A89666751A0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90" name="Pijl: punthaak 178">
                    <a:extLst>
                      <a:ext uri="{FF2B5EF4-FFF2-40B4-BE49-F238E27FC236}">
                        <a16:creationId xmlns:a16="http://schemas.microsoft.com/office/drawing/2014/main" id="{0336D1B9-6624-4126-8B63-022272C3102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344" name="Groep 135">
                <a:extLst>
                  <a:ext uri="{FF2B5EF4-FFF2-40B4-BE49-F238E27FC236}">
                    <a16:creationId xmlns:a16="http://schemas.microsoft.com/office/drawing/2014/main" id="{0579ABEE-C712-44AA-93AA-A3A9DEC4EAF5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373" name="Groep 166">
                  <a:extLst>
                    <a:ext uri="{FF2B5EF4-FFF2-40B4-BE49-F238E27FC236}">
                      <a16:creationId xmlns:a16="http://schemas.microsoft.com/office/drawing/2014/main" id="{392C42FB-0217-4AF3-A038-DAEE71F9EDBF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382" name="Rechte verbindingslijn 170">
                    <a:extLst>
                      <a:ext uri="{FF2B5EF4-FFF2-40B4-BE49-F238E27FC236}">
                        <a16:creationId xmlns:a16="http://schemas.microsoft.com/office/drawing/2014/main" id="{9A82879A-93C2-4D1F-A4B5-6215FE77103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83" name="Rechte verbindingslijn 171">
                    <a:extLst>
                      <a:ext uri="{FF2B5EF4-FFF2-40B4-BE49-F238E27FC236}">
                        <a16:creationId xmlns:a16="http://schemas.microsoft.com/office/drawing/2014/main" id="{3B6A35FD-E776-444C-A7DE-7E47D9AC1AF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84" name="Rechte verbindingslijn 172">
                    <a:extLst>
                      <a:ext uri="{FF2B5EF4-FFF2-40B4-BE49-F238E27FC236}">
                        <a16:creationId xmlns:a16="http://schemas.microsoft.com/office/drawing/2014/main" id="{6711B7D0-526D-4A88-8315-698DA291D98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85" name="Rechte verbindingslijn 173">
                    <a:extLst>
                      <a:ext uri="{FF2B5EF4-FFF2-40B4-BE49-F238E27FC236}">
                        <a16:creationId xmlns:a16="http://schemas.microsoft.com/office/drawing/2014/main" id="{D153E1BC-F0D9-4763-8D1A-7F8F1665FA5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86" name="Rechte verbindingslijn 174">
                    <a:extLst>
                      <a:ext uri="{FF2B5EF4-FFF2-40B4-BE49-F238E27FC236}">
                        <a16:creationId xmlns:a16="http://schemas.microsoft.com/office/drawing/2014/main" id="{CED8E919-6FC7-4417-A11C-703F5702F25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74" name="Groep 167">
                  <a:extLst>
                    <a:ext uri="{FF2B5EF4-FFF2-40B4-BE49-F238E27FC236}">
                      <a16:creationId xmlns:a16="http://schemas.microsoft.com/office/drawing/2014/main" id="{CC39733F-2CE8-406C-8375-67A606BEA4B3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75" name="Rechthoek 168">
                    <a:extLst>
                      <a:ext uri="{FF2B5EF4-FFF2-40B4-BE49-F238E27FC236}">
                        <a16:creationId xmlns:a16="http://schemas.microsoft.com/office/drawing/2014/main" id="{135F9509-2EEE-4D69-936B-E319B13157D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81" name="Pijl: punthaak 169">
                    <a:extLst>
                      <a:ext uri="{FF2B5EF4-FFF2-40B4-BE49-F238E27FC236}">
                        <a16:creationId xmlns:a16="http://schemas.microsoft.com/office/drawing/2014/main" id="{F6E38C57-07CC-449D-A8A7-110544A16D39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345" name="Rechte verbindingslijn 136">
                <a:extLst>
                  <a:ext uri="{FF2B5EF4-FFF2-40B4-BE49-F238E27FC236}">
                    <a16:creationId xmlns:a16="http://schemas.microsoft.com/office/drawing/2014/main" id="{F5B3EBAF-2C40-4835-9329-88153F4F6F7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346" name="Rechte verbindingslijn 137">
                <a:extLst>
                  <a:ext uri="{FF2B5EF4-FFF2-40B4-BE49-F238E27FC236}">
                    <a16:creationId xmlns:a16="http://schemas.microsoft.com/office/drawing/2014/main" id="{5C2E5B54-BE5C-4A72-9503-6EAFC4536A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347" name="Groep 138">
                <a:extLst>
                  <a:ext uri="{FF2B5EF4-FFF2-40B4-BE49-F238E27FC236}">
                    <a16:creationId xmlns:a16="http://schemas.microsoft.com/office/drawing/2014/main" id="{EFA61254-F7CC-4512-89AD-6CBC10CB6E2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362" name="Rechthoek 155">
                  <a:extLst>
                    <a:ext uri="{FF2B5EF4-FFF2-40B4-BE49-F238E27FC236}">
                      <a16:creationId xmlns:a16="http://schemas.microsoft.com/office/drawing/2014/main" id="{E34292FF-3A72-4B91-AC6A-5C3B9BE7228D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63" name="Groep 156">
                  <a:extLst>
                    <a:ext uri="{FF2B5EF4-FFF2-40B4-BE49-F238E27FC236}">
                      <a16:creationId xmlns:a16="http://schemas.microsoft.com/office/drawing/2014/main" id="{F137E10A-FCBB-42BB-9713-B6AF60D49E8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364" name="Groep 157">
                    <a:extLst>
                      <a:ext uri="{FF2B5EF4-FFF2-40B4-BE49-F238E27FC236}">
                        <a16:creationId xmlns:a16="http://schemas.microsoft.com/office/drawing/2014/main" id="{F2231DD6-4081-4C4D-9F2E-2AB9F33213C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368" name="Rechte verbindingslijn 161">
                      <a:extLst>
                        <a:ext uri="{FF2B5EF4-FFF2-40B4-BE49-F238E27FC236}">
                          <a16:creationId xmlns:a16="http://schemas.microsoft.com/office/drawing/2014/main" id="{AA35EB10-5C19-457E-937F-3C3141D9B73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69" name="Rechte verbindingslijn 162">
                      <a:extLst>
                        <a:ext uri="{FF2B5EF4-FFF2-40B4-BE49-F238E27FC236}">
                          <a16:creationId xmlns:a16="http://schemas.microsoft.com/office/drawing/2014/main" id="{6E0FDC50-140D-4A0C-B7DC-372A0038B59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70" name="Rechte verbindingslijn 163">
                      <a:extLst>
                        <a:ext uri="{FF2B5EF4-FFF2-40B4-BE49-F238E27FC236}">
                          <a16:creationId xmlns:a16="http://schemas.microsoft.com/office/drawing/2014/main" id="{62CB0A80-717C-4653-BFAF-4E27C3A833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71" name="Rechte verbindingslijn 164">
                      <a:extLst>
                        <a:ext uri="{FF2B5EF4-FFF2-40B4-BE49-F238E27FC236}">
                          <a16:creationId xmlns:a16="http://schemas.microsoft.com/office/drawing/2014/main" id="{704F4B05-02BC-4170-9482-760B768CF3A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72" name="Rechte verbindingslijn 165">
                      <a:extLst>
                        <a:ext uri="{FF2B5EF4-FFF2-40B4-BE49-F238E27FC236}">
                          <a16:creationId xmlns:a16="http://schemas.microsoft.com/office/drawing/2014/main" id="{80747397-F595-462C-AEE3-0CB2A846827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65" name="Groep 158">
                    <a:extLst>
                      <a:ext uri="{FF2B5EF4-FFF2-40B4-BE49-F238E27FC236}">
                        <a16:creationId xmlns:a16="http://schemas.microsoft.com/office/drawing/2014/main" id="{15DA2067-931A-4FDE-803B-F8B11ED97E4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66" name="Rechthoek 159">
                      <a:extLst>
                        <a:ext uri="{FF2B5EF4-FFF2-40B4-BE49-F238E27FC236}">
                          <a16:creationId xmlns:a16="http://schemas.microsoft.com/office/drawing/2014/main" id="{A73FBEFB-AE93-4F05-A734-05EE56DA761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67" name="Pijl: punthaak 160">
                      <a:extLst>
                        <a:ext uri="{FF2B5EF4-FFF2-40B4-BE49-F238E27FC236}">
                          <a16:creationId xmlns:a16="http://schemas.microsoft.com/office/drawing/2014/main" id="{C704214C-F2EB-4B40-B7C3-C51CAB485871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348" name="Groep 139">
                <a:extLst>
                  <a:ext uri="{FF2B5EF4-FFF2-40B4-BE49-F238E27FC236}">
                    <a16:creationId xmlns:a16="http://schemas.microsoft.com/office/drawing/2014/main" id="{94FF3B3A-06AF-4AA3-888E-F302476FDB93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351" name="Rechthoek 142">
                  <a:extLst>
                    <a:ext uri="{FF2B5EF4-FFF2-40B4-BE49-F238E27FC236}">
                      <a16:creationId xmlns:a16="http://schemas.microsoft.com/office/drawing/2014/main" id="{EB8A0F31-DD84-49C4-9939-6C11D18CEDF7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52" name="Groep 143">
                  <a:extLst>
                    <a:ext uri="{FF2B5EF4-FFF2-40B4-BE49-F238E27FC236}">
                      <a16:creationId xmlns:a16="http://schemas.microsoft.com/office/drawing/2014/main" id="{5FD3D869-DEB8-447D-816C-4CB16C887356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353" name="Groep 144">
                    <a:extLst>
                      <a:ext uri="{FF2B5EF4-FFF2-40B4-BE49-F238E27FC236}">
                        <a16:creationId xmlns:a16="http://schemas.microsoft.com/office/drawing/2014/main" id="{4F263D9E-1DBA-41BA-B7DD-30DC8435AA8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357" name="Rechte verbindingslijn 150">
                      <a:extLst>
                        <a:ext uri="{FF2B5EF4-FFF2-40B4-BE49-F238E27FC236}">
                          <a16:creationId xmlns:a16="http://schemas.microsoft.com/office/drawing/2014/main" id="{ED657FC2-B3A0-42C6-A3AD-C53E5E50C67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58" name="Rechte verbindingslijn 151">
                      <a:extLst>
                        <a:ext uri="{FF2B5EF4-FFF2-40B4-BE49-F238E27FC236}">
                          <a16:creationId xmlns:a16="http://schemas.microsoft.com/office/drawing/2014/main" id="{68CCE9A7-EA2A-4FC5-9D9B-71D1AD4CF1F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59" name="Rechte verbindingslijn 152">
                      <a:extLst>
                        <a:ext uri="{FF2B5EF4-FFF2-40B4-BE49-F238E27FC236}">
                          <a16:creationId xmlns:a16="http://schemas.microsoft.com/office/drawing/2014/main" id="{ABFB228D-07ED-4CAB-9276-8F4F754E65A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60" name="Rechte verbindingslijn 153">
                      <a:extLst>
                        <a:ext uri="{FF2B5EF4-FFF2-40B4-BE49-F238E27FC236}">
                          <a16:creationId xmlns:a16="http://schemas.microsoft.com/office/drawing/2014/main" id="{F2D4D4C7-97A0-4CCF-8287-93BA6175539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61" name="Rechte verbindingslijn 154">
                      <a:extLst>
                        <a:ext uri="{FF2B5EF4-FFF2-40B4-BE49-F238E27FC236}">
                          <a16:creationId xmlns:a16="http://schemas.microsoft.com/office/drawing/2014/main" id="{5DB8E6E3-7B06-49F9-80F1-BFFF487E72E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54" name="Groep 147">
                    <a:extLst>
                      <a:ext uri="{FF2B5EF4-FFF2-40B4-BE49-F238E27FC236}">
                        <a16:creationId xmlns:a16="http://schemas.microsoft.com/office/drawing/2014/main" id="{FC9F8231-7E98-465E-A499-071987F35586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55" name="Rechthoek 148">
                      <a:extLst>
                        <a:ext uri="{FF2B5EF4-FFF2-40B4-BE49-F238E27FC236}">
                          <a16:creationId xmlns:a16="http://schemas.microsoft.com/office/drawing/2014/main" id="{F9D9A11E-87B6-434C-BF89-4A7B9700FA7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56" name="Pijl: punthaak 149">
                      <a:extLst>
                        <a:ext uri="{FF2B5EF4-FFF2-40B4-BE49-F238E27FC236}">
                          <a16:creationId xmlns:a16="http://schemas.microsoft.com/office/drawing/2014/main" id="{2B1449D1-322F-4006-A49A-ADA3CF359FC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349" name="Rechthoek 140">
                <a:extLst>
                  <a:ext uri="{FF2B5EF4-FFF2-40B4-BE49-F238E27FC236}">
                    <a16:creationId xmlns:a16="http://schemas.microsoft.com/office/drawing/2014/main" id="{C9A42063-5C60-49C1-AFFA-621DC38E572C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350" name="Rechthoek 141">
                <a:extLst>
                  <a:ext uri="{FF2B5EF4-FFF2-40B4-BE49-F238E27FC236}">
                    <a16:creationId xmlns:a16="http://schemas.microsoft.com/office/drawing/2014/main" id="{DAF1A558-D03B-44EC-A586-2E02800A5DE1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315" name="Rechte verbindingslijn 106">
              <a:extLst>
                <a:ext uri="{FF2B5EF4-FFF2-40B4-BE49-F238E27FC236}">
                  <a16:creationId xmlns:a16="http://schemas.microsoft.com/office/drawing/2014/main" id="{B0D03FFD-EC8E-42D1-95DD-67F6C8E23B4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16" name="Rechthoek 107">
              <a:extLst>
                <a:ext uri="{FF2B5EF4-FFF2-40B4-BE49-F238E27FC236}">
                  <a16:creationId xmlns:a16="http://schemas.microsoft.com/office/drawing/2014/main" id="{52B2A17A-BCB9-4E4B-A6EC-A716B4BB55C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317" name="Ovaal 108">
              <a:extLst>
                <a:ext uri="{FF2B5EF4-FFF2-40B4-BE49-F238E27FC236}">
                  <a16:creationId xmlns:a16="http://schemas.microsoft.com/office/drawing/2014/main" id="{4F6CA278-408C-42D6-A391-AE3CA9CA5FAF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18" name="Rechthoek 109">
              <a:extLst>
                <a:ext uri="{FF2B5EF4-FFF2-40B4-BE49-F238E27FC236}">
                  <a16:creationId xmlns:a16="http://schemas.microsoft.com/office/drawing/2014/main" id="{919C7443-9933-4217-8F5F-C2C7F94B6E96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319" name="Ovaal 110">
              <a:extLst>
                <a:ext uri="{FF2B5EF4-FFF2-40B4-BE49-F238E27FC236}">
                  <a16:creationId xmlns:a16="http://schemas.microsoft.com/office/drawing/2014/main" id="{0DCA9EF9-2EA7-4367-BB9E-A06D615AFAF0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20" name="Rechthoek 111">
              <a:extLst>
                <a:ext uri="{FF2B5EF4-FFF2-40B4-BE49-F238E27FC236}">
                  <a16:creationId xmlns:a16="http://schemas.microsoft.com/office/drawing/2014/main" id="{5543933C-DE48-4B34-9A15-A18E4CB6B3C5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21" name="Ovaal 112">
              <a:extLst>
                <a:ext uri="{FF2B5EF4-FFF2-40B4-BE49-F238E27FC236}">
                  <a16:creationId xmlns:a16="http://schemas.microsoft.com/office/drawing/2014/main" id="{47A3080B-B3A1-4747-BB7D-67B62ACAB0A4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322" name="Rechthoek 113">
              <a:extLst>
                <a:ext uri="{FF2B5EF4-FFF2-40B4-BE49-F238E27FC236}">
                  <a16:creationId xmlns:a16="http://schemas.microsoft.com/office/drawing/2014/main" id="{98CFCBEE-F625-4557-BB5D-D0B725392755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323" name="Ovaal 114">
              <a:extLst>
                <a:ext uri="{FF2B5EF4-FFF2-40B4-BE49-F238E27FC236}">
                  <a16:creationId xmlns:a16="http://schemas.microsoft.com/office/drawing/2014/main" id="{A4972FA8-4EB2-42AC-A32C-6FA0479B9F57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324" name="Rechthoek 115">
              <a:extLst>
                <a:ext uri="{FF2B5EF4-FFF2-40B4-BE49-F238E27FC236}">
                  <a16:creationId xmlns:a16="http://schemas.microsoft.com/office/drawing/2014/main" id="{E405107A-B042-4158-9E71-197A3D586166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325" name="Rechte verbindingslijn 116">
              <a:extLst>
                <a:ext uri="{FF2B5EF4-FFF2-40B4-BE49-F238E27FC236}">
                  <a16:creationId xmlns:a16="http://schemas.microsoft.com/office/drawing/2014/main" id="{C5FEBCCD-36F1-44C7-8F49-4C3F22F95DD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26" name="Meer informatie">
              <a:extLst>
                <a:ext uri="{FF2B5EF4-FFF2-40B4-BE49-F238E27FC236}">
                  <a16:creationId xmlns:a16="http://schemas.microsoft.com/office/drawing/2014/main" id="{F1B2E75A-50A7-41BE-B464-0BC56D3A8C0B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336" name="Freeform 101">
                <a:extLst>
                  <a:ext uri="{FF2B5EF4-FFF2-40B4-BE49-F238E27FC236}">
                    <a16:creationId xmlns:a16="http://schemas.microsoft.com/office/drawing/2014/main" id="{563307BD-E073-4F2C-A48B-8F6364F765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337" name="Rechthoek 128">
                <a:extLst>
                  <a:ext uri="{FF2B5EF4-FFF2-40B4-BE49-F238E27FC236}">
                    <a16:creationId xmlns:a16="http://schemas.microsoft.com/office/drawing/2014/main" id="{2CD41DAC-BD0A-41BB-89AC-112D7951CA55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38" name="Rechte verbindingslijn 129">
                <a:extLst>
                  <a:ext uri="{FF2B5EF4-FFF2-40B4-BE49-F238E27FC236}">
                    <a16:creationId xmlns:a16="http://schemas.microsoft.com/office/drawing/2014/main" id="{586B4E8A-76DA-4300-87F7-C26443339D4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27" name="Rechthoek 118">
              <a:extLst>
                <a:ext uri="{FF2B5EF4-FFF2-40B4-BE49-F238E27FC236}">
                  <a16:creationId xmlns:a16="http://schemas.microsoft.com/office/drawing/2014/main" id="{71A0633D-A3B1-4F12-B39D-FCBDCF33B6EC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328" name="Ovaal 119">
              <a:extLst>
                <a:ext uri="{FF2B5EF4-FFF2-40B4-BE49-F238E27FC236}">
                  <a16:creationId xmlns:a16="http://schemas.microsoft.com/office/drawing/2014/main" id="{FC368FAE-A5A9-4EFC-80D9-619EA4BA7432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329" name="Rechthoek 120">
              <a:extLst>
                <a:ext uri="{FF2B5EF4-FFF2-40B4-BE49-F238E27FC236}">
                  <a16:creationId xmlns:a16="http://schemas.microsoft.com/office/drawing/2014/main" id="{84410A19-B9B6-4BBF-9B8B-6DF659F1AE29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330" name="Ovaal 121">
              <a:extLst>
                <a:ext uri="{FF2B5EF4-FFF2-40B4-BE49-F238E27FC236}">
                  <a16:creationId xmlns:a16="http://schemas.microsoft.com/office/drawing/2014/main" id="{8F7B5A33-26BC-436A-8A53-D1D272A6DE29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331" name="Rechthoek 122">
              <a:extLst>
                <a:ext uri="{FF2B5EF4-FFF2-40B4-BE49-F238E27FC236}">
                  <a16:creationId xmlns:a16="http://schemas.microsoft.com/office/drawing/2014/main" id="{6CDF8D89-AA1A-4F80-A5E0-A4C8492DC6A4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332" name="Ovaal 123">
              <a:extLst>
                <a:ext uri="{FF2B5EF4-FFF2-40B4-BE49-F238E27FC236}">
                  <a16:creationId xmlns:a16="http://schemas.microsoft.com/office/drawing/2014/main" id="{775AA4EE-9A81-4146-92AC-7A705BAA7813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333" name="Rechthoek 124">
              <a:extLst>
                <a:ext uri="{FF2B5EF4-FFF2-40B4-BE49-F238E27FC236}">
                  <a16:creationId xmlns:a16="http://schemas.microsoft.com/office/drawing/2014/main" id="{E6474284-C655-44E5-A56B-45B27193E44C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334" name="Rechthoek 125">
              <a:extLst>
                <a:ext uri="{FF2B5EF4-FFF2-40B4-BE49-F238E27FC236}">
                  <a16:creationId xmlns:a16="http://schemas.microsoft.com/office/drawing/2014/main" id="{0B41130A-DA03-4915-8C3C-DB2912DEAB5C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335" name="Ovaal 126">
              <a:extLst>
                <a:ext uri="{FF2B5EF4-FFF2-40B4-BE49-F238E27FC236}">
                  <a16:creationId xmlns:a16="http://schemas.microsoft.com/office/drawing/2014/main" id="{D5373442-6EF1-4D97-9202-485DB24F9960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24023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rnpunten + Iconen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err="1"/>
              <a:t>Koptitel</a:t>
            </a:r>
            <a:endParaRPr lang="en-US" noProof="0"/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err="1"/>
              <a:t>Ondertitel</a:t>
            </a:r>
            <a:endParaRPr lang="en-US"/>
          </a:p>
        </p:txBody>
      </p:sp>
      <p:grpSp>
        <p:nvGrpSpPr>
          <p:cNvPr id="38" name="GRID" hidden="1">
            <a:extLst>
              <a:ext uri="{FF2B5EF4-FFF2-40B4-BE49-F238E27FC236}">
                <a16:creationId xmlns:a16="http://schemas.microsoft.com/office/drawing/2014/main" id="{51D5F7E8-69F8-47AD-81F5-1645C97607C1}"/>
              </a:ext>
            </a:extLst>
          </p:cNvPr>
          <p:cNvGrpSpPr/>
          <p:nvPr userDrawn="1"/>
        </p:nvGrpSpPr>
        <p:grpSpPr>
          <a:xfrm>
            <a:off x="5" y="0"/>
            <a:ext cx="42767261" cy="30275213"/>
            <a:chOff x="0" y="0"/>
            <a:chExt cx="12192003" cy="6858000"/>
          </a:xfrm>
        </p:grpSpPr>
        <p:sp>
          <p:nvSpPr>
            <p:cNvPr id="39" name="Rechthoek 38">
              <a:extLst>
                <a:ext uri="{FF2B5EF4-FFF2-40B4-BE49-F238E27FC236}">
                  <a16:creationId xmlns:a16="http://schemas.microsoft.com/office/drawing/2014/main" id="{71DB2C92-E6A8-4532-98F6-C917E7F5CD17}"/>
                </a:ext>
              </a:extLst>
            </p:cNvPr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0" name="Rechthoek 39">
              <a:extLst>
                <a:ext uri="{FF2B5EF4-FFF2-40B4-BE49-F238E27FC236}">
                  <a16:creationId xmlns:a16="http://schemas.microsoft.com/office/drawing/2014/main" id="{1283F161-5F8A-45E1-A9F2-F823FC1CB0A5}"/>
                </a:ext>
              </a:extLst>
            </p:cNvPr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1" name="Rechthoek 40">
              <a:extLst>
                <a:ext uri="{FF2B5EF4-FFF2-40B4-BE49-F238E27FC236}">
                  <a16:creationId xmlns:a16="http://schemas.microsoft.com/office/drawing/2014/main" id="{E25AE021-76F4-4113-9019-FB3CB3351AD2}"/>
                </a:ext>
              </a:extLst>
            </p:cNvPr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2" name="Rechthoek 41">
              <a:extLst>
                <a:ext uri="{FF2B5EF4-FFF2-40B4-BE49-F238E27FC236}">
                  <a16:creationId xmlns:a16="http://schemas.microsoft.com/office/drawing/2014/main" id="{4F56F574-960D-4395-B98C-5F49ED9EF418}"/>
                </a:ext>
              </a:extLst>
            </p:cNvPr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34E307D0-CCA0-4BDF-BC5F-E19838E9F7DA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4" name="Rechthoek 43">
              <a:extLst>
                <a:ext uri="{FF2B5EF4-FFF2-40B4-BE49-F238E27FC236}">
                  <a16:creationId xmlns:a16="http://schemas.microsoft.com/office/drawing/2014/main" id="{2AEE0B25-FBCC-4048-A2C0-6D97C3E7FEB7}"/>
                </a:ext>
              </a:extLst>
            </p:cNvPr>
            <p:cNvSpPr/>
            <p:nvPr userDrawn="1"/>
          </p:nvSpPr>
          <p:spPr>
            <a:xfrm rot="5400000">
              <a:off x="5895976" y="-108104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8"/>
            <a:ext cx="707315" cy="1016405"/>
          </a:xfrm>
        </p:spPr>
        <p:txBody>
          <a:bodyPr/>
          <a:lstStyle/>
          <a:p>
            <a:fld id="{55B2A88A-B7BD-41B1-9FCB-9BE633251ACA}" type="slidenum">
              <a:rPr lang="en-US" noProof="0" smtClean="0"/>
              <a:t>‹nr.›</a:t>
            </a:fld>
            <a:endParaRPr lang="en-US" noProof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9B18BDE9-18FD-4C97-9F64-E73C2C770EF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57138" y="10288803"/>
            <a:ext cx="8777982" cy="9793572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087536" y="0"/>
                </a:lnTo>
                <a:cubicBezTo>
                  <a:pt x="32406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240614" y="2982912"/>
                  <a:pt x="3087536" y="2982912"/>
                </a:cubicBezTo>
                <a:lnTo>
                  <a:pt x="281143" y="2982912"/>
                </a:lnTo>
                <a:cubicBezTo>
                  <a:pt x="12806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4209">
                <a:solidFill>
                  <a:schemeClr val="bg1"/>
                </a:solidFill>
              </a:defRPr>
            </a:lvl2pPr>
            <a:lvl3pPr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48" name="Tijdelijke aanduiding voor tekst 14">
            <a:extLst>
              <a:ext uri="{FF2B5EF4-FFF2-40B4-BE49-F238E27FC236}">
                <a16:creationId xmlns:a16="http://schemas.microsoft.com/office/drawing/2014/main" id="{F1653C5F-83B0-4357-9779-FCA8C005D7E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61610" y="8083434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0" name="Tijdelijke aanduiding voor tekst 3">
            <a:extLst>
              <a:ext uri="{FF2B5EF4-FFF2-40B4-BE49-F238E27FC236}">
                <a16:creationId xmlns:a16="http://schemas.microsoft.com/office/drawing/2014/main" id="{2CDDE61D-7900-4D30-8C50-19D730DC4B3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176292" y="10288803"/>
            <a:ext cx="8777982" cy="9793572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087536" y="0"/>
                </a:lnTo>
                <a:cubicBezTo>
                  <a:pt x="32406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240614" y="2982912"/>
                  <a:pt x="3087536" y="2982912"/>
                </a:cubicBezTo>
                <a:lnTo>
                  <a:pt x="281143" y="2982912"/>
                </a:lnTo>
                <a:cubicBezTo>
                  <a:pt x="12806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defRPr sz="4209">
                <a:solidFill>
                  <a:schemeClr val="bg1"/>
                </a:solidFill>
              </a:defRPr>
            </a:lvl2pPr>
            <a:lvl3pPr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31" name="Tijdelijke aanduiding voor tekst 14">
            <a:extLst>
              <a:ext uri="{FF2B5EF4-FFF2-40B4-BE49-F238E27FC236}">
                <a16:creationId xmlns:a16="http://schemas.microsoft.com/office/drawing/2014/main" id="{7BCA5047-285E-4616-AF7C-30C41FBE50D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4880762" y="8083434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3" name="Tijdelijke aanduiding voor tekst 3">
            <a:extLst>
              <a:ext uri="{FF2B5EF4-FFF2-40B4-BE49-F238E27FC236}">
                <a16:creationId xmlns:a16="http://schemas.microsoft.com/office/drawing/2014/main" id="{33196E6E-959A-406E-A275-32D18E41825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896856" y="10288803"/>
            <a:ext cx="8777982" cy="9793572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087536" y="0"/>
                </a:lnTo>
                <a:cubicBezTo>
                  <a:pt x="32406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240614" y="2982912"/>
                  <a:pt x="3087536" y="2982912"/>
                </a:cubicBezTo>
                <a:lnTo>
                  <a:pt x="281143" y="2982912"/>
                </a:lnTo>
                <a:cubicBezTo>
                  <a:pt x="12806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4209">
                <a:solidFill>
                  <a:schemeClr val="bg1"/>
                </a:solidFill>
              </a:defRPr>
            </a:lvl2pPr>
            <a:lvl3pPr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34" name="Tijdelijke aanduiding voor tekst 14">
            <a:extLst>
              <a:ext uri="{FF2B5EF4-FFF2-40B4-BE49-F238E27FC236}">
                <a16:creationId xmlns:a16="http://schemas.microsoft.com/office/drawing/2014/main" id="{2BC9E580-784A-425F-A45F-E9BAE702C3A4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4601328" y="8083434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7" name="Tijdelijke aanduiding voor tekst 3">
            <a:extLst>
              <a:ext uri="{FF2B5EF4-FFF2-40B4-BE49-F238E27FC236}">
                <a16:creationId xmlns:a16="http://schemas.microsoft.com/office/drawing/2014/main" id="{20A32965-12AC-4768-9A3A-36933D48FA46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2036574" y="10288803"/>
            <a:ext cx="8777982" cy="9793572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087536" y="0"/>
                </a:lnTo>
                <a:cubicBezTo>
                  <a:pt x="32406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240614" y="2982912"/>
                  <a:pt x="3087536" y="2982912"/>
                </a:cubicBezTo>
                <a:lnTo>
                  <a:pt x="281143" y="2982912"/>
                </a:lnTo>
                <a:cubicBezTo>
                  <a:pt x="12806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4209">
                <a:solidFill>
                  <a:schemeClr val="bg1"/>
                </a:solidFill>
              </a:defRPr>
            </a:lvl2pPr>
            <a:lvl3pPr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52" name="Tijdelijke aanduiding voor tekst 14">
            <a:extLst>
              <a:ext uri="{FF2B5EF4-FFF2-40B4-BE49-F238E27FC236}">
                <a16:creationId xmlns:a16="http://schemas.microsoft.com/office/drawing/2014/main" id="{64B43F51-91B8-44C7-88A8-99F45ADD7CB4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24741045" y="8083434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pic>
        <p:nvPicPr>
          <p:cNvPr id="24" name="Afbeelding 23">
            <a:extLst>
              <a:ext uri="{FF2B5EF4-FFF2-40B4-BE49-F238E27FC236}">
                <a16:creationId xmlns:a16="http://schemas.microsoft.com/office/drawing/2014/main" id="{9808A347-7021-4A95-A1A8-D23F88DBAE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  <p:grpSp>
        <p:nvGrpSpPr>
          <p:cNvPr id="25" name="Meer informatie">
            <a:extLst>
              <a:ext uri="{FF2B5EF4-FFF2-40B4-BE49-F238E27FC236}">
                <a16:creationId xmlns:a16="http://schemas.microsoft.com/office/drawing/2014/main" id="{690213C6-0742-45BA-8B4E-4C0A92C3C5FD}"/>
              </a:ext>
            </a:extLst>
          </p:cNvPr>
          <p:cNvGrpSpPr/>
          <p:nvPr userDrawn="1"/>
        </p:nvGrpSpPr>
        <p:grpSpPr>
          <a:xfrm>
            <a:off x="43487270" y="1774577"/>
            <a:ext cx="11147891" cy="3644433"/>
            <a:chOff x="-3740989" y="3458473"/>
            <a:chExt cx="3178018" cy="825544"/>
          </a:xfrm>
        </p:grpSpPr>
        <p:sp>
          <p:nvSpPr>
            <p:cNvPr id="26" name="Rechthoek 25">
              <a:extLst>
                <a:ext uri="{FF2B5EF4-FFF2-40B4-BE49-F238E27FC236}">
                  <a16:creationId xmlns:a16="http://schemas.microsoft.com/office/drawing/2014/main" id="{3BE197EF-126A-4B46-9B26-8400360B7CBF}"/>
                </a:ext>
              </a:extLst>
            </p:cNvPr>
            <p:cNvSpPr/>
            <p:nvPr userDrawn="1"/>
          </p:nvSpPr>
          <p:spPr>
            <a:xfrm>
              <a:off x="-3740989" y="3458473"/>
              <a:ext cx="2863716" cy="5921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conen vind je in de slide bibliotheek.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opieer (Ctrl-c) de icoon uit de bibliotheek en plak (Ctrl-v) deze op de gewenste plek. Iconen zijn aanpasbaar qua kleur en formaat.</a:t>
              </a:r>
            </a:p>
          </p:txBody>
        </p:sp>
        <p:cxnSp>
          <p:nvCxnSpPr>
            <p:cNvPr id="27" name="Rechte verbindingslijn 26">
              <a:extLst>
                <a:ext uri="{FF2B5EF4-FFF2-40B4-BE49-F238E27FC236}">
                  <a16:creationId xmlns:a16="http://schemas.microsoft.com/office/drawing/2014/main" id="{33F136FD-3FEC-49F3-8795-9972066703F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740987" y="4284017"/>
              <a:ext cx="3178016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8" name="Rechthoek 27">
            <a:extLst>
              <a:ext uri="{FF2B5EF4-FFF2-40B4-BE49-F238E27FC236}">
                <a16:creationId xmlns:a16="http://schemas.microsoft.com/office/drawing/2014/main" id="{8F8FF5C8-DEE6-4FE5-99DF-FA8EA5753A2D}"/>
              </a:ext>
            </a:extLst>
          </p:cNvPr>
          <p:cNvSpPr/>
          <p:nvPr userDrawn="1"/>
        </p:nvSpPr>
        <p:spPr>
          <a:xfrm>
            <a:off x="43487272" y="5"/>
            <a:ext cx="11147884" cy="84588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defTabSz="3207489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rPr>
              <a:t>ICOON invoegen / veranderen</a:t>
            </a:r>
          </a:p>
        </p:txBody>
      </p:sp>
      <p:cxnSp>
        <p:nvCxnSpPr>
          <p:cNvPr id="32" name="Rechte verbindingslijn 31">
            <a:extLst>
              <a:ext uri="{FF2B5EF4-FFF2-40B4-BE49-F238E27FC236}">
                <a16:creationId xmlns:a16="http://schemas.microsoft.com/office/drawing/2014/main" id="{3860E628-0CFC-43D4-998E-60ECE6AFFA74}"/>
              </a:ext>
            </a:extLst>
          </p:cNvPr>
          <p:cNvCxnSpPr>
            <a:cxnSpLocks/>
          </p:cNvCxnSpPr>
          <p:nvPr userDrawn="1"/>
        </p:nvCxnSpPr>
        <p:spPr>
          <a:xfrm>
            <a:off x="43487269" y="1066718"/>
            <a:ext cx="11147888" cy="0"/>
          </a:xfrm>
          <a:prstGeom prst="line">
            <a:avLst/>
          </a:prstGeom>
          <a:noFill/>
          <a:ln w="3175" cap="flat" cmpd="sng" algn="ctr">
            <a:solidFill>
              <a:schemeClr val="accent1"/>
            </a:solidFill>
            <a:prstDash val="solid"/>
          </a:ln>
          <a:effectLst/>
        </p:spPr>
      </p:cxnSp>
      <p:grpSp>
        <p:nvGrpSpPr>
          <p:cNvPr id="35" name="Instructie">
            <a:extLst>
              <a:ext uri="{FF2B5EF4-FFF2-40B4-BE49-F238E27FC236}">
                <a16:creationId xmlns:a16="http://schemas.microsoft.com/office/drawing/2014/main" id="{FADC590A-80D0-4F8E-AB42-3D1236AFE0BF}"/>
              </a:ext>
            </a:extLst>
          </p:cNvPr>
          <p:cNvGrpSpPr/>
          <p:nvPr userDrawn="1"/>
        </p:nvGrpSpPr>
        <p:grpSpPr>
          <a:xfrm>
            <a:off x="43506534" y="6474547"/>
            <a:ext cx="11164508" cy="11743958"/>
            <a:chOff x="-3426088" y="4512342"/>
            <a:chExt cx="3182755" cy="2660264"/>
          </a:xfrm>
        </p:grpSpPr>
        <p:sp>
          <p:nvSpPr>
            <p:cNvPr id="36" name="Rechthoek 127">
              <a:extLst>
                <a:ext uri="{FF2B5EF4-FFF2-40B4-BE49-F238E27FC236}">
                  <a16:creationId xmlns:a16="http://schemas.microsoft.com/office/drawing/2014/main" id="{45F1DBA5-C73D-47EC-ADFF-A0F5C04EEAD4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49" name="Rechte verbindingslijn 128">
              <a:extLst>
                <a:ext uri="{FF2B5EF4-FFF2-40B4-BE49-F238E27FC236}">
                  <a16:creationId xmlns:a16="http://schemas.microsoft.com/office/drawing/2014/main" id="{77783C23-AFCD-49BD-A92D-5F7D4448FD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50" name="Rechthoek 130">
              <a:extLst>
                <a:ext uri="{FF2B5EF4-FFF2-40B4-BE49-F238E27FC236}">
                  <a16:creationId xmlns:a16="http://schemas.microsoft.com/office/drawing/2014/main" id="{42C611A4-79B2-4229-8F2A-1E8AC3A31A20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51" name="Rechthoek 133">
              <a:extLst>
                <a:ext uri="{FF2B5EF4-FFF2-40B4-BE49-F238E27FC236}">
                  <a16:creationId xmlns:a16="http://schemas.microsoft.com/office/drawing/2014/main" id="{6440ACFB-64B8-408A-B4F1-1B6AD802422F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53" name="Rechthoek 136">
              <a:extLst>
                <a:ext uri="{FF2B5EF4-FFF2-40B4-BE49-F238E27FC236}">
                  <a16:creationId xmlns:a16="http://schemas.microsoft.com/office/drawing/2014/main" id="{EF5C14F0-DB8F-444D-9146-49F9485E0E0D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54" name="Rechthoek 139">
              <a:extLst>
                <a:ext uri="{FF2B5EF4-FFF2-40B4-BE49-F238E27FC236}">
                  <a16:creationId xmlns:a16="http://schemas.microsoft.com/office/drawing/2014/main" id="{AEB7FAB6-F4A9-4846-B64C-DD3D29A78C76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55" name="Rechte verbindingslijn 140">
              <a:extLst>
                <a:ext uri="{FF2B5EF4-FFF2-40B4-BE49-F238E27FC236}">
                  <a16:creationId xmlns:a16="http://schemas.microsoft.com/office/drawing/2014/main" id="{A372F14B-991C-4BFB-9008-D41A0C5D7D6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56" name="Groep 101">
            <a:extLst>
              <a:ext uri="{FF2B5EF4-FFF2-40B4-BE49-F238E27FC236}">
                <a16:creationId xmlns:a16="http://schemas.microsoft.com/office/drawing/2014/main" id="{F32B50C5-F5DF-40DC-9D58-EECC0E8BAB16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57" name="Rechthoek 102">
              <a:extLst>
                <a:ext uri="{FF2B5EF4-FFF2-40B4-BE49-F238E27FC236}">
                  <a16:creationId xmlns:a16="http://schemas.microsoft.com/office/drawing/2014/main" id="{CBDF2DBA-2D25-4165-91FC-6142F217B2B3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58" name="Ovaal 103">
              <a:extLst>
                <a:ext uri="{FF2B5EF4-FFF2-40B4-BE49-F238E27FC236}">
                  <a16:creationId xmlns:a16="http://schemas.microsoft.com/office/drawing/2014/main" id="{D29A10E2-9C95-40AE-89E2-B52D5740CB0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59" name="Rechte verbindingslijn 104">
              <a:extLst>
                <a:ext uri="{FF2B5EF4-FFF2-40B4-BE49-F238E27FC236}">
                  <a16:creationId xmlns:a16="http://schemas.microsoft.com/office/drawing/2014/main" id="{97E88656-A2DF-433D-9E92-D5FFBDBC3B1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60" name="Groep 105">
              <a:extLst>
                <a:ext uri="{FF2B5EF4-FFF2-40B4-BE49-F238E27FC236}">
                  <a16:creationId xmlns:a16="http://schemas.microsoft.com/office/drawing/2014/main" id="{EB18F6F1-E75A-4350-BBCE-10C44D6D53B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85" name="Rechthoek 130">
                <a:extLst>
                  <a:ext uri="{FF2B5EF4-FFF2-40B4-BE49-F238E27FC236}">
                    <a16:creationId xmlns:a16="http://schemas.microsoft.com/office/drawing/2014/main" id="{DE9CD6B4-5F8A-48A0-AB14-32D4B8055E08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86" name="Rechte verbindingslijn 131">
                <a:extLst>
                  <a:ext uri="{FF2B5EF4-FFF2-40B4-BE49-F238E27FC236}">
                    <a16:creationId xmlns:a16="http://schemas.microsoft.com/office/drawing/2014/main" id="{E0EEF84F-9952-4683-9FE0-946C1D2FF74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Rechte verbindingslijn 132">
                <a:extLst>
                  <a:ext uri="{FF2B5EF4-FFF2-40B4-BE49-F238E27FC236}">
                    <a16:creationId xmlns:a16="http://schemas.microsoft.com/office/drawing/2014/main" id="{5D75A59A-D3EA-43ED-BB28-A0DCF4FFC69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8" name="Rechthoek 133">
                <a:extLst>
                  <a:ext uri="{FF2B5EF4-FFF2-40B4-BE49-F238E27FC236}">
                    <a16:creationId xmlns:a16="http://schemas.microsoft.com/office/drawing/2014/main" id="{5C18C196-60F5-408F-B1D7-0FE87AF2C820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89" name="Groep 134">
                <a:extLst>
                  <a:ext uri="{FF2B5EF4-FFF2-40B4-BE49-F238E27FC236}">
                    <a16:creationId xmlns:a16="http://schemas.microsoft.com/office/drawing/2014/main" id="{19940C93-7077-4061-997B-B9764262BFC3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28" name="Groep 175">
                  <a:extLst>
                    <a:ext uri="{FF2B5EF4-FFF2-40B4-BE49-F238E27FC236}">
                      <a16:creationId xmlns:a16="http://schemas.microsoft.com/office/drawing/2014/main" id="{6F673296-7E0C-45FA-8B6C-5AD450A6B2F6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32" name="Rechte verbindingslijn 179">
                    <a:extLst>
                      <a:ext uri="{FF2B5EF4-FFF2-40B4-BE49-F238E27FC236}">
                        <a16:creationId xmlns:a16="http://schemas.microsoft.com/office/drawing/2014/main" id="{BD7C17A5-AF6B-4DA9-817C-CA9F0CC4DA3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33" name="Rechte verbindingslijn 180">
                    <a:extLst>
                      <a:ext uri="{FF2B5EF4-FFF2-40B4-BE49-F238E27FC236}">
                        <a16:creationId xmlns:a16="http://schemas.microsoft.com/office/drawing/2014/main" id="{19BC700F-4443-4FF9-A02F-0B5AF41D159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34" name="Rechte verbindingslijn 181">
                    <a:extLst>
                      <a:ext uri="{FF2B5EF4-FFF2-40B4-BE49-F238E27FC236}">
                        <a16:creationId xmlns:a16="http://schemas.microsoft.com/office/drawing/2014/main" id="{DBEE842F-D90D-492F-BAFD-C74D0E885AC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35" name="Rechte verbindingslijn 182">
                    <a:extLst>
                      <a:ext uri="{FF2B5EF4-FFF2-40B4-BE49-F238E27FC236}">
                        <a16:creationId xmlns:a16="http://schemas.microsoft.com/office/drawing/2014/main" id="{EBCB2C7B-9D3E-4486-92F4-FF162407DF6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36" name="Rechte verbindingslijn 183">
                    <a:extLst>
                      <a:ext uri="{FF2B5EF4-FFF2-40B4-BE49-F238E27FC236}">
                        <a16:creationId xmlns:a16="http://schemas.microsoft.com/office/drawing/2014/main" id="{A114EA34-F6AA-4148-AEC2-89F096140E9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29" name="Groep 176">
                  <a:extLst>
                    <a:ext uri="{FF2B5EF4-FFF2-40B4-BE49-F238E27FC236}">
                      <a16:creationId xmlns:a16="http://schemas.microsoft.com/office/drawing/2014/main" id="{092CE0FA-4384-4F8C-AAC6-ACA9FDCD7CBA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30" name="Rechthoek 177">
                    <a:extLst>
                      <a:ext uri="{FF2B5EF4-FFF2-40B4-BE49-F238E27FC236}">
                        <a16:creationId xmlns:a16="http://schemas.microsoft.com/office/drawing/2014/main" id="{6FD58914-CDDA-4DD2-8396-637426CA28F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1" name="Pijl: punthaak 178">
                    <a:extLst>
                      <a:ext uri="{FF2B5EF4-FFF2-40B4-BE49-F238E27FC236}">
                        <a16:creationId xmlns:a16="http://schemas.microsoft.com/office/drawing/2014/main" id="{957093B8-0EEC-4A99-814E-A4CB94DD16F0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90" name="Groep 135">
                <a:extLst>
                  <a:ext uri="{FF2B5EF4-FFF2-40B4-BE49-F238E27FC236}">
                    <a16:creationId xmlns:a16="http://schemas.microsoft.com/office/drawing/2014/main" id="{CD1001C2-E5EE-420E-8536-85CD39EA1C77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19" name="Groep 166">
                  <a:extLst>
                    <a:ext uri="{FF2B5EF4-FFF2-40B4-BE49-F238E27FC236}">
                      <a16:creationId xmlns:a16="http://schemas.microsoft.com/office/drawing/2014/main" id="{DE132F0C-0A9F-4EC9-891C-E9F9B68D8E1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23" name="Rechte verbindingslijn 170">
                    <a:extLst>
                      <a:ext uri="{FF2B5EF4-FFF2-40B4-BE49-F238E27FC236}">
                        <a16:creationId xmlns:a16="http://schemas.microsoft.com/office/drawing/2014/main" id="{55DCCA61-D15C-4390-8DFC-78785E15B69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24" name="Rechte verbindingslijn 171">
                    <a:extLst>
                      <a:ext uri="{FF2B5EF4-FFF2-40B4-BE49-F238E27FC236}">
                        <a16:creationId xmlns:a16="http://schemas.microsoft.com/office/drawing/2014/main" id="{87498E5D-7C35-4D4D-B5C5-774175558A5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25" name="Rechte verbindingslijn 172">
                    <a:extLst>
                      <a:ext uri="{FF2B5EF4-FFF2-40B4-BE49-F238E27FC236}">
                        <a16:creationId xmlns:a16="http://schemas.microsoft.com/office/drawing/2014/main" id="{A528AA5A-9228-4951-A983-E27FB75A76D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26" name="Rechte verbindingslijn 173">
                    <a:extLst>
                      <a:ext uri="{FF2B5EF4-FFF2-40B4-BE49-F238E27FC236}">
                        <a16:creationId xmlns:a16="http://schemas.microsoft.com/office/drawing/2014/main" id="{A5307FF5-A085-439D-BF7E-6AFA877379B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27" name="Rechte verbindingslijn 174">
                    <a:extLst>
                      <a:ext uri="{FF2B5EF4-FFF2-40B4-BE49-F238E27FC236}">
                        <a16:creationId xmlns:a16="http://schemas.microsoft.com/office/drawing/2014/main" id="{C2B4688C-BDE5-42D1-8B89-4A2301AC8CB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20" name="Groep 167">
                  <a:extLst>
                    <a:ext uri="{FF2B5EF4-FFF2-40B4-BE49-F238E27FC236}">
                      <a16:creationId xmlns:a16="http://schemas.microsoft.com/office/drawing/2014/main" id="{D52C410B-8B34-4FA6-BF77-63EB359B0C38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21" name="Rechthoek 168">
                    <a:extLst>
                      <a:ext uri="{FF2B5EF4-FFF2-40B4-BE49-F238E27FC236}">
                        <a16:creationId xmlns:a16="http://schemas.microsoft.com/office/drawing/2014/main" id="{D36549A7-0C35-4226-A84B-01396765238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22" name="Pijl: punthaak 169">
                    <a:extLst>
                      <a:ext uri="{FF2B5EF4-FFF2-40B4-BE49-F238E27FC236}">
                        <a16:creationId xmlns:a16="http://schemas.microsoft.com/office/drawing/2014/main" id="{A14BBA7E-5CFD-4DF3-BF01-3E874BB67F9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91" name="Rechte verbindingslijn 136">
                <a:extLst>
                  <a:ext uri="{FF2B5EF4-FFF2-40B4-BE49-F238E27FC236}">
                    <a16:creationId xmlns:a16="http://schemas.microsoft.com/office/drawing/2014/main" id="{4B1B2E33-BF7F-4EEC-B96B-0E17879752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92" name="Rechte verbindingslijn 137">
                <a:extLst>
                  <a:ext uri="{FF2B5EF4-FFF2-40B4-BE49-F238E27FC236}">
                    <a16:creationId xmlns:a16="http://schemas.microsoft.com/office/drawing/2014/main" id="{0D92B8CF-B343-45CD-89D3-5D51D0F2446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93" name="Groep 138">
                <a:extLst>
                  <a:ext uri="{FF2B5EF4-FFF2-40B4-BE49-F238E27FC236}">
                    <a16:creationId xmlns:a16="http://schemas.microsoft.com/office/drawing/2014/main" id="{74D5AAE5-B6F5-4376-A410-133105F88F82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08" name="Rechthoek 155">
                  <a:extLst>
                    <a:ext uri="{FF2B5EF4-FFF2-40B4-BE49-F238E27FC236}">
                      <a16:creationId xmlns:a16="http://schemas.microsoft.com/office/drawing/2014/main" id="{2D36C82B-4D15-41ED-BBC2-2A6364E2A10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09" name="Groep 156">
                  <a:extLst>
                    <a:ext uri="{FF2B5EF4-FFF2-40B4-BE49-F238E27FC236}">
                      <a16:creationId xmlns:a16="http://schemas.microsoft.com/office/drawing/2014/main" id="{3D1C3FFD-BFEF-4D75-A980-D84DCF889C0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10" name="Groep 157">
                    <a:extLst>
                      <a:ext uri="{FF2B5EF4-FFF2-40B4-BE49-F238E27FC236}">
                        <a16:creationId xmlns:a16="http://schemas.microsoft.com/office/drawing/2014/main" id="{7DCA84F5-3106-409F-903D-F0A920BB85C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14" name="Rechte verbindingslijn 161">
                      <a:extLst>
                        <a:ext uri="{FF2B5EF4-FFF2-40B4-BE49-F238E27FC236}">
                          <a16:creationId xmlns:a16="http://schemas.microsoft.com/office/drawing/2014/main" id="{504B250A-971C-4E4D-8870-73794C3093F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15" name="Rechte verbindingslijn 162">
                      <a:extLst>
                        <a:ext uri="{FF2B5EF4-FFF2-40B4-BE49-F238E27FC236}">
                          <a16:creationId xmlns:a16="http://schemas.microsoft.com/office/drawing/2014/main" id="{D81D121E-61BB-43EF-8463-86E1B47ED6E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16" name="Rechte verbindingslijn 163">
                      <a:extLst>
                        <a:ext uri="{FF2B5EF4-FFF2-40B4-BE49-F238E27FC236}">
                          <a16:creationId xmlns:a16="http://schemas.microsoft.com/office/drawing/2014/main" id="{D570ABC2-7B44-45A9-97DD-BA0996A9EAB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17" name="Rechte verbindingslijn 164">
                      <a:extLst>
                        <a:ext uri="{FF2B5EF4-FFF2-40B4-BE49-F238E27FC236}">
                          <a16:creationId xmlns:a16="http://schemas.microsoft.com/office/drawing/2014/main" id="{F34E07C9-EA9F-4D6A-9E85-7AA72F6ED4F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18" name="Rechte verbindingslijn 165">
                      <a:extLst>
                        <a:ext uri="{FF2B5EF4-FFF2-40B4-BE49-F238E27FC236}">
                          <a16:creationId xmlns:a16="http://schemas.microsoft.com/office/drawing/2014/main" id="{D273A663-9681-4A43-90E1-73BBE6FCC34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11" name="Groep 158">
                    <a:extLst>
                      <a:ext uri="{FF2B5EF4-FFF2-40B4-BE49-F238E27FC236}">
                        <a16:creationId xmlns:a16="http://schemas.microsoft.com/office/drawing/2014/main" id="{7EE673A5-2FC3-4498-9B5B-4CE47F62CA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12" name="Rechthoek 159">
                      <a:extLst>
                        <a:ext uri="{FF2B5EF4-FFF2-40B4-BE49-F238E27FC236}">
                          <a16:creationId xmlns:a16="http://schemas.microsoft.com/office/drawing/2014/main" id="{6E328675-3F18-45C1-ACEB-51CB6C5583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13" name="Pijl: punthaak 160">
                      <a:extLst>
                        <a:ext uri="{FF2B5EF4-FFF2-40B4-BE49-F238E27FC236}">
                          <a16:creationId xmlns:a16="http://schemas.microsoft.com/office/drawing/2014/main" id="{39C8C05C-D314-4B55-B63B-73FEA3BA398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94" name="Groep 139">
                <a:extLst>
                  <a:ext uri="{FF2B5EF4-FFF2-40B4-BE49-F238E27FC236}">
                    <a16:creationId xmlns:a16="http://schemas.microsoft.com/office/drawing/2014/main" id="{ACE6E3A3-7D2D-40D7-82A9-A99F5F52FD61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97" name="Rechthoek 142">
                  <a:extLst>
                    <a:ext uri="{FF2B5EF4-FFF2-40B4-BE49-F238E27FC236}">
                      <a16:creationId xmlns:a16="http://schemas.microsoft.com/office/drawing/2014/main" id="{6865F25F-7BC9-49F3-A5BF-19EEAF178EE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98" name="Groep 143">
                  <a:extLst>
                    <a:ext uri="{FF2B5EF4-FFF2-40B4-BE49-F238E27FC236}">
                      <a16:creationId xmlns:a16="http://schemas.microsoft.com/office/drawing/2014/main" id="{B03AEB2F-8C18-4473-A080-67CF8665523B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99" name="Groep 144">
                    <a:extLst>
                      <a:ext uri="{FF2B5EF4-FFF2-40B4-BE49-F238E27FC236}">
                        <a16:creationId xmlns:a16="http://schemas.microsoft.com/office/drawing/2014/main" id="{800277B1-44E7-44AA-B7A5-1E56A45968B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03" name="Rechte verbindingslijn 150">
                      <a:extLst>
                        <a:ext uri="{FF2B5EF4-FFF2-40B4-BE49-F238E27FC236}">
                          <a16:creationId xmlns:a16="http://schemas.microsoft.com/office/drawing/2014/main" id="{23496289-7EAF-413D-89FC-B83F32DAB1E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4" name="Rechte verbindingslijn 151">
                      <a:extLst>
                        <a:ext uri="{FF2B5EF4-FFF2-40B4-BE49-F238E27FC236}">
                          <a16:creationId xmlns:a16="http://schemas.microsoft.com/office/drawing/2014/main" id="{1389E0CD-2D67-4F2F-B340-3E596BCF048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5" name="Rechte verbindingslijn 152">
                      <a:extLst>
                        <a:ext uri="{FF2B5EF4-FFF2-40B4-BE49-F238E27FC236}">
                          <a16:creationId xmlns:a16="http://schemas.microsoft.com/office/drawing/2014/main" id="{CD7D94CC-9D52-40FB-B902-642E41391D2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6" name="Rechte verbindingslijn 153">
                      <a:extLst>
                        <a:ext uri="{FF2B5EF4-FFF2-40B4-BE49-F238E27FC236}">
                          <a16:creationId xmlns:a16="http://schemas.microsoft.com/office/drawing/2014/main" id="{2C919970-1422-40B1-B7EC-0761913B368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7" name="Rechte verbindingslijn 154">
                      <a:extLst>
                        <a:ext uri="{FF2B5EF4-FFF2-40B4-BE49-F238E27FC236}">
                          <a16:creationId xmlns:a16="http://schemas.microsoft.com/office/drawing/2014/main" id="{A297A80B-847C-4411-AF8B-D8CB7AB1C80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00" name="Groep 147">
                    <a:extLst>
                      <a:ext uri="{FF2B5EF4-FFF2-40B4-BE49-F238E27FC236}">
                        <a16:creationId xmlns:a16="http://schemas.microsoft.com/office/drawing/2014/main" id="{0534B01F-59A0-4609-BE61-E17E7F6B01A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01" name="Rechthoek 148">
                      <a:extLst>
                        <a:ext uri="{FF2B5EF4-FFF2-40B4-BE49-F238E27FC236}">
                          <a16:creationId xmlns:a16="http://schemas.microsoft.com/office/drawing/2014/main" id="{8A826474-1F20-453B-ACCF-31C11B7DFAA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2" name="Pijl: punthaak 149">
                      <a:extLst>
                        <a:ext uri="{FF2B5EF4-FFF2-40B4-BE49-F238E27FC236}">
                          <a16:creationId xmlns:a16="http://schemas.microsoft.com/office/drawing/2014/main" id="{B6F09AC9-9599-4102-9C26-104E31B18398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95" name="Rechthoek 140">
                <a:extLst>
                  <a:ext uri="{FF2B5EF4-FFF2-40B4-BE49-F238E27FC236}">
                    <a16:creationId xmlns:a16="http://schemas.microsoft.com/office/drawing/2014/main" id="{4471D6F0-E944-4471-9D6B-287F00F1422A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96" name="Rechthoek 141">
                <a:extLst>
                  <a:ext uri="{FF2B5EF4-FFF2-40B4-BE49-F238E27FC236}">
                    <a16:creationId xmlns:a16="http://schemas.microsoft.com/office/drawing/2014/main" id="{DE151E76-5636-4227-8FA2-A1A570A6E735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61" name="Rechte verbindingslijn 106">
              <a:extLst>
                <a:ext uri="{FF2B5EF4-FFF2-40B4-BE49-F238E27FC236}">
                  <a16:creationId xmlns:a16="http://schemas.microsoft.com/office/drawing/2014/main" id="{508F624B-421E-4D3D-9896-1F9D83DBC91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62" name="Rechthoek 107">
              <a:extLst>
                <a:ext uri="{FF2B5EF4-FFF2-40B4-BE49-F238E27FC236}">
                  <a16:creationId xmlns:a16="http://schemas.microsoft.com/office/drawing/2014/main" id="{BC36AB0E-7EE0-4671-A263-301FC979D0EC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63" name="Ovaal 108">
              <a:extLst>
                <a:ext uri="{FF2B5EF4-FFF2-40B4-BE49-F238E27FC236}">
                  <a16:creationId xmlns:a16="http://schemas.microsoft.com/office/drawing/2014/main" id="{5B98D948-9ABC-4964-81CA-9A17AA10B300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64" name="Rechthoek 109">
              <a:extLst>
                <a:ext uri="{FF2B5EF4-FFF2-40B4-BE49-F238E27FC236}">
                  <a16:creationId xmlns:a16="http://schemas.microsoft.com/office/drawing/2014/main" id="{577D5868-7C9B-4E25-B1D7-EA6FEF97EBE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65" name="Ovaal 110">
              <a:extLst>
                <a:ext uri="{FF2B5EF4-FFF2-40B4-BE49-F238E27FC236}">
                  <a16:creationId xmlns:a16="http://schemas.microsoft.com/office/drawing/2014/main" id="{CD9CFDF3-365E-44E2-BE31-A4460983B826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66" name="Rechthoek 111">
              <a:extLst>
                <a:ext uri="{FF2B5EF4-FFF2-40B4-BE49-F238E27FC236}">
                  <a16:creationId xmlns:a16="http://schemas.microsoft.com/office/drawing/2014/main" id="{0ED96630-D614-4315-ADE6-74ACF1BC149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67" name="Ovaal 112">
              <a:extLst>
                <a:ext uri="{FF2B5EF4-FFF2-40B4-BE49-F238E27FC236}">
                  <a16:creationId xmlns:a16="http://schemas.microsoft.com/office/drawing/2014/main" id="{AEBEFB1B-DBFD-4B2F-9F55-60ABEBACF993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68" name="Rechthoek 113">
              <a:extLst>
                <a:ext uri="{FF2B5EF4-FFF2-40B4-BE49-F238E27FC236}">
                  <a16:creationId xmlns:a16="http://schemas.microsoft.com/office/drawing/2014/main" id="{B1756332-2CB5-4FEB-B69E-ED3F3B748909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69" name="Ovaal 114">
              <a:extLst>
                <a:ext uri="{FF2B5EF4-FFF2-40B4-BE49-F238E27FC236}">
                  <a16:creationId xmlns:a16="http://schemas.microsoft.com/office/drawing/2014/main" id="{682E0D15-6D5E-42B9-BDAE-C1FA036D02D0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70" name="Rechthoek 115">
              <a:extLst>
                <a:ext uri="{FF2B5EF4-FFF2-40B4-BE49-F238E27FC236}">
                  <a16:creationId xmlns:a16="http://schemas.microsoft.com/office/drawing/2014/main" id="{E6702AD8-7BA1-4B14-91A3-A6097EC40CC3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71" name="Rechte verbindingslijn 116">
              <a:extLst>
                <a:ext uri="{FF2B5EF4-FFF2-40B4-BE49-F238E27FC236}">
                  <a16:creationId xmlns:a16="http://schemas.microsoft.com/office/drawing/2014/main" id="{8F2B8678-6E3C-4988-B2F0-3F9A81ED0B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72" name="Meer informatie">
              <a:extLst>
                <a:ext uri="{FF2B5EF4-FFF2-40B4-BE49-F238E27FC236}">
                  <a16:creationId xmlns:a16="http://schemas.microsoft.com/office/drawing/2014/main" id="{22415663-4564-4CAA-9C80-25A86A0FA9F6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82" name="Freeform 101">
                <a:extLst>
                  <a:ext uri="{FF2B5EF4-FFF2-40B4-BE49-F238E27FC236}">
                    <a16:creationId xmlns:a16="http://schemas.microsoft.com/office/drawing/2014/main" id="{86CBE978-7A27-4139-927B-2196A01054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83" name="Rechthoek 128">
                <a:extLst>
                  <a:ext uri="{FF2B5EF4-FFF2-40B4-BE49-F238E27FC236}">
                    <a16:creationId xmlns:a16="http://schemas.microsoft.com/office/drawing/2014/main" id="{00D54B3E-70D6-4045-9366-81395E5FC684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84" name="Rechte verbindingslijn 129">
                <a:extLst>
                  <a:ext uri="{FF2B5EF4-FFF2-40B4-BE49-F238E27FC236}">
                    <a16:creationId xmlns:a16="http://schemas.microsoft.com/office/drawing/2014/main" id="{67E8CD67-AFDA-4DE3-91A6-686326BB4AD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73" name="Rechthoek 118">
              <a:extLst>
                <a:ext uri="{FF2B5EF4-FFF2-40B4-BE49-F238E27FC236}">
                  <a16:creationId xmlns:a16="http://schemas.microsoft.com/office/drawing/2014/main" id="{B24C4619-CB64-40EC-AB2A-9286FAE49061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74" name="Ovaal 119">
              <a:extLst>
                <a:ext uri="{FF2B5EF4-FFF2-40B4-BE49-F238E27FC236}">
                  <a16:creationId xmlns:a16="http://schemas.microsoft.com/office/drawing/2014/main" id="{529B5E54-B1C8-40AA-8F75-8BE43203321B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75" name="Rechthoek 120">
              <a:extLst>
                <a:ext uri="{FF2B5EF4-FFF2-40B4-BE49-F238E27FC236}">
                  <a16:creationId xmlns:a16="http://schemas.microsoft.com/office/drawing/2014/main" id="{F1A27840-C9C1-46EC-A99D-D2655C5E5074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76" name="Ovaal 121">
              <a:extLst>
                <a:ext uri="{FF2B5EF4-FFF2-40B4-BE49-F238E27FC236}">
                  <a16:creationId xmlns:a16="http://schemas.microsoft.com/office/drawing/2014/main" id="{7CF30C22-57E4-40FA-B7E9-35CE66C5CC7E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77" name="Rechthoek 122">
              <a:extLst>
                <a:ext uri="{FF2B5EF4-FFF2-40B4-BE49-F238E27FC236}">
                  <a16:creationId xmlns:a16="http://schemas.microsoft.com/office/drawing/2014/main" id="{76BBA366-5089-4662-94BD-6333C8A43CB9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78" name="Ovaal 123">
              <a:extLst>
                <a:ext uri="{FF2B5EF4-FFF2-40B4-BE49-F238E27FC236}">
                  <a16:creationId xmlns:a16="http://schemas.microsoft.com/office/drawing/2014/main" id="{7209C35B-1477-433B-8787-AC8C65833602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79" name="Rechthoek 124">
              <a:extLst>
                <a:ext uri="{FF2B5EF4-FFF2-40B4-BE49-F238E27FC236}">
                  <a16:creationId xmlns:a16="http://schemas.microsoft.com/office/drawing/2014/main" id="{7E11705F-BE32-40EE-807B-EE55642F1BED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0" name="Rechthoek 125">
              <a:extLst>
                <a:ext uri="{FF2B5EF4-FFF2-40B4-BE49-F238E27FC236}">
                  <a16:creationId xmlns:a16="http://schemas.microsoft.com/office/drawing/2014/main" id="{43C05CBA-CAC3-4EF0-97AA-DDE2A2C06CB1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81" name="Ovaal 126">
              <a:extLst>
                <a:ext uri="{FF2B5EF4-FFF2-40B4-BE49-F238E27FC236}">
                  <a16:creationId xmlns:a16="http://schemas.microsoft.com/office/drawing/2014/main" id="{72AB5AB0-4EB7-4D44-8A18-BB13EE6E97B7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70919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rnpunten + Iconen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Tijdelijke aanduiding voor tekst 3">
            <a:extLst>
              <a:ext uri="{FF2B5EF4-FFF2-40B4-BE49-F238E27FC236}">
                <a16:creationId xmlns:a16="http://schemas.microsoft.com/office/drawing/2014/main" id="{60C96555-1A50-4EF0-87CB-9ACB58C9E0F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9207348" y="18619120"/>
            <a:ext cx="11802765" cy="7631866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18278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17319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176436" y="0"/>
                </a:lnTo>
                <a:cubicBezTo>
                  <a:pt x="33295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354914" y="2982912"/>
                  <a:pt x="3201836" y="2982912"/>
                </a:cubicBezTo>
                <a:lnTo>
                  <a:pt x="173193" y="2982912"/>
                </a:lnTo>
                <a:cubicBezTo>
                  <a:pt x="2011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>
              <a:spcAft>
                <a:spcPts val="0"/>
              </a:spcAft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defRPr sz="4209">
                <a:solidFill>
                  <a:schemeClr val="bg1"/>
                </a:solidFill>
              </a:defRPr>
            </a:lvl2pPr>
            <a:lvl3pPr marL="0" indent="0"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54" name="Tijdelijke aanduiding voor tekst 3">
            <a:extLst>
              <a:ext uri="{FF2B5EF4-FFF2-40B4-BE49-F238E27FC236}">
                <a16:creationId xmlns:a16="http://schemas.microsoft.com/office/drawing/2014/main" id="{B8B199D0-5FCA-4521-BEA6-F6144A03151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5482243" y="18619120"/>
            <a:ext cx="11802765" cy="7631866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18278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17319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176436" y="0"/>
                </a:lnTo>
                <a:cubicBezTo>
                  <a:pt x="33295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354914" y="2982912"/>
                  <a:pt x="3201836" y="2982912"/>
                </a:cubicBezTo>
                <a:lnTo>
                  <a:pt x="173193" y="2982912"/>
                </a:lnTo>
                <a:cubicBezTo>
                  <a:pt x="2011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defRPr sz="4209">
                <a:solidFill>
                  <a:schemeClr val="bg1"/>
                </a:solidFill>
              </a:defRPr>
            </a:lvl2pPr>
            <a:lvl3pPr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53" name="Tijdelijke aanduiding voor tekst 3">
            <a:extLst>
              <a:ext uri="{FF2B5EF4-FFF2-40B4-BE49-F238E27FC236}">
                <a16:creationId xmlns:a16="http://schemas.microsoft.com/office/drawing/2014/main" id="{BC18145F-6353-4193-8C5D-F21499B241C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757139" y="18619120"/>
            <a:ext cx="11802765" cy="7631866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18278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17319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176436" y="0"/>
                </a:lnTo>
                <a:cubicBezTo>
                  <a:pt x="33295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354914" y="2982912"/>
                  <a:pt x="3201836" y="2982912"/>
                </a:cubicBezTo>
                <a:lnTo>
                  <a:pt x="173193" y="2982912"/>
                </a:lnTo>
                <a:cubicBezTo>
                  <a:pt x="2011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defRPr sz="4209">
                <a:solidFill>
                  <a:schemeClr val="bg1"/>
                </a:solidFill>
              </a:defRPr>
            </a:lvl2pPr>
            <a:lvl3pPr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52" name="Tijdelijke aanduiding voor tekst 3">
            <a:extLst>
              <a:ext uri="{FF2B5EF4-FFF2-40B4-BE49-F238E27FC236}">
                <a16:creationId xmlns:a16="http://schemas.microsoft.com/office/drawing/2014/main" id="{74701542-138A-4340-8C2F-BB14933495A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9207348" y="7970563"/>
            <a:ext cx="11802765" cy="7631866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18278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17319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176436" y="0"/>
                </a:lnTo>
                <a:cubicBezTo>
                  <a:pt x="33295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354914" y="2982912"/>
                  <a:pt x="3201836" y="2982912"/>
                </a:cubicBezTo>
                <a:lnTo>
                  <a:pt x="173193" y="2982912"/>
                </a:lnTo>
                <a:cubicBezTo>
                  <a:pt x="2011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defRPr sz="4209">
                <a:solidFill>
                  <a:schemeClr val="bg1"/>
                </a:solidFill>
              </a:defRPr>
            </a:lvl2pPr>
            <a:lvl3pPr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37" name="Tijdelijke aanduiding voor tekst 3">
            <a:extLst>
              <a:ext uri="{FF2B5EF4-FFF2-40B4-BE49-F238E27FC236}">
                <a16:creationId xmlns:a16="http://schemas.microsoft.com/office/drawing/2014/main" id="{392E85A5-D697-48B7-A85B-E3E96885C72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5482243" y="7970563"/>
            <a:ext cx="11802765" cy="7631866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18278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17319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176436" y="0"/>
                </a:lnTo>
                <a:cubicBezTo>
                  <a:pt x="33295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354914" y="2982912"/>
                  <a:pt x="3201836" y="2982912"/>
                </a:cubicBezTo>
                <a:lnTo>
                  <a:pt x="173193" y="2982912"/>
                </a:lnTo>
                <a:cubicBezTo>
                  <a:pt x="2011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defRPr sz="4209">
                <a:solidFill>
                  <a:schemeClr val="bg1"/>
                </a:solidFill>
              </a:defRPr>
            </a:lvl2pPr>
            <a:lvl3pPr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err="1"/>
              <a:t>Koptitel</a:t>
            </a:r>
            <a:endParaRPr lang="en-US" noProof="0"/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err="1"/>
              <a:t>Ondertitel</a:t>
            </a:r>
            <a:endParaRPr lang="en-US"/>
          </a:p>
        </p:txBody>
      </p:sp>
      <p:grpSp>
        <p:nvGrpSpPr>
          <p:cNvPr id="38" name="GRID" hidden="1">
            <a:extLst>
              <a:ext uri="{FF2B5EF4-FFF2-40B4-BE49-F238E27FC236}">
                <a16:creationId xmlns:a16="http://schemas.microsoft.com/office/drawing/2014/main" id="{51D5F7E8-69F8-47AD-81F5-1645C97607C1}"/>
              </a:ext>
            </a:extLst>
          </p:cNvPr>
          <p:cNvGrpSpPr/>
          <p:nvPr userDrawn="1"/>
        </p:nvGrpSpPr>
        <p:grpSpPr>
          <a:xfrm>
            <a:off x="5" y="0"/>
            <a:ext cx="42767261" cy="30275213"/>
            <a:chOff x="0" y="0"/>
            <a:chExt cx="12192003" cy="6858000"/>
          </a:xfrm>
        </p:grpSpPr>
        <p:sp>
          <p:nvSpPr>
            <p:cNvPr id="39" name="Rechthoek 38">
              <a:extLst>
                <a:ext uri="{FF2B5EF4-FFF2-40B4-BE49-F238E27FC236}">
                  <a16:creationId xmlns:a16="http://schemas.microsoft.com/office/drawing/2014/main" id="{71DB2C92-E6A8-4532-98F6-C917E7F5CD17}"/>
                </a:ext>
              </a:extLst>
            </p:cNvPr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0" name="Rechthoek 39">
              <a:extLst>
                <a:ext uri="{FF2B5EF4-FFF2-40B4-BE49-F238E27FC236}">
                  <a16:creationId xmlns:a16="http://schemas.microsoft.com/office/drawing/2014/main" id="{1283F161-5F8A-45E1-A9F2-F823FC1CB0A5}"/>
                </a:ext>
              </a:extLst>
            </p:cNvPr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1" name="Rechthoek 40">
              <a:extLst>
                <a:ext uri="{FF2B5EF4-FFF2-40B4-BE49-F238E27FC236}">
                  <a16:creationId xmlns:a16="http://schemas.microsoft.com/office/drawing/2014/main" id="{E25AE021-76F4-4113-9019-FB3CB3351AD2}"/>
                </a:ext>
              </a:extLst>
            </p:cNvPr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2" name="Rechthoek 41">
              <a:extLst>
                <a:ext uri="{FF2B5EF4-FFF2-40B4-BE49-F238E27FC236}">
                  <a16:creationId xmlns:a16="http://schemas.microsoft.com/office/drawing/2014/main" id="{4F56F574-960D-4395-B98C-5F49ED9EF418}"/>
                </a:ext>
              </a:extLst>
            </p:cNvPr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34E307D0-CCA0-4BDF-BC5F-E19838E9F7DA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4" name="Rechthoek 43">
              <a:extLst>
                <a:ext uri="{FF2B5EF4-FFF2-40B4-BE49-F238E27FC236}">
                  <a16:creationId xmlns:a16="http://schemas.microsoft.com/office/drawing/2014/main" id="{2AEE0B25-FBCC-4048-A2C0-6D97C3E7FEB7}"/>
                </a:ext>
              </a:extLst>
            </p:cNvPr>
            <p:cNvSpPr/>
            <p:nvPr userDrawn="1"/>
          </p:nvSpPr>
          <p:spPr>
            <a:xfrm rot="5400000">
              <a:off x="5895976" y="-108104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8"/>
            <a:ext cx="707315" cy="1016405"/>
          </a:xfrm>
        </p:spPr>
        <p:txBody>
          <a:bodyPr/>
          <a:lstStyle/>
          <a:p>
            <a:fld id="{55B2A88A-B7BD-41B1-9FCB-9BE633251ACA}" type="slidenum">
              <a:rPr lang="en-US" noProof="0" smtClean="0"/>
              <a:t>‹nr.›</a:t>
            </a:fld>
            <a:endParaRPr lang="en-US" noProof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9B18BDE9-18FD-4C97-9F64-E73C2C770EF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57139" y="7970563"/>
            <a:ext cx="11802765" cy="7631866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18278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17319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176436" y="0"/>
                </a:lnTo>
                <a:cubicBezTo>
                  <a:pt x="33295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354914" y="2982912"/>
                  <a:pt x="3201836" y="2982912"/>
                </a:cubicBezTo>
                <a:lnTo>
                  <a:pt x="173193" y="2982912"/>
                </a:lnTo>
                <a:cubicBezTo>
                  <a:pt x="2011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defRPr sz="4209" b="0">
                <a:solidFill>
                  <a:schemeClr val="bg1"/>
                </a:solidFill>
              </a:defRPr>
            </a:lvl2pPr>
            <a:lvl3pPr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id="{3B2874ED-CC7F-4F0C-BB1D-75A9CC43DC3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9699110" y="5850604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48" name="Tijdelijke aanduiding voor tekst 14">
            <a:extLst>
              <a:ext uri="{FF2B5EF4-FFF2-40B4-BE49-F238E27FC236}">
                <a16:creationId xmlns:a16="http://schemas.microsoft.com/office/drawing/2014/main" id="{F1653C5F-83B0-4357-9779-FCA8C005D7E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974001" y="5850604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50" name="Tijdelijke aanduiding voor tekst 14">
            <a:extLst>
              <a:ext uri="{FF2B5EF4-FFF2-40B4-BE49-F238E27FC236}">
                <a16:creationId xmlns:a16="http://schemas.microsoft.com/office/drawing/2014/main" id="{3AA2D7D9-83DC-4599-894C-1EA7D9983FA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424213" y="5850604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0" name="Tijdelijke aanduiding voor tekst 14">
            <a:extLst>
              <a:ext uri="{FF2B5EF4-FFF2-40B4-BE49-F238E27FC236}">
                <a16:creationId xmlns:a16="http://schemas.microsoft.com/office/drawing/2014/main" id="{5F6EF29C-6547-44C1-BD48-1D3581117F6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9699110" y="16499158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2" name="Tijdelijke aanduiding voor tekst 14">
            <a:extLst>
              <a:ext uri="{FF2B5EF4-FFF2-40B4-BE49-F238E27FC236}">
                <a16:creationId xmlns:a16="http://schemas.microsoft.com/office/drawing/2014/main" id="{1A143C27-038F-4761-B827-CC3711286E6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974001" y="16499158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4" name="Tijdelijke aanduiding voor tekst 14">
            <a:extLst>
              <a:ext uri="{FF2B5EF4-FFF2-40B4-BE49-F238E27FC236}">
                <a16:creationId xmlns:a16="http://schemas.microsoft.com/office/drawing/2014/main" id="{0069A324-1E9A-44F6-A036-D73045802C0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424213" y="16499158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pic>
        <p:nvPicPr>
          <p:cNvPr id="27" name="Afbeelding 26">
            <a:extLst>
              <a:ext uri="{FF2B5EF4-FFF2-40B4-BE49-F238E27FC236}">
                <a16:creationId xmlns:a16="http://schemas.microsoft.com/office/drawing/2014/main" id="{25B00D5A-DF64-4D2B-976E-01DD75975A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  <p:grpSp>
        <p:nvGrpSpPr>
          <p:cNvPr id="28" name="Meer informatie">
            <a:extLst>
              <a:ext uri="{FF2B5EF4-FFF2-40B4-BE49-F238E27FC236}">
                <a16:creationId xmlns:a16="http://schemas.microsoft.com/office/drawing/2014/main" id="{B211D095-6E04-4B6C-8256-FAB55971D7FF}"/>
              </a:ext>
            </a:extLst>
          </p:cNvPr>
          <p:cNvGrpSpPr/>
          <p:nvPr userDrawn="1"/>
        </p:nvGrpSpPr>
        <p:grpSpPr>
          <a:xfrm>
            <a:off x="43487270" y="1774577"/>
            <a:ext cx="11147891" cy="3644433"/>
            <a:chOff x="-3740989" y="3458473"/>
            <a:chExt cx="3178018" cy="825544"/>
          </a:xfrm>
        </p:grpSpPr>
        <p:sp>
          <p:nvSpPr>
            <p:cNvPr id="31" name="Rechthoek 30">
              <a:extLst>
                <a:ext uri="{FF2B5EF4-FFF2-40B4-BE49-F238E27FC236}">
                  <a16:creationId xmlns:a16="http://schemas.microsoft.com/office/drawing/2014/main" id="{60072D39-BEE6-4966-87E8-9075C139E9A2}"/>
                </a:ext>
              </a:extLst>
            </p:cNvPr>
            <p:cNvSpPr/>
            <p:nvPr userDrawn="1"/>
          </p:nvSpPr>
          <p:spPr>
            <a:xfrm>
              <a:off x="-3740989" y="3458473"/>
              <a:ext cx="2863716" cy="5921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conen vind je in de slide bibliotheek.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opieer (Ctrl-c) de icoon uit de bibliotheek en plak (Ctrl-v) deze op de gewenste plek. Iconen zijn aanpasbaar qua kleur en formaat.</a:t>
              </a:r>
            </a:p>
          </p:txBody>
        </p:sp>
        <p:cxnSp>
          <p:nvCxnSpPr>
            <p:cNvPr id="33" name="Rechte verbindingslijn 32">
              <a:extLst>
                <a:ext uri="{FF2B5EF4-FFF2-40B4-BE49-F238E27FC236}">
                  <a16:creationId xmlns:a16="http://schemas.microsoft.com/office/drawing/2014/main" id="{98F35C15-FA78-4FD2-BE90-5C642C2EC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740987" y="4284017"/>
              <a:ext cx="3178016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35" name="Rechthoek 34">
            <a:extLst>
              <a:ext uri="{FF2B5EF4-FFF2-40B4-BE49-F238E27FC236}">
                <a16:creationId xmlns:a16="http://schemas.microsoft.com/office/drawing/2014/main" id="{080C5F42-8A3D-43B3-9E23-117B0328BB36}"/>
              </a:ext>
            </a:extLst>
          </p:cNvPr>
          <p:cNvSpPr/>
          <p:nvPr userDrawn="1"/>
        </p:nvSpPr>
        <p:spPr>
          <a:xfrm>
            <a:off x="43487272" y="5"/>
            <a:ext cx="11147884" cy="84588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defTabSz="3207489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rPr>
              <a:t>ICOON invoegen / veranderen</a:t>
            </a:r>
          </a:p>
        </p:txBody>
      </p:sp>
      <p:cxnSp>
        <p:nvCxnSpPr>
          <p:cNvPr id="36" name="Rechte verbindingslijn 35">
            <a:extLst>
              <a:ext uri="{FF2B5EF4-FFF2-40B4-BE49-F238E27FC236}">
                <a16:creationId xmlns:a16="http://schemas.microsoft.com/office/drawing/2014/main" id="{7C23CC42-5404-4D76-B4D6-55351E684119}"/>
              </a:ext>
            </a:extLst>
          </p:cNvPr>
          <p:cNvCxnSpPr>
            <a:cxnSpLocks/>
          </p:cNvCxnSpPr>
          <p:nvPr userDrawn="1"/>
        </p:nvCxnSpPr>
        <p:spPr>
          <a:xfrm>
            <a:off x="43487269" y="1066718"/>
            <a:ext cx="11147888" cy="0"/>
          </a:xfrm>
          <a:prstGeom prst="line">
            <a:avLst/>
          </a:prstGeom>
          <a:noFill/>
          <a:ln w="3175" cap="flat" cmpd="sng" algn="ctr">
            <a:solidFill>
              <a:schemeClr val="accent1"/>
            </a:solidFill>
            <a:prstDash val="solid"/>
          </a:ln>
          <a:effectLst/>
        </p:spPr>
      </p:cxnSp>
      <p:grpSp>
        <p:nvGrpSpPr>
          <p:cNvPr id="49" name="Instructie">
            <a:extLst>
              <a:ext uri="{FF2B5EF4-FFF2-40B4-BE49-F238E27FC236}">
                <a16:creationId xmlns:a16="http://schemas.microsoft.com/office/drawing/2014/main" id="{84C45357-DFCF-4F76-BC41-34F926A3A9A7}"/>
              </a:ext>
            </a:extLst>
          </p:cNvPr>
          <p:cNvGrpSpPr/>
          <p:nvPr userDrawn="1"/>
        </p:nvGrpSpPr>
        <p:grpSpPr>
          <a:xfrm>
            <a:off x="43506534" y="6474547"/>
            <a:ext cx="11164508" cy="11743958"/>
            <a:chOff x="-3426088" y="4512342"/>
            <a:chExt cx="3182755" cy="2660264"/>
          </a:xfrm>
        </p:grpSpPr>
        <p:sp>
          <p:nvSpPr>
            <p:cNvPr id="51" name="Rechthoek 127">
              <a:extLst>
                <a:ext uri="{FF2B5EF4-FFF2-40B4-BE49-F238E27FC236}">
                  <a16:creationId xmlns:a16="http://schemas.microsoft.com/office/drawing/2014/main" id="{D2E6B0D1-F979-42BF-BC6B-61CB1231C0BB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56" name="Rechte verbindingslijn 128">
              <a:extLst>
                <a:ext uri="{FF2B5EF4-FFF2-40B4-BE49-F238E27FC236}">
                  <a16:creationId xmlns:a16="http://schemas.microsoft.com/office/drawing/2014/main" id="{BAF7CF6F-CE8F-40FE-9458-7A849629B6B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57" name="Rechthoek 130">
              <a:extLst>
                <a:ext uri="{FF2B5EF4-FFF2-40B4-BE49-F238E27FC236}">
                  <a16:creationId xmlns:a16="http://schemas.microsoft.com/office/drawing/2014/main" id="{06FD592A-2FF6-46E0-942B-4D5C5D18D17B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58" name="Rechthoek 133">
              <a:extLst>
                <a:ext uri="{FF2B5EF4-FFF2-40B4-BE49-F238E27FC236}">
                  <a16:creationId xmlns:a16="http://schemas.microsoft.com/office/drawing/2014/main" id="{2511FE0C-7A37-475E-B962-4A6E8F0FFAF3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59" name="Rechthoek 136">
              <a:extLst>
                <a:ext uri="{FF2B5EF4-FFF2-40B4-BE49-F238E27FC236}">
                  <a16:creationId xmlns:a16="http://schemas.microsoft.com/office/drawing/2014/main" id="{47FFBC3C-B880-4FF4-97EB-3A1E9C5B6563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60" name="Rechthoek 139">
              <a:extLst>
                <a:ext uri="{FF2B5EF4-FFF2-40B4-BE49-F238E27FC236}">
                  <a16:creationId xmlns:a16="http://schemas.microsoft.com/office/drawing/2014/main" id="{50B90ADC-79FE-46AE-9866-25A58D743D68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61" name="Rechte verbindingslijn 140">
              <a:extLst>
                <a:ext uri="{FF2B5EF4-FFF2-40B4-BE49-F238E27FC236}">
                  <a16:creationId xmlns:a16="http://schemas.microsoft.com/office/drawing/2014/main" id="{9D160473-0A2C-48FE-B32A-923B4897C68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62" name="Groep 101">
            <a:extLst>
              <a:ext uri="{FF2B5EF4-FFF2-40B4-BE49-F238E27FC236}">
                <a16:creationId xmlns:a16="http://schemas.microsoft.com/office/drawing/2014/main" id="{B1F7A270-671C-4267-BBDA-0035FFBCA6AC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63" name="Rechthoek 102">
              <a:extLst>
                <a:ext uri="{FF2B5EF4-FFF2-40B4-BE49-F238E27FC236}">
                  <a16:creationId xmlns:a16="http://schemas.microsoft.com/office/drawing/2014/main" id="{D9180A54-5B43-490E-A53A-653C88885B2B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64" name="Ovaal 103">
              <a:extLst>
                <a:ext uri="{FF2B5EF4-FFF2-40B4-BE49-F238E27FC236}">
                  <a16:creationId xmlns:a16="http://schemas.microsoft.com/office/drawing/2014/main" id="{996DE116-E9C4-4404-B963-906BF309C28A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65" name="Rechte verbindingslijn 104">
              <a:extLst>
                <a:ext uri="{FF2B5EF4-FFF2-40B4-BE49-F238E27FC236}">
                  <a16:creationId xmlns:a16="http://schemas.microsoft.com/office/drawing/2014/main" id="{4903706A-252E-4D8B-9568-4A2FAA703A8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66" name="Groep 105">
              <a:extLst>
                <a:ext uri="{FF2B5EF4-FFF2-40B4-BE49-F238E27FC236}">
                  <a16:creationId xmlns:a16="http://schemas.microsoft.com/office/drawing/2014/main" id="{35C796B2-FF99-4DAE-BA18-C0082B6F453F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91" name="Rechthoek 130">
                <a:extLst>
                  <a:ext uri="{FF2B5EF4-FFF2-40B4-BE49-F238E27FC236}">
                    <a16:creationId xmlns:a16="http://schemas.microsoft.com/office/drawing/2014/main" id="{E1C77F3A-7187-4291-809D-7DA097DC42A8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92" name="Rechte verbindingslijn 131">
                <a:extLst>
                  <a:ext uri="{FF2B5EF4-FFF2-40B4-BE49-F238E27FC236}">
                    <a16:creationId xmlns:a16="http://schemas.microsoft.com/office/drawing/2014/main" id="{D0B95EA4-D908-430B-B7E1-4E0E5963BFB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Rechte verbindingslijn 132">
                <a:extLst>
                  <a:ext uri="{FF2B5EF4-FFF2-40B4-BE49-F238E27FC236}">
                    <a16:creationId xmlns:a16="http://schemas.microsoft.com/office/drawing/2014/main" id="{757CCB11-4D5E-41DD-AA87-AA628B64CFE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4" name="Rechthoek 133">
                <a:extLst>
                  <a:ext uri="{FF2B5EF4-FFF2-40B4-BE49-F238E27FC236}">
                    <a16:creationId xmlns:a16="http://schemas.microsoft.com/office/drawing/2014/main" id="{DF9DB130-3285-4F68-A573-3AFEDB708E0A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95" name="Groep 134">
                <a:extLst>
                  <a:ext uri="{FF2B5EF4-FFF2-40B4-BE49-F238E27FC236}">
                    <a16:creationId xmlns:a16="http://schemas.microsoft.com/office/drawing/2014/main" id="{CCE4BC02-DCE2-41D7-81FF-9C63014D89B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34" name="Groep 175">
                  <a:extLst>
                    <a:ext uri="{FF2B5EF4-FFF2-40B4-BE49-F238E27FC236}">
                      <a16:creationId xmlns:a16="http://schemas.microsoft.com/office/drawing/2014/main" id="{3DEB43C1-EE4B-4FE2-8EAB-85DBC10AB6AF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38" name="Rechte verbindingslijn 179">
                    <a:extLst>
                      <a:ext uri="{FF2B5EF4-FFF2-40B4-BE49-F238E27FC236}">
                        <a16:creationId xmlns:a16="http://schemas.microsoft.com/office/drawing/2014/main" id="{5B859433-CB36-45B6-9AA6-CA3923B1838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39" name="Rechte verbindingslijn 180">
                    <a:extLst>
                      <a:ext uri="{FF2B5EF4-FFF2-40B4-BE49-F238E27FC236}">
                        <a16:creationId xmlns:a16="http://schemas.microsoft.com/office/drawing/2014/main" id="{C5C9F23F-FBC3-4A08-93CB-C2DE0AE1E96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40" name="Rechte verbindingslijn 181">
                    <a:extLst>
                      <a:ext uri="{FF2B5EF4-FFF2-40B4-BE49-F238E27FC236}">
                        <a16:creationId xmlns:a16="http://schemas.microsoft.com/office/drawing/2014/main" id="{46393340-2F27-43C8-8C71-58478D6277B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41" name="Rechte verbindingslijn 182">
                    <a:extLst>
                      <a:ext uri="{FF2B5EF4-FFF2-40B4-BE49-F238E27FC236}">
                        <a16:creationId xmlns:a16="http://schemas.microsoft.com/office/drawing/2014/main" id="{922840FB-823D-428B-8FB4-22C980D555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42" name="Rechte verbindingslijn 183">
                    <a:extLst>
                      <a:ext uri="{FF2B5EF4-FFF2-40B4-BE49-F238E27FC236}">
                        <a16:creationId xmlns:a16="http://schemas.microsoft.com/office/drawing/2014/main" id="{534C9287-6A81-477F-BFB7-44B914D012B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35" name="Groep 176">
                  <a:extLst>
                    <a:ext uri="{FF2B5EF4-FFF2-40B4-BE49-F238E27FC236}">
                      <a16:creationId xmlns:a16="http://schemas.microsoft.com/office/drawing/2014/main" id="{6B9A8CB6-A532-43EC-B4F6-4F6BA72D4D7A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36" name="Rechthoek 177">
                    <a:extLst>
                      <a:ext uri="{FF2B5EF4-FFF2-40B4-BE49-F238E27FC236}">
                        <a16:creationId xmlns:a16="http://schemas.microsoft.com/office/drawing/2014/main" id="{FC67B8D5-72EF-4F49-978F-84478A0AB0E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7" name="Pijl: punthaak 178">
                    <a:extLst>
                      <a:ext uri="{FF2B5EF4-FFF2-40B4-BE49-F238E27FC236}">
                        <a16:creationId xmlns:a16="http://schemas.microsoft.com/office/drawing/2014/main" id="{2944A143-0FC8-4FAA-885E-3BC67042ECA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96" name="Groep 135">
                <a:extLst>
                  <a:ext uri="{FF2B5EF4-FFF2-40B4-BE49-F238E27FC236}">
                    <a16:creationId xmlns:a16="http://schemas.microsoft.com/office/drawing/2014/main" id="{7C01E7F2-7723-4236-8FAF-10018B34049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25" name="Groep 166">
                  <a:extLst>
                    <a:ext uri="{FF2B5EF4-FFF2-40B4-BE49-F238E27FC236}">
                      <a16:creationId xmlns:a16="http://schemas.microsoft.com/office/drawing/2014/main" id="{7C355541-9AB8-4A38-B5B4-A863BAB71FC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29" name="Rechte verbindingslijn 170">
                    <a:extLst>
                      <a:ext uri="{FF2B5EF4-FFF2-40B4-BE49-F238E27FC236}">
                        <a16:creationId xmlns:a16="http://schemas.microsoft.com/office/drawing/2014/main" id="{0C7B1BE3-B446-4866-8BC5-75FEF4B415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30" name="Rechte verbindingslijn 171">
                    <a:extLst>
                      <a:ext uri="{FF2B5EF4-FFF2-40B4-BE49-F238E27FC236}">
                        <a16:creationId xmlns:a16="http://schemas.microsoft.com/office/drawing/2014/main" id="{65F5DBED-5D29-4DA8-A5FE-9BB3648B02A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31" name="Rechte verbindingslijn 172">
                    <a:extLst>
                      <a:ext uri="{FF2B5EF4-FFF2-40B4-BE49-F238E27FC236}">
                        <a16:creationId xmlns:a16="http://schemas.microsoft.com/office/drawing/2014/main" id="{8CD5840A-4D92-4551-BFF3-7ABEBD473FA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32" name="Rechte verbindingslijn 173">
                    <a:extLst>
                      <a:ext uri="{FF2B5EF4-FFF2-40B4-BE49-F238E27FC236}">
                        <a16:creationId xmlns:a16="http://schemas.microsoft.com/office/drawing/2014/main" id="{32B12BA8-973D-4396-853F-25D1CFD9091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33" name="Rechte verbindingslijn 174">
                    <a:extLst>
                      <a:ext uri="{FF2B5EF4-FFF2-40B4-BE49-F238E27FC236}">
                        <a16:creationId xmlns:a16="http://schemas.microsoft.com/office/drawing/2014/main" id="{3E0635CB-B06B-4FFC-8EBE-F97AF5F9E44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26" name="Groep 167">
                  <a:extLst>
                    <a:ext uri="{FF2B5EF4-FFF2-40B4-BE49-F238E27FC236}">
                      <a16:creationId xmlns:a16="http://schemas.microsoft.com/office/drawing/2014/main" id="{86BC2F15-6B53-4276-8112-49005BFBE176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27" name="Rechthoek 168">
                    <a:extLst>
                      <a:ext uri="{FF2B5EF4-FFF2-40B4-BE49-F238E27FC236}">
                        <a16:creationId xmlns:a16="http://schemas.microsoft.com/office/drawing/2014/main" id="{8882A2EB-8BF7-453C-A553-33A113F153D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28" name="Pijl: punthaak 169">
                    <a:extLst>
                      <a:ext uri="{FF2B5EF4-FFF2-40B4-BE49-F238E27FC236}">
                        <a16:creationId xmlns:a16="http://schemas.microsoft.com/office/drawing/2014/main" id="{30942C0B-8409-477B-A2D7-E9B50D96439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97" name="Rechte verbindingslijn 136">
                <a:extLst>
                  <a:ext uri="{FF2B5EF4-FFF2-40B4-BE49-F238E27FC236}">
                    <a16:creationId xmlns:a16="http://schemas.microsoft.com/office/drawing/2014/main" id="{F3CEAC1C-B495-4DC3-9915-3BD63B71DF4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98" name="Rechte verbindingslijn 137">
                <a:extLst>
                  <a:ext uri="{FF2B5EF4-FFF2-40B4-BE49-F238E27FC236}">
                    <a16:creationId xmlns:a16="http://schemas.microsoft.com/office/drawing/2014/main" id="{0BE711FA-B4EE-4A63-99BD-4D945C6AFAC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99" name="Groep 138">
                <a:extLst>
                  <a:ext uri="{FF2B5EF4-FFF2-40B4-BE49-F238E27FC236}">
                    <a16:creationId xmlns:a16="http://schemas.microsoft.com/office/drawing/2014/main" id="{A529A53A-5AE1-452F-BF03-561B5448F93D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14" name="Rechthoek 155">
                  <a:extLst>
                    <a:ext uri="{FF2B5EF4-FFF2-40B4-BE49-F238E27FC236}">
                      <a16:creationId xmlns:a16="http://schemas.microsoft.com/office/drawing/2014/main" id="{A1FE5C75-52AB-4C2E-818A-A663492DBD28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15" name="Groep 156">
                  <a:extLst>
                    <a:ext uri="{FF2B5EF4-FFF2-40B4-BE49-F238E27FC236}">
                      <a16:creationId xmlns:a16="http://schemas.microsoft.com/office/drawing/2014/main" id="{B53C4B73-119F-45DA-9253-5F3D0E4C1E97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16" name="Groep 157">
                    <a:extLst>
                      <a:ext uri="{FF2B5EF4-FFF2-40B4-BE49-F238E27FC236}">
                        <a16:creationId xmlns:a16="http://schemas.microsoft.com/office/drawing/2014/main" id="{1E243FBA-E698-4B70-A74B-9D9AF05C415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20" name="Rechte verbindingslijn 161">
                      <a:extLst>
                        <a:ext uri="{FF2B5EF4-FFF2-40B4-BE49-F238E27FC236}">
                          <a16:creationId xmlns:a16="http://schemas.microsoft.com/office/drawing/2014/main" id="{FCDD65F6-4686-42A6-94C4-B808A5A5AB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21" name="Rechte verbindingslijn 162">
                      <a:extLst>
                        <a:ext uri="{FF2B5EF4-FFF2-40B4-BE49-F238E27FC236}">
                          <a16:creationId xmlns:a16="http://schemas.microsoft.com/office/drawing/2014/main" id="{7663C596-279A-4139-86FD-DD13027EA4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22" name="Rechte verbindingslijn 163">
                      <a:extLst>
                        <a:ext uri="{FF2B5EF4-FFF2-40B4-BE49-F238E27FC236}">
                          <a16:creationId xmlns:a16="http://schemas.microsoft.com/office/drawing/2014/main" id="{B8E03594-A6D4-4D77-9F8F-D4BF9ED1596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23" name="Rechte verbindingslijn 164">
                      <a:extLst>
                        <a:ext uri="{FF2B5EF4-FFF2-40B4-BE49-F238E27FC236}">
                          <a16:creationId xmlns:a16="http://schemas.microsoft.com/office/drawing/2014/main" id="{10290EA1-5471-4579-9BB5-000E69A0D27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24" name="Rechte verbindingslijn 165">
                      <a:extLst>
                        <a:ext uri="{FF2B5EF4-FFF2-40B4-BE49-F238E27FC236}">
                          <a16:creationId xmlns:a16="http://schemas.microsoft.com/office/drawing/2014/main" id="{474814A8-B6FA-4BAA-8C05-04420C8735A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17" name="Groep 158">
                    <a:extLst>
                      <a:ext uri="{FF2B5EF4-FFF2-40B4-BE49-F238E27FC236}">
                        <a16:creationId xmlns:a16="http://schemas.microsoft.com/office/drawing/2014/main" id="{BFA7D0FB-BD64-45E6-BDBD-127F4E48720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18" name="Rechthoek 159">
                      <a:extLst>
                        <a:ext uri="{FF2B5EF4-FFF2-40B4-BE49-F238E27FC236}">
                          <a16:creationId xmlns:a16="http://schemas.microsoft.com/office/drawing/2014/main" id="{56611162-5336-484A-AF94-3C75704062E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19" name="Pijl: punthaak 160">
                      <a:extLst>
                        <a:ext uri="{FF2B5EF4-FFF2-40B4-BE49-F238E27FC236}">
                          <a16:creationId xmlns:a16="http://schemas.microsoft.com/office/drawing/2014/main" id="{B4157AE8-3542-4949-8D48-20D7261AC23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00" name="Groep 139">
                <a:extLst>
                  <a:ext uri="{FF2B5EF4-FFF2-40B4-BE49-F238E27FC236}">
                    <a16:creationId xmlns:a16="http://schemas.microsoft.com/office/drawing/2014/main" id="{78D254F3-BAC7-4C79-8701-744566242F4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03" name="Rechthoek 142">
                  <a:extLst>
                    <a:ext uri="{FF2B5EF4-FFF2-40B4-BE49-F238E27FC236}">
                      <a16:creationId xmlns:a16="http://schemas.microsoft.com/office/drawing/2014/main" id="{9BCC1D21-36C9-4F0D-818F-8D0FDCA59D06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04" name="Groep 143">
                  <a:extLst>
                    <a:ext uri="{FF2B5EF4-FFF2-40B4-BE49-F238E27FC236}">
                      <a16:creationId xmlns:a16="http://schemas.microsoft.com/office/drawing/2014/main" id="{17803CF1-43CF-42CC-BBCC-280BEBF4B306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05" name="Groep 144">
                    <a:extLst>
                      <a:ext uri="{FF2B5EF4-FFF2-40B4-BE49-F238E27FC236}">
                        <a16:creationId xmlns:a16="http://schemas.microsoft.com/office/drawing/2014/main" id="{72A26BDF-A9A8-4AC5-BBA5-01A4BF7AF52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09" name="Rechte verbindingslijn 150">
                      <a:extLst>
                        <a:ext uri="{FF2B5EF4-FFF2-40B4-BE49-F238E27FC236}">
                          <a16:creationId xmlns:a16="http://schemas.microsoft.com/office/drawing/2014/main" id="{D6487E92-BDD5-4B32-B766-66DE1CD2A27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10" name="Rechte verbindingslijn 151">
                      <a:extLst>
                        <a:ext uri="{FF2B5EF4-FFF2-40B4-BE49-F238E27FC236}">
                          <a16:creationId xmlns:a16="http://schemas.microsoft.com/office/drawing/2014/main" id="{21C6834E-B46E-42FE-99B0-37C6B62CA4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11" name="Rechte verbindingslijn 152">
                      <a:extLst>
                        <a:ext uri="{FF2B5EF4-FFF2-40B4-BE49-F238E27FC236}">
                          <a16:creationId xmlns:a16="http://schemas.microsoft.com/office/drawing/2014/main" id="{81E69DF8-8971-40FB-94F4-019A72680E4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12" name="Rechte verbindingslijn 153">
                      <a:extLst>
                        <a:ext uri="{FF2B5EF4-FFF2-40B4-BE49-F238E27FC236}">
                          <a16:creationId xmlns:a16="http://schemas.microsoft.com/office/drawing/2014/main" id="{7D5677A4-6CD9-407A-B890-AF7C464768A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13" name="Rechte verbindingslijn 154">
                      <a:extLst>
                        <a:ext uri="{FF2B5EF4-FFF2-40B4-BE49-F238E27FC236}">
                          <a16:creationId xmlns:a16="http://schemas.microsoft.com/office/drawing/2014/main" id="{2419D456-8B72-48E4-BA64-C525022CB92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06" name="Groep 147">
                    <a:extLst>
                      <a:ext uri="{FF2B5EF4-FFF2-40B4-BE49-F238E27FC236}">
                        <a16:creationId xmlns:a16="http://schemas.microsoft.com/office/drawing/2014/main" id="{A16B9D23-C565-4012-9866-765010E7FF36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07" name="Rechthoek 148">
                      <a:extLst>
                        <a:ext uri="{FF2B5EF4-FFF2-40B4-BE49-F238E27FC236}">
                          <a16:creationId xmlns:a16="http://schemas.microsoft.com/office/drawing/2014/main" id="{512EC848-259E-432E-AEC3-7C7F8DAE08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8" name="Pijl: punthaak 149">
                      <a:extLst>
                        <a:ext uri="{FF2B5EF4-FFF2-40B4-BE49-F238E27FC236}">
                          <a16:creationId xmlns:a16="http://schemas.microsoft.com/office/drawing/2014/main" id="{78FB5E6E-E4AC-443D-BA8B-7EE108EDBC2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01" name="Rechthoek 140">
                <a:extLst>
                  <a:ext uri="{FF2B5EF4-FFF2-40B4-BE49-F238E27FC236}">
                    <a16:creationId xmlns:a16="http://schemas.microsoft.com/office/drawing/2014/main" id="{1E8D725B-1F5C-4FAC-B91D-E8B14A8C9B05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102" name="Rechthoek 141">
                <a:extLst>
                  <a:ext uri="{FF2B5EF4-FFF2-40B4-BE49-F238E27FC236}">
                    <a16:creationId xmlns:a16="http://schemas.microsoft.com/office/drawing/2014/main" id="{F76808FA-F419-4AD2-BCF1-EE67337B8A96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67" name="Rechte verbindingslijn 106">
              <a:extLst>
                <a:ext uri="{FF2B5EF4-FFF2-40B4-BE49-F238E27FC236}">
                  <a16:creationId xmlns:a16="http://schemas.microsoft.com/office/drawing/2014/main" id="{6E448821-8776-473C-B784-40DBCCB172C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68" name="Rechthoek 107">
              <a:extLst>
                <a:ext uri="{FF2B5EF4-FFF2-40B4-BE49-F238E27FC236}">
                  <a16:creationId xmlns:a16="http://schemas.microsoft.com/office/drawing/2014/main" id="{E548EE63-F8F7-4E1A-A0B2-F37F12F8175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69" name="Ovaal 108">
              <a:extLst>
                <a:ext uri="{FF2B5EF4-FFF2-40B4-BE49-F238E27FC236}">
                  <a16:creationId xmlns:a16="http://schemas.microsoft.com/office/drawing/2014/main" id="{E60FA7F1-5B5F-4AF5-BE27-2A5C184C3105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70" name="Rechthoek 109">
              <a:extLst>
                <a:ext uri="{FF2B5EF4-FFF2-40B4-BE49-F238E27FC236}">
                  <a16:creationId xmlns:a16="http://schemas.microsoft.com/office/drawing/2014/main" id="{04E28943-68C6-471F-9583-950F5B8C7D0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71" name="Ovaal 110">
              <a:extLst>
                <a:ext uri="{FF2B5EF4-FFF2-40B4-BE49-F238E27FC236}">
                  <a16:creationId xmlns:a16="http://schemas.microsoft.com/office/drawing/2014/main" id="{9CB1A87A-1C59-4795-BCBB-45CBFCCD6536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72" name="Rechthoek 111">
              <a:extLst>
                <a:ext uri="{FF2B5EF4-FFF2-40B4-BE49-F238E27FC236}">
                  <a16:creationId xmlns:a16="http://schemas.microsoft.com/office/drawing/2014/main" id="{A2E4D557-0D13-4A75-A8D5-CAB14ED38053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73" name="Ovaal 112">
              <a:extLst>
                <a:ext uri="{FF2B5EF4-FFF2-40B4-BE49-F238E27FC236}">
                  <a16:creationId xmlns:a16="http://schemas.microsoft.com/office/drawing/2014/main" id="{47E0E0FC-FA8E-443E-BC07-8ED6F0641D36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74" name="Rechthoek 113">
              <a:extLst>
                <a:ext uri="{FF2B5EF4-FFF2-40B4-BE49-F238E27FC236}">
                  <a16:creationId xmlns:a16="http://schemas.microsoft.com/office/drawing/2014/main" id="{7664C5CD-C658-446B-910F-F3A1E2BDA7F5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75" name="Ovaal 114">
              <a:extLst>
                <a:ext uri="{FF2B5EF4-FFF2-40B4-BE49-F238E27FC236}">
                  <a16:creationId xmlns:a16="http://schemas.microsoft.com/office/drawing/2014/main" id="{A726B91C-933E-4287-9C06-8F842872C82E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76" name="Rechthoek 115">
              <a:extLst>
                <a:ext uri="{FF2B5EF4-FFF2-40B4-BE49-F238E27FC236}">
                  <a16:creationId xmlns:a16="http://schemas.microsoft.com/office/drawing/2014/main" id="{F19BA1D4-5360-4E5D-8BA7-DCB270E9C2CD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77" name="Rechte verbindingslijn 116">
              <a:extLst>
                <a:ext uri="{FF2B5EF4-FFF2-40B4-BE49-F238E27FC236}">
                  <a16:creationId xmlns:a16="http://schemas.microsoft.com/office/drawing/2014/main" id="{A53103BC-831E-4FD4-880F-4EF5B4F48DB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78" name="Meer informatie">
              <a:extLst>
                <a:ext uri="{FF2B5EF4-FFF2-40B4-BE49-F238E27FC236}">
                  <a16:creationId xmlns:a16="http://schemas.microsoft.com/office/drawing/2014/main" id="{C5505D44-F076-4C35-91C2-321564EBA043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88" name="Freeform 101">
                <a:extLst>
                  <a:ext uri="{FF2B5EF4-FFF2-40B4-BE49-F238E27FC236}">
                    <a16:creationId xmlns:a16="http://schemas.microsoft.com/office/drawing/2014/main" id="{4E903E40-675E-4F9D-ABB6-715A6FF455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89" name="Rechthoek 128">
                <a:extLst>
                  <a:ext uri="{FF2B5EF4-FFF2-40B4-BE49-F238E27FC236}">
                    <a16:creationId xmlns:a16="http://schemas.microsoft.com/office/drawing/2014/main" id="{4BD03939-6BA1-4CFB-A6EC-B872929174D9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90" name="Rechte verbindingslijn 129">
                <a:extLst>
                  <a:ext uri="{FF2B5EF4-FFF2-40B4-BE49-F238E27FC236}">
                    <a16:creationId xmlns:a16="http://schemas.microsoft.com/office/drawing/2014/main" id="{0D0C5345-52E2-4E26-B090-E7194BED5D3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79" name="Rechthoek 118">
              <a:extLst>
                <a:ext uri="{FF2B5EF4-FFF2-40B4-BE49-F238E27FC236}">
                  <a16:creationId xmlns:a16="http://schemas.microsoft.com/office/drawing/2014/main" id="{A5FBB76B-617E-4D3A-B69D-5441B1134AE6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80" name="Ovaal 119">
              <a:extLst>
                <a:ext uri="{FF2B5EF4-FFF2-40B4-BE49-F238E27FC236}">
                  <a16:creationId xmlns:a16="http://schemas.microsoft.com/office/drawing/2014/main" id="{6ADEC0F5-9D22-4F14-93DC-42DF1E9E4364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81" name="Rechthoek 120">
              <a:extLst>
                <a:ext uri="{FF2B5EF4-FFF2-40B4-BE49-F238E27FC236}">
                  <a16:creationId xmlns:a16="http://schemas.microsoft.com/office/drawing/2014/main" id="{C668D701-BE8B-4D56-AD79-BAA165406F95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2" name="Ovaal 121">
              <a:extLst>
                <a:ext uri="{FF2B5EF4-FFF2-40B4-BE49-F238E27FC236}">
                  <a16:creationId xmlns:a16="http://schemas.microsoft.com/office/drawing/2014/main" id="{C68D0364-BA2C-40E8-974B-1626C7992103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83" name="Rechthoek 122">
              <a:extLst>
                <a:ext uri="{FF2B5EF4-FFF2-40B4-BE49-F238E27FC236}">
                  <a16:creationId xmlns:a16="http://schemas.microsoft.com/office/drawing/2014/main" id="{5A0781F7-177E-4959-B0BC-5F64CD098837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84" name="Ovaal 123">
              <a:extLst>
                <a:ext uri="{FF2B5EF4-FFF2-40B4-BE49-F238E27FC236}">
                  <a16:creationId xmlns:a16="http://schemas.microsoft.com/office/drawing/2014/main" id="{F392F83F-F78D-4921-93A1-22545A285E2D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85" name="Rechthoek 124">
              <a:extLst>
                <a:ext uri="{FF2B5EF4-FFF2-40B4-BE49-F238E27FC236}">
                  <a16:creationId xmlns:a16="http://schemas.microsoft.com/office/drawing/2014/main" id="{56151DAF-F0EA-427A-A749-F6CE092BB98B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6" name="Rechthoek 125">
              <a:extLst>
                <a:ext uri="{FF2B5EF4-FFF2-40B4-BE49-F238E27FC236}">
                  <a16:creationId xmlns:a16="http://schemas.microsoft.com/office/drawing/2014/main" id="{04F862D1-33F7-4D3B-B638-70020878F0FC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87" name="Ovaal 126">
              <a:extLst>
                <a:ext uri="{FF2B5EF4-FFF2-40B4-BE49-F238E27FC236}">
                  <a16:creationId xmlns:a16="http://schemas.microsoft.com/office/drawing/2014/main" id="{77C613CF-21BA-413A-B914-EB4F245DABD8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99374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100% Kolommen + F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">
            <a:extLst>
              <a:ext uri="{FF2B5EF4-FFF2-40B4-BE49-F238E27FC236}">
                <a16:creationId xmlns:a16="http://schemas.microsoft.com/office/drawing/2014/main" id="{1C9A417D-54A5-4A71-8B81-7526013FD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78" y="1766065"/>
            <a:ext cx="32281087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B97E484-7855-4B8D-9492-641CD9CF34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78" y="3469430"/>
            <a:ext cx="32281087" cy="1195424"/>
          </a:xfrm>
        </p:spPr>
        <p:txBody>
          <a:bodyPr>
            <a:noAutofit/>
          </a:bodyPr>
          <a:lstStyle>
            <a:lvl1pPr marL="0" indent="0">
              <a:buNone/>
              <a:defRPr sz="2794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32" name="Tijdelijke aanduiding voor datum 3">
            <a:extLst>
              <a:ext uri="{FF2B5EF4-FFF2-40B4-BE49-F238E27FC236}">
                <a16:creationId xmlns:a16="http://schemas.microsoft.com/office/drawing/2014/main" id="{6354BF0C-BC33-44FF-BF92-624A7D6DA1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503"/>
            <a:ext cx="9622631" cy="1000848"/>
          </a:xfrm>
        </p:spPr>
        <p:txBody>
          <a:bodyPr/>
          <a:lstStyle/>
          <a:p>
            <a:fld id="{F7D9B3A1-AD20-4AC8-A938-A3B5CD41AC74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33" name="Tijdelijke aanduiding voor voettekst 4">
            <a:extLst>
              <a:ext uri="{FF2B5EF4-FFF2-40B4-BE49-F238E27FC236}">
                <a16:creationId xmlns:a16="http://schemas.microsoft.com/office/drawing/2014/main" id="{20812B2F-B80B-4623-8A5A-F50D2B9A2D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7" y="27345278"/>
            <a:ext cx="18027561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4" name="Tijdelijke aanduiding voor dianummer 5">
            <a:extLst>
              <a:ext uri="{FF2B5EF4-FFF2-40B4-BE49-F238E27FC236}">
                <a16:creationId xmlns:a16="http://schemas.microsoft.com/office/drawing/2014/main" id="{DF970716-837B-4314-A35A-D69EAD1B74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6" y="27329717"/>
            <a:ext cx="966081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5" name="Tijdelijke aanduiding voor afbeelding 4">
            <a:extLst>
              <a:ext uri="{FF2B5EF4-FFF2-40B4-BE49-F238E27FC236}">
                <a16:creationId xmlns:a16="http://schemas.microsoft.com/office/drawing/2014/main" id="{4F177409-F5CC-48CA-85EE-1118845B542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2420197" y="16336006"/>
            <a:ext cx="18604072" cy="9215716"/>
          </a:xfrm>
          <a:solidFill>
            <a:schemeClr val="bg1">
              <a:lumMod val="95000"/>
            </a:schemeClr>
          </a:solidFill>
        </p:spPr>
        <p:txBody>
          <a:bodyPr vert="horz" lIns="0" tIns="1260000" rIns="0" bIns="0" rtlCol="0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lang="nl-NL" sz="1677" b="0" i="1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248348" lvl="0" indent="-248348" algn="ctr"/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178" name="Tijdelijke aanduiding voor verticale tekst 2">
            <a:extLst>
              <a:ext uri="{FF2B5EF4-FFF2-40B4-BE49-F238E27FC236}">
                <a16:creationId xmlns:a16="http://schemas.microsoft.com/office/drawing/2014/main" id="{D950F2B1-1C5A-4CAD-9B69-36EF3FB38C5C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742386" y="6476684"/>
            <a:ext cx="39282479" cy="19046186"/>
          </a:xfrm>
        </p:spPr>
        <p:txBody>
          <a:bodyPr vert="horz" numCol="2" spcCol="57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 marL="505566" indent="-252781">
              <a:buFont typeface="Arial" panose="020B0604020202020204" pitchFamily="34" charset="0"/>
              <a:buChar char="•"/>
              <a:defRPr sz="1957" baseline="0">
                <a:latin typeface="+mj-lt"/>
              </a:defRPr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pic>
        <p:nvPicPr>
          <p:cNvPr id="354" name="Afbeelding 353">
            <a:extLst>
              <a:ext uri="{FF2B5EF4-FFF2-40B4-BE49-F238E27FC236}">
                <a16:creationId xmlns:a16="http://schemas.microsoft.com/office/drawing/2014/main" id="{C3DC9CDB-7D02-40BA-8347-E5436758DB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5" y="831727"/>
            <a:ext cx="9249575" cy="4281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8297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1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78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17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kaders + Uitleg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grpSp>
        <p:nvGrpSpPr>
          <p:cNvPr id="38" name="GRID" hidden="1">
            <a:extLst>
              <a:ext uri="{FF2B5EF4-FFF2-40B4-BE49-F238E27FC236}">
                <a16:creationId xmlns:a16="http://schemas.microsoft.com/office/drawing/2014/main" id="{51D5F7E8-69F8-47AD-81F5-1645C97607C1}"/>
              </a:ext>
            </a:extLst>
          </p:cNvPr>
          <p:cNvGrpSpPr/>
          <p:nvPr userDrawn="1"/>
        </p:nvGrpSpPr>
        <p:grpSpPr>
          <a:xfrm>
            <a:off x="5" y="0"/>
            <a:ext cx="42767261" cy="30275213"/>
            <a:chOff x="0" y="0"/>
            <a:chExt cx="12192003" cy="6858000"/>
          </a:xfrm>
        </p:grpSpPr>
        <p:sp>
          <p:nvSpPr>
            <p:cNvPr id="39" name="Rechthoek 38">
              <a:extLst>
                <a:ext uri="{FF2B5EF4-FFF2-40B4-BE49-F238E27FC236}">
                  <a16:creationId xmlns:a16="http://schemas.microsoft.com/office/drawing/2014/main" id="{71DB2C92-E6A8-4532-98F6-C917E7F5CD17}"/>
                </a:ext>
              </a:extLst>
            </p:cNvPr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0" name="Rechthoek 39">
              <a:extLst>
                <a:ext uri="{FF2B5EF4-FFF2-40B4-BE49-F238E27FC236}">
                  <a16:creationId xmlns:a16="http://schemas.microsoft.com/office/drawing/2014/main" id="{1283F161-5F8A-45E1-A9F2-F823FC1CB0A5}"/>
                </a:ext>
              </a:extLst>
            </p:cNvPr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1" name="Rechthoek 40">
              <a:extLst>
                <a:ext uri="{FF2B5EF4-FFF2-40B4-BE49-F238E27FC236}">
                  <a16:creationId xmlns:a16="http://schemas.microsoft.com/office/drawing/2014/main" id="{E25AE021-76F4-4113-9019-FB3CB3351AD2}"/>
                </a:ext>
              </a:extLst>
            </p:cNvPr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2" name="Rechthoek 41">
              <a:extLst>
                <a:ext uri="{FF2B5EF4-FFF2-40B4-BE49-F238E27FC236}">
                  <a16:creationId xmlns:a16="http://schemas.microsoft.com/office/drawing/2014/main" id="{4F56F574-960D-4395-B98C-5F49ED9EF418}"/>
                </a:ext>
              </a:extLst>
            </p:cNvPr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34E307D0-CCA0-4BDF-BC5F-E19838E9F7DA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4" name="Rechthoek 43">
              <a:extLst>
                <a:ext uri="{FF2B5EF4-FFF2-40B4-BE49-F238E27FC236}">
                  <a16:creationId xmlns:a16="http://schemas.microsoft.com/office/drawing/2014/main" id="{2AEE0B25-FBCC-4048-A2C0-6D97C3E7FEB7}"/>
                </a:ext>
              </a:extLst>
            </p:cNvPr>
            <p:cNvSpPr/>
            <p:nvPr userDrawn="1"/>
          </p:nvSpPr>
          <p:spPr>
            <a:xfrm rot="5400000">
              <a:off x="5895976" y="-108104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FF4C18EE-AB1E-4734-B490-93DC11E51DED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Voettekst</a:t>
            </a:r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9" y="27329718"/>
            <a:ext cx="834509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0D7B9878-B8FD-4C53-84A0-30824F06295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33803" y="6316510"/>
            <a:ext cx="25627524" cy="5476873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089185" y="2382"/>
                </a:lnTo>
                <a:cubicBezTo>
                  <a:pt x="7208841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08841" y="1240632"/>
                  <a:pt x="7089185" y="1240632"/>
                </a:cubicBezTo>
                <a:lnTo>
                  <a:pt x="216824" y="1240632"/>
                </a:lnTo>
                <a:cubicBezTo>
                  <a:pt x="9716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>
              <a:spcAft>
                <a:spcPts val="0"/>
              </a:spcAft>
              <a:defRPr sz="4209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7F82B2D1-AD00-49E7-AE45-05F1D50B110A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696814" y="6310557"/>
            <a:ext cx="5345254" cy="5474264"/>
          </a:xfrm>
          <a:custGeom>
            <a:avLst/>
            <a:gdLst>
              <a:gd name="connsiteX0" fmla="*/ 0 w 1525587"/>
              <a:gd name="connsiteY0" fmla="*/ 161658 h 1241425"/>
              <a:gd name="connsiteX1" fmla="*/ 161658 w 1525587"/>
              <a:gd name="connsiteY1" fmla="*/ 0 h 1241425"/>
              <a:gd name="connsiteX2" fmla="*/ 1363929 w 1525587"/>
              <a:gd name="connsiteY2" fmla="*/ 0 h 1241425"/>
              <a:gd name="connsiteX3" fmla="*/ 1525587 w 1525587"/>
              <a:gd name="connsiteY3" fmla="*/ 161658 h 1241425"/>
              <a:gd name="connsiteX4" fmla="*/ 1525587 w 1525587"/>
              <a:gd name="connsiteY4" fmla="*/ 1079767 h 1241425"/>
              <a:gd name="connsiteX5" fmla="*/ 1363929 w 1525587"/>
              <a:gd name="connsiteY5" fmla="*/ 1241425 h 1241425"/>
              <a:gd name="connsiteX6" fmla="*/ 161658 w 1525587"/>
              <a:gd name="connsiteY6" fmla="*/ 1241425 h 1241425"/>
              <a:gd name="connsiteX7" fmla="*/ 0 w 1525587"/>
              <a:gd name="connsiteY7" fmla="*/ 1079767 h 1241425"/>
              <a:gd name="connsiteX8" fmla="*/ 0 w 1525587"/>
              <a:gd name="connsiteY8" fmla="*/ 161658 h 1241425"/>
              <a:gd name="connsiteX0" fmla="*/ 0 w 1525587"/>
              <a:gd name="connsiteY0" fmla="*/ 161658 h 1241425"/>
              <a:gd name="connsiteX1" fmla="*/ 42862 w 1525587"/>
              <a:gd name="connsiteY1" fmla="*/ 48418 h 1241425"/>
              <a:gd name="connsiteX2" fmla="*/ 161658 w 1525587"/>
              <a:gd name="connsiteY2" fmla="*/ 0 h 1241425"/>
              <a:gd name="connsiteX3" fmla="*/ 1363929 w 1525587"/>
              <a:gd name="connsiteY3" fmla="*/ 0 h 1241425"/>
              <a:gd name="connsiteX4" fmla="*/ 1525587 w 1525587"/>
              <a:gd name="connsiteY4" fmla="*/ 161658 h 1241425"/>
              <a:gd name="connsiteX5" fmla="*/ 1525587 w 1525587"/>
              <a:gd name="connsiteY5" fmla="*/ 1079767 h 1241425"/>
              <a:gd name="connsiteX6" fmla="*/ 1363929 w 1525587"/>
              <a:gd name="connsiteY6" fmla="*/ 1241425 h 1241425"/>
              <a:gd name="connsiteX7" fmla="*/ 161658 w 1525587"/>
              <a:gd name="connsiteY7" fmla="*/ 1241425 h 1241425"/>
              <a:gd name="connsiteX8" fmla="*/ 0 w 1525587"/>
              <a:gd name="connsiteY8" fmla="*/ 1079767 h 1241425"/>
              <a:gd name="connsiteX9" fmla="*/ 0 w 1525587"/>
              <a:gd name="connsiteY9" fmla="*/ 161658 h 1241425"/>
              <a:gd name="connsiteX0" fmla="*/ 8672 w 1534259"/>
              <a:gd name="connsiteY0" fmla="*/ 165982 h 1245749"/>
              <a:gd name="connsiteX1" fmla="*/ 11053 w 1534259"/>
              <a:gd name="connsiteY1" fmla="*/ 12261 h 1245749"/>
              <a:gd name="connsiteX2" fmla="*/ 170330 w 1534259"/>
              <a:gd name="connsiteY2" fmla="*/ 4324 h 1245749"/>
              <a:gd name="connsiteX3" fmla="*/ 1372601 w 1534259"/>
              <a:gd name="connsiteY3" fmla="*/ 4324 h 1245749"/>
              <a:gd name="connsiteX4" fmla="*/ 1534259 w 1534259"/>
              <a:gd name="connsiteY4" fmla="*/ 165982 h 1245749"/>
              <a:gd name="connsiteX5" fmla="*/ 1534259 w 1534259"/>
              <a:gd name="connsiteY5" fmla="*/ 1084091 h 1245749"/>
              <a:gd name="connsiteX6" fmla="*/ 1372601 w 1534259"/>
              <a:gd name="connsiteY6" fmla="*/ 1245749 h 1245749"/>
              <a:gd name="connsiteX7" fmla="*/ 170330 w 1534259"/>
              <a:gd name="connsiteY7" fmla="*/ 1245749 h 1245749"/>
              <a:gd name="connsiteX8" fmla="*/ 8672 w 1534259"/>
              <a:gd name="connsiteY8" fmla="*/ 1084091 h 1245749"/>
              <a:gd name="connsiteX9" fmla="*/ 8672 w 1534259"/>
              <a:gd name="connsiteY9" fmla="*/ 165982 h 1245749"/>
              <a:gd name="connsiteX0" fmla="*/ 8672 w 1534259"/>
              <a:gd name="connsiteY0" fmla="*/ 167890 h 1247657"/>
              <a:gd name="connsiteX1" fmla="*/ 11053 w 1534259"/>
              <a:gd name="connsiteY1" fmla="*/ 14169 h 1247657"/>
              <a:gd name="connsiteX2" fmla="*/ 170330 w 1534259"/>
              <a:gd name="connsiteY2" fmla="*/ 6232 h 1247657"/>
              <a:gd name="connsiteX3" fmla="*/ 1372601 w 1534259"/>
              <a:gd name="connsiteY3" fmla="*/ 6232 h 1247657"/>
              <a:gd name="connsiteX4" fmla="*/ 1534259 w 1534259"/>
              <a:gd name="connsiteY4" fmla="*/ 167890 h 1247657"/>
              <a:gd name="connsiteX5" fmla="*/ 1534259 w 1534259"/>
              <a:gd name="connsiteY5" fmla="*/ 1085999 h 1247657"/>
              <a:gd name="connsiteX6" fmla="*/ 1372601 w 1534259"/>
              <a:gd name="connsiteY6" fmla="*/ 1247657 h 1247657"/>
              <a:gd name="connsiteX7" fmla="*/ 170330 w 1534259"/>
              <a:gd name="connsiteY7" fmla="*/ 1247657 h 1247657"/>
              <a:gd name="connsiteX8" fmla="*/ 8672 w 1534259"/>
              <a:gd name="connsiteY8" fmla="*/ 1085999 h 1247657"/>
              <a:gd name="connsiteX9" fmla="*/ 8672 w 1534259"/>
              <a:gd name="connsiteY9" fmla="*/ 167890 h 1247657"/>
              <a:gd name="connsiteX0" fmla="*/ 8672 w 1534259"/>
              <a:gd name="connsiteY0" fmla="*/ 161658 h 1241425"/>
              <a:gd name="connsiteX1" fmla="*/ 11053 w 1534259"/>
              <a:gd name="connsiteY1" fmla="*/ 7937 h 1241425"/>
              <a:gd name="connsiteX2" fmla="*/ 170330 w 1534259"/>
              <a:gd name="connsiteY2" fmla="*/ 0 h 1241425"/>
              <a:gd name="connsiteX3" fmla="*/ 1372601 w 1534259"/>
              <a:gd name="connsiteY3" fmla="*/ 0 h 1241425"/>
              <a:gd name="connsiteX4" fmla="*/ 1534259 w 1534259"/>
              <a:gd name="connsiteY4" fmla="*/ 161658 h 1241425"/>
              <a:gd name="connsiteX5" fmla="*/ 1534259 w 1534259"/>
              <a:gd name="connsiteY5" fmla="*/ 1079767 h 1241425"/>
              <a:gd name="connsiteX6" fmla="*/ 1372601 w 1534259"/>
              <a:gd name="connsiteY6" fmla="*/ 1241425 h 1241425"/>
              <a:gd name="connsiteX7" fmla="*/ 170330 w 1534259"/>
              <a:gd name="connsiteY7" fmla="*/ 1241425 h 1241425"/>
              <a:gd name="connsiteX8" fmla="*/ 8672 w 1534259"/>
              <a:gd name="connsiteY8" fmla="*/ 1079767 h 1241425"/>
              <a:gd name="connsiteX9" fmla="*/ 8672 w 1534259"/>
              <a:gd name="connsiteY9" fmla="*/ 161658 h 124142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3668 h 1243435"/>
              <a:gd name="connsiteX1" fmla="*/ 10644 w 1535715"/>
              <a:gd name="connsiteY1" fmla="*/ 0 h 1243435"/>
              <a:gd name="connsiteX2" fmla="*/ 171786 w 1535715"/>
              <a:gd name="connsiteY2" fmla="*/ 2010 h 1243435"/>
              <a:gd name="connsiteX3" fmla="*/ 1374057 w 1535715"/>
              <a:gd name="connsiteY3" fmla="*/ 2010 h 1243435"/>
              <a:gd name="connsiteX4" fmla="*/ 1535715 w 1535715"/>
              <a:gd name="connsiteY4" fmla="*/ 163668 h 1243435"/>
              <a:gd name="connsiteX5" fmla="*/ 1535715 w 1535715"/>
              <a:gd name="connsiteY5" fmla="*/ 1081777 h 1243435"/>
              <a:gd name="connsiteX6" fmla="*/ 1374057 w 1535715"/>
              <a:gd name="connsiteY6" fmla="*/ 1243435 h 1243435"/>
              <a:gd name="connsiteX7" fmla="*/ 171786 w 1535715"/>
              <a:gd name="connsiteY7" fmla="*/ 1243435 h 1243435"/>
              <a:gd name="connsiteX8" fmla="*/ 10128 w 1535715"/>
              <a:gd name="connsiteY8" fmla="*/ 1081777 h 1243435"/>
              <a:gd name="connsiteX9" fmla="*/ 10128 w 1535715"/>
              <a:gd name="connsiteY9" fmla="*/ 163668 h 124343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1808 w 1537395"/>
              <a:gd name="connsiteY0" fmla="*/ 161803 h 1241570"/>
              <a:gd name="connsiteX1" fmla="*/ 12324 w 1537395"/>
              <a:gd name="connsiteY1" fmla="*/ 0 h 1241570"/>
              <a:gd name="connsiteX2" fmla="*/ 173466 w 1537395"/>
              <a:gd name="connsiteY2" fmla="*/ 145 h 1241570"/>
              <a:gd name="connsiteX3" fmla="*/ 1375737 w 1537395"/>
              <a:gd name="connsiteY3" fmla="*/ 145 h 1241570"/>
              <a:gd name="connsiteX4" fmla="*/ 1537395 w 1537395"/>
              <a:gd name="connsiteY4" fmla="*/ 161803 h 1241570"/>
              <a:gd name="connsiteX5" fmla="*/ 1537395 w 1537395"/>
              <a:gd name="connsiteY5" fmla="*/ 1079912 h 1241570"/>
              <a:gd name="connsiteX6" fmla="*/ 1375737 w 1537395"/>
              <a:gd name="connsiteY6" fmla="*/ 1241570 h 1241570"/>
              <a:gd name="connsiteX7" fmla="*/ 173466 w 1537395"/>
              <a:gd name="connsiteY7" fmla="*/ 1241570 h 1241570"/>
              <a:gd name="connsiteX8" fmla="*/ 11808 w 1537395"/>
              <a:gd name="connsiteY8" fmla="*/ 1079912 h 1241570"/>
              <a:gd name="connsiteX9" fmla="*/ 11808 w 1537395"/>
              <a:gd name="connsiteY9" fmla="*/ 161803 h 1241570"/>
              <a:gd name="connsiteX0" fmla="*/ 346 w 1525933"/>
              <a:gd name="connsiteY0" fmla="*/ 161803 h 1241570"/>
              <a:gd name="connsiteX1" fmla="*/ 862 w 1525933"/>
              <a:gd name="connsiteY1" fmla="*/ 0 h 1241570"/>
              <a:gd name="connsiteX2" fmla="*/ 162004 w 1525933"/>
              <a:gd name="connsiteY2" fmla="*/ 145 h 1241570"/>
              <a:gd name="connsiteX3" fmla="*/ 1364275 w 1525933"/>
              <a:gd name="connsiteY3" fmla="*/ 145 h 1241570"/>
              <a:gd name="connsiteX4" fmla="*/ 1525933 w 1525933"/>
              <a:gd name="connsiteY4" fmla="*/ 161803 h 1241570"/>
              <a:gd name="connsiteX5" fmla="*/ 1525933 w 1525933"/>
              <a:gd name="connsiteY5" fmla="*/ 1079912 h 1241570"/>
              <a:gd name="connsiteX6" fmla="*/ 1364275 w 1525933"/>
              <a:gd name="connsiteY6" fmla="*/ 1241570 h 1241570"/>
              <a:gd name="connsiteX7" fmla="*/ 162004 w 1525933"/>
              <a:gd name="connsiteY7" fmla="*/ 1241570 h 1241570"/>
              <a:gd name="connsiteX8" fmla="*/ 346 w 1525933"/>
              <a:gd name="connsiteY8" fmla="*/ 1079912 h 1241570"/>
              <a:gd name="connsiteX9" fmla="*/ 346 w 1525933"/>
              <a:gd name="connsiteY9" fmla="*/ 161803 h 1241570"/>
              <a:gd name="connsiteX0" fmla="*/ 872 w 1526459"/>
              <a:gd name="connsiteY0" fmla="*/ 161803 h 1241570"/>
              <a:gd name="connsiteX1" fmla="*/ 1388 w 1526459"/>
              <a:gd name="connsiteY1" fmla="*/ 0 h 1241570"/>
              <a:gd name="connsiteX2" fmla="*/ 162530 w 1526459"/>
              <a:gd name="connsiteY2" fmla="*/ 145 h 1241570"/>
              <a:gd name="connsiteX3" fmla="*/ 1364801 w 1526459"/>
              <a:gd name="connsiteY3" fmla="*/ 145 h 1241570"/>
              <a:gd name="connsiteX4" fmla="*/ 1526459 w 1526459"/>
              <a:gd name="connsiteY4" fmla="*/ 161803 h 1241570"/>
              <a:gd name="connsiteX5" fmla="*/ 1526459 w 1526459"/>
              <a:gd name="connsiteY5" fmla="*/ 1079912 h 1241570"/>
              <a:gd name="connsiteX6" fmla="*/ 1364801 w 1526459"/>
              <a:gd name="connsiteY6" fmla="*/ 1241570 h 1241570"/>
              <a:gd name="connsiteX7" fmla="*/ 162530 w 1526459"/>
              <a:gd name="connsiteY7" fmla="*/ 1241570 h 1241570"/>
              <a:gd name="connsiteX8" fmla="*/ 872 w 1526459"/>
              <a:gd name="connsiteY8" fmla="*/ 1079912 h 1241570"/>
              <a:gd name="connsiteX9" fmla="*/ 872 w 1526459"/>
              <a:gd name="connsiteY9" fmla="*/ 161803 h 1241570"/>
              <a:gd name="connsiteX0" fmla="*/ 470 w 1526057"/>
              <a:gd name="connsiteY0" fmla="*/ 161803 h 1241570"/>
              <a:gd name="connsiteX1" fmla="*/ 986 w 1526057"/>
              <a:gd name="connsiteY1" fmla="*/ 0 h 1241570"/>
              <a:gd name="connsiteX2" fmla="*/ 162128 w 1526057"/>
              <a:gd name="connsiteY2" fmla="*/ 145 h 1241570"/>
              <a:gd name="connsiteX3" fmla="*/ 1364399 w 1526057"/>
              <a:gd name="connsiteY3" fmla="*/ 145 h 1241570"/>
              <a:gd name="connsiteX4" fmla="*/ 1526057 w 1526057"/>
              <a:gd name="connsiteY4" fmla="*/ 161803 h 1241570"/>
              <a:gd name="connsiteX5" fmla="*/ 1526057 w 1526057"/>
              <a:gd name="connsiteY5" fmla="*/ 1079912 h 1241570"/>
              <a:gd name="connsiteX6" fmla="*/ 1364399 w 1526057"/>
              <a:gd name="connsiteY6" fmla="*/ 1241570 h 1241570"/>
              <a:gd name="connsiteX7" fmla="*/ 162128 w 1526057"/>
              <a:gd name="connsiteY7" fmla="*/ 1241570 h 1241570"/>
              <a:gd name="connsiteX8" fmla="*/ 470 w 1526057"/>
              <a:gd name="connsiteY8" fmla="*/ 1079912 h 1241570"/>
              <a:gd name="connsiteX9" fmla="*/ 470 w 1526057"/>
              <a:gd name="connsiteY9" fmla="*/ 161803 h 1241570"/>
              <a:gd name="connsiteX0" fmla="*/ 649 w 1526236"/>
              <a:gd name="connsiteY0" fmla="*/ 161803 h 1241570"/>
              <a:gd name="connsiteX1" fmla="*/ 1165 w 1526236"/>
              <a:gd name="connsiteY1" fmla="*/ 0 h 1241570"/>
              <a:gd name="connsiteX2" fmla="*/ 162307 w 1526236"/>
              <a:gd name="connsiteY2" fmla="*/ 145 h 1241570"/>
              <a:gd name="connsiteX3" fmla="*/ 1364578 w 1526236"/>
              <a:gd name="connsiteY3" fmla="*/ 145 h 1241570"/>
              <a:gd name="connsiteX4" fmla="*/ 1526236 w 1526236"/>
              <a:gd name="connsiteY4" fmla="*/ 161803 h 1241570"/>
              <a:gd name="connsiteX5" fmla="*/ 1526236 w 1526236"/>
              <a:gd name="connsiteY5" fmla="*/ 1079912 h 1241570"/>
              <a:gd name="connsiteX6" fmla="*/ 1364578 w 1526236"/>
              <a:gd name="connsiteY6" fmla="*/ 1241570 h 1241570"/>
              <a:gd name="connsiteX7" fmla="*/ 162307 w 1526236"/>
              <a:gd name="connsiteY7" fmla="*/ 1241570 h 1241570"/>
              <a:gd name="connsiteX8" fmla="*/ 649 w 1526236"/>
              <a:gd name="connsiteY8" fmla="*/ 1079912 h 1241570"/>
              <a:gd name="connsiteX9" fmla="*/ 649 w 1526236"/>
              <a:gd name="connsiteY9" fmla="*/ 161803 h 1241570"/>
              <a:gd name="connsiteX0" fmla="*/ 268 w 1525855"/>
              <a:gd name="connsiteY0" fmla="*/ 161803 h 1241570"/>
              <a:gd name="connsiteX1" fmla="*/ 784 w 1525855"/>
              <a:gd name="connsiteY1" fmla="*/ 0 h 1241570"/>
              <a:gd name="connsiteX2" fmla="*/ 161926 w 1525855"/>
              <a:gd name="connsiteY2" fmla="*/ 145 h 1241570"/>
              <a:gd name="connsiteX3" fmla="*/ 1364197 w 1525855"/>
              <a:gd name="connsiteY3" fmla="*/ 145 h 1241570"/>
              <a:gd name="connsiteX4" fmla="*/ 1525855 w 1525855"/>
              <a:gd name="connsiteY4" fmla="*/ 161803 h 1241570"/>
              <a:gd name="connsiteX5" fmla="*/ 1525855 w 1525855"/>
              <a:gd name="connsiteY5" fmla="*/ 1079912 h 1241570"/>
              <a:gd name="connsiteX6" fmla="*/ 1364197 w 1525855"/>
              <a:gd name="connsiteY6" fmla="*/ 1241570 h 1241570"/>
              <a:gd name="connsiteX7" fmla="*/ 161926 w 1525855"/>
              <a:gd name="connsiteY7" fmla="*/ 1241570 h 1241570"/>
              <a:gd name="connsiteX8" fmla="*/ 268 w 1525855"/>
              <a:gd name="connsiteY8" fmla="*/ 1079912 h 1241570"/>
              <a:gd name="connsiteX9" fmla="*/ 268 w 1525855"/>
              <a:gd name="connsiteY9" fmla="*/ 161803 h 1241570"/>
              <a:gd name="connsiteX0" fmla="*/ 359 w 1525946"/>
              <a:gd name="connsiteY0" fmla="*/ 161803 h 1241570"/>
              <a:gd name="connsiteX1" fmla="*/ 253 w 1525946"/>
              <a:gd name="connsiteY1" fmla="*/ 0 h 1241570"/>
              <a:gd name="connsiteX2" fmla="*/ 162017 w 1525946"/>
              <a:gd name="connsiteY2" fmla="*/ 145 h 1241570"/>
              <a:gd name="connsiteX3" fmla="*/ 1364288 w 1525946"/>
              <a:gd name="connsiteY3" fmla="*/ 145 h 1241570"/>
              <a:gd name="connsiteX4" fmla="*/ 1525946 w 1525946"/>
              <a:gd name="connsiteY4" fmla="*/ 161803 h 1241570"/>
              <a:gd name="connsiteX5" fmla="*/ 1525946 w 1525946"/>
              <a:gd name="connsiteY5" fmla="*/ 1079912 h 1241570"/>
              <a:gd name="connsiteX6" fmla="*/ 1364288 w 1525946"/>
              <a:gd name="connsiteY6" fmla="*/ 1241570 h 1241570"/>
              <a:gd name="connsiteX7" fmla="*/ 162017 w 1525946"/>
              <a:gd name="connsiteY7" fmla="*/ 1241570 h 1241570"/>
              <a:gd name="connsiteX8" fmla="*/ 359 w 1525946"/>
              <a:gd name="connsiteY8" fmla="*/ 1079912 h 1241570"/>
              <a:gd name="connsiteX9" fmla="*/ 359 w 1525946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364035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25693" h="1241570">
                <a:moveTo>
                  <a:pt x="106" y="161803"/>
                </a:moveTo>
                <a:cubicBezTo>
                  <a:pt x="-210" y="159620"/>
                  <a:pt x="409" y="7672"/>
                  <a:pt x="0" y="0"/>
                </a:cubicBezTo>
                <a:cubicBezTo>
                  <a:pt x="6219" y="388"/>
                  <a:pt x="110655" y="450"/>
                  <a:pt x="161764" y="145"/>
                </a:cubicBezTo>
                <a:lnTo>
                  <a:pt x="1364035" y="145"/>
                </a:lnTo>
                <a:cubicBezTo>
                  <a:pt x="1453316" y="145"/>
                  <a:pt x="1525693" y="72522"/>
                  <a:pt x="1525693" y="161803"/>
                </a:cubicBezTo>
                <a:lnTo>
                  <a:pt x="1525693" y="1079912"/>
                </a:lnTo>
                <a:cubicBezTo>
                  <a:pt x="1525693" y="1169193"/>
                  <a:pt x="1453316" y="1241570"/>
                  <a:pt x="1364035" y="1241570"/>
                </a:cubicBezTo>
                <a:lnTo>
                  <a:pt x="161764" y="1241570"/>
                </a:lnTo>
                <a:cubicBezTo>
                  <a:pt x="72483" y="1241570"/>
                  <a:pt x="106" y="1169193"/>
                  <a:pt x="106" y="1079912"/>
                </a:cubicBezTo>
                <a:lnTo>
                  <a:pt x="106" y="1618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tIns="0" bIns="252000" anchor="b"/>
          <a:lstStyle>
            <a:lvl1pPr marL="0" indent="0" algn="ctr">
              <a:buNone/>
              <a:defRPr sz="2806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nl-NL" noProof="0"/>
          </a:p>
        </p:txBody>
      </p:sp>
      <p:sp>
        <p:nvSpPr>
          <p:cNvPr id="30" name="Tijdelijke aanduiding voor tekst 2">
            <a:extLst>
              <a:ext uri="{FF2B5EF4-FFF2-40B4-BE49-F238E27FC236}">
                <a16:creationId xmlns:a16="http://schemas.microsoft.com/office/drawing/2014/main" id="{9D2AC618-ACAD-484E-BBCB-91B7EBF7B70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533803" y="13275428"/>
            <a:ext cx="25627524" cy="5476873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089185" y="2382"/>
                </a:lnTo>
                <a:cubicBezTo>
                  <a:pt x="7208841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08841" y="1240632"/>
                  <a:pt x="7089185" y="1240632"/>
                </a:cubicBezTo>
                <a:lnTo>
                  <a:pt x="216824" y="1240632"/>
                </a:lnTo>
                <a:cubicBezTo>
                  <a:pt x="9716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>
              <a:spcAft>
                <a:spcPts val="0"/>
              </a:spcAft>
              <a:defRPr sz="4209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31" name="Tijdelijke aanduiding voor afbeelding 6">
            <a:extLst>
              <a:ext uri="{FF2B5EF4-FFF2-40B4-BE49-F238E27FC236}">
                <a16:creationId xmlns:a16="http://schemas.microsoft.com/office/drawing/2014/main" id="{6EAA7FFB-E40E-4744-8AF0-0E4BEE5C22A0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1696814" y="13269468"/>
            <a:ext cx="5345254" cy="5474264"/>
          </a:xfrm>
          <a:custGeom>
            <a:avLst/>
            <a:gdLst>
              <a:gd name="connsiteX0" fmla="*/ 0 w 1525587"/>
              <a:gd name="connsiteY0" fmla="*/ 161658 h 1241425"/>
              <a:gd name="connsiteX1" fmla="*/ 161658 w 1525587"/>
              <a:gd name="connsiteY1" fmla="*/ 0 h 1241425"/>
              <a:gd name="connsiteX2" fmla="*/ 1363929 w 1525587"/>
              <a:gd name="connsiteY2" fmla="*/ 0 h 1241425"/>
              <a:gd name="connsiteX3" fmla="*/ 1525587 w 1525587"/>
              <a:gd name="connsiteY3" fmla="*/ 161658 h 1241425"/>
              <a:gd name="connsiteX4" fmla="*/ 1525587 w 1525587"/>
              <a:gd name="connsiteY4" fmla="*/ 1079767 h 1241425"/>
              <a:gd name="connsiteX5" fmla="*/ 1363929 w 1525587"/>
              <a:gd name="connsiteY5" fmla="*/ 1241425 h 1241425"/>
              <a:gd name="connsiteX6" fmla="*/ 161658 w 1525587"/>
              <a:gd name="connsiteY6" fmla="*/ 1241425 h 1241425"/>
              <a:gd name="connsiteX7" fmla="*/ 0 w 1525587"/>
              <a:gd name="connsiteY7" fmla="*/ 1079767 h 1241425"/>
              <a:gd name="connsiteX8" fmla="*/ 0 w 1525587"/>
              <a:gd name="connsiteY8" fmla="*/ 161658 h 1241425"/>
              <a:gd name="connsiteX0" fmla="*/ 0 w 1525587"/>
              <a:gd name="connsiteY0" fmla="*/ 161658 h 1241425"/>
              <a:gd name="connsiteX1" fmla="*/ 42862 w 1525587"/>
              <a:gd name="connsiteY1" fmla="*/ 48418 h 1241425"/>
              <a:gd name="connsiteX2" fmla="*/ 161658 w 1525587"/>
              <a:gd name="connsiteY2" fmla="*/ 0 h 1241425"/>
              <a:gd name="connsiteX3" fmla="*/ 1363929 w 1525587"/>
              <a:gd name="connsiteY3" fmla="*/ 0 h 1241425"/>
              <a:gd name="connsiteX4" fmla="*/ 1525587 w 1525587"/>
              <a:gd name="connsiteY4" fmla="*/ 161658 h 1241425"/>
              <a:gd name="connsiteX5" fmla="*/ 1525587 w 1525587"/>
              <a:gd name="connsiteY5" fmla="*/ 1079767 h 1241425"/>
              <a:gd name="connsiteX6" fmla="*/ 1363929 w 1525587"/>
              <a:gd name="connsiteY6" fmla="*/ 1241425 h 1241425"/>
              <a:gd name="connsiteX7" fmla="*/ 161658 w 1525587"/>
              <a:gd name="connsiteY7" fmla="*/ 1241425 h 1241425"/>
              <a:gd name="connsiteX8" fmla="*/ 0 w 1525587"/>
              <a:gd name="connsiteY8" fmla="*/ 1079767 h 1241425"/>
              <a:gd name="connsiteX9" fmla="*/ 0 w 1525587"/>
              <a:gd name="connsiteY9" fmla="*/ 161658 h 1241425"/>
              <a:gd name="connsiteX0" fmla="*/ 8672 w 1534259"/>
              <a:gd name="connsiteY0" fmla="*/ 165982 h 1245749"/>
              <a:gd name="connsiteX1" fmla="*/ 11053 w 1534259"/>
              <a:gd name="connsiteY1" fmla="*/ 12261 h 1245749"/>
              <a:gd name="connsiteX2" fmla="*/ 170330 w 1534259"/>
              <a:gd name="connsiteY2" fmla="*/ 4324 h 1245749"/>
              <a:gd name="connsiteX3" fmla="*/ 1372601 w 1534259"/>
              <a:gd name="connsiteY3" fmla="*/ 4324 h 1245749"/>
              <a:gd name="connsiteX4" fmla="*/ 1534259 w 1534259"/>
              <a:gd name="connsiteY4" fmla="*/ 165982 h 1245749"/>
              <a:gd name="connsiteX5" fmla="*/ 1534259 w 1534259"/>
              <a:gd name="connsiteY5" fmla="*/ 1084091 h 1245749"/>
              <a:gd name="connsiteX6" fmla="*/ 1372601 w 1534259"/>
              <a:gd name="connsiteY6" fmla="*/ 1245749 h 1245749"/>
              <a:gd name="connsiteX7" fmla="*/ 170330 w 1534259"/>
              <a:gd name="connsiteY7" fmla="*/ 1245749 h 1245749"/>
              <a:gd name="connsiteX8" fmla="*/ 8672 w 1534259"/>
              <a:gd name="connsiteY8" fmla="*/ 1084091 h 1245749"/>
              <a:gd name="connsiteX9" fmla="*/ 8672 w 1534259"/>
              <a:gd name="connsiteY9" fmla="*/ 165982 h 1245749"/>
              <a:gd name="connsiteX0" fmla="*/ 8672 w 1534259"/>
              <a:gd name="connsiteY0" fmla="*/ 167890 h 1247657"/>
              <a:gd name="connsiteX1" fmla="*/ 11053 w 1534259"/>
              <a:gd name="connsiteY1" fmla="*/ 14169 h 1247657"/>
              <a:gd name="connsiteX2" fmla="*/ 170330 w 1534259"/>
              <a:gd name="connsiteY2" fmla="*/ 6232 h 1247657"/>
              <a:gd name="connsiteX3" fmla="*/ 1372601 w 1534259"/>
              <a:gd name="connsiteY3" fmla="*/ 6232 h 1247657"/>
              <a:gd name="connsiteX4" fmla="*/ 1534259 w 1534259"/>
              <a:gd name="connsiteY4" fmla="*/ 167890 h 1247657"/>
              <a:gd name="connsiteX5" fmla="*/ 1534259 w 1534259"/>
              <a:gd name="connsiteY5" fmla="*/ 1085999 h 1247657"/>
              <a:gd name="connsiteX6" fmla="*/ 1372601 w 1534259"/>
              <a:gd name="connsiteY6" fmla="*/ 1247657 h 1247657"/>
              <a:gd name="connsiteX7" fmla="*/ 170330 w 1534259"/>
              <a:gd name="connsiteY7" fmla="*/ 1247657 h 1247657"/>
              <a:gd name="connsiteX8" fmla="*/ 8672 w 1534259"/>
              <a:gd name="connsiteY8" fmla="*/ 1085999 h 1247657"/>
              <a:gd name="connsiteX9" fmla="*/ 8672 w 1534259"/>
              <a:gd name="connsiteY9" fmla="*/ 167890 h 1247657"/>
              <a:gd name="connsiteX0" fmla="*/ 8672 w 1534259"/>
              <a:gd name="connsiteY0" fmla="*/ 161658 h 1241425"/>
              <a:gd name="connsiteX1" fmla="*/ 11053 w 1534259"/>
              <a:gd name="connsiteY1" fmla="*/ 7937 h 1241425"/>
              <a:gd name="connsiteX2" fmla="*/ 170330 w 1534259"/>
              <a:gd name="connsiteY2" fmla="*/ 0 h 1241425"/>
              <a:gd name="connsiteX3" fmla="*/ 1372601 w 1534259"/>
              <a:gd name="connsiteY3" fmla="*/ 0 h 1241425"/>
              <a:gd name="connsiteX4" fmla="*/ 1534259 w 1534259"/>
              <a:gd name="connsiteY4" fmla="*/ 161658 h 1241425"/>
              <a:gd name="connsiteX5" fmla="*/ 1534259 w 1534259"/>
              <a:gd name="connsiteY5" fmla="*/ 1079767 h 1241425"/>
              <a:gd name="connsiteX6" fmla="*/ 1372601 w 1534259"/>
              <a:gd name="connsiteY6" fmla="*/ 1241425 h 1241425"/>
              <a:gd name="connsiteX7" fmla="*/ 170330 w 1534259"/>
              <a:gd name="connsiteY7" fmla="*/ 1241425 h 1241425"/>
              <a:gd name="connsiteX8" fmla="*/ 8672 w 1534259"/>
              <a:gd name="connsiteY8" fmla="*/ 1079767 h 1241425"/>
              <a:gd name="connsiteX9" fmla="*/ 8672 w 1534259"/>
              <a:gd name="connsiteY9" fmla="*/ 161658 h 124142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3668 h 1243435"/>
              <a:gd name="connsiteX1" fmla="*/ 10644 w 1535715"/>
              <a:gd name="connsiteY1" fmla="*/ 0 h 1243435"/>
              <a:gd name="connsiteX2" fmla="*/ 171786 w 1535715"/>
              <a:gd name="connsiteY2" fmla="*/ 2010 h 1243435"/>
              <a:gd name="connsiteX3" fmla="*/ 1374057 w 1535715"/>
              <a:gd name="connsiteY3" fmla="*/ 2010 h 1243435"/>
              <a:gd name="connsiteX4" fmla="*/ 1535715 w 1535715"/>
              <a:gd name="connsiteY4" fmla="*/ 163668 h 1243435"/>
              <a:gd name="connsiteX5" fmla="*/ 1535715 w 1535715"/>
              <a:gd name="connsiteY5" fmla="*/ 1081777 h 1243435"/>
              <a:gd name="connsiteX6" fmla="*/ 1374057 w 1535715"/>
              <a:gd name="connsiteY6" fmla="*/ 1243435 h 1243435"/>
              <a:gd name="connsiteX7" fmla="*/ 171786 w 1535715"/>
              <a:gd name="connsiteY7" fmla="*/ 1243435 h 1243435"/>
              <a:gd name="connsiteX8" fmla="*/ 10128 w 1535715"/>
              <a:gd name="connsiteY8" fmla="*/ 1081777 h 1243435"/>
              <a:gd name="connsiteX9" fmla="*/ 10128 w 1535715"/>
              <a:gd name="connsiteY9" fmla="*/ 163668 h 124343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1808 w 1537395"/>
              <a:gd name="connsiteY0" fmla="*/ 161803 h 1241570"/>
              <a:gd name="connsiteX1" fmla="*/ 12324 w 1537395"/>
              <a:gd name="connsiteY1" fmla="*/ 0 h 1241570"/>
              <a:gd name="connsiteX2" fmla="*/ 173466 w 1537395"/>
              <a:gd name="connsiteY2" fmla="*/ 145 h 1241570"/>
              <a:gd name="connsiteX3" fmla="*/ 1375737 w 1537395"/>
              <a:gd name="connsiteY3" fmla="*/ 145 h 1241570"/>
              <a:gd name="connsiteX4" fmla="*/ 1537395 w 1537395"/>
              <a:gd name="connsiteY4" fmla="*/ 161803 h 1241570"/>
              <a:gd name="connsiteX5" fmla="*/ 1537395 w 1537395"/>
              <a:gd name="connsiteY5" fmla="*/ 1079912 h 1241570"/>
              <a:gd name="connsiteX6" fmla="*/ 1375737 w 1537395"/>
              <a:gd name="connsiteY6" fmla="*/ 1241570 h 1241570"/>
              <a:gd name="connsiteX7" fmla="*/ 173466 w 1537395"/>
              <a:gd name="connsiteY7" fmla="*/ 1241570 h 1241570"/>
              <a:gd name="connsiteX8" fmla="*/ 11808 w 1537395"/>
              <a:gd name="connsiteY8" fmla="*/ 1079912 h 1241570"/>
              <a:gd name="connsiteX9" fmla="*/ 11808 w 1537395"/>
              <a:gd name="connsiteY9" fmla="*/ 161803 h 1241570"/>
              <a:gd name="connsiteX0" fmla="*/ 346 w 1525933"/>
              <a:gd name="connsiteY0" fmla="*/ 161803 h 1241570"/>
              <a:gd name="connsiteX1" fmla="*/ 862 w 1525933"/>
              <a:gd name="connsiteY1" fmla="*/ 0 h 1241570"/>
              <a:gd name="connsiteX2" fmla="*/ 162004 w 1525933"/>
              <a:gd name="connsiteY2" fmla="*/ 145 h 1241570"/>
              <a:gd name="connsiteX3" fmla="*/ 1364275 w 1525933"/>
              <a:gd name="connsiteY3" fmla="*/ 145 h 1241570"/>
              <a:gd name="connsiteX4" fmla="*/ 1525933 w 1525933"/>
              <a:gd name="connsiteY4" fmla="*/ 161803 h 1241570"/>
              <a:gd name="connsiteX5" fmla="*/ 1525933 w 1525933"/>
              <a:gd name="connsiteY5" fmla="*/ 1079912 h 1241570"/>
              <a:gd name="connsiteX6" fmla="*/ 1364275 w 1525933"/>
              <a:gd name="connsiteY6" fmla="*/ 1241570 h 1241570"/>
              <a:gd name="connsiteX7" fmla="*/ 162004 w 1525933"/>
              <a:gd name="connsiteY7" fmla="*/ 1241570 h 1241570"/>
              <a:gd name="connsiteX8" fmla="*/ 346 w 1525933"/>
              <a:gd name="connsiteY8" fmla="*/ 1079912 h 1241570"/>
              <a:gd name="connsiteX9" fmla="*/ 346 w 1525933"/>
              <a:gd name="connsiteY9" fmla="*/ 161803 h 1241570"/>
              <a:gd name="connsiteX0" fmla="*/ 872 w 1526459"/>
              <a:gd name="connsiteY0" fmla="*/ 161803 h 1241570"/>
              <a:gd name="connsiteX1" fmla="*/ 1388 w 1526459"/>
              <a:gd name="connsiteY1" fmla="*/ 0 h 1241570"/>
              <a:gd name="connsiteX2" fmla="*/ 162530 w 1526459"/>
              <a:gd name="connsiteY2" fmla="*/ 145 h 1241570"/>
              <a:gd name="connsiteX3" fmla="*/ 1364801 w 1526459"/>
              <a:gd name="connsiteY3" fmla="*/ 145 h 1241570"/>
              <a:gd name="connsiteX4" fmla="*/ 1526459 w 1526459"/>
              <a:gd name="connsiteY4" fmla="*/ 161803 h 1241570"/>
              <a:gd name="connsiteX5" fmla="*/ 1526459 w 1526459"/>
              <a:gd name="connsiteY5" fmla="*/ 1079912 h 1241570"/>
              <a:gd name="connsiteX6" fmla="*/ 1364801 w 1526459"/>
              <a:gd name="connsiteY6" fmla="*/ 1241570 h 1241570"/>
              <a:gd name="connsiteX7" fmla="*/ 162530 w 1526459"/>
              <a:gd name="connsiteY7" fmla="*/ 1241570 h 1241570"/>
              <a:gd name="connsiteX8" fmla="*/ 872 w 1526459"/>
              <a:gd name="connsiteY8" fmla="*/ 1079912 h 1241570"/>
              <a:gd name="connsiteX9" fmla="*/ 872 w 1526459"/>
              <a:gd name="connsiteY9" fmla="*/ 161803 h 1241570"/>
              <a:gd name="connsiteX0" fmla="*/ 470 w 1526057"/>
              <a:gd name="connsiteY0" fmla="*/ 161803 h 1241570"/>
              <a:gd name="connsiteX1" fmla="*/ 986 w 1526057"/>
              <a:gd name="connsiteY1" fmla="*/ 0 h 1241570"/>
              <a:gd name="connsiteX2" fmla="*/ 162128 w 1526057"/>
              <a:gd name="connsiteY2" fmla="*/ 145 h 1241570"/>
              <a:gd name="connsiteX3" fmla="*/ 1364399 w 1526057"/>
              <a:gd name="connsiteY3" fmla="*/ 145 h 1241570"/>
              <a:gd name="connsiteX4" fmla="*/ 1526057 w 1526057"/>
              <a:gd name="connsiteY4" fmla="*/ 161803 h 1241570"/>
              <a:gd name="connsiteX5" fmla="*/ 1526057 w 1526057"/>
              <a:gd name="connsiteY5" fmla="*/ 1079912 h 1241570"/>
              <a:gd name="connsiteX6" fmla="*/ 1364399 w 1526057"/>
              <a:gd name="connsiteY6" fmla="*/ 1241570 h 1241570"/>
              <a:gd name="connsiteX7" fmla="*/ 162128 w 1526057"/>
              <a:gd name="connsiteY7" fmla="*/ 1241570 h 1241570"/>
              <a:gd name="connsiteX8" fmla="*/ 470 w 1526057"/>
              <a:gd name="connsiteY8" fmla="*/ 1079912 h 1241570"/>
              <a:gd name="connsiteX9" fmla="*/ 470 w 1526057"/>
              <a:gd name="connsiteY9" fmla="*/ 161803 h 1241570"/>
              <a:gd name="connsiteX0" fmla="*/ 649 w 1526236"/>
              <a:gd name="connsiteY0" fmla="*/ 161803 h 1241570"/>
              <a:gd name="connsiteX1" fmla="*/ 1165 w 1526236"/>
              <a:gd name="connsiteY1" fmla="*/ 0 h 1241570"/>
              <a:gd name="connsiteX2" fmla="*/ 162307 w 1526236"/>
              <a:gd name="connsiteY2" fmla="*/ 145 h 1241570"/>
              <a:gd name="connsiteX3" fmla="*/ 1364578 w 1526236"/>
              <a:gd name="connsiteY3" fmla="*/ 145 h 1241570"/>
              <a:gd name="connsiteX4" fmla="*/ 1526236 w 1526236"/>
              <a:gd name="connsiteY4" fmla="*/ 161803 h 1241570"/>
              <a:gd name="connsiteX5" fmla="*/ 1526236 w 1526236"/>
              <a:gd name="connsiteY5" fmla="*/ 1079912 h 1241570"/>
              <a:gd name="connsiteX6" fmla="*/ 1364578 w 1526236"/>
              <a:gd name="connsiteY6" fmla="*/ 1241570 h 1241570"/>
              <a:gd name="connsiteX7" fmla="*/ 162307 w 1526236"/>
              <a:gd name="connsiteY7" fmla="*/ 1241570 h 1241570"/>
              <a:gd name="connsiteX8" fmla="*/ 649 w 1526236"/>
              <a:gd name="connsiteY8" fmla="*/ 1079912 h 1241570"/>
              <a:gd name="connsiteX9" fmla="*/ 649 w 1526236"/>
              <a:gd name="connsiteY9" fmla="*/ 161803 h 1241570"/>
              <a:gd name="connsiteX0" fmla="*/ 268 w 1525855"/>
              <a:gd name="connsiteY0" fmla="*/ 161803 h 1241570"/>
              <a:gd name="connsiteX1" fmla="*/ 784 w 1525855"/>
              <a:gd name="connsiteY1" fmla="*/ 0 h 1241570"/>
              <a:gd name="connsiteX2" fmla="*/ 161926 w 1525855"/>
              <a:gd name="connsiteY2" fmla="*/ 145 h 1241570"/>
              <a:gd name="connsiteX3" fmla="*/ 1364197 w 1525855"/>
              <a:gd name="connsiteY3" fmla="*/ 145 h 1241570"/>
              <a:gd name="connsiteX4" fmla="*/ 1525855 w 1525855"/>
              <a:gd name="connsiteY4" fmla="*/ 161803 h 1241570"/>
              <a:gd name="connsiteX5" fmla="*/ 1525855 w 1525855"/>
              <a:gd name="connsiteY5" fmla="*/ 1079912 h 1241570"/>
              <a:gd name="connsiteX6" fmla="*/ 1364197 w 1525855"/>
              <a:gd name="connsiteY6" fmla="*/ 1241570 h 1241570"/>
              <a:gd name="connsiteX7" fmla="*/ 161926 w 1525855"/>
              <a:gd name="connsiteY7" fmla="*/ 1241570 h 1241570"/>
              <a:gd name="connsiteX8" fmla="*/ 268 w 1525855"/>
              <a:gd name="connsiteY8" fmla="*/ 1079912 h 1241570"/>
              <a:gd name="connsiteX9" fmla="*/ 268 w 1525855"/>
              <a:gd name="connsiteY9" fmla="*/ 161803 h 1241570"/>
              <a:gd name="connsiteX0" fmla="*/ 359 w 1525946"/>
              <a:gd name="connsiteY0" fmla="*/ 161803 h 1241570"/>
              <a:gd name="connsiteX1" fmla="*/ 253 w 1525946"/>
              <a:gd name="connsiteY1" fmla="*/ 0 h 1241570"/>
              <a:gd name="connsiteX2" fmla="*/ 162017 w 1525946"/>
              <a:gd name="connsiteY2" fmla="*/ 145 h 1241570"/>
              <a:gd name="connsiteX3" fmla="*/ 1364288 w 1525946"/>
              <a:gd name="connsiteY3" fmla="*/ 145 h 1241570"/>
              <a:gd name="connsiteX4" fmla="*/ 1525946 w 1525946"/>
              <a:gd name="connsiteY4" fmla="*/ 161803 h 1241570"/>
              <a:gd name="connsiteX5" fmla="*/ 1525946 w 1525946"/>
              <a:gd name="connsiteY5" fmla="*/ 1079912 h 1241570"/>
              <a:gd name="connsiteX6" fmla="*/ 1364288 w 1525946"/>
              <a:gd name="connsiteY6" fmla="*/ 1241570 h 1241570"/>
              <a:gd name="connsiteX7" fmla="*/ 162017 w 1525946"/>
              <a:gd name="connsiteY7" fmla="*/ 1241570 h 1241570"/>
              <a:gd name="connsiteX8" fmla="*/ 359 w 1525946"/>
              <a:gd name="connsiteY8" fmla="*/ 1079912 h 1241570"/>
              <a:gd name="connsiteX9" fmla="*/ 359 w 1525946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364035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25693" h="1241570">
                <a:moveTo>
                  <a:pt x="106" y="161803"/>
                </a:moveTo>
                <a:cubicBezTo>
                  <a:pt x="-210" y="159620"/>
                  <a:pt x="409" y="7672"/>
                  <a:pt x="0" y="0"/>
                </a:cubicBezTo>
                <a:cubicBezTo>
                  <a:pt x="6219" y="388"/>
                  <a:pt x="110655" y="450"/>
                  <a:pt x="161764" y="145"/>
                </a:cubicBezTo>
                <a:lnTo>
                  <a:pt x="1364035" y="145"/>
                </a:lnTo>
                <a:cubicBezTo>
                  <a:pt x="1453316" y="145"/>
                  <a:pt x="1525693" y="72522"/>
                  <a:pt x="1525693" y="161803"/>
                </a:cubicBezTo>
                <a:lnTo>
                  <a:pt x="1525693" y="1079912"/>
                </a:lnTo>
                <a:cubicBezTo>
                  <a:pt x="1525693" y="1169193"/>
                  <a:pt x="1453316" y="1241570"/>
                  <a:pt x="1364035" y="1241570"/>
                </a:cubicBezTo>
                <a:lnTo>
                  <a:pt x="161764" y="1241570"/>
                </a:lnTo>
                <a:cubicBezTo>
                  <a:pt x="72483" y="1241570"/>
                  <a:pt x="106" y="1169193"/>
                  <a:pt x="106" y="1079912"/>
                </a:cubicBezTo>
                <a:lnTo>
                  <a:pt x="106" y="1618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tIns="0" bIns="252000" anchor="b"/>
          <a:lstStyle>
            <a:lvl1pPr marL="0" indent="0" algn="ctr">
              <a:buNone/>
              <a:defRPr sz="2806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nl-NL" noProof="0"/>
          </a:p>
        </p:txBody>
      </p:sp>
      <p:sp>
        <p:nvSpPr>
          <p:cNvPr id="32" name="Tijdelijke aanduiding voor tekst 2">
            <a:extLst>
              <a:ext uri="{FF2B5EF4-FFF2-40B4-BE49-F238E27FC236}">
                <a16:creationId xmlns:a16="http://schemas.microsoft.com/office/drawing/2014/main" id="{F4636EEB-5D3E-40A6-BA1D-52AAF0683C6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533803" y="20234339"/>
            <a:ext cx="25627524" cy="5476873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089185" y="2382"/>
                </a:lnTo>
                <a:cubicBezTo>
                  <a:pt x="7208841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08841" y="1240632"/>
                  <a:pt x="7089185" y="1240632"/>
                </a:cubicBezTo>
                <a:lnTo>
                  <a:pt x="216824" y="1240632"/>
                </a:lnTo>
                <a:cubicBezTo>
                  <a:pt x="9716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>
              <a:spcAft>
                <a:spcPts val="0"/>
              </a:spcAft>
              <a:defRPr sz="4209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33" name="Tijdelijke aanduiding voor afbeelding 6">
            <a:extLst>
              <a:ext uri="{FF2B5EF4-FFF2-40B4-BE49-F238E27FC236}">
                <a16:creationId xmlns:a16="http://schemas.microsoft.com/office/drawing/2014/main" id="{E282FF1F-8DC9-4A36-8B0E-4868FD1C3CCE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1696814" y="20228383"/>
            <a:ext cx="5345254" cy="5474264"/>
          </a:xfrm>
          <a:custGeom>
            <a:avLst/>
            <a:gdLst>
              <a:gd name="connsiteX0" fmla="*/ 0 w 1525587"/>
              <a:gd name="connsiteY0" fmla="*/ 161658 h 1241425"/>
              <a:gd name="connsiteX1" fmla="*/ 161658 w 1525587"/>
              <a:gd name="connsiteY1" fmla="*/ 0 h 1241425"/>
              <a:gd name="connsiteX2" fmla="*/ 1363929 w 1525587"/>
              <a:gd name="connsiteY2" fmla="*/ 0 h 1241425"/>
              <a:gd name="connsiteX3" fmla="*/ 1525587 w 1525587"/>
              <a:gd name="connsiteY3" fmla="*/ 161658 h 1241425"/>
              <a:gd name="connsiteX4" fmla="*/ 1525587 w 1525587"/>
              <a:gd name="connsiteY4" fmla="*/ 1079767 h 1241425"/>
              <a:gd name="connsiteX5" fmla="*/ 1363929 w 1525587"/>
              <a:gd name="connsiteY5" fmla="*/ 1241425 h 1241425"/>
              <a:gd name="connsiteX6" fmla="*/ 161658 w 1525587"/>
              <a:gd name="connsiteY6" fmla="*/ 1241425 h 1241425"/>
              <a:gd name="connsiteX7" fmla="*/ 0 w 1525587"/>
              <a:gd name="connsiteY7" fmla="*/ 1079767 h 1241425"/>
              <a:gd name="connsiteX8" fmla="*/ 0 w 1525587"/>
              <a:gd name="connsiteY8" fmla="*/ 161658 h 1241425"/>
              <a:gd name="connsiteX0" fmla="*/ 0 w 1525587"/>
              <a:gd name="connsiteY0" fmla="*/ 161658 h 1241425"/>
              <a:gd name="connsiteX1" fmla="*/ 42862 w 1525587"/>
              <a:gd name="connsiteY1" fmla="*/ 48418 h 1241425"/>
              <a:gd name="connsiteX2" fmla="*/ 161658 w 1525587"/>
              <a:gd name="connsiteY2" fmla="*/ 0 h 1241425"/>
              <a:gd name="connsiteX3" fmla="*/ 1363929 w 1525587"/>
              <a:gd name="connsiteY3" fmla="*/ 0 h 1241425"/>
              <a:gd name="connsiteX4" fmla="*/ 1525587 w 1525587"/>
              <a:gd name="connsiteY4" fmla="*/ 161658 h 1241425"/>
              <a:gd name="connsiteX5" fmla="*/ 1525587 w 1525587"/>
              <a:gd name="connsiteY5" fmla="*/ 1079767 h 1241425"/>
              <a:gd name="connsiteX6" fmla="*/ 1363929 w 1525587"/>
              <a:gd name="connsiteY6" fmla="*/ 1241425 h 1241425"/>
              <a:gd name="connsiteX7" fmla="*/ 161658 w 1525587"/>
              <a:gd name="connsiteY7" fmla="*/ 1241425 h 1241425"/>
              <a:gd name="connsiteX8" fmla="*/ 0 w 1525587"/>
              <a:gd name="connsiteY8" fmla="*/ 1079767 h 1241425"/>
              <a:gd name="connsiteX9" fmla="*/ 0 w 1525587"/>
              <a:gd name="connsiteY9" fmla="*/ 161658 h 1241425"/>
              <a:gd name="connsiteX0" fmla="*/ 8672 w 1534259"/>
              <a:gd name="connsiteY0" fmla="*/ 165982 h 1245749"/>
              <a:gd name="connsiteX1" fmla="*/ 11053 w 1534259"/>
              <a:gd name="connsiteY1" fmla="*/ 12261 h 1245749"/>
              <a:gd name="connsiteX2" fmla="*/ 170330 w 1534259"/>
              <a:gd name="connsiteY2" fmla="*/ 4324 h 1245749"/>
              <a:gd name="connsiteX3" fmla="*/ 1372601 w 1534259"/>
              <a:gd name="connsiteY3" fmla="*/ 4324 h 1245749"/>
              <a:gd name="connsiteX4" fmla="*/ 1534259 w 1534259"/>
              <a:gd name="connsiteY4" fmla="*/ 165982 h 1245749"/>
              <a:gd name="connsiteX5" fmla="*/ 1534259 w 1534259"/>
              <a:gd name="connsiteY5" fmla="*/ 1084091 h 1245749"/>
              <a:gd name="connsiteX6" fmla="*/ 1372601 w 1534259"/>
              <a:gd name="connsiteY6" fmla="*/ 1245749 h 1245749"/>
              <a:gd name="connsiteX7" fmla="*/ 170330 w 1534259"/>
              <a:gd name="connsiteY7" fmla="*/ 1245749 h 1245749"/>
              <a:gd name="connsiteX8" fmla="*/ 8672 w 1534259"/>
              <a:gd name="connsiteY8" fmla="*/ 1084091 h 1245749"/>
              <a:gd name="connsiteX9" fmla="*/ 8672 w 1534259"/>
              <a:gd name="connsiteY9" fmla="*/ 165982 h 1245749"/>
              <a:gd name="connsiteX0" fmla="*/ 8672 w 1534259"/>
              <a:gd name="connsiteY0" fmla="*/ 167890 h 1247657"/>
              <a:gd name="connsiteX1" fmla="*/ 11053 w 1534259"/>
              <a:gd name="connsiteY1" fmla="*/ 14169 h 1247657"/>
              <a:gd name="connsiteX2" fmla="*/ 170330 w 1534259"/>
              <a:gd name="connsiteY2" fmla="*/ 6232 h 1247657"/>
              <a:gd name="connsiteX3" fmla="*/ 1372601 w 1534259"/>
              <a:gd name="connsiteY3" fmla="*/ 6232 h 1247657"/>
              <a:gd name="connsiteX4" fmla="*/ 1534259 w 1534259"/>
              <a:gd name="connsiteY4" fmla="*/ 167890 h 1247657"/>
              <a:gd name="connsiteX5" fmla="*/ 1534259 w 1534259"/>
              <a:gd name="connsiteY5" fmla="*/ 1085999 h 1247657"/>
              <a:gd name="connsiteX6" fmla="*/ 1372601 w 1534259"/>
              <a:gd name="connsiteY6" fmla="*/ 1247657 h 1247657"/>
              <a:gd name="connsiteX7" fmla="*/ 170330 w 1534259"/>
              <a:gd name="connsiteY7" fmla="*/ 1247657 h 1247657"/>
              <a:gd name="connsiteX8" fmla="*/ 8672 w 1534259"/>
              <a:gd name="connsiteY8" fmla="*/ 1085999 h 1247657"/>
              <a:gd name="connsiteX9" fmla="*/ 8672 w 1534259"/>
              <a:gd name="connsiteY9" fmla="*/ 167890 h 1247657"/>
              <a:gd name="connsiteX0" fmla="*/ 8672 w 1534259"/>
              <a:gd name="connsiteY0" fmla="*/ 161658 h 1241425"/>
              <a:gd name="connsiteX1" fmla="*/ 11053 w 1534259"/>
              <a:gd name="connsiteY1" fmla="*/ 7937 h 1241425"/>
              <a:gd name="connsiteX2" fmla="*/ 170330 w 1534259"/>
              <a:gd name="connsiteY2" fmla="*/ 0 h 1241425"/>
              <a:gd name="connsiteX3" fmla="*/ 1372601 w 1534259"/>
              <a:gd name="connsiteY3" fmla="*/ 0 h 1241425"/>
              <a:gd name="connsiteX4" fmla="*/ 1534259 w 1534259"/>
              <a:gd name="connsiteY4" fmla="*/ 161658 h 1241425"/>
              <a:gd name="connsiteX5" fmla="*/ 1534259 w 1534259"/>
              <a:gd name="connsiteY5" fmla="*/ 1079767 h 1241425"/>
              <a:gd name="connsiteX6" fmla="*/ 1372601 w 1534259"/>
              <a:gd name="connsiteY6" fmla="*/ 1241425 h 1241425"/>
              <a:gd name="connsiteX7" fmla="*/ 170330 w 1534259"/>
              <a:gd name="connsiteY7" fmla="*/ 1241425 h 1241425"/>
              <a:gd name="connsiteX8" fmla="*/ 8672 w 1534259"/>
              <a:gd name="connsiteY8" fmla="*/ 1079767 h 1241425"/>
              <a:gd name="connsiteX9" fmla="*/ 8672 w 1534259"/>
              <a:gd name="connsiteY9" fmla="*/ 161658 h 124142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3668 h 1243435"/>
              <a:gd name="connsiteX1" fmla="*/ 10644 w 1535715"/>
              <a:gd name="connsiteY1" fmla="*/ 0 h 1243435"/>
              <a:gd name="connsiteX2" fmla="*/ 171786 w 1535715"/>
              <a:gd name="connsiteY2" fmla="*/ 2010 h 1243435"/>
              <a:gd name="connsiteX3" fmla="*/ 1374057 w 1535715"/>
              <a:gd name="connsiteY3" fmla="*/ 2010 h 1243435"/>
              <a:gd name="connsiteX4" fmla="*/ 1535715 w 1535715"/>
              <a:gd name="connsiteY4" fmla="*/ 163668 h 1243435"/>
              <a:gd name="connsiteX5" fmla="*/ 1535715 w 1535715"/>
              <a:gd name="connsiteY5" fmla="*/ 1081777 h 1243435"/>
              <a:gd name="connsiteX6" fmla="*/ 1374057 w 1535715"/>
              <a:gd name="connsiteY6" fmla="*/ 1243435 h 1243435"/>
              <a:gd name="connsiteX7" fmla="*/ 171786 w 1535715"/>
              <a:gd name="connsiteY7" fmla="*/ 1243435 h 1243435"/>
              <a:gd name="connsiteX8" fmla="*/ 10128 w 1535715"/>
              <a:gd name="connsiteY8" fmla="*/ 1081777 h 1243435"/>
              <a:gd name="connsiteX9" fmla="*/ 10128 w 1535715"/>
              <a:gd name="connsiteY9" fmla="*/ 163668 h 124343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1808 w 1537395"/>
              <a:gd name="connsiteY0" fmla="*/ 161803 h 1241570"/>
              <a:gd name="connsiteX1" fmla="*/ 12324 w 1537395"/>
              <a:gd name="connsiteY1" fmla="*/ 0 h 1241570"/>
              <a:gd name="connsiteX2" fmla="*/ 173466 w 1537395"/>
              <a:gd name="connsiteY2" fmla="*/ 145 h 1241570"/>
              <a:gd name="connsiteX3" fmla="*/ 1375737 w 1537395"/>
              <a:gd name="connsiteY3" fmla="*/ 145 h 1241570"/>
              <a:gd name="connsiteX4" fmla="*/ 1537395 w 1537395"/>
              <a:gd name="connsiteY4" fmla="*/ 161803 h 1241570"/>
              <a:gd name="connsiteX5" fmla="*/ 1537395 w 1537395"/>
              <a:gd name="connsiteY5" fmla="*/ 1079912 h 1241570"/>
              <a:gd name="connsiteX6" fmla="*/ 1375737 w 1537395"/>
              <a:gd name="connsiteY6" fmla="*/ 1241570 h 1241570"/>
              <a:gd name="connsiteX7" fmla="*/ 173466 w 1537395"/>
              <a:gd name="connsiteY7" fmla="*/ 1241570 h 1241570"/>
              <a:gd name="connsiteX8" fmla="*/ 11808 w 1537395"/>
              <a:gd name="connsiteY8" fmla="*/ 1079912 h 1241570"/>
              <a:gd name="connsiteX9" fmla="*/ 11808 w 1537395"/>
              <a:gd name="connsiteY9" fmla="*/ 161803 h 1241570"/>
              <a:gd name="connsiteX0" fmla="*/ 346 w 1525933"/>
              <a:gd name="connsiteY0" fmla="*/ 161803 h 1241570"/>
              <a:gd name="connsiteX1" fmla="*/ 862 w 1525933"/>
              <a:gd name="connsiteY1" fmla="*/ 0 h 1241570"/>
              <a:gd name="connsiteX2" fmla="*/ 162004 w 1525933"/>
              <a:gd name="connsiteY2" fmla="*/ 145 h 1241570"/>
              <a:gd name="connsiteX3" fmla="*/ 1364275 w 1525933"/>
              <a:gd name="connsiteY3" fmla="*/ 145 h 1241570"/>
              <a:gd name="connsiteX4" fmla="*/ 1525933 w 1525933"/>
              <a:gd name="connsiteY4" fmla="*/ 161803 h 1241570"/>
              <a:gd name="connsiteX5" fmla="*/ 1525933 w 1525933"/>
              <a:gd name="connsiteY5" fmla="*/ 1079912 h 1241570"/>
              <a:gd name="connsiteX6" fmla="*/ 1364275 w 1525933"/>
              <a:gd name="connsiteY6" fmla="*/ 1241570 h 1241570"/>
              <a:gd name="connsiteX7" fmla="*/ 162004 w 1525933"/>
              <a:gd name="connsiteY7" fmla="*/ 1241570 h 1241570"/>
              <a:gd name="connsiteX8" fmla="*/ 346 w 1525933"/>
              <a:gd name="connsiteY8" fmla="*/ 1079912 h 1241570"/>
              <a:gd name="connsiteX9" fmla="*/ 346 w 1525933"/>
              <a:gd name="connsiteY9" fmla="*/ 161803 h 1241570"/>
              <a:gd name="connsiteX0" fmla="*/ 872 w 1526459"/>
              <a:gd name="connsiteY0" fmla="*/ 161803 h 1241570"/>
              <a:gd name="connsiteX1" fmla="*/ 1388 w 1526459"/>
              <a:gd name="connsiteY1" fmla="*/ 0 h 1241570"/>
              <a:gd name="connsiteX2" fmla="*/ 162530 w 1526459"/>
              <a:gd name="connsiteY2" fmla="*/ 145 h 1241570"/>
              <a:gd name="connsiteX3" fmla="*/ 1364801 w 1526459"/>
              <a:gd name="connsiteY3" fmla="*/ 145 h 1241570"/>
              <a:gd name="connsiteX4" fmla="*/ 1526459 w 1526459"/>
              <a:gd name="connsiteY4" fmla="*/ 161803 h 1241570"/>
              <a:gd name="connsiteX5" fmla="*/ 1526459 w 1526459"/>
              <a:gd name="connsiteY5" fmla="*/ 1079912 h 1241570"/>
              <a:gd name="connsiteX6" fmla="*/ 1364801 w 1526459"/>
              <a:gd name="connsiteY6" fmla="*/ 1241570 h 1241570"/>
              <a:gd name="connsiteX7" fmla="*/ 162530 w 1526459"/>
              <a:gd name="connsiteY7" fmla="*/ 1241570 h 1241570"/>
              <a:gd name="connsiteX8" fmla="*/ 872 w 1526459"/>
              <a:gd name="connsiteY8" fmla="*/ 1079912 h 1241570"/>
              <a:gd name="connsiteX9" fmla="*/ 872 w 1526459"/>
              <a:gd name="connsiteY9" fmla="*/ 161803 h 1241570"/>
              <a:gd name="connsiteX0" fmla="*/ 470 w 1526057"/>
              <a:gd name="connsiteY0" fmla="*/ 161803 h 1241570"/>
              <a:gd name="connsiteX1" fmla="*/ 986 w 1526057"/>
              <a:gd name="connsiteY1" fmla="*/ 0 h 1241570"/>
              <a:gd name="connsiteX2" fmla="*/ 162128 w 1526057"/>
              <a:gd name="connsiteY2" fmla="*/ 145 h 1241570"/>
              <a:gd name="connsiteX3" fmla="*/ 1364399 w 1526057"/>
              <a:gd name="connsiteY3" fmla="*/ 145 h 1241570"/>
              <a:gd name="connsiteX4" fmla="*/ 1526057 w 1526057"/>
              <a:gd name="connsiteY4" fmla="*/ 161803 h 1241570"/>
              <a:gd name="connsiteX5" fmla="*/ 1526057 w 1526057"/>
              <a:gd name="connsiteY5" fmla="*/ 1079912 h 1241570"/>
              <a:gd name="connsiteX6" fmla="*/ 1364399 w 1526057"/>
              <a:gd name="connsiteY6" fmla="*/ 1241570 h 1241570"/>
              <a:gd name="connsiteX7" fmla="*/ 162128 w 1526057"/>
              <a:gd name="connsiteY7" fmla="*/ 1241570 h 1241570"/>
              <a:gd name="connsiteX8" fmla="*/ 470 w 1526057"/>
              <a:gd name="connsiteY8" fmla="*/ 1079912 h 1241570"/>
              <a:gd name="connsiteX9" fmla="*/ 470 w 1526057"/>
              <a:gd name="connsiteY9" fmla="*/ 161803 h 1241570"/>
              <a:gd name="connsiteX0" fmla="*/ 649 w 1526236"/>
              <a:gd name="connsiteY0" fmla="*/ 161803 h 1241570"/>
              <a:gd name="connsiteX1" fmla="*/ 1165 w 1526236"/>
              <a:gd name="connsiteY1" fmla="*/ 0 h 1241570"/>
              <a:gd name="connsiteX2" fmla="*/ 162307 w 1526236"/>
              <a:gd name="connsiteY2" fmla="*/ 145 h 1241570"/>
              <a:gd name="connsiteX3" fmla="*/ 1364578 w 1526236"/>
              <a:gd name="connsiteY3" fmla="*/ 145 h 1241570"/>
              <a:gd name="connsiteX4" fmla="*/ 1526236 w 1526236"/>
              <a:gd name="connsiteY4" fmla="*/ 161803 h 1241570"/>
              <a:gd name="connsiteX5" fmla="*/ 1526236 w 1526236"/>
              <a:gd name="connsiteY5" fmla="*/ 1079912 h 1241570"/>
              <a:gd name="connsiteX6" fmla="*/ 1364578 w 1526236"/>
              <a:gd name="connsiteY6" fmla="*/ 1241570 h 1241570"/>
              <a:gd name="connsiteX7" fmla="*/ 162307 w 1526236"/>
              <a:gd name="connsiteY7" fmla="*/ 1241570 h 1241570"/>
              <a:gd name="connsiteX8" fmla="*/ 649 w 1526236"/>
              <a:gd name="connsiteY8" fmla="*/ 1079912 h 1241570"/>
              <a:gd name="connsiteX9" fmla="*/ 649 w 1526236"/>
              <a:gd name="connsiteY9" fmla="*/ 161803 h 1241570"/>
              <a:gd name="connsiteX0" fmla="*/ 268 w 1525855"/>
              <a:gd name="connsiteY0" fmla="*/ 161803 h 1241570"/>
              <a:gd name="connsiteX1" fmla="*/ 784 w 1525855"/>
              <a:gd name="connsiteY1" fmla="*/ 0 h 1241570"/>
              <a:gd name="connsiteX2" fmla="*/ 161926 w 1525855"/>
              <a:gd name="connsiteY2" fmla="*/ 145 h 1241570"/>
              <a:gd name="connsiteX3" fmla="*/ 1364197 w 1525855"/>
              <a:gd name="connsiteY3" fmla="*/ 145 h 1241570"/>
              <a:gd name="connsiteX4" fmla="*/ 1525855 w 1525855"/>
              <a:gd name="connsiteY4" fmla="*/ 161803 h 1241570"/>
              <a:gd name="connsiteX5" fmla="*/ 1525855 w 1525855"/>
              <a:gd name="connsiteY5" fmla="*/ 1079912 h 1241570"/>
              <a:gd name="connsiteX6" fmla="*/ 1364197 w 1525855"/>
              <a:gd name="connsiteY6" fmla="*/ 1241570 h 1241570"/>
              <a:gd name="connsiteX7" fmla="*/ 161926 w 1525855"/>
              <a:gd name="connsiteY7" fmla="*/ 1241570 h 1241570"/>
              <a:gd name="connsiteX8" fmla="*/ 268 w 1525855"/>
              <a:gd name="connsiteY8" fmla="*/ 1079912 h 1241570"/>
              <a:gd name="connsiteX9" fmla="*/ 268 w 1525855"/>
              <a:gd name="connsiteY9" fmla="*/ 161803 h 1241570"/>
              <a:gd name="connsiteX0" fmla="*/ 359 w 1525946"/>
              <a:gd name="connsiteY0" fmla="*/ 161803 h 1241570"/>
              <a:gd name="connsiteX1" fmla="*/ 253 w 1525946"/>
              <a:gd name="connsiteY1" fmla="*/ 0 h 1241570"/>
              <a:gd name="connsiteX2" fmla="*/ 162017 w 1525946"/>
              <a:gd name="connsiteY2" fmla="*/ 145 h 1241570"/>
              <a:gd name="connsiteX3" fmla="*/ 1364288 w 1525946"/>
              <a:gd name="connsiteY3" fmla="*/ 145 h 1241570"/>
              <a:gd name="connsiteX4" fmla="*/ 1525946 w 1525946"/>
              <a:gd name="connsiteY4" fmla="*/ 161803 h 1241570"/>
              <a:gd name="connsiteX5" fmla="*/ 1525946 w 1525946"/>
              <a:gd name="connsiteY5" fmla="*/ 1079912 h 1241570"/>
              <a:gd name="connsiteX6" fmla="*/ 1364288 w 1525946"/>
              <a:gd name="connsiteY6" fmla="*/ 1241570 h 1241570"/>
              <a:gd name="connsiteX7" fmla="*/ 162017 w 1525946"/>
              <a:gd name="connsiteY7" fmla="*/ 1241570 h 1241570"/>
              <a:gd name="connsiteX8" fmla="*/ 359 w 1525946"/>
              <a:gd name="connsiteY8" fmla="*/ 1079912 h 1241570"/>
              <a:gd name="connsiteX9" fmla="*/ 359 w 1525946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364035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25693" h="1241570">
                <a:moveTo>
                  <a:pt x="106" y="161803"/>
                </a:moveTo>
                <a:cubicBezTo>
                  <a:pt x="-210" y="159620"/>
                  <a:pt x="409" y="7672"/>
                  <a:pt x="0" y="0"/>
                </a:cubicBezTo>
                <a:cubicBezTo>
                  <a:pt x="6219" y="388"/>
                  <a:pt x="110655" y="450"/>
                  <a:pt x="161764" y="145"/>
                </a:cubicBezTo>
                <a:lnTo>
                  <a:pt x="1364035" y="145"/>
                </a:lnTo>
                <a:cubicBezTo>
                  <a:pt x="1453316" y="145"/>
                  <a:pt x="1525693" y="72522"/>
                  <a:pt x="1525693" y="161803"/>
                </a:cubicBezTo>
                <a:lnTo>
                  <a:pt x="1525693" y="1079912"/>
                </a:lnTo>
                <a:cubicBezTo>
                  <a:pt x="1525693" y="1169193"/>
                  <a:pt x="1453316" y="1241570"/>
                  <a:pt x="1364035" y="1241570"/>
                </a:cubicBezTo>
                <a:lnTo>
                  <a:pt x="161764" y="1241570"/>
                </a:lnTo>
                <a:cubicBezTo>
                  <a:pt x="72483" y="1241570"/>
                  <a:pt x="106" y="1169193"/>
                  <a:pt x="106" y="1079912"/>
                </a:cubicBezTo>
                <a:lnTo>
                  <a:pt x="106" y="1618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tIns="0" bIns="252000" anchor="b"/>
          <a:lstStyle>
            <a:lvl1pPr marL="0" indent="0" algn="ctr">
              <a:buNone/>
              <a:defRPr sz="2806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nl-NL" noProof="0"/>
          </a:p>
        </p:txBody>
      </p:sp>
      <p:grpSp>
        <p:nvGrpSpPr>
          <p:cNvPr id="98" name="Groep 77">
            <a:extLst>
              <a:ext uri="{FF2B5EF4-FFF2-40B4-BE49-F238E27FC236}">
                <a16:creationId xmlns:a16="http://schemas.microsoft.com/office/drawing/2014/main" id="{36CF6C6E-1D1A-4765-B440-AC99DEBA79E4}"/>
              </a:ext>
            </a:extLst>
          </p:cNvPr>
          <p:cNvGrpSpPr/>
          <p:nvPr userDrawn="1"/>
        </p:nvGrpSpPr>
        <p:grpSpPr>
          <a:xfrm>
            <a:off x="43467414" y="0"/>
            <a:ext cx="13065546" cy="24210246"/>
            <a:chOff x="12391601" y="0"/>
            <a:chExt cx="3724699" cy="5484152"/>
          </a:xfrm>
        </p:grpSpPr>
        <p:sp>
          <p:nvSpPr>
            <p:cNvPr id="99" name="Rechthoek 78">
              <a:extLst>
                <a:ext uri="{FF2B5EF4-FFF2-40B4-BE49-F238E27FC236}">
                  <a16:creationId xmlns:a16="http://schemas.microsoft.com/office/drawing/2014/main" id="{3FB3DA4A-49C7-47C0-8216-784B55BB393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100" name="Ovaal 79">
              <a:extLst>
                <a:ext uri="{FF2B5EF4-FFF2-40B4-BE49-F238E27FC236}">
                  <a16:creationId xmlns:a16="http://schemas.microsoft.com/office/drawing/2014/main" id="{95835028-FD7B-4401-B98A-74578806C7A1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80">
              <a:extLst>
                <a:ext uri="{FF2B5EF4-FFF2-40B4-BE49-F238E27FC236}">
                  <a16:creationId xmlns:a16="http://schemas.microsoft.com/office/drawing/2014/main" id="{79C1CABA-42BC-4D1F-BF1A-B55441F8017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81">
              <a:extLst>
                <a:ext uri="{FF2B5EF4-FFF2-40B4-BE49-F238E27FC236}">
                  <a16:creationId xmlns:a16="http://schemas.microsoft.com/office/drawing/2014/main" id="{8E8E79C4-A963-441C-A371-B4B19AD30FE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82">
              <a:extLst>
                <a:ext uri="{FF2B5EF4-FFF2-40B4-BE49-F238E27FC236}">
                  <a16:creationId xmlns:a16="http://schemas.microsoft.com/office/drawing/2014/main" id="{0850B024-9D29-423B-943A-CE327ABDC468}"/>
                </a:ext>
              </a:extLst>
            </p:cNvPr>
            <p:cNvSpPr/>
            <p:nvPr userDrawn="1"/>
          </p:nvSpPr>
          <p:spPr>
            <a:xfrm>
              <a:off x="12757282" y="432552"/>
              <a:ext cx="335901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fbeelding door deze te selecteren en op 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m een nieuwe afbeelding in te voegen.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83">
              <a:extLst>
                <a:ext uri="{FF2B5EF4-FFF2-40B4-BE49-F238E27FC236}">
                  <a16:creationId xmlns:a16="http://schemas.microsoft.com/office/drawing/2014/main" id="{38C84B88-68F1-4F0A-A4DD-DBE8AB0B6FB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84">
              <a:extLst>
                <a:ext uri="{FF2B5EF4-FFF2-40B4-BE49-F238E27FC236}">
                  <a16:creationId xmlns:a16="http://schemas.microsoft.com/office/drawing/2014/main" id="{4979BE6B-C556-4371-85AE-6F394B77646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85">
              <a:extLst>
                <a:ext uri="{FF2B5EF4-FFF2-40B4-BE49-F238E27FC236}">
                  <a16:creationId xmlns:a16="http://schemas.microsoft.com/office/drawing/2014/main" id="{CAF6F14F-14CA-48DA-8995-0FA61D6E8045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1" name="Rechthoek 119">
                <a:extLst>
                  <a:ext uri="{FF2B5EF4-FFF2-40B4-BE49-F238E27FC236}">
                    <a16:creationId xmlns:a16="http://schemas.microsoft.com/office/drawing/2014/main" id="{4902E440-1B17-4EC3-B940-FD4185BAFF5D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172" name="Rechte verbindingslijn 120">
                <a:extLst>
                  <a:ext uri="{FF2B5EF4-FFF2-40B4-BE49-F238E27FC236}">
                    <a16:creationId xmlns:a16="http://schemas.microsoft.com/office/drawing/2014/main" id="{C8480132-BCE5-4A39-A8E9-12F42A981BE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3" name="Gelijkbenige driehoek 121">
                <a:extLst>
                  <a:ext uri="{FF2B5EF4-FFF2-40B4-BE49-F238E27FC236}">
                    <a16:creationId xmlns:a16="http://schemas.microsoft.com/office/drawing/2014/main" id="{F3A6B288-A2CD-4D8A-8EA2-947C39AB44F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7" name="Groep 86">
              <a:extLst>
                <a:ext uri="{FF2B5EF4-FFF2-40B4-BE49-F238E27FC236}">
                  <a16:creationId xmlns:a16="http://schemas.microsoft.com/office/drawing/2014/main" id="{64EC50E0-07F5-4AC2-AF6E-B6A5143A2BFA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145" name="Rechthoek 113">
                <a:extLst>
                  <a:ext uri="{FF2B5EF4-FFF2-40B4-BE49-F238E27FC236}">
                    <a16:creationId xmlns:a16="http://schemas.microsoft.com/office/drawing/2014/main" id="{83816C4C-4BD5-4749-ADBC-2E7B61172B19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6" name="Ovaal 114">
                <a:extLst>
                  <a:ext uri="{FF2B5EF4-FFF2-40B4-BE49-F238E27FC236}">
                    <a16:creationId xmlns:a16="http://schemas.microsoft.com/office/drawing/2014/main" id="{ACFEAC87-13F7-44CA-9E0B-68D031009BE3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7" name="Vrije vorm: vorm 115">
                <a:extLst>
                  <a:ext uri="{FF2B5EF4-FFF2-40B4-BE49-F238E27FC236}">
                    <a16:creationId xmlns:a16="http://schemas.microsoft.com/office/drawing/2014/main" id="{ABC0308E-7743-4151-B79D-A69C7DBA2FE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Rechthoek: afgeronde hoeken 116">
                <a:extLst>
                  <a:ext uri="{FF2B5EF4-FFF2-40B4-BE49-F238E27FC236}">
                    <a16:creationId xmlns:a16="http://schemas.microsoft.com/office/drawing/2014/main" id="{D660C710-BE6A-465A-B164-DB53036696AD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69" name="Rechte verbindingslijn 117">
                <a:extLst>
                  <a:ext uri="{FF2B5EF4-FFF2-40B4-BE49-F238E27FC236}">
                    <a16:creationId xmlns:a16="http://schemas.microsoft.com/office/drawing/2014/main" id="{199FF578-564E-4F76-86C5-18A8186A92D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70" name="Rechte verbindingslijn 118">
                <a:extLst>
                  <a:ext uri="{FF2B5EF4-FFF2-40B4-BE49-F238E27FC236}">
                    <a16:creationId xmlns:a16="http://schemas.microsoft.com/office/drawing/2014/main" id="{D95BFB2A-126D-4432-BB08-64835042BD53}"/>
                  </a:ext>
                </a:extLst>
              </p:cNvPr>
              <p:cNvCxnSpPr>
                <a:cxnSpLocks/>
                <a:stCxn id="168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grpSp>
          <p:nvGrpSpPr>
            <p:cNvPr id="108" name="Groep 87">
              <a:extLst>
                <a:ext uri="{FF2B5EF4-FFF2-40B4-BE49-F238E27FC236}">
                  <a16:creationId xmlns:a16="http://schemas.microsoft.com/office/drawing/2014/main" id="{C8B0E368-2137-4373-A07E-F78EEEFC3081}"/>
                </a:ext>
              </a:extLst>
            </p:cNvPr>
            <p:cNvGrpSpPr/>
            <p:nvPr userDrawn="1"/>
          </p:nvGrpSpPr>
          <p:grpSpPr>
            <a:xfrm>
              <a:off x="12391601" y="2643684"/>
              <a:ext cx="3183678" cy="2840468"/>
              <a:chOff x="12952763" y="4572241"/>
              <a:chExt cx="3183678" cy="2840468"/>
            </a:xfrm>
          </p:grpSpPr>
          <p:grpSp>
            <p:nvGrpSpPr>
              <p:cNvPr id="109" name="Meer informatie">
                <a:extLst>
                  <a:ext uri="{FF2B5EF4-FFF2-40B4-BE49-F238E27FC236}">
                    <a16:creationId xmlns:a16="http://schemas.microsoft.com/office/drawing/2014/main" id="{6F170A1F-5BBE-4D6B-B212-16AD3ECA86B8}"/>
                  </a:ext>
                </a:extLst>
              </p:cNvPr>
              <p:cNvGrpSpPr/>
              <p:nvPr userDrawn="1"/>
            </p:nvGrpSpPr>
            <p:grpSpPr>
              <a:xfrm>
                <a:off x="12957926" y="6629436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41" name="Freeform 101">
                  <a:extLst>
                    <a:ext uri="{FF2B5EF4-FFF2-40B4-BE49-F238E27FC236}">
                      <a16:creationId xmlns:a16="http://schemas.microsoft.com/office/drawing/2014/main" id="{95EBA78B-B606-4FD5-8049-C1E7269320C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3859" noProof="0"/>
                </a:p>
              </p:txBody>
            </p:sp>
            <p:sp>
              <p:nvSpPr>
                <p:cNvPr id="142" name="Rechthoek 111">
                  <a:extLst>
                    <a:ext uri="{FF2B5EF4-FFF2-40B4-BE49-F238E27FC236}">
                      <a16:creationId xmlns:a16="http://schemas.microsoft.com/office/drawing/2014/main" id="{1CB3772C-015A-4BFE-B8E6-5F060ACFD903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3207489" eaLnBrk="1" fontAlgn="auto" latinLnBrk="0" hangingPunct="1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Meer weten?</a:t>
                  </a:r>
                  <a:b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a naar dia </a:t>
                  </a:r>
                  <a:r>
                    <a:rPr kumimoji="0" lang="nl-NL" sz="3859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´Instructie dia: YouTube links´</a:t>
                  </a: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deze in de diavoorstelling en klik op de gewenste video link.</a:t>
                  </a:r>
                </a:p>
              </p:txBody>
            </p:sp>
            <p:cxnSp>
              <p:nvCxnSpPr>
                <p:cNvPr id="144" name="Rechte verbindingslijn 112">
                  <a:extLst>
                    <a:ext uri="{FF2B5EF4-FFF2-40B4-BE49-F238E27FC236}">
                      <a16:creationId xmlns:a16="http://schemas.microsoft.com/office/drawing/2014/main" id="{2556A137-FBB5-4954-80C0-E17457B99F7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10" name="Rechte verbindingslijn 89">
                <a:extLst>
                  <a:ext uri="{FF2B5EF4-FFF2-40B4-BE49-F238E27FC236}">
                    <a16:creationId xmlns:a16="http://schemas.microsoft.com/office/drawing/2014/main" id="{304B37AD-C96F-4E2B-A93C-A8C3EC49828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958423" y="651155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111" name="Ovaal 90">
                <a:extLst>
                  <a:ext uri="{FF2B5EF4-FFF2-40B4-BE49-F238E27FC236}">
                    <a16:creationId xmlns:a16="http://schemas.microsoft.com/office/drawing/2014/main" id="{D52859B2-5D19-49E3-8411-44D4C4F9315D}"/>
                  </a:ext>
                </a:extLst>
              </p:cNvPr>
              <p:cNvSpPr/>
              <p:nvPr userDrawn="1"/>
            </p:nvSpPr>
            <p:spPr>
              <a:xfrm>
                <a:off x="12952763" y="4690403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320748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12" name="Rechthoek 91">
                <a:extLst>
                  <a:ext uri="{FF2B5EF4-FFF2-40B4-BE49-F238E27FC236}">
                    <a16:creationId xmlns:a16="http://schemas.microsoft.com/office/drawing/2014/main" id="{633610E9-9CB2-4026-86EC-65B330063E77}"/>
                  </a:ext>
                </a:extLst>
              </p:cNvPr>
              <p:cNvSpPr/>
              <p:nvPr userDrawn="1"/>
            </p:nvSpPr>
            <p:spPr>
              <a:xfrm>
                <a:off x="13318445" y="4756466"/>
                <a:ext cx="2817996" cy="887319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Om de afbeelding te schalen of bij te snijden, ga naar de tab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Hulpmiddelen voor afbeeldingen - Opmaak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 en klik op de knop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Bijsnijden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Schaal met de bolletjes de afbeelding en met de hoekjes het afbeeldingskader.</a:t>
                </a:r>
                <a:endPara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13" name="Rechte verbindingslijn 92">
                <a:extLst>
                  <a:ext uri="{FF2B5EF4-FFF2-40B4-BE49-F238E27FC236}">
                    <a16:creationId xmlns:a16="http://schemas.microsoft.com/office/drawing/2014/main" id="{64B6EB9A-BA00-4FAA-A071-9E6EF7010BC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958423" y="457224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114" name="Groep 93">
                <a:extLst>
                  <a:ext uri="{FF2B5EF4-FFF2-40B4-BE49-F238E27FC236}">
                    <a16:creationId xmlns:a16="http://schemas.microsoft.com/office/drawing/2014/main" id="{6F930AD3-DC0F-4159-9382-D873A520C172}"/>
                  </a:ext>
                </a:extLst>
              </p:cNvPr>
              <p:cNvGrpSpPr/>
              <p:nvPr userDrawn="1"/>
            </p:nvGrpSpPr>
            <p:grpSpPr>
              <a:xfrm>
                <a:off x="13257676" y="5773610"/>
                <a:ext cx="514284" cy="612917"/>
                <a:chOff x="12682980" y="3403271"/>
                <a:chExt cx="622284" cy="741637"/>
              </a:xfrm>
            </p:grpSpPr>
            <p:grpSp>
              <p:nvGrpSpPr>
                <p:cNvPr id="115" name="Groep 94">
                  <a:extLst>
                    <a:ext uri="{FF2B5EF4-FFF2-40B4-BE49-F238E27FC236}">
                      <a16:creationId xmlns:a16="http://schemas.microsoft.com/office/drawing/2014/main" id="{853B3095-54E2-4529-8570-1293DA0CC153}"/>
                    </a:ext>
                  </a:extLst>
                </p:cNvPr>
                <p:cNvGrpSpPr/>
                <p:nvPr userDrawn="1"/>
              </p:nvGrpSpPr>
              <p:grpSpPr>
                <a:xfrm>
                  <a:off x="12771568" y="3403271"/>
                  <a:ext cx="467138" cy="448459"/>
                  <a:chOff x="12782195" y="3403271"/>
                  <a:chExt cx="467138" cy="448459"/>
                </a:xfrm>
              </p:grpSpPr>
              <p:grpSp>
                <p:nvGrpSpPr>
                  <p:cNvPr id="118" name="Groep 97">
                    <a:extLst>
                      <a:ext uri="{FF2B5EF4-FFF2-40B4-BE49-F238E27FC236}">
                        <a16:creationId xmlns:a16="http://schemas.microsoft.com/office/drawing/2014/main" id="{19F2E613-C7BE-41DD-BF51-FA96E7D7E00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2782195" y="3403271"/>
                    <a:ext cx="412967" cy="393910"/>
                    <a:chOff x="13554906" y="3320143"/>
                    <a:chExt cx="443906" cy="423422"/>
                  </a:xfrm>
                </p:grpSpPr>
                <p:grpSp>
                  <p:nvGrpSpPr>
                    <p:cNvPr id="134" name="Groep 104">
                      <a:extLst>
                        <a:ext uri="{FF2B5EF4-FFF2-40B4-BE49-F238E27FC236}">
                          <a16:creationId xmlns:a16="http://schemas.microsoft.com/office/drawing/2014/main" id="{52429507-38F3-4E9E-8450-6F5B48C34F0C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3554906" y="3320143"/>
                      <a:ext cx="443906" cy="423422"/>
                      <a:chOff x="12909684" y="1276177"/>
                      <a:chExt cx="443906" cy="423422"/>
                    </a:xfrm>
                  </p:grpSpPr>
                  <p:sp>
                    <p:nvSpPr>
                      <p:cNvPr id="138" name="Rechthoek 107">
                        <a:extLst>
                          <a:ext uri="{FF2B5EF4-FFF2-40B4-BE49-F238E27FC236}">
                            <a16:creationId xmlns:a16="http://schemas.microsoft.com/office/drawing/2014/main" id="{A8E6BCC9-5C76-4A72-9754-82EE294361B1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2918700" y="1285299"/>
                        <a:ext cx="434890" cy="414300"/>
                      </a:xfrm>
                      <a:prstGeom prst="rect">
                        <a:avLst/>
                      </a:prstGeom>
                      <a:noFill/>
                      <a:ln w="12700">
                        <a:solidFill>
                          <a:srgbClr val="818181"/>
                        </a:solidFill>
                        <a:prstDash val="dash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2105"/>
                          </a:spcBef>
                          <a:spcAft>
                            <a:spcPts val="2105"/>
                          </a:spcAft>
                        </a:pPr>
                        <a:endParaRPr lang="nl-NL" sz="2806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139" name="Rechthoek 108">
                        <a:extLst>
                          <a:ext uri="{FF2B5EF4-FFF2-40B4-BE49-F238E27FC236}">
                            <a16:creationId xmlns:a16="http://schemas.microsoft.com/office/drawing/2014/main" id="{9D7B8A50-5B3F-4914-9043-965D6F76CE32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2909684" y="1276177"/>
                        <a:ext cx="261629" cy="257808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12700">
                        <a:solidFill>
                          <a:srgbClr val="81818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2105"/>
                          </a:spcBef>
                          <a:spcAft>
                            <a:spcPts val="2105"/>
                          </a:spcAft>
                        </a:pPr>
                        <a:endParaRPr lang="nl-NL" sz="2806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140" name="Ovaal 109">
                        <a:extLst>
                          <a:ext uri="{FF2B5EF4-FFF2-40B4-BE49-F238E27FC236}">
                            <a16:creationId xmlns:a16="http://schemas.microsoft.com/office/drawing/2014/main" id="{8DDF8ECC-166C-4897-8622-374E97AA8163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3069071" y="1308734"/>
                        <a:ext cx="72187" cy="72188"/>
                      </a:xfrm>
                      <a:prstGeom prst="ellipse">
                        <a:avLst/>
                      </a:prstGeom>
                      <a:solidFill>
                        <a:srgbClr val="ECC679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="horz" wrap="square" lIns="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l"/>
                        <a:endParaRPr lang="nl-NL" sz="3509" b="1" noProof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  <p:pic>
                  <p:nvPicPr>
                    <p:cNvPr id="135" name="Afbeelding 105">
                      <a:extLst>
                        <a:ext uri="{FF2B5EF4-FFF2-40B4-BE49-F238E27FC236}">
                          <a16:creationId xmlns:a16="http://schemas.microsoft.com/office/drawing/2014/main" id="{0F5F8622-2778-4F8C-AC1D-88E1E161214B}"/>
                        </a:ext>
                      </a:extLst>
                    </p:cNvPr>
                    <p:cNvPicPr>
                      <a:picLocks noChangeAspect="1"/>
                    </p:cNvPicPr>
                    <p:nvPr userDrawn="1"/>
                  </p:nvPicPr>
                  <p:blipFill>
                    <a:blip r:embed="rId2" cstate="screen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3567296" y="3424991"/>
                      <a:ext cx="173367" cy="14022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36" name="Afbeelding 106">
                      <a:extLst>
                        <a:ext uri="{FF2B5EF4-FFF2-40B4-BE49-F238E27FC236}">
                          <a16:creationId xmlns:a16="http://schemas.microsoft.com/office/drawing/2014/main" id="{58579FE3-F702-4936-B25F-18EB6AB3B960}"/>
                        </a:ext>
                      </a:extLst>
                    </p:cNvPr>
                    <p:cNvPicPr>
                      <a:picLocks noChangeAspect="1"/>
                    </p:cNvPicPr>
                    <p:nvPr userDrawn="1"/>
                  </p:nvPicPr>
                  <p:blipFill>
                    <a:blip r:embed="rId4" cstate="screen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5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flipH="1">
                      <a:off x="13635598" y="3454393"/>
                      <a:ext cx="173366" cy="111424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119" name="Groep 98">
                    <a:extLst>
                      <a:ext uri="{FF2B5EF4-FFF2-40B4-BE49-F238E27FC236}">
                        <a16:creationId xmlns:a16="http://schemas.microsoft.com/office/drawing/2014/main" id="{5BCE9AD3-A1F5-4676-AE07-6D2867FC0E8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103513" y="3705278"/>
                    <a:ext cx="145820" cy="146452"/>
                    <a:chOff x="13096169" y="3602288"/>
                    <a:chExt cx="145820" cy="146452"/>
                  </a:xfrm>
                </p:grpSpPr>
                <p:sp>
                  <p:nvSpPr>
                    <p:cNvPr id="123" name="Rechthoek 102">
                      <a:extLst>
                        <a:ext uri="{FF2B5EF4-FFF2-40B4-BE49-F238E27FC236}">
                          <a16:creationId xmlns:a16="http://schemas.microsoft.com/office/drawing/2014/main" id="{C66784CF-651F-43D0-BF9C-C7DBF4D112DE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96169" y="360228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33" name="Rechthoek 103">
                      <a:extLst>
                        <a:ext uri="{FF2B5EF4-FFF2-40B4-BE49-F238E27FC236}">
                          <a16:creationId xmlns:a16="http://schemas.microsoft.com/office/drawing/2014/main" id="{65FAB179-32F6-43C5-9722-A5EBEF267DAF}"/>
                        </a:ext>
                      </a:extLst>
                    </p:cNvPr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grpSp>
                <p:nvGrpSpPr>
                  <p:cNvPr id="120" name="Groep 99">
                    <a:extLst>
                      <a:ext uri="{FF2B5EF4-FFF2-40B4-BE49-F238E27FC236}">
                        <a16:creationId xmlns:a16="http://schemas.microsoft.com/office/drawing/2014/main" id="{77D4D063-EAC2-4078-A0EE-2D5AAA880B6C}"/>
                      </a:ext>
                    </a:extLst>
                  </p:cNvPr>
                  <p:cNvGrpSpPr/>
                  <p:nvPr userDrawn="1"/>
                </p:nvGrpSpPr>
                <p:grpSpPr>
                  <a:xfrm rot="10800000">
                    <a:off x="13061402" y="3665668"/>
                    <a:ext cx="145820" cy="146461"/>
                    <a:chOff x="13096169" y="3602248"/>
                    <a:chExt cx="145820" cy="146461"/>
                  </a:xfrm>
                </p:grpSpPr>
                <p:sp>
                  <p:nvSpPr>
                    <p:cNvPr id="121" name="Rechthoek 100">
                      <a:extLst>
                        <a:ext uri="{FF2B5EF4-FFF2-40B4-BE49-F238E27FC236}">
                          <a16:creationId xmlns:a16="http://schemas.microsoft.com/office/drawing/2014/main" id="{C143E68D-5638-4CCB-AC3B-AEEC5571CCB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96169" y="360224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22" name="Rechthoek 101">
                      <a:extLst>
                        <a:ext uri="{FF2B5EF4-FFF2-40B4-BE49-F238E27FC236}">
                          <a16:creationId xmlns:a16="http://schemas.microsoft.com/office/drawing/2014/main" id="{38AAB217-F950-4294-9A14-451F149F0D0E}"/>
                        </a:ext>
                      </a:extLst>
                    </p:cNvPr>
                    <p:cNvSpPr/>
                    <p:nvPr userDrawn="1"/>
                  </p:nvSpPr>
                  <p:spPr>
                    <a:xfrm rot="5400000">
                      <a:off x="13037453" y="3661605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  <p:sp>
              <p:nvSpPr>
                <p:cNvPr id="116" name="Rechthoek 95">
                  <a:extLst>
                    <a:ext uri="{FF2B5EF4-FFF2-40B4-BE49-F238E27FC236}">
                      <a16:creationId xmlns:a16="http://schemas.microsoft.com/office/drawing/2014/main" id="{8B0331BE-413D-4F8C-8037-03308E0C944C}"/>
                    </a:ext>
                  </a:extLst>
                </p:cNvPr>
                <p:cNvSpPr/>
                <p:nvPr userDrawn="1"/>
              </p:nvSpPr>
              <p:spPr>
                <a:xfrm>
                  <a:off x="12682980" y="3889920"/>
                  <a:ext cx="622284" cy="16117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r>
                    <a:rPr lang="nl-NL" sz="3158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Bijsnijden</a:t>
                  </a:r>
                </a:p>
              </p:txBody>
            </p:sp>
            <p:sp>
              <p:nvSpPr>
                <p:cNvPr id="117" name="Gelijkbenige driehoek 96">
                  <a:extLst>
                    <a:ext uri="{FF2B5EF4-FFF2-40B4-BE49-F238E27FC236}">
                      <a16:creationId xmlns:a16="http://schemas.microsoft.com/office/drawing/2014/main" id="{E256B01D-D616-46E5-B171-4AE5BDBE58D2}"/>
                    </a:ext>
                  </a:extLst>
                </p:cNvPr>
                <p:cNvSpPr/>
                <p:nvPr userDrawn="1"/>
              </p:nvSpPr>
              <p:spPr>
                <a:xfrm rot="10800000">
                  <a:off x="12950688" y="4093761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pic>
        <p:nvPicPr>
          <p:cNvPr id="202" name="Afbeelding 201">
            <a:extLst>
              <a:ext uri="{FF2B5EF4-FFF2-40B4-BE49-F238E27FC236}">
                <a16:creationId xmlns:a16="http://schemas.microsoft.com/office/drawing/2014/main" id="{889F0510-046E-4908-9005-B0269FC547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4836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kaders + Uitleg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grpSp>
        <p:nvGrpSpPr>
          <p:cNvPr id="38" name="GRID" hidden="1">
            <a:extLst>
              <a:ext uri="{FF2B5EF4-FFF2-40B4-BE49-F238E27FC236}">
                <a16:creationId xmlns:a16="http://schemas.microsoft.com/office/drawing/2014/main" id="{51D5F7E8-69F8-47AD-81F5-1645C97607C1}"/>
              </a:ext>
            </a:extLst>
          </p:cNvPr>
          <p:cNvGrpSpPr/>
          <p:nvPr userDrawn="1"/>
        </p:nvGrpSpPr>
        <p:grpSpPr>
          <a:xfrm>
            <a:off x="5" y="0"/>
            <a:ext cx="42767261" cy="30275213"/>
            <a:chOff x="0" y="0"/>
            <a:chExt cx="12192003" cy="6858000"/>
          </a:xfrm>
        </p:grpSpPr>
        <p:sp>
          <p:nvSpPr>
            <p:cNvPr id="39" name="Rechthoek 38">
              <a:extLst>
                <a:ext uri="{FF2B5EF4-FFF2-40B4-BE49-F238E27FC236}">
                  <a16:creationId xmlns:a16="http://schemas.microsoft.com/office/drawing/2014/main" id="{71DB2C92-E6A8-4532-98F6-C917E7F5CD17}"/>
                </a:ext>
              </a:extLst>
            </p:cNvPr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0" name="Rechthoek 39">
              <a:extLst>
                <a:ext uri="{FF2B5EF4-FFF2-40B4-BE49-F238E27FC236}">
                  <a16:creationId xmlns:a16="http://schemas.microsoft.com/office/drawing/2014/main" id="{1283F161-5F8A-45E1-A9F2-F823FC1CB0A5}"/>
                </a:ext>
              </a:extLst>
            </p:cNvPr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1" name="Rechthoek 40">
              <a:extLst>
                <a:ext uri="{FF2B5EF4-FFF2-40B4-BE49-F238E27FC236}">
                  <a16:creationId xmlns:a16="http://schemas.microsoft.com/office/drawing/2014/main" id="{E25AE021-76F4-4113-9019-FB3CB3351AD2}"/>
                </a:ext>
              </a:extLst>
            </p:cNvPr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2" name="Rechthoek 41">
              <a:extLst>
                <a:ext uri="{FF2B5EF4-FFF2-40B4-BE49-F238E27FC236}">
                  <a16:creationId xmlns:a16="http://schemas.microsoft.com/office/drawing/2014/main" id="{4F56F574-960D-4395-B98C-5F49ED9EF418}"/>
                </a:ext>
              </a:extLst>
            </p:cNvPr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34E307D0-CCA0-4BDF-BC5F-E19838E9F7DA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4" name="Rechthoek 43">
              <a:extLst>
                <a:ext uri="{FF2B5EF4-FFF2-40B4-BE49-F238E27FC236}">
                  <a16:creationId xmlns:a16="http://schemas.microsoft.com/office/drawing/2014/main" id="{2AEE0B25-FBCC-4048-A2C0-6D97C3E7FEB7}"/>
                </a:ext>
              </a:extLst>
            </p:cNvPr>
            <p:cNvSpPr/>
            <p:nvPr userDrawn="1"/>
          </p:nvSpPr>
          <p:spPr>
            <a:xfrm rot="5400000">
              <a:off x="5895976" y="-108104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endParaRPr lang="nl-NL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endParaRPr lang="nl-NL" noProof="0"/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8"/>
            <a:ext cx="707315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0D7B9878-B8FD-4C53-84A0-30824F06295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33807" y="6316512"/>
            <a:ext cx="26489657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 marL="0" indent="0">
              <a:buNone/>
              <a:defRPr sz="4209"/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7F82B2D1-AD00-49E7-AE45-05F1D50B110A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696819" y="6310559"/>
            <a:ext cx="5345591" cy="3935014"/>
          </a:xfrm>
          <a:custGeom>
            <a:avLst/>
            <a:gdLst>
              <a:gd name="connsiteX0" fmla="*/ 0 w 1525587"/>
              <a:gd name="connsiteY0" fmla="*/ 161658 h 1241425"/>
              <a:gd name="connsiteX1" fmla="*/ 161658 w 1525587"/>
              <a:gd name="connsiteY1" fmla="*/ 0 h 1241425"/>
              <a:gd name="connsiteX2" fmla="*/ 1363929 w 1525587"/>
              <a:gd name="connsiteY2" fmla="*/ 0 h 1241425"/>
              <a:gd name="connsiteX3" fmla="*/ 1525587 w 1525587"/>
              <a:gd name="connsiteY3" fmla="*/ 161658 h 1241425"/>
              <a:gd name="connsiteX4" fmla="*/ 1525587 w 1525587"/>
              <a:gd name="connsiteY4" fmla="*/ 1079767 h 1241425"/>
              <a:gd name="connsiteX5" fmla="*/ 1363929 w 1525587"/>
              <a:gd name="connsiteY5" fmla="*/ 1241425 h 1241425"/>
              <a:gd name="connsiteX6" fmla="*/ 161658 w 1525587"/>
              <a:gd name="connsiteY6" fmla="*/ 1241425 h 1241425"/>
              <a:gd name="connsiteX7" fmla="*/ 0 w 1525587"/>
              <a:gd name="connsiteY7" fmla="*/ 1079767 h 1241425"/>
              <a:gd name="connsiteX8" fmla="*/ 0 w 1525587"/>
              <a:gd name="connsiteY8" fmla="*/ 161658 h 1241425"/>
              <a:gd name="connsiteX0" fmla="*/ 0 w 1525587"/>
              <a:gd name="connsiteY0" fmla="*/ 161658 h 1241425"/>
              <a:gd name="connsiteX1" fmla="*/ 42862 w 1525587"/>
              <a:gd name="connsiteY1" fmla="*/ 48418 h 1241425"/>
              <a:gd name="connsiteX2" fmla="*/ 161658 w 1525587"/>
              <a:gd name="connsiteY2" fmla="*/ 0 h 1241425"/>
              <a:gd name="connsiteX3" fmla="*/ 1363929 w 1525587"/>
              <a:gd name="connsiteY3" fmla="*/ 0 h 1241425"/>
              <a:gd name="connsiteX4" fmla="*/ 1525587 w 1525587"/>
              <a:gd name="connsiteY4" fmla="*/ 161658 h 1241425"/>
              <a:gd name="connsiteX5" fmla="*/ 1525587 w 1525587"/>
              <a:gd name="connsiteY5" fmla="*/ 1079767 h 1241425"/>
              <a:gd name="connsiteX6" fmla="*/ 1363929 w 1525587"/>
              <a:gd name="connsiteY6" fmla="*/ 1241425 h 1241425"/>
              <a:gd name="connsiteX7" fmla="*/ 161658 w 1525587"/>
              <a:gd name="connsiteY7" fmla="*/ 1241425 h 1241425"/>
              <a:gd name="connsiteX8" fmla="*/ 0 w 1525587"/>
              <a:gd name="connsiteY8" fmla="*/ 1079767 h 1241425"/>
              <a:gd name="connsiteX9" fmla="*/ 0 w 1525587"/>
              <a:gd name="connsiteY9" fmla="*/ 161658 h 1241425"/>
              <a:gd name="connsiteX0" fmla="*/ 8672 w 1534259"/>
              <a:gd name="connsiteY0" fmla="*/ 165982 h 1245749"/>
              <a:gd name="connsiteX1" fmla="*/ 11053 w 1534259"/>
              <a:gd name="connsiteY1" fmla="*/ 12261 h 1245749"/>
              <a:gd name="connsiteX2" fmla="*/ 170330 w 1534259"/>
              <a:gd name="connsiteY2" fmla="*/ 4324 h 1245749"/>
              <a:gd name="connsiteX3" fmla="*/ 1372601 w 1534259"/>
              <a:gd name="connsiteY3" fmla="*/ 4324 h 1245749"/>
              <a:gd name="connsiteX4" fmla="*/ 1534259 w 1534259"/>
              <a:gd name="connsiteY4" fmla="*/ 165982 h 1245749"/>
              <a:gd name="connsiteX5" fmla="*/ 1534259 w 1534259"/>
              <a:gd name="connsiteY5" fmla="*/ 1084091 h 1245749"/>
              <a:gd name="connsiteX6" fmla="*/ 1372601 w 1534259"/>
              <a:gd name="connsiteY6" fmla="*/ 1245749 h 1245749"/>
              <a:gd name="connsiteX7" fmla="*/ 170330 w 1534259"/>
              <a:gd name="connsiteY7" fmla="*/ 1245749 h 1245749"/>
              <a:gd name="connsiteX8" fmla="*/ 8672 w 1534259"/>
              <a:gd name="connsiteY8" fmla="*/ 1084091 h 1245749"/>
              <a:gd name="connsiteX9" fmla="*/ 8672 w 1534259"/>
              <a:gd name="connsiteY9" fmla="*/ 165982 h 1245749"/>
              <a:gd name="connsiteX0" fmla="*/ 8672 w 1534259"/>
              <a:gd name="connsiteY0" fmla="*/ 167890 h 1247657"/>
              <a:gd name="connsiteX1" fmla="*/ 11053 w 1534259"/>
              <a:gd name="connsiteY1" fmla="*/ 14169 h 1247657"/>
              <a:gd name="connsiteX2" fmla="*/ 170330 w 1534259"/>
              <a:gd name="connsiteY2" fmla="*/ 6232 h 1247657"/>
              <a:gd name="connsiteX3" fmla="*/ 1372601 w 1534259"/>
              <a:gd name="connsiteY3" fmla="*/ 6232 h 1247657"/>
              <a:gd name="connsiteX4" fmla="*/ 1534259 w 1534259"/>
              <a:gd name="connsiteY4" fmla="*/ 167890 h 1247657"/>
              <a:gd name="connsiteX5" fmla="*/ 1534259 w 1534259"/>
              <a:gd name="connsiteY5" fmla="*/ 1085999 h 1247657"/>
              <a:gd name="connsiteX6" fmla="*/ 1372601 w 1534259"/>
              <a:gd name="connsiteY6" fmla="*/ 1247657 h 1247657"/>
              <a:gd name="connsiteX7" fmla="*/ 170330 w 1534259"/>
              <a:gd name="connsiteY7" fmla="*/ 1247657 h 1247657"/>
              <a:gd name="connsiteX8" fmla="*/ 8672 w 1534259"/>
              <a:gd name="connsiteY8" fmla="*/ 1085999 h 1247657"/>
              <a:gd name="connsiteX9" fmla="*/ 8672 w 1534259"/>
              <a:gd name="connsiteY9" fmla="*/ 167890 h 1247657"/>
              <a:gd name="connsiteX0" fmla="*/ 8672 w 1534259"/>
              <a:gd name="connsiteY0" fmla="*/ 161658 h 1241425"/>
              <a:gd name="connsiteX1" fmla="*/ 11053 w 1534259"/>
              <a:gd name="connsiteY1" fmla="*/ 7937 h 1241425"/>
              <a:gd name="connsiteX2" fmla="*/ 170330 w 1534259"/>
              <a:gd name="connsiteY2" fmla="*/ 0 h 1241425"/>
              <a:gd name="connsiteX3" fmla="*/ 1372601 w 1534259"/>
              <a:gd name="connsiteY3" fmla="*/ 0 h 1241425"/>
              <a:gd name="connsiteX4" fmla="*/ 1534259 w 1534259"/>
              <a:gd name="connsiteY4" fmla="*/ 161658 h 1241425"/>
              <a:gd name="connsiteX5" fmla="*/ 1534259 w 1534259"/>
              <a:gd name="connsiteY5" fmla="*/ 1079767 h 1241425"/>
              <a:gd name="connsiteX6" fmla="*/ 1372601 w 1534259"/>
              <a:gd name="connsiteY6" fmla="*/ 1241425 h 1241425"/>
              <a:gd name="connsiteX7" fmla="*/ 170330 w 1534259"/>
              <a:gd name="connsiteY7" fmla="*/ 1241425 h 1241425"/>
              <a:gd name="connsiteX8" fmla="*/ 8672 w 1534259"/>
              <a:gd name="connsiteY8" fmla="*/ 1079767 h 1241425"/>
              <a:gd name="connsiteX9" fmla="*/ 8672 w 1534259"/>
              <a:gd name="connsiteY9" fmla="*/ 161658 h 124142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3668 h 1243435"/>
              <a:gd name="connsiteX1" fmla="*/ 10644 w 1535715"/>
              <a:gd name="connsiteY1" fmla="*/ 0 h 1243435"/>
              <a:gd name="connsiteX2" fmla="*/ 171786 w 1535715"/>
              <a:gd name="connsiteY2" fmla="*/ 2010 h 1243435"/>
              <a:gd name="connsiteX3" fmla="*/ 1374057 w 1535715"/>
              <a:gd name="connsiteY3" fmla="*/ 2010 h 1243435"/>
              <a:gd name="connsiteX4" fmla="*/ 1535715 w 1535715"/>
              <a:gd name="connsiteY4" fmla="*/ 163668 h 1243435"/>
              <a:gd name="connsiteX5" fmla="*/ 1535715 w 1535715"/>
              <a:gd name="connsiteY5" fmla="*/ 1081777 h 1243435"/>
              <a:gd name="connsiteX6" fmla="*/ 1374057 w 1535715"/>
              <a:gd name="connsiteY6" fmla="*/ 1243435 h 1243435"/>
              <a:gd name="connsiteX7" fmla="*/ 171786 w 1535715"/>
              <a:gd name="connsiteY7" fmla="*/ 1243435 h 1243435"/>
              <a:gd name="connsiteX8" fmla="*/ 10128 w 1535715"/>
              <a:gd name="connsiteY8" fmla="*/ 1081777 h 1243435"/>
              <a:gd name="connsiteX9" fmla="*/ 10128 w 1535715"/>
              <a:gd name="connsiteY9" fmla="*/ 163668 h 124343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1808 w 1537395"/>
              <a:gd name="connsiteY0" fmla="*/ 161803 h 1241570"/>
              <a:gd name="connsiteX1" fmla="*/ 12324 w 1537395"/>
              <a:gd name="connsiteY1" fmla="*/ 0 h 1241570"/>
              <a:gd name="connsiteX2" fmla="*/ 173466 w 1537395"/>
              <a:gd name="connsiteY2" fmla="*/ 145 h 1241570"/>
              <a:gd name="connsiteX3" fmla="*/ 1375737 w 1537395"/>
              <a:gd name="connsiteY3" fmla="*/ 145 h 1241570"/>
              <a:gd name="connsiteX4" fmla="*/ 1537395 w 1537395"/>
              <a:gd name="connsiteY4" fmla="*/ 161803 h 1241570"/>
              <a:gd name="connsiteX5" fmla="*/ 1537395 w 1537395"/>
              <a:gd name="connsiteY5" fmla="*/ 1079912 h 1241570"/>
              <a:gd name="connsiteX6" fmla="*/ 1375737 w 1537395"/>
              <a:gd name="connsiteY6" fmla="*/ 1241570 h 1241570"/>
              <a:gd name="connsiteX7" fmla="*/ 173466 w 1537395"/>
              <a:gd name="connsiteY7" fmla="*/ 1241570 h 1241570"/>
              <a:gd name="connsiteX8" fmla="*/ 11808 w 1537395"/>
              <a:gd name="connsiteY8" fmla="*/ 1079912 h 1241570"/>
              <a:gd name="connsiteX9" fmla="*/ 11808 w 1537395"/>
              <a:gd name="connsiteY9" fmla="*/ 161803 h 1241570"/>
              <a:gd name="connsiteX0" fmla="*/ 346 w 1525933"/>
              <a:gd name="connsiteY0" fmla="*/ 161803 h 1241570"/>
              <a:gd name="connsiteX1" fmla="*/ 862 w 1525933"/>
              <a:gd name="connsiteY1" fmla="*/ 0 h 1241570"/>
              <a:gd name="connsiteX2" fmla="*/ 162004 w 1525933"/>
              <a:gd name="connsiteY2" fmla="*/ 145 h 1241570"/>
              <a:gd name="connsiteX3" fmla="*/ 1364275 w 1525933"/>
              <a:gd name="connsiteY3" fmla="*/ 145 h 1241570"/>
              <a:gd name="connsiteX4" fmla="*/ 1525933 w 1525933"/>
              <a:gd name="connsiteY4" fmla="*/ 161803 h 1241570"/>
              <a:gd name="connsiteX5" fmla="*/ 1525933 w 1525933"/>
              <a:gd name="connsiteY5" fmla="*/ 1079912 h 1241570"/>
              <a:gd name="connsiteX6" fmla="*/ 1364275 w 1525933"/>
              <a:gd name="connsiteY6" fmla="*/ 1241570 h 1241570"/>
              <a:gd name="connsiteX7" fmla="*/ 162004 w 1525933"/>
              <a:gd name="connsiteY7" fmla="*/ 1241570 h 1241570"/>
              <a:gd name="connsiteX8" fmla="*/ 346 w 1525933"/>
              <a:gd name="connsiteY8" fmla="*/ 1079912 h 1241570"/>
              <a:gd name="connsiteX9" fmla="*/ 346 w 1525933"/>
              <a:gd name="connsiteY9" fmla="*/ 161803 h 1241570"/>
              <a:gd name="connsiteX0" fmla="*/ 872 w 1526459"/>
              <a:gd name="connsiteY0" fmla="*/ 161803 h 1241570"/>
              <a:gd name="connsiteX1" fmla="*/ 1388 w 1526459"/>
              <a:gd name="connsiteY1" fmla="*/ 0 h 1241570"/>
              <a:gd name="connsiteX2" fmla="*/ 162530 w 1526459"/>
              <a:gd name="connsiteY2" fmla="*/ 145 h 1241570"/>
              <a:gd name="connsiteX3" fmla="*/ 1364801 w 1526459"/>
              <a:gd name="connsiteY3" fmla="*/ 145 h 1241570"/>
              <a:gd name="connsiteX4" fmla="*/ 1526459 w 1526459"/>
              <a:gd name="connsiteY4" fmla="*/ 161803 h 1241570"/>
              <a:gd name="connsiteX5" fmla="*/ 1526459 w 1526459"/>
              <a:gd name="connsiteY5" fmla="*/ 1079912 h 1241570"/>
              <a:gd name="connsiteX6" fmla="*/ 1364801 w 1526459"/>
              <a:gd name="connsiteY6" fmla="*/ 1241570 h 1241570"/>
              <a:gd name="connsiteX7" fmla="*/ 162530 w 1526459"/>
              <a:gd name="connsiteY7" fmla="*/ 1241570 h 1241570"/>
              <a:gd name="connsiteX8" fmla="*/ 872 w 1526459"/>
              <a:gd name="connsiteY8" fmla="*/ 1079912 h 1241570"/>
              <a:gd name="connsiteX9" fmla="*/ 872 w 1526459"/>
              <a:gd name="connsiteY9" fmla="*/ 161803 h 1241570"/>
              <a:gd name="connsiteX0" fmla="*/ 470 w 1526057"/>
              <a:gd name="connsiteY0" fmla="*/ 161803 h 1241570"/>
              <a:gd name="connsiteX1" fmla="*/ 986 w 1526057"/>
              <a:gd name="connsiteY1" fmla="*/ 0 h 1241570"/>
              <a:gd name="connsiteX2" fmla="*/ 162128 w 1526057"/>
              <a:gd name="connsiteY2" fmla="*/ 145 h 1241570"/>
              <a:gd name="connsiteX3" fmla="*/ 1364399 w 1526057"/>
              <a:gd name="connsiteY3" fmla="*/ 145 h 1241570"/>
              <a:gd name="connsiteX4" fmla="*/ 1526057 w 1526057"/>
              <a:gd name="connsiteY4" fmla="*/ 161803 h 1241570"/>
              <a:gd name="connsiteX5" fmla="*/ 1526057 w 1526057"/>
              <a:gd name="connsiteY5" fmla="*/ 1079912 h 1241570"/>
              <a:gd name="connsiteX6" fmla="*/ 1364399 w 1526057"/>
              <a:gd name="connsiteY6" fmla="*/ 1241570 h 1241570"/>
              <a:gd name="connsiteX7" fmla="*/ 162128 w 1526057"/>
              <a:gd name="connsiteY7" fmla="*/ 1241570 h 1241570"/>
              <a:gd name="connsiteX8" fmla="*/ 470 w 1526057"/>
              <a:gd name="connsiteY8" fmla="*/ 1079912 h 1241570"/>
              <a:gd name="connsiteX9" fmla="*/ 470 w 1526057"/>
              <a:gd name="connsiteY9" fmla="*/ 161803 h 1241570"/>
              <a:gd name="connsiteX0" fmla="*/ 649 w 1526236"/>
              <a:gd name="connsiteY0" fmla="*/ 161803 h 1241570"/>
              <a:gd name="connsiteX1" fmla="*/ 1165 w 1526236"/>
              <a:gd name="connsiteY1" fmla="*/ 0 h 1241570"/>
              <a:gd name="connsiteX2" fmla="*/ 162307 w 1526236"/>
              <a:gd name="connsiteY2" fmla="*/ 145 h 1241570"/>
              <a:gd name="connsiteX3" fmla="*/ 1364578 w 1526236"/>
              <a:gd name="connsiteY3" fmla="*/ 145 h 1241570"/>
              <a:gd name="connsiteX4" fmla="*/ 1526236 w 1526236"/>
              <a:gd name="connsiteY4" fmla="*/ 161803 h 1241570"/>
              <a:gd name="connsiteX5" fmla="*/ 1526236 w 1526236"/>
              <a:gd name="connsiteY5" fmla="*/ 1079912 h 1241570"/>
              <a:gd name="connsiteX6" fmla="*/ 1364578 w 1526236"/>
              <a:gd name="connsiteY6" fmla="*/ 1241570 h 1241570"/>
              <a:gd name="connsiteX7" fmla="*/ 162307 w 1526236"/>
              <a:gd name="connsiteY7" fmla="*/ 1241570 h 1241570"/>
              <a:gd name="connsiteX8" fmla="*/ 649 w 1526236"/>
              <a:gd name="connsiteY8" fmla="*/ 1079912 h 1241570"/>
              <a:gd name="connsiteX9" fmla="*/ 649 w 1526236"/>
              <a:gd name="connsiteY9" fmla="*/ 161803 h 1241570"/>
              <a:gd name="connsiteX0" fmla="*/ 268 w 1525855"/>
              <a:gd name="connsiteY0" fmla="*/ 161803 h 1241570"/>
              <a:gd name="connsiteX1" fmla="*/ 784 w 1525855"/>
              <a:gd name="connsiteY1" fmla="*/ 0 h 1241570"/>
              <a:gd name="connsiteX2" fmla="*/ 161926 w 1525855"/>
              <a:gd name="connsiteY2" fmla="*/ 145 h 1241570"/>
              <a:gd name="connsiteX3" fmla="*/ 1364197 w 1525855"/>
              <a:gd name="connsiteY3" fmla="*/ 145 h 1241570"/>
              <a:gd name="connsiteX4" fmla="*/ 1525855 w 1525855"/>
              <a:gd name="connsiteY4" fmla="*/ 161803 h 1241570"/>
              <a:gd name="connsiteX5" fmla="*/ 1525855 w 1525855"/>
              <a:gd name="connsiteY5" fmla="*/ 1079912 h 1241570"/>
              <a:gd name="connsiteX6" fmla="*/ 1364197 w 1525855"/>
              <a:gd name="connsiteY6" fmla="*/ 1241570 h 1241570"/>
              <a:gd name="connsiteX7" fmla="*/ 161926 w 1525855"/>
              <a:gd name="connsiteY7" fmla="*/ 1241570 h 1241570"/>
              <a:gd name="connsiteX8" fmla="*/ 268 w 1525855"/>
              <a:gd name="connsiteY8" fmla="*/ 1079912 h 1241570"/>
              <a:gd name="connsiteX9" fmla="*/ 268 w 1525855"/>
              <a:gd name="connsiteY9" fmla="*/ 161803 h 1241570"/>
              <a:gd name="connsiteX0" fmla="*/ 359 w 1525946"/>
              <a:gd name="connsiteY0" fmla="*/ 161803 h 1241570"/>
              <a:gd name="connsiteX1" fmla="*/ 253 w 1525946"/>
              <a:gd name="connsiteY1" fmla="*/ 0 h 1241570"/>
              <a:gd name="connsiteX2" fmla="*/ 162017 w 1525946"/>
              <a:gd name="connsiteY2" fmla="*/ 145 h 1241570"/>
              <a:gd name="connsiteX3" fmla="*/ 1364288 w 1525946"/>
              <a:gd name="connsiteY3" fmla="*/ 145 h 1241570"/>
              <a:gd name="connsiteX4" fmla="*/ 1525946 w 1525946"/>
              <a:gd name="connsiteY4" fmla="*/ 161803 h 1241570"/>
              <a:gd name="connsiteX5" fmla="*/ 1525946 w 1525946"/>
              <a:gd name="connsiteY5" fmla="*/ 1079912 h 1241570"/>
              <a:gd name="connsiteX6" fmla="*/ 1364288 w 1525946"/>
              <a:gd name="connsiteY6" fmla="*/ 1241570 h 1241570"/>
              <a:gd name="connsiteX7" fmla="*/ 162017 w 1525946"/>
              <a:gd name="connsiteY7" fmla="*/ 1241570 h 1241570"/>
              <a:gd name="connsiteX8" fmla="*/ 359 w 1525946"/>
              <a:gd name="connsiteY8" fmla="*/ 1079912 h 1241570"/>
              <a:gd name="connsiteX9" fmla="*/ 359 w 1525946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364035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414898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414898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414898 w 1525693"/>
              <a:gd name="connsiteY6" fmla="*/ 1232717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  <a:gd name="connsiteX0" fmla="*/ 106 w 1525718"/>
              <a:gd name="connsiteY0" fmla="*/ 161803 h 1241570"/>
              <a:gd name="connsiteX1" fmla="*/ 0 w 1525718"/>
              <a:gd name="connsiteY1" fmla="*/ 0 h 1241570"/>
              <a:gd name="connsiteX2" fmla="*/ 161764 w 1525718"/>
              <a:gd name="connsiteY2" fmla="*/ 145 h 1241570"/>
              <a:gd name="connsiteX3" fmla="*/ 1414898 w 1525718"/>
              <a:gd name="connsiteY3" fmla="*/ 145 h 1241570"/>
              <a:gd name="connsiteX4" fmla="*/ 1525693 w 1525718"/>
              <a:gd name="connsiteY4" fmla="*/ 161803 h 1241570"/>
              <a:gd name="connsiteX5" fmla="*/ 1525693 w 1525718"/>
              <a:gd name="connsiteY5" fmla="*/ 1079912 h 1241570"/>
              <a:gd name="connsiteX6" fmla="*/ 1440330 w 1525718"/>
              <a:gd name="connsiteY6" fmla="*/ 1232717 h 1241570"/>
              <a:gd name="connsiteX7" fmla="*/ 161764 w 1525718"/>
              <a:gd name="connsiteY7" fmla="*/ 1241570 h 1241570"/>
              <a:gd name="connsiteX8" fmla="*/ 106 w 1525718"/>
              <a:gd name="connsiteY8" fmla="*/ 1079912 h 1241570"/>
              <a:gd name="connsiteX9" fmla="*/ 106 w 1525718"/>
              <a:gd name="connsiteY9" fmla="*/ 161803 h 1241570"/>
              <a:gd name="connsiteX0" fmla="*/ 106 w 1525718"/>
              <a:gd name="connsiteY0" fmla="*/ 161803 h 1241570"/>
              <a:gd name="connsiteX1" fmla="*/ 0 w 1525718"/>
              <a:gd name="connsiteY1" fmla="*/ 0 h 1241570"/>
              <a:gd name="connsiteX2" fmla="*/ 161764 w 1525718"/>
              <a:gd name="connsiteY2" fmla="*/ 145 h 1241570"/>
              <a:gd name="connsiteX3" fmla="*/ 1414898 w 1525718"/>
              <a:gd name="connsiteY3" fmla="*/ 145 h 1241570"/>
              <a:gd name="connsiteX4" fmla="*/ 1525693 w 1525718"/>
              <a:gd name="connsiteY4" fmla="*/ 161803 h 1241570"/>
              <a:gd name="connsiteX5" fmla="*/ 1525693 w 1525718"/>
              <a:gd name="connsiteY5" fmla="*/ 1079912 h 1241570"/>
              <a:gd name="connsiteX6" fmla="*/ 1440330 w 1525718"/>
              <a:gd name="connsiteY6" fmla="*/ 1239358 h 1241570"/>
              <a:gd name="connsiteX7" fmla="*/ 161764 w 1525718"/>
              <a:gd name="connsiteY7" fmla="*/ 1241570 h 1241570"/>
              <a:gd name="connsiteX8" fmla="*/ 106 w 1525718"/>
              <a:gd name="connsiteY8" fmla="*/ 1079912 h 1241570"/>
              <a:gd name="connsiteX9" fmla="*/ 106 w 1525718"/>
              <a:gd name="connsiteY9" fmla="*/ 161803 h 1241570"/>
              <a:gd name="connsiteX0" fmla="*/ 106 w 1525718"/>
              <a:gd name="connsiteY0" fmla="*/ 161803 h 1241570"/>
              <a:gd name="connsiteX1" fmla="*/ 0 w 1525718"/>
              <a:gd name="connsiteY1" fmla="*/ 0 h 1241570"/>
              <a:gd name="connsiteX2" fmla="*/ 161764 w 1525718"/>
              <a:gd name="connsiteY2" fmla="*/ 145 h 1241570"/>
              <a:gd name="connsiteX3" fmla="*/ 1414898 w 1525718"/>
              <a:gd name="connsiteY3" fmla="*/ 145 h 1241570"/>
              <a:gd name="connsiteX4" fmla="*/ 1525693 w 1525718"/>
              <a:gd name="connsiteY4" fmla="*/ 161803 h 1241570"/>
              <a:gd name="connsiteX5" fmla="*/ 1525693 w 1525718"/>
              <a:gd name="connsiteY5" fmla="*/ 1079912 h 1241570"/>
              <a:gd name="connsiteX6" fmla="*/ 1440330 w 1525718"/>
              <a:gd name="connsiteY6" fmla="*/ 1232717 h 1241570"/>
              <a:gd name="connsiteX7" fmla="*/ 161764 w 1525718"/>
              <a:gd name="connsiteY7" fmla="*/ 1241570 h 1241570"/>
              <a:gd name="connsiteX8" fmla="*/ 106 w 1525718"/>
              <a:gd name="connsiteY8" fmla="*/ 1079912 h 1241570"/>
              <a:gd name="connsiteX9" fmla="*/ 106 w 1525718"/>
              <a:gd name="connsiteY9" fmla="*/ 161803 h 1241570"/>
              <a:gd name="connsiteX0" fmla="*/ 106 w 1525718"/>
              <a:gd name="connsiteY0" fmla="*/ 161803 h 1241570"/>
              <a:gd name="connsiteX1" fmla="*/ 0 w 1525718"/>
              <a:gd name="connsiteY1" fmla="*/ 0 h 1241570"/>
              <a:gd name="connsiteX2" fmla="*/ 161764 w 1525718"/>
              <a:gd name="connsiteY2" fmla="*/ 145 h 1241570"/>
              <a:gd name="connsiteX3" fmla="*/ 1414898 w 1525718"/>
              <a:gd name="connsiteY3" fmla="*/ 145 h 1241570"/>
              <a:gd name="connsiteX4" fmla="*/ 1525693 w 1525718"/>
              <a:gd name="connsiteY4" fmla="*/ 161803 h 1241570"/>
              <a:gd name="connsiteX5" fmla="*/ 1525693 w 1525718"/>
              <a:gd name="connsiteY5" fmla="*/ 1079912 h 1241570"/>
              <a:gd name="connsiteX6" fmla="*/ 1440330 w 1525718"/>
              <a:gd name="connsiteY6" fmla="*/ 1232717 h 1241570"/>
              <a:gd name="connsiteX7" fmla="*/ 161764 w 1525718"/>
              <a:gd name="connsiteY7" fmla="*/ 1241570 h 1241570"/>
              <a:gd name="connsiteX8" fmla="*/ 106 w 1525718"/>
              <a:gd name="connsiteY8" fmla="*/ 1079912 h 1241570"/>
              <a:gd name="connsiteX9" fmla="*/ 106 w 1525718"/>
              <a:gd name="connsiteY9" fmla="*/ 161803 h 1241570"/>
              <a:gd name="connsiteX0" fmla="*/ 106 w 1525718"/>
              <a:gd name="connsiteY0" fmla="*/ 161803 h 1241570"/>
              <a:gd name="connsiteX1" fmla="*/ 0 w 1525718"/>
              <a:gd name="connsiteY1" fmla="*/ 0 h 1241570"/>
              <a:gd name="connsiteX2" fmla="*/ 161764 w 1525718"/>
              <a:gd name="connsiteY2" fmla="*/ 145 h 1241570"/>
              <a:gd name="connsiteX3" fmla="*/ 1414898 w 1525718"/>
              <a:gd name="connsiteY3" fmla="*/ 145 h 1241570"/>
              <a:gd name="connsiteX4" fmla="*/ 1525693 w 1525718"/>
              <a:gd name="connsiteY4" fmla="*/ 161803 h 1241570"/>
              <a:gd name="connsiteX5" fmla="*/ 1525693 w 1525718"/>
              <a:gd name="connsiteY5" fmla="*/ 1079912 h 1241570"/>
              <a:gd name="connsiteX6" fmla="*/ 1440330 w 1525718"/>
              <a:gd name="connsiteY6" fmla="*/ 1239358 h 1241570"/>
              <a:gd name="connsiteX7" fmla="*/ 161764 w 1525718"/>
              <a:gd name="connsiteY7" fmla="*/ 1241570 h 1241570"/>
              <a:gd name="connsiteX8" fmla="*/ 106 w 1525718"/>
              <a:gd name="connsiteY8" fmla="*/ 1079912 h 1241570"/>
              <a:gd name="connsiteX9" fmla="*/ 106 w 1525718"/>
              <a:gd name="connsiteY9" fmla="*/ 161803 h 1241570"/>
              <a:gd name="connsiteX0" fmla="*/ 106 w 1525718"/>
              <a:gd name="connsiteY0" fmla="*/ 161803 h 1241570"/>
              <a:gd name="connsiteX1" fmla="*/ 0 w 1525718"/>
              <a:gd name="connsiteY1" fmla="*/ 0 h 1241570"/>
              <a:gd name="connsiteX2" fmla="*/ 161764 w 1525718"/>
              <a:gd name="connsiteY2" fmla="*/ 145 h 1241570"/>
              <a:gd name="connsiteX3" fmla="*/ 1414898 w 1525718"/>
              <a:gd name="connsiteY3" fmla="*/ 145 h 1241570"/>
              <a:gd name="connsiteX4" fmla="*/ 1525693 w 1525718"/>
              <a:gd name="connsiteY4" fmla="*/ 161803 h 1241570"/>
              <a:gd name="connsiteX5" fmla="*/ 1525693 w 1525718"/>
              <a:gd name="connsiteY5" fmla="*/ 1079912 h 1241570"/>
              <a:gd name="connsiteX6" fmla="*/ 1440330 w 1525718"/>
              <a:gd name="connsiteY6" fmla="*/ 1229398 h 1241570"/>
              <a:gd name="connsiteX7" fmla="*/ 161764 w 1525718"/>
              <a:gd name="connsiteY7" fmla="*/ 1241570 h 1241570"/>
              <a:gd name="connsiteX8" fmla="*/ 106 w 1525718"/>
              <a:gd name="connsiteY8" fmla="*/ 1079912 h 1241570"/>
              <a:gd name="connsiteX9" fmla="*/ 106 w 1525718"/>
              <a:gd name="connsiteY9" fmla="*/ 161803 h 1241570"/>
              <a:gd name="connsiteX0" fmla="*/ 106 w 1525789"/>
              <a:gd name="connsiteY0" fmla="*/ 161803 h 1249317"/>
              <a:gd name="connsiteX1" fmla="*/ 0 w 1525789"/>
              <a:gd name="connsiteY1" fmla="*/ 0 h 1249317"/>
              <a:gd name="connsiteX2" fmla="*/ 161764 w 1525789"/>
              <a:gd name="connsiteY2" fmla="*/ 145 h 1249317"/>
              <a:gd name="connsiteX3" fmla="*/ 1414898 w 1525789"/>
              <a:gd name="connsiteY3" fmla="*/ 145 h 1249317"/>
              <a:gd name="connsiteX4" fmla="*/ 1525693 w 1525789"/>
              <a:gd name="connsiteY4" fmla="*/ 161803 h 1249317"/>
              <a:gd name="connsiteX5" fmla="*/ 1525693 w 1525789"/>
              <a:gd name="connsiteY5" fmla="*/ 1079912 h 1249317"/>
              <a:gd name="connsiteX6" fmla="*/ 1442714 w 1525789"/>
              <a:gd name="connsiteY6" fmla="*/ 1249317 h 1249317"/>
              <a:gd name="connsiteX7" fmla="*/ 161764 w 1525789"/>
              <a:gd name="connsiteY7" fmla="*/ 1241570 h 1249317"/>
              <a:gd name="connsiteX8" fmla="*/ 106 w 1525789"/>
              <a:gd name="connsiteY8" fmla="*/ 1079912 h 1249317"/>
              <a:gd name="connsiteX9" fmla="*/ 106 w 1525789"/>
              <a:gd name="connsiteY9" fmla="*/ 161803 h 1249317"/>
              <a:gd name="connsiteX0" fmla="*/ 106 w 1525789"/>
              <a:gd name="connsiteY0" fmla="*/ 161803 h 1242677"/>
              <a:gd name="connsiteX1" fmla="*/ 0 w 1525789"/>
              <a:gd name="connsiteY1" fmla="*/ 0 h 1242677"/>
              <a:gd name="connsiteX2" fmla="*/ 161764 w 1525789"/>
              <a:gd name="connsiteY2" fmla="*/ 145 h 1242677"/>
              <a:gd name="connsiteX3" fmla="*/ 1414898 w 1525789"/>
              <a:gd name="connsiteY3" fmla="*/ 145 h 1242677"/>
              <a:gd name="connsiteX4" fmla="*/ 1525693 w 1525789"/>
              <a:gd name="connsiteY4" fmla="*/ 161803 h 1242677"/>
              <a:gd name="connsiteX5" fmla="*/ 1525693 w 1525789"/>
              <a:gd name="connsiteY5" fmla="*/ 1079912 h 1242677"/>
              <a:gd name="connsiteX6" fmla="*/ 1442714 w 1525789"/>
              <a:gd name="connsiteY6" fmla="*/ 1242677 h 1242677"/>
              <a:gd name="connsiteX7" fmla="*/ 161764 w 1525789"/>
              <a:gd name="connsiteY7" fmla="*/ 1241570 h 1242677"/>
              <a:gd name="connsiteX8" fmla="*/ 106 w 1525789"/>
              <a:gd name="connsiteY8" fmla="*/ 1079912 h 1242677"/>
              <a:gd name="connsiteX9" fmla="*/ 106 w 1525789"/>
              <a:gd name="connsiteY9" fmla="*/ 161803 h 1242677"/>
              <a:gd name="connsiteX0" fmla="*/ 106 w 1525789"/>
              <a:gd name="connsiteY0" fmla="*/ 161803 h 1242677"/>
              <a:gd name="connsiteX1" fmla="*/ 0 w 1525789"/>
              <a:gd name="connsiteY1" fmla="*/ 0 h 1242677"/>
              <a:gd name="connsiteX2" fmla="*/ 161764 w 1525789"/>
              <a:gd name="connsiteY2" fmla="*/ 145 h 1242677"/>
              <a:gd name="connsiteX3" fmla="*/ 1414898 w 1525789"/>
              <a:gd name="connsiteY3" fmla="*/ 145 h 1242677"/>
              <a:gd name="connsiteX4" fmla="*/ 1525693 w 1525789"/>
              <a:gd name="connsiteY4" fmla="*/ 161803 h 1242677"/>
              <a:gd name="connsiteX5" fmla="*/ 1525693 w 1525789"/>
              <a:gd name="connsiteY5" fmla="*/ 1079912 h 1242677"/>
              <a:gd name="connsiteX6" fmla="*/ 1442714 w 1525789"/>
              <a:gd name="connsiteY6" fmla="*/ 1242677 h 1242677"/>
              <a:gd name="connsiteX7" fmla="*/ 130769 w 1525789"/>
              <a:gd name="connsiteY7" fmla="*/ 1241570 h 1242677"/>
              <a:gd name="connsiteX8" fmla="*/ 106 w 1525789"/>
              <a:gd name="connsiteY8" fmla="*/ 1079912 h 1242677"/>
              <a:gd name="connsiteX9" fmla="*/ 106 w 1525789"/>
              <a:gd name="connsiteY9" fmla="*/ 161803 h 1242677"/>
              <a:gd name="connsiteX0" fmla="*/ 106 w 1525789"/>
              <a:gd name="connsiteY0" fmla="*/ 161803 h 1242677"/>
              <a:gd name="connsiteX1" fmla="*/ 0 w 1525789"/>
              <a:gd name="connsiteY1" fmla="*/ 0 h 1242677"/>
              <a:gd name="connsiteX2" fmla="*/ 161764 w 1525789"/>
              <a:gd name="connsiteY2" fmla="*/ 145 h 1242677"/>
              <a:gd name="connsiteX3" fmla="*/ 1414898 w 1525789"/>
              <a:gd name="connsiteY3" fmla="*/ 145 h 1242677"/>
              <a:gd name="connsiteX4" fmla="*/ 1525693 w 1525789"/>
              <a:gd name="connsiteY4" fmla="*/ 161803 h 1242677"/>
              <a:gd name="connsiteX5" fmla="*/ 1525693 w 1525789"/>
              <a:gd name="connsiteY5" fmla="*/ 1079912 h 1242677"/>
              <a:gd name="connsiteX6" fmla="*/ 1442714 w 1525789"/>
              <a:gd name="connsiteY6" fmla="*/ 1242677 h 1242677"/>
              <a:gd name="connsiteX7" fmla="*/ 118848 w 1525789"/>
              <a:gd name="connsiteY7" fmla="*/ 1241570 h 1242677"/>
              <a:gd name="connsiteX8" fmla="*/ 106 w 1525789"/>
              <a:gd name="connsiteY8" fmla="*/ 1079912 h 1242677"/>
              <a:gd name="connsiteX9" fmla="*/ 106 w 1525789"/>
              <a:gd name="connsiteY9" fmla="*/ 161803 h 1242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25789" h="1242677">
                <a:moveTo>
                  <a:pt x="106" y="161803"/>
                </a:moveTo>
                <a:cubicBezTo>
                  <a:pt x="-210" y="159620"/>
                  <a:pt x="409" y="7672"/>
                  <a:pt x="0" y="0"/>
                </a:cubicBezTo>
                <a:cubicBezTo>
                  <a:pt x="6219" y="388"/>
                  <a:pt x="110655" y="450"/>
                  <a:pt x="161764" y="145"/>
                </a:cubicBezTo>
                <a:lnTo>
                  <a:pt x="1414898" y="145"/>
                </a:lnTo>
                <a:cubicBezTo>
                  <a:pt x="1504179" y="145"/>
                  <a:pt x="1525693" y="72522"/>
                  <a:pt x="1525693" y="161803"/>
                </a:cubicBezTo>
                <a:lnTo>
                  <a:pt x="1525693" y="1079912"/>
                </a:lnTo>
                <a:cubicBezTo>
                  <a:pt x="1525693" y="1169193"/>
                  <a:pt x="1531995" y="1242677"/>
                  <a:pt x="1442714" y="1242677"/>
                </a:cubicBezTo>
                <a:lnTo>
                  <a:pt x="118848" y="1241570"/>
                </a:lnTo>
                <a:cubicBezTo>
                  <a:pt x="29567" y="1241570"/>
                  <a:pt x="106" y="1169193"/>
                  <a:pt x="106" y="1079912"/>
                </a:cubicBezTo>
                <a:lnTo>
                  <a:pt x="106" y="1618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144000" anchor="b"/>
          <a:lstStyle>
            <a:lvl1pPr marL="0" indent="0" algn="ctr">
              <a:buNone/>
              <a:defRPr sz="2806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nl-NL" noProof="0"/>
          </a:p>
        </p:txBody>
      </p:sp>
      <p:sp>
        <p:nvSpPr>
          <p:cNvPr id="31" name="Tijdelijke aanduiding voor afbeelding 6">
            <a:extLst>
              <a:ext uri="{FF2B5EF4-FFF2-40B4-BE49-F238E27FC236}">
                <a16:creationId xmlns:a16="http://schemas.microsoft.com/office/drawing/2014/main" id="{6EAA7FFB-E40E-4744-8AF0-0E4BEE5C22A0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1696814" y="11466943"/>
            <a:ext cx="5345254" cy="3931509"/>
          </a:xfrm>
          <a:custGeom>
            <a:avLst/>
            <a:gdLst>
              <a:gd name="connsiteX0" fmla="*/ 0 w 1525587"/>
              <a:gd name="connsiteY0" fmla="*/ 161658 h 1241425"/>
              <a:gd name="connsiteX1" fmla="*/ 161658 w 1525587"/>
              <a:gd name="connsiteY1" fmla="*/ 0 h 1241425"/>
              <a:gd name="connsiteX2" fmla="*/ 1363929 w 1525587"/>
              <a:gd name="connsiteY2" fmla="*/ 0 h 1241425"/>
              <a:gd name="connsiteX3" fmla="*/ 1525587 w 1525587"/>
              <a:gd name="connsiteY3" fmla="*/ 161658 h 1241425"/>
              <a:gd name="connsiteX4" fmla="*/ 1525587 w 1525587"/>
              <a:gd name="connsiteY4" fmla="*/ 1079767 h 1241425"/>
              <a:gd name="connsiteX5" fmla="*/ 1363929 w 1525587"/>
              <a:gd name="connsiteY5" fmla="*/ 1241425 h 1241425"/>
              <a:gd name="connsiteX6" fmla="*/ 161658 w 1525587"/>
              <a:gd name="connsiteY6" fmla="*/ 1241425 h 1241425"/>
              <a:gd name="connsiteX7" fmla="*/ 0 w 1525587"/>
              <a:gd name="connsiteY7" fmla="*/ 1079767 h 1241425"/>
              <a:gd name="connsiteX8" fmla="*/ 0 w 1525587"/>
              <a:gd name="connsiteY8" fmla="*/ 161658 h 1241425"/>
              <a:gd name="connsiteX0" fmla="*/ 0 w 1525587"/>
              <a:gd name="connsiteY0" fmla="*/ 161658 h 1241425"/>
              <a:gd name="connsiteX1" fmla="*/ 42862 w 1525587"/>
              <a:gd name="connsiteY1" fmla="*/ 48418 h 1241425"/>
              <a:gd name="connsiteX2" fmla="*/ 161658 w 1525587"/>
              <a:gd name="connsiteY2" fmla="*/ 0 h 1241425"/>
              <a:gd name="connsiteX3" fmla="*/ 1363929 w 1525587"/>
              <a:gd name="connsiteY3" fmla="*/ 0 h 1241425"/>
              <a:gd name="connsiteX4" fmla="*/ 1525587 w 1525587"/>
              <a:gd name="connsiteY4" fmla="*/ 161658 h 1241425"/>
              <a:gd name="connsiteX5" fmla="*/ 1525587 w 1525587"/>
              <a:gd name="connsiteY5" fmla="*/ 1079767 h 1241425"/>
              <a:gd name="connsiteX6" fmla="*/ 1363929 w 1525587"/>
              <a:gd name="connsiteY6" fmla="*/ 1241425 h 1241425"/>
              <a:gd name="connsiteX7" fmla="*/ 161658 w 1525587"/>
              <a:gd name="connsiteY7" fmla="*/ 1241425 h 1241425"/>
              <a:gd name="connsiteX8" fmla="*/ 0 w 1525587"/>
              <a:gd name="connsiteY8" fmla="*/ 1079767 h 1241425"/>
              <a:gd name="connsiteX9" fmla="*/ 0 w 1525587"/>
              <a:gd name="connsiteY9" fmla="*/ 161658 h 1241425"/>
              <a:gd name="connsiteX0" fmla="*/ 8672 w 1534259"/>
              <a:gd name="connsiteY0" fmla="*/ 165982 h 1245749"/>
              <a:gd name="connsiteX1" fmla="*/ 11053 w 1534259"/>
              <a:gd name="connsiteY1" fmla="*/ 12261 h 1245749"/>
              <a:gd name="connsiteX2" fmla="*/ 170330 w 1534259"/>
              <a:gd name="connsiteY2" fmla="*/ 4324 h 1245749"/>
              <a:gd name="connsiteX3" fmla="*/ 1372601 w 1534259"/>
              <a:gd name="connsiteY3" fmla="*/ 4324 h 1245749"/>
              <a:gd name="connsiteX4" fmla="*/ 1534259 w 1534259"/>
              <a:gd name="connsiteY4" fmla="*/ 165982 h 1245749"/>
              <a:gd name="connsiteX5" fmla="*/ 1534259 w 1534259"/>
              <a:gd name="connsiteY5" fmla="*/ 1084091 h 1245749"/>
              <a:gd name="connsiteX6" fmla="*/ 1372601 w 1534259"/>
              <a:gd name="connsiteY6" fmla="*/ 1245749 h 1245749"/>
              <a:gd name="connsiteX7" fmla="*/ 170330 w 1534259"/>
              <a:gd name="connsiteY7" fmla="*/ 1245749 h 1245749"/>
              <a:gd name="connsiteX8" fmla="*/ 8672 w 1534259"/>
              <a:gd name="connsiteY8" fmla="*/ 1084091 h 1245749"/>
              <a:gd name="connsiteX9" fmla="*/ 8672 w 1534259"/>
              <a:gd name="connsiteY9" fmla="*/ 165982 h 1245749"/>
              <a:gd name="connsiteX0" fmla="*/ 8672 w 1534259"/>
              <a:gd name="connsiteY0" fmla="*/ 167890 h 1247657"/>
              <a:gd name="connsiteX1" fmla="*/ 11053 w 1534259"/>
              <a:gd name="connsiteY1" fmla="*/ 14169 h 1247657"/>
              <a:gd name="connsiteX2" fmla="*/ 170330 w 1534259"/>
              <a:gd name="connsiteY2" fmla="*/ 6232 h 1247657"/>
              <a:gd name="connsiteX3" fmla="*/ 1372601 w 1534259"/>
              <a:gd name="connsiteY3" fmla="*/ 6232 h 1247657"/>
              <a:gd name="connsiteX4" fmla="*/ 1534259 w 1534259"/>
              <a:gd name="connsiteY4" fmla="*/ 167890 h 1247657"/>
              <a:gd name="connsiteX5" fmla="*/ 1534259 w 1534259"/>
              <a:gd name="connsiteY5" fmla="*/ 1085999 h 1247657"/>
              <a:gd name="connsiteX6" fmla="*/ 1372601 w 1534259"/>
              <a:gd name="connsiteY6" fmla="*/ 1247657 h 1247657"/>
              <a:gd name="connsiteX7" fmla="*/ 170330 w 1534259"/>
              <a:gd name="connsiteY7" fmla="*/ 1247657 h 1247657"/>
              <a:gd name="connsiteX8" fmla="*/ 8672 w 1534259"/>
              <a:gd name="connsiteY8" fmla="*/ 1085999 h 1247657"/>
              <a:gd name="connsiteX9" fmla="*/ 8672 w 1534259"/>
              <a:gd name="connsiteY9" fmla="*/ 167890 h 1247657"/>
              <a:gd name="connsiteX0" fmla="*/ 8672 w 1534259"/>
              <a:gd name="connsiteY0" fmla="*/ 161658 h 1241425"/>
              <a:gd name="connsiteX1" fmla="*/ 11053 w 1534259"/>
              <a:gd name="connsiteY1" fmla="*/ 7937 h 1241425"/>
              <a:gd name="connsiteX2" fmla="*/ 170330 w 1534259"/>
              <a:gd name="connsiteY2" fmla="*/ 0 h 1241425"/>
              <a:gd name="connsiteX3" fmla="*/ 1372601 w 1534259"/>
              <a:gd name="connsiteY3" fmla="*/ 0 h 1241425"/>
              <a:gd name="connsiteX4" fmla="*/ 1534259 w 1534259"/>
              <a:gd name="connsiteY4" fmla="*/ 161658 h 1241425"/>
              <a:gd name="connsiteX5" fmla="*/ 1534259 w 1534259"/>
              <a:gd name="connsiteY5" fmla="*/ 1079767 h 1241425"/>
              <a:gd name="connsiteX6" fmla="*/ 1372601 w 1534259"/>
              <a:gd name="connsiteY6" fmla="*/ 1241425 h 1241425"/>
              <a:gd name="connsiteX7" fmla="*/ 170330 w 1534259"/>
              <a:gd name="connsiteY7" fmla="*/ 1241425 h 1241425"/>
              <a:gd name="connsiteX8" fmla="*/ 8672 w 1534259"/>
              <a:gd name="connsiteY8" fmla="*/ 1079767 h 1241425"/>
              <a:gd name="connsiteX9" fmla="*/ 8672 w 1534259"/>
              <a:gd name="connsiteY9" fmla="*/ 161658 h 124142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3668 h 1243435"/>
              <a:gd name="connsiteX1" fmla="*/ 10644 w 1535715"/>
              <a:gd name="connsiteY1" fmla="*/ 0 h 1243435"/>
              <a:gd name="connsiteX2" fmla="*/ 171786 w 1535715"/>
              <a:gd name="connsiteY2" fmla="*/ 2010 h 1243435"/>
              <a:gd name="connsiteX3" fmla="*/ 1374057 w 1535715"/>
              <a:gd name="connsiteY3" fmla="*/ 2010 h 1243435"/>
              <a:gd name="connsiteX4" fmla="*/ 1535715 w 1535715"/>
              <a:gd name="connsiteY4" fmla="*/ 163668 h 1243435"/>
              <a:gd name="connsiteX5" fmla="*/ 1535715 w 1535715"/>
              <a:gd name="connsiteY5" fmla="*/ 1081777 h 1243435"/>
              <a:gd name="connsiteX6" fmla="*/ 1374057 w 1535715"/>
              <a:gd name="connsiteY6" fmla="*/ 1243435 h 1243435"/>
              <a:gd name="connsiteX7" fmla="*/ 171786 w 1535715"/>
              <a:gd name="connsiteY7" fmla="*/ 1243435 h 1243435"/>
              <a:gd name="connsiteX8" fmla="*/ 10128 w 1535715"/>
              <a:gd name="connsiteY8" fmla="*/ 1081777 h 1243435"/>
              <a:gd name="connsiteX9" fmla="*/ 10128 w 1535715"/>
              <a:gd name="connsiteY9" fmla="*/ 163668 h 124343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1808 w 1537395"/>
              <a:gd name="connsiteY0" fmla="*/ 161803 h 1241570"/>
              <a:gd name="connsiteX1" fmla="*/ 12324 w 1537395"/>
              <a:gd name="connsiteY1" fmla="*/ 0 h 1241570"/>
              <a:gd name="connsiteX2" fmla="*/ 173466 w 1537395"/>
              <a:gd name="connsiteY2" fmla="*/ 145 h 1241570"/>
              <a:gd name="connsiteX3" fmla="*/ 1375737 w 1537395"/>
              <a:gd name="connsiteY3" fmla="*/ 145 h 1241570"/>
              <a:gd name="connsiteX4" fmla="*/ 1537395 w 1537395"/>
              <a:gd name="connsiteY4" fmla="*/ 161803 h 1241570"/>
              <a:gd name="connsiteX5" fmla="*/ 1537395 w 1537395"/>
              <a:gd name="connsiteY5" fmla="*/ 1079912 h 1241570"/>
              <a:gd name="connsiteX6" fmla="*/ 1375737 w 1537395"/>
              <a:gd name="connsiteY6" fmla="*/ 1241570 h 1241570"/>
              <a:gd name="connsiteX7" fmla="*/ 173466 w 1537395"/>
              <a:gd name="connsiteY7" fmla="*/ 1241570 h 1241570"/>
              <a:gd name="connsiteX8" fmla="*/ 11808 w 1537395"/>
              <a:gd name="connsiteY8" fmla="*/ 1079912 h 1241570"/>
              <a:gd name="connsiteX9" fmla="*/ 11808 w 1537395"/>
              <a:gd name="connsiteY9" fmla="*/ 161803 h 1241570"/>
              <a:gd name="connsiteX0" fmla="*/ 346 w 1525933"/>
              <a:gd name="connsiteY0" fmla="*/ 161803 h 1241570"/>
              <a:gd name="connsiteX1" fmla="*/ 862 w 1525933"/>
              <a:gd name="connsiteY1" fmla="*/ 0 h 1241570"/>
              <a:gd name="connsiteX2" fmla="*/ 162004 w 1525933"/>
              <a:gd name="connsiteY2" fmla="*/ 145 h 1241570"/>
              <a:gd name="connsiteX3" fmla="*/ 1364275 w 1525933"/>
              <a:gd name="connsiteY3" fmla="*/ 145 h 1241570"/>
              <a:gd name="connsiteX4" fmla="*/ 1525933 w 1525933"/>
              <a:gd name="connsiteY4" fmla="*/ 161803 h 1241570"/>
              <a:gd name="connsiteX5" fmla="*/ 1525933 w 1525933"/>
              <a:gd name="connsiteY5" fmla="*/ 1079912 h 1241570"/>
              <a:gd name="connsiteX6" fmla="*/ 1364275 w 1525933"/>
              <a:gd name="connsiteY6" fmla="*/ 1241570 h 1241570"/>
              <a:gd name="connsiteX7" fmla="*/ 162004 w 1525933"/>
              <a:gd name="connsiteY7" fmla="*/ 1241570 h 1241570"/>
              <a:gd name="connsiteX8" fmla="*/ 346 w 1525933"/>
              <a:gd name="connsiteY8" fmla="*/ 1079912 h 1241570"/>
              <a:gd name="connsiteX9" fmla="*/ 346 w 1525933"/>
              <a:gd name="connsiteY9" fmla="*/ 161803 h 1241570"/>
              <a:gd name="connsiteX0" fmla="*/ 872 w 1526459"/>
              <a:gd name="connsiteY0" fmla="*/ 161803 h 1241570"/>
              <a:gd name="connsiteX1" fmla="*/ 1388 w 1526459"/>
              <a:gd name="connsiteY1" fmla="*/ 0 h 1241570"/>
              <a:gd name="connsiteX2" fmla="*/ 162530 w 1526459"/>
              <a:gd name="connsiteY2" fmla="*/ 145 h 1241570"/>
              <a:gd name="connsiteX3" fmla="*/ 1364801 w 1526459"/>
              <a:gd name="connsiteY3" fmla="*/ 145 h 1241570"/>
              <a:gd name="connsiteX4" fmla="*/ 1526459 w 1526459"/>
              <a:gd name="connsiteY4" fmla="*/ 161803 h 1241570"/>
              <a:gd name="connsiteX5" fmla="*/ 1526459 w 1526459"/>
              <a:gd name="connsiteY5" fmla="*/ 1079912 h 1241570"/>
              <a:gd name="connsiteX6" fmla="*/ 1364801 w 1526459"/>
              <a:gd name="connsiteY6" fmla="*/ 1241570 h 1241570"/>
              <a:gd name="connsiteX7" fmla="*/ 162530 w 1526459"/>
              <a:gd name="connsiteY7" fmla="*/ 1241570 h 1241570"/>
              <a:gd name="connsiteX8" fmla="*/ 872 w 1526459"/>
              <a:gd name="connsiteY8" fmla="*/ 1079912 h 1241570"/>
              <a:gd name="connsiteX9" fmla="*/ 872 w 1526459"/>
              <a:gd name="connsiteY9" fmla="*/ 161803 h 1241570"/>
              <a:gd name="connsiteX0" fmla="*/ 470 w 1526057"/>
              <a:gd name="connsiteY0" fmla="*/ 161803 h 1241570"/>
              <a:gd name="connsiteX1" fmla="*/ 986 w 1526057"/>
              <a:gd name="connsiteY1" fmla="*/ 0 h 1241570"/>
              <a:gd name="connsiteX2" fmla="*/ 162128 w 1526057"/>
              <a:gd name="connsiteY2" fmla="*/ 145 h 1241570"/>
              <a:gd name="connsiteX3" fmla="*/ 1364399 w 1526057"/>
              <a:gd name="connsiteY3" fmla="*/ 145 h 1241570"/>
              <a:gd name="connsiteX4" fmla="*/ 1526057 w 1526057"/>
              <a:gd name="connsiteY4" fmla="*/ 161803 h 1241570"/>
              <a:gd name="connsiteX5" fmla="*/ 1526057 w 1526057"/>
              <a:gd name="connsiteY5" fmla="*/ 1079912 h 1241570"/>
              <a:gd name="connsiteX6" fmla="*/ 1364399 w 1526057"/>
              <a:gd name="connsiteY6" fmla="*/ 1241570 h 1241570"/>
              <a:gd name="connsiteX7" fmla="*/ 162128 w 1526057"/>
              <a:gd name="connsiteY7" fmla="*/ 1241570 h 1241570"/>
              <a:gd name="connsiteX8" fmla="*/ 470 w 1526057"/>
              <a:gd name="connsiteY8" fmla="*/ 1079912 h 1241570"/>
              <a:gd name="connsiteX9" fmla="*/ 470 w 1526057"/>
              <a:gd name="connsiteY9" fmla="*/ 161803 h 1241570"/>
              <a:gd name="connsiteX0" fmla="*/ 649 w 1526236"/>
              <a:gd name="connsiteY0" fmla="*/ 161803 h 1241570"/>
              <a:gd name="connsiteX1" fmla="*/ 1165 w 1526236"/>
              <a:gd name="connsiteY1" fmla="*/ 0 h 1241570"/>
              <a:gd name="connsiteX2" fmla="*/ 162307 w 1526236"/>
              <a:gd name="connsiteY2" fmla="*/ 145 h 1241570"/>
              <a:gd name="connsiteX3" fmla="*/ 1364578 w 1526236"/>
              <a:gd name="connsiteY3" fmla="*/ 145 h 1241570"/>
              <a:gd name="connsiteX4" fmla="*/ 1526236 w 1526236"/>
              <a:gd name="connsiteY4" fmla="*/ 161803 h 1241570"/>
              <a:gd name="connsiteX5" fmla="*/ 1526236 w 1526236"/>
              <a:gd name="connsiteY5" fmla="*/ 1079912 h 1241570"/>
              <a:gd name="connsiteX6" fmla="*/ 1364578 w 1526236"/>
              <a:gd name="connsiteY6" fmla="*/ 1241570 h 1241570"/>
              <a:gd name="connsiteX7" fmla="*/ 162307 w 1526236"/>
              <a:gd name="connsiteY7" fmla="*/ 1241570 h 1241570"/>
              <a:gd name="connsiteX8" fmla="*/ 649 w 1526236"/>
              <a:gd name="connsiteY8" fmla="*/ 1079912 h 1241570"/>
              <a:gd name="connsiteX9" fmla="*/ 649 w 1526236"/>
              <a:gd name="connsiteY9" fmla="*/ 161803 h 1241570"/>
              <a:gd name="connsiteX0" fmla="*/ 268 w 1525855"/>
              <a:gd name="connsiteY0" fmla="*/ 161803 h 1241570"/>
              <a:gd name="connsiteX1" fmla="*/ 784 w 1525855"/>
              <a:gd name="connsiteY1" fmla="*/ 0 h 1241570"/>
              <a:gd name="connsiteX2" fmla="*/ 161926 w 1525855"/>
              <a:gd name="connsiteY2" fmla="*/ 145 h 1241570"/>
              <a:gd name="connsiteX3" fmla="*/ 1364197 w 1525855"/>
              <a:gd name="connsiteY3" fmla="*/ 145 h 1241570"/>
              <a:gd name="connsiteX4" fmla="*/ 1525855 w 1525855"/>
              <a:gd name="connsiteY4" fmla="*/ 161803 h 1241570"/>
              <a:gd name="connsiteX5" fmla="*/ 1525855 w 1525855"/>
              <a:gd name="connsiteY5" fmla="*/ 1079912 h 1241570"/>
              <a:gd name="connsiteX6" fmla="*/ 1364197 w 1525855"/>
              <a:gd name="connsiteY6" fmla="*/ 1241570 h 1241570"/>
              <a:gd name="connsiteX7" fmla="*/ 161926 w 1525855"/>
              <a:gd name="connsiteY7" fmla="*/ 1241570 h 1241570"/>
              <a:gd name="connsiteX8" fmla="*/ 268 w 1525855"/>
              <a:gd name="connsiteY8" fmla="*/ 1079912 h 1241570"/>
              <a:gd name="connsiteX9" fmla="*/ 268 w 1525855"/>
              <a:gd name="connsiteY9" fmla="*/ 161803 h 1241570"/>
              <a:gd name="connsiteX0" fmla="*/ 359 w 1525946"/>
              <a:gd name="connsiteY0" fmla="*/ 161803 h 1241570"/>
              <a:gd name="connsiteX1" fmla="*/ 253 w 1525946"/>
              <a:gd name="connsiteY1" fmla="*/ 0 h 1241570"/>
              <a:gd name="connsiteX2" fmla="*/ 162017 w 1525946"/>
              <a:gd name="connsiteY2" fmla="*/ 145 h 1241570"/>
              <a:gd name="connsiteX3" fmla="*/ 1364288 w 1525946"/>
              <a:gd name="connsiteY3" fmla="*/ 145 h 1241570"/>
              <a:gd name="connsiteX4" fmla="*/ 1525946 w 1525946"/>
              <a:gd name="connsiteY4" fmla="*/ 161803 h 1241570"/>
              <a:gd name="connsiteX5" fmla="*/ 1525946 w 1525946"/>
              <a:gd name="connsiteY5" fmla="*/ 1079912 h 1241570"/>
              <a:gd name="connsiteX6" fmla="*/ 1364288 w 1525946"/>
              <a:gd name="connsiteY6" fmla="*/ 1241570 h 1241570"/>
              <a:gd name="connsiteX7" fmla="*/ 162017 w 1525946"/>
              <a:gd name="connsiteY7" fmla="*/ 1241570 h 1241570"/>
              <a:gd name="connsiteX8" fmla="*/ 359 w 1525946"/>
              <a:gd name="connsiteY8" fmla="*/ 1079912 h 1241570"/>
              <a:gd name="connsiteX9" fmla="*/ 359 w 1525946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364035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25693" h="1241570">
                <a:moveTo>
                  <a:pt x="106" y="161803"/>
                </a:moveTo>
                <a:cubicBezTo>
                  <a:pt x="-210" y="159620"/>
                  <a:pt x="409" y="7672"/>
                  <a:pt x="0" y="0"/>
                </a:cubicBezTo>
                <a:cubicBezTo>
                  <a:pt x="6219" y="388"/>
                  <a:pt x="110655" y="450"/>
                  <a:pt x="161764" y="145"/>
                </a:cubicBezTo>
                <a:lnTo>
                  <a:pt x="1364035" y="145"/>
                </a:lnTo>
                <a:cubicBezTo>
                  <a:pt x="1453316" y="145"/>
                  <a:pt x="1525693" y="72522"/>
                  <a:pt x="1525693" y="161803"/>
                </a:cubicBezTo>
                <a:lnTo>
                  <a:pt x="1525693" y="1079912"/>
                </a:lnTo>
                <a:cubicBezTo>
                  <a:pt x="1525693" y="1169193"/>
                  <a:pt x="1453316" y="1241570"/>
                  <a:pt x="1364035" y="1241570"/>
                </a:cubicBezTo>
                <a:lnTo>
                  <a:pt x="161764" y="1241570"/>
                </a:lnTo>
                <a:cubicBezTo>
                  <a:pt x="72483" y="1241570"/>
                  <a:pt x="106" y="1169193"/>
                  <a:pt x="106" y="1079912"/>
                </a:cubicBezTo>
                <a:lnTo>
                  <a:pt x="106" y="1618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144000" anchor="b"/>
          <a:lstStyle>
            <a:lvl1pPr marL="0" indent="0" algn="ctr">
              <a:buNone/>
              <a:defRPr sz="2806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nl-NL" noProof="0"/>
          </a:p>
        </p:txBody>
      </p:sp>
      <p:sp>
        <p:nvSpPr>
          <p:cNvPr id="33" name="Tijdelijke aanduiding voor afbeelding 6">
            <a:extLst>
              <a:ext uri="{FF2B5EF4-FFF2-40B4-BE49-F238E27FC236}">
                <a16:creationId xmlns:a16="http://schemas.microsoft.com/office/drawing/2014/main" id="{E282FF1F-8DC9-4A36-8B0E-4868FD1C3CCE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1696814" y="16623326"/>
            <a:ext cx="5345254" cy="3931509"/>
          </a:xfrm>
          <a:custGeom>
            <a:avLst/>
            <a:gdLst>
              <a:gd name="connsiteX0" fmla="*/ 0 w 1525587"/>
              <a:gd name="connsiteY0" fmla="*/ 161658 h 1241425"/>
              <a:gd name="connsiteX1" fmla="*/ 161658 w 1525587"/>
              <a:gd name="connsiteY1" fmla="*/ 0 h 1241425"/>
              <a:gd name="connsiteX2" fmla="*/ 1363929 w 1525587"/>
              <a:gd name="connsiteY2" fmla="*/ 0 h 1241425"/>
              <a:gd name="connsiteX3" fmla="*/ 1525587 w 1525587"/>
              <a:gd name="connsiteY3" fmla="*/ 161658 h 1241425"/>
              <a:gd name="connsiteX4" fmla="*/ 1525587 w 1525587"/>
              <a:gd name="connsiteY4" fmla="*/ 1079767 h 1241425"/>
              <a:gd name="connsiteX5" fmla="*/ 1363929 w 1525587"/>
              <a:gd name="connsiteY5" fmla="*/ 1241425 h 1241425"/>
              <a:gd name="connsiteX6" fmla="*/ 161658 w 1525587"/>
              <a:gd name="connsiteY6" fmla="*/ 1241425 h 1241425"/>
              <a:gd name="connsiteX7" fmla="*/ 0 w 1525587"/>
              <a:gd name="connsiteY7" fmla="*/ 1079767 h 1241425"/>
              <a:gd name="connsiteX8" fmla="*/ 0 w 1525587"/>
              <a:gd name="connsiteY8" fmla="*/ 161658 h 1241425"/>
              <a:gd name="connsiteX0" fmla="*/ 0 w 1525587"/>
              <a:gd name="connsiteY0" fmla="*/ 161658 h 1241425"/>
              <a:gd name="connsiteX1" fmla="*/ 42862 w 1525587"/>
              <a:gd name="connsiteY1" fmla="*/ 48418 h 1241425"/>
              <a:gd name="connsiteX2" fmla="*/ 161658 w 1525587"/>
              <a:gd name="connsiteY2" fmla="*/ 0 h 1241425"/>
              <a:gd name="connsiteX3" fmla="*/ 1363929 w 1525587"/>
              <a:gd name="connsiteY3" fmla="*/ 0 h 1241425"/>
              <a:gd name="connsiteX4" fmla="*/ 1525587 w 1525587"/>
              <a:gd name="connsiteY4" fmla="*/ 161658 h 1241425"/>
              <a:gd name="connsiteX5" fmla="*/ 1525587 w 1525587"/>
              <a:gd name="connsiteY5" fmla="*/ 1079767 h 1241425"/>
              <a:gd name="connsiteX6" fmla="*/ 1363929 w 1525587"/>
              <a:gd name="connsiteY6" fmla="*/ 1241425 h 1241425"/>
              <a:gd name="connsiteX7" fmla="*/ 161658 w 1525587"/>
              <a:gd name="connsiteY7" fmla="*/ 1241425 h 1241425"/>
              <a:gd name="connsiteX8" fmla="*/ 0 w 1525587"/>
              <a:gd name="connsiteY8" fmla="*/ 1079767 h 1241425"/>
              <a:gd name="connsiteX9" fmla="*/ 0 w 1525587"/>
              <a:gd name="connsiteY9" fmla="*/ 161658 h 1241425"/>
              <a:gd name="connsiteX0" fmla="*/ 8672 w 1534259"/>
              <a:gd name="connsiteY0" fmla="*/ 165982 h 1245749"/>
              <a:gd name="connsiteX1" fmla="*/ 11053 w 1534259"/>
              <a:gd name="connsiteY1" fmla="*/ 12261 h 1245749"/>
              <a:gd name="connsiteX2" fmla="*/ 170330 w 1534259"/>
              <a:gd name="connsiteY2" fmla="*/ 4324 h 1245749"/>
              <a:gd name="connsiteX3" fmla="*/ 1372601 w 1534259"/>
              <a:gd name="connsiteY3" fmla="*/ 4324 h 1245749"/>
              <a:gd name="connsiteX4" fmla="*/ 1534259 w 1534259"/>
              <a:gd name="connsiteY4" fmla="*/ 165982 h 1245749"/>
              <a:gd name="connsiteX5" fmla="*/ 1534259 w 1534259"/>
              <a:gd name="connsiteY5" fmla="*/ 1084091 h 1245749"/>
              <a:gd name="connsiteX6" fmla="*/ 1372601 w 1534259"/>
              <a:gd name="connsiteY6" fmla="*/ 1245749 h 1245749"/>
              <a:gd name="connsiteX7" fmla="*/ 170330 w 1534259"/>
              <a:gd name="connsiteY7" fmla="*/ 1245749 h 1245749"/>
              <a:gd name="connsiteX8" fmla="*/ 8672 w 1534259"/>
              <a:gd name="connsiteY8" fmla="*/ 1084091 h 1245749"/>
              <a:gd name="connsiteX9" fmla="*/ 8672 w 1534259"/>
              <a:gd name="connsiteY9" fmla="*/ 165982 h 1245749"/>
              <a:gd name="connsiteX0" fmla="*/ 8672 w 1534259"/>
              <a:gd name="connsiteY0" fmla="*/ 167890 h 1247657"/>
              <a:gd name="connsiteX1" fmla="*/ 11053 w 1534259"/>
              <a:gd name="connsiteY1" fmla="*/ 14169 h 1247657"/>
              <a:gd name="connsiteX2" fmla="*/ 170330 w 1534259"/>
              <a:gd name="connsiteY2" fmla="*/ 6232 h 1247657"/>
              <a:gd name="connsiteX3" fmla="*/ 1372601 w 1534259"/>
              <a:gd name="connsiteY3" fmla="*/ 6232 h 1247657"/>
              <a:gd name="connsiteX4" fmla="*/ 1534259 w 1534259"/>
              <a:gd name="connsiteY4" fmla="*/ 167890 h 1247657"/>
              <a:gd name="connsiteX5" fmla="*/ 1534259 w 1534259"/>
              <a:gd name="connsiteY5" fmla="*/ 1085999 h 1247657"/>
              <a:gd name="connsiteX6" fmla="*/ 1372601 w 1534259"/>
              <a:gd name="connsiteY6" fmla="*/ 1247657 h 1247657"/>
              <a:gd name="connsiteX7" fmla="*/ 170330 w 1534259"/>
              <a:gd name="connsiteY7" fmla="*/ 1247657 h 1247657"/>
              <a:gd name="connsiteX8" fmla="*/ 8672 w 1534259"/>
              <a:gd name="connsiteY8" fmla="*/ 1085999 h 1247657"/>
              <a:gd name="connsiteX9" fmla="*/ 8672 w 1534259"/>
              <a:gd name="connsiteY9" fmla="*/ 167890 h 1247657"/>
              <a:gd name="connsiteX0" fmla="*/ 8672 w 1534259"/>
              <a:gd name="connsiteY0" fmla="*/ 161658 h 1241425"/>
              <a:gd name="connsiteX1" fmla="*/ 11053 w 1534259"/>
              <a:gd name="connsiteY1" fmla="*/ 7937 h 1241425"/>
              <a:gd name="connsiteX2" fmla="*/ 170330 w 1534259"/>
              <a:gd name="connsiteY2" fmla="*/ 0 h 1241425"/>
              <a:gd name="connsiteX3" fmla="*/ 1372601 w 1534259"/>
              <a:gd name="connsiteY3" fmla="*/ 0 h 1241425"/>
              <a:gd name="connsiteX4" fmla="*/ 1534259 w 1534259"/>
              <a:gd name="connsiteY4" fmla="*/ 161658 h 1241425"/>
              <a:gd name="connsiteX5" fmla="*/ 1534259 w 1534259"/>
              <a:gd name="connsiteY5" fmla="*/ 1079767 h 1241425"/>
              <a:gd name="connsiteX6" fmla="*/ 1372601 w 1534259"/>
              <a:gd name="connsiteY6" fmla="*/ 1241425 h 1241425"/>
              <a:gd name="connsiteX7" fmla="*/ 170330 w 1534259"/>
              <a:gd name="connsiteY7" fmla="*/ 1241425 h 1241425"/>
              <a:gd name="connsiteX8" fmla="*/ 8672 w 1534259"/>
              <a:gd name="connsiteY8" fmla="*/ 1079767 h 1241425"/>
              <a:gd name="connsiteX9" fmla="*/ 8672 w 1534259"/>
              <a:gd name="connsiteY9" fmla="*/ 161658 h 124142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3668 h 1243435"/>
              <a:gd name="connsiteX1" fmla="*/ 10644 w 1535715"/>
              <a:gd name="connsiteY1" fmla="*/ 0 h 1243435"/>
              <a:gd name="connsiteX2" fmla="*/ 171786 w 1535715"/>
              <a:gd name="connsiteY2" fmla="*/ 2010 h 1243435"/>
              <a:gd name="connsiteX3" fmla="*/ 1374057 w 1535715"/>
              <a:gd name="connsiteY3" fmla="*/ 2010 h 1243435"/>
              <a:gd name="connsiteX4" fmla="*/ 1535715 w 1535715"/>
              <a:gd name="connsiteY4" fmla="*/ 163668 h 1243435"/>
              <a:gd name="connsiteX5" fmla="*/ 1535715 w 1535715"/>
              <a:gd name="connsiteY5" fmla="*/ 1081777 h 1243435"/>
              <a:gd name="connsiteX6" fmla="*/ 1374057 w 1535715"/>
              <a:gd name="connsiteY6" fmla="*/ 1243435 h 1243435"/>
              <a:gd name="connsiteX7" fmla="*/ 171786 w 1535715"/>
              <a:gd name="connsiteY7" fmla="*/ 1243435 h 1243435"/>
              <a:gd name="connsiteX8" fmla="*/ 10128 w 1535715"/>
              <a:gd name="connsiteY8" fmla="*/ 1081777 h 1243435"/>
              <a:gd name="connsiteX9" fmla="*/ 10128 w 1535715"/>
              <a:gd name="connsiteY9" fmla="*/ 163668 h 124343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1808 w 1537395"/>
              <a:gd name="connsiteY0" fmla="*/ 161803 h 1241570"/>
              <a:gd name="connsiteX1" fmla="*/ 12324 w 1537395"/>
              <a:gd name="connsiteY1" fmla="*/ 0 h 1241570"/>
              <a:gd name="connsiteX2" fmla="*/ 173466 w 1537395"/>
              <a:gd name="connsiteY2" fmla="*/ 145 h 1241570"/>
              <a:gd name="connsiteX3" fmla="*/ 1375737 w 1537395"/>
              <a:gd name="connsiteY3" fmla="*/ 145 h 1241570"/>
              <a:gd name="connsiteX4" fmla="*/ 1537395 w 1537395"/>
              <a:gd name="connsiteY4" fmla="*/ 161803 h 1241570"/>
              <a:gd name="connsiteX5" fmla="*/ 1537395 w 1537395"/>
              <a:gd name="connsiteY5" fmla="*/ 1079912 h 1241570"/>
              <a:gd name="connsiteX6" fmla="*/ 1375737 w 1537395"/>
              <a:gd name="connsiteY6" fmla="*/ 1241570 h 1241570"/>
              <a:gd name="connsiteX7" fmla="*/ 173466 w 1537395"/>
              <a:gd name="connsiteY7" fmla="*/ 1241570 h 1241570"/>
              <a:gd name="connsiteX8" fmla="*/ 11808 w 1537395"/>
              <a:gd name="connsiteY8" fmla="*/ 1079912 h 1241570"/>
              <a:gd name="connsiteX9" fmla="*/ 11808 w 1537395"/>
              <a:gd name="connsiteY9" fmla="*/ 161803 h 1241570"/>
              <a:gd name="connsiteX0" fmla="*/ 346 w 1525933"/>
              <a:gd name="connsiteY0" fmla="*/ 161803 h 1241570"/>
              <a:gd name="connsiteX1" fmla="*/ 862 w 1525933"/>
              <a:gd name="connsiteY1" fmla="*/ 0 h 1241570"/>
              <a:gd name="connsiteX2" fmla="*/ 162004 w 1525933"/>
              <a:gd name="connsiteY2" fmla="*/ 145 h 1241570"/>
              <a:gd name="connsiteX3" fmla="*/ 1364275 w 1525933"/>
              <a:gd name="connsiteY3" fmla="*/ 145 h 1241570"/>
              <a:gd name="connsiteX4" fmla="*/ 1525933 w 1525933"/>
              <a:gd name="connsiteY4" fmla="*/ 161803 h 1241570"/>
              <a:gd name="connsiteX5" fmla="*/ 1525933 w 1525933"/>
              <a:gd name="connsiteY5" fmla="*/ 1079912 h 1241570"/>
              <a:gd name="connsiteX6" fmla="*/ 1364275 w 1525933"/>
              <a:gd name="connsiteY6" fmla="*/ 1241570 h 1241570"/>
              <a:gd name="connsiteX7" fmla="*/ 162004 w 1525933"/>
              <a:gd name="connsiteY7" fmla="*/ 1241570 h 1241570"/>
              <a:gd name="connsiteX8" fmla="*/ 346 w 1525933"/>
              <a:gd name="connsiteY8" fmla="*/ 1079912 h 1241570"/>
              <a:gd name="connsiteX9" fmla="*/ 346 w 1525933"/>
              <a:gd name="connsiteY9" fmla="*/ 161803 h 1241570"/>
              <a:gd name="connsiteX0" fmla="*/ 872 w 1526459"/>
              <a:gd name="connsiteY0" fmla="*/ 161803 h 1241570"/>
              <a:gd name="connsiteX1" fmla="*/ 1388 w 1526459"/>
              <a:gd name="connsiteY1" fmla="*/ 0 h 1241570"/>
              <a:gd name="connsiteX2" fmla="*/ 162530 w 1526459"/>
              <a:gd name="connsiteY2" fmla="*/ 145 h 1241570"/>
              <a:gd name="connsiteX3" fmla="*/ 1364801 w 1526459"/>
              <a:gd name="connsiteY3" fmla="*/ 145 h 1241570"/>
              <a:gd name="connsiteX4" fmla="*/ 1526459 w 1526459"/>
              <a:gd name="connsiteY4" fmla="*/ 161803 h 1241570"/>
              <a:gd name="connsiteX5" fmla="*/ 1526459 w 1526459"/>
              <a:gd name="connsiteY5" fmla="*/ 1079912 h 1241570"/>
              <a:gd name="connsiteX6" fmla="*/ 1364801 w 1526459"/>
              <a:gd name="connsiteY6" fmla="*/ 1241570 h 1241570"/>
              <a:gd name="connsiteX7" fmla="*/ 162530 w 1526459"/>
              <a:gd name="connsiteY7" fmla="*/ 1241570 h 1241570"/>
              <a:gd name="connsiteX8" fmla="*/ 872 w 1526459"/>
              <a:gd name="connsiteY8" fmla="*/ 1079912 h 1241570"/>
              <a:gd name="connsiteX9" fmla="*/ 872 w 1526459"/>
              <a:gd name="connsiteY9" fmla="*/ 161803 h 1241570"/>
              <a:gd name="connsiteX0" fmla="*/ 470 w 1526057"/>
              <a:gd name="connsiteY0" fmla="*/ 161803 h 1241570"/>
              <a:gd name="connsiteX1" fmla="*/ 986 w 1526057"/>
              <a:gd name="connsiteY1" fmla="*/ 0 h 1241570"/>
              <a:gd name="connsiteX2" fmla="*/ 162128 w 1526057"/>
              <a:gd name="connsiteY2" fmla="*/ 145 h 1241570"/>
              <a:gd name="connsiteX3" fmla="*/ 1364399 w 1526057"/>
              <a:gd name="connsiteY3" fmla="*/ 145 h 1241570"/>
              <a:gd name="connsiteX4" fmla="*/ 1526057 w 1526057"/>
              <a:gd name="connsiteY4" fmla="*/ 161803 h 1241570"/>
              <a:gd name="connsiteX5" fmla="*/ 1526057 w 1526057"/>
              <a:gd name="connsiteY5" fmla="*/ 1079912 h 1241570"/>
              <a:gd name="connsiteX6" fmla="*/ 1364399 w 1526057"/>
              <a:gd name="connsiteY6" fmla="*/ 1241570 h 1241570"/>
              <a:gd name="connsiteX7" fmla="*/ 162128 w 1526057"/>
              <a:gd name="connsiteY7" fmla="*/ 1241570 h 1241570"/>
              <a:gd name="connsiteX8" fmla="*/ 470 w 1526057"/>
              <a:gd name="connsiteY8" fmla="*/ 1079912 h 1241570"/>
              <a:gd name="connsiteX9" fmla="*/ 470 w 1526057"/>
              <a:gd name="connsiteY9" fmla="*/ 161803 h 1241570"/>
              <a:gd name="connsiteX0" fmla="*/ 649 w 1526236"/>
              <a:gd name="connsiteY0" fmla="*/ 161803 h 1241570"/>
              <a:gd name="connsiteX1" fmla="*/ 1165 w 1526236"/>
              <a:gd name="connsiteY1" fmla="*/ 0 h 1241570"/>
              <a:gd name="connsiteX2" fmla="*/ 162307 w 1526236"/>
              <a:gd name="connsiteY2" fmla="*/ 145 h 1241570"/>
              <a:gd name="connsiteX3" fmla="*/ 1364578 w 1526236"/>
              <a:gd name="connsiteY3" fmla="*/ 145 h 1241570"/>
              <a:gd name="connsiteX4" fmla="*/ 1526236 w 1526236"/>
              <a:gd name="connsiteY4" fmla="*/ 161803 h 1241570"/>
              <a:gd name="connsiteX5" fmla="*/ 1526236 w 1526236"/>
              <a:gd name="connsiteY5" fmla="*/ 1079912 h 1241570"/>
              <a:gd name="connsiteX6" fmla="*/ 1364578 w 1526236"/>
              <a:gd name="connsiteY6" fmla="*/ 1241570 h 1241570"/>
              <a:gd name="connsiteX7" fmla="*/ 162307 w 1526236"/>
              <a:gd name="connsiteY7" fmla="*/ 1241570 h 1241570"/>
              <a:gd name="connsiteX8" fmla="*/ 649 w 1526236"/>
              <a:gd name="connsiteY8" fmla="*/ 1079912 h 1241570"/>
              <a:gd name="connsiteX9" fmla="*/ 649 w 1526236"/>
              <a:gd name="connsiteY9" fmla="*/ 161803 h 1241570"/>
              <a:gd name="connsiteX0" fmla="*/ 268 w 1525855"/>
              <a:gd name="connsiteY0" fmla="*/ 161803 h 1241570"/>
              <a:gd name="connsiteX1" fmla="*/ 784 w 1525855"/>
              <a:gd name="connsiteY1" fmla="*/ 0 h 1241570"/>
              <a:gd name="connsiteX2" fmla="*/ 161926 w 1525855"/>
              <a:gd name="connsiteY2" fmla="*/ 145 h 1241570"/>
              <a:gd name="connsiteX3" fmla="*/ 1364197 w 1525855"/>
              <a:gd name="connsiteY3" fmla="*/ 145 h 1241570"/>
              <a:gd name="connsiteX4" fmla="*/ 1525855 w 1525855"/>
              <a:gd name="connsiteY4" fmla="*/ 161803 h 1241570"/>
              <a:gd name="connsiteX5" fmla="*/ 1525855 w 1525855"/>
              <a:gd name="connsiteY5" fmla="*/ 1079912 h 1241570"/>
              <a:gd name="connsiteX6" fmla="*/ 1364197 w 1525855"/>
              <a:gd name="connsiteY6" fmla="*/ 1241570 h 1241570"/>
              <a:gd name="connsiteX7" fmla="*/ 161926 w 1525855"/>
              <a:gd name="connsiteY7" fmla="*/ 1241570 h 1241570"/>
              <a:gd name="connsiteX8" fmla="*/ 268 w 1525855"/>
              <a:gd name="connsiteY8" fmla="*/ 1079912 h 1241570"/>
              <a:gd name="connsiteX9" fmla="*/ 268 w 1525855"/>
              <a:gd name="connsiteY9" fmla="*/ 161803 h 1241570"/>
              <a:gd name="connsiteX0" fmla="*/ 359 w 1525946"/>
              <a:gd name="connsiteY0" fmla="*/ 161803 h 1241570"/>
              <a:gd name="connsiteX1" fmla="*/ 253 w 1525946"/>
              <a:gd name="connsiteY1" fmla="*/ 0 h 1241570"/>
              <a:gd name="connsiteX2" fmla="*/ 162017 w 1525946"/>
              <a:gd name="connsiteY2" fmla="*/ 145 h 1241570"/>
              <a:gd name="connsiteX3" fmla="*/ 1364288 w 1525946"/>
              <a:gd name="connsiteY3" fmla="*/ 145 h 1241570"/>
              <a:gd name="connsiteX4" fmla="*/ 1525946 w 1525946"/>
              <a:gd name="connsiteY4" fmla="*/ 161803 h 1241570"/>
              <a:gd name="connsiteX5" fmla="*/ 1525946 w 1525946"/>
              <a:gd name="connsiteY5" fmla="*/ 1079912 h 1241570"/>
              <a:gd name="connsiteX6" fmla="*/ 1364288 w 1525946"/>
              <a:gd name="connsiteY6" fmla="*/ 1241570 h 1241570"/>
              <a:gd name="connsiteX7" fmla="*/ 162017 w 1525946"/>
              <a:gd name="connsiteY7" fmla="*/ 1241570 h 1241570"/>
              <a:gd name="connsiteX8" fmla="*/ 359 w 1525946"/>
              <a:gd name="connsiteY8" fmla="*/ 1079912 h 1241570"/>
              <a:gd name="connsiteX9" fmla="*/ 359 w 1525946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364035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25693" h="1241570">
                <a:moveTo>
                  <a:pt x="106" y="161803"/>
                </a:moveTo>
                <a:cubicBezTo>
                  <a:pt x="-210" y="159620"/>
                  <a:pt x="409" y="7672"/>
                  <a:pt x="0" y="0"/>
                </a:cubicBezTo>
                <a:cubicBezTo>
                  <a:pt x="6219" y="388"/>
                  <a:pt x="110655" y="450"/>
                  <a:pt x="161764" y="145"/>
                </a:cubicBezTo>
                <a:lnTo>
                  <a:pt x="1364035" y="145"/>
                </a:lnTo>
                <a:cubicBezTo>
                  <a:pt x="1453316" y="145"/>
                  <a:pt x="1525693" y="72522"/>
                  <a:pt x="1525693" y="161803"/>
                </a:cubicBezTo>
                <a:lnTo>
                  <a:pt x="1525693" y="1079912"/>
                </a:lnTo>
                <a:cubicBezTo>
                  <a:pt x="1525693" y="1169193"/>
                  <a:pt x="1453316" y="1241570"/>
                  <a:pt x="1364035" y="1241570"/>
                </a:cubicBezTo>
                <a:lnTo>
                  <a:pt x="161764" y="1241570"/>
                </a:lnTo>
                <a:cubicBezTo>
                  <a:pt x="72483" y="1241570"/>
                  <a:pt x="106" y="1169193"/>
                  <a:pt x="106" y="1079912"/>
                </a:cubicBezTo>
                <a:lnTo>
                  <a:pt x="106" y="1618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144000" anchor="b"/>
          <a:lstStyle>
            <a:lvl1pPr marL="0" indent="0" algn="ctr">
              <a:buNone/>
              <a:defRPr sz="2806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nl-NL" noProof="0"/>
          </a:p>
        </p:txBody>
      </p:sp>
      <p:sp>
        <p:nvSpPr>
          <p:cNvPr id="158" name="Tijdelijke aanduiding voor afbeelding 6">
            <a:extLst>
              <a:ext uri="{FF2B5EF4-FFF2-40B4-BE49-F238E27FC236}">
                <a16:creationId xmlns:a16="http://schemas.microsoft.com/office/drawing/2014/main" id="{3BAEA7E3-4B93-482B-8197-4D73CC7255A6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1696814" y="21779706"/>
            <a:ext cx="5345254" cy="3931509"/>
          </a:xfrm>
          <a:custGeom>
            <a:avLst/>
            <a:gdLst>
              <a:gd name="connsiteX0" fmla="*/ 0 w 1525587"/>
              <a:gd name="connsiteY0" fmla="*/ 161658 h 1241425"/>
              <a:gd name="connsiteX1" fmla="*/ 161658 w 1525587"/>
              <a:gd name="connsiteY1" fmla="*/ 0 h 1241425"/>
              <a:gd name="connsiteX2" fmla="*/ 1363929 w 1525587"/>
              <a:gd name="connsiteY2" fmla="*/ 0 h 1241425"/>
              <a:gd name="connsiteX3" fmla="*/ 1525587 w 1525587"/>
              <a:gd name="connsiteY3" fmla="*/ 161658 h 1241425"/>
              <a:gd name="connsiteX4" fmla="*/ 1525587 w 1525587"/>
              <a:gd name="connsiteY4" fmla="*/ 1079767 h 1241425"/>
              <a:gd name="connsiteX5" fmla="*/ 1363929 w 1525587"/>
              <a:gd name="connsiteY5" fmla="*/ 1241425 h 1241425"/>
              <a:gd name="connsiteX6" fmla="*/ 161658 w 1525587"/>
              <a:gd name="connsiteY6" fmla="*/ 1241425 h 1241425"/>
              <a:gd name="connsiteX7" fmla="*/ 0 w 1525587"/>
              <a:gd name="connsiteY7" fmla="*/ 1079767 h 1241425"/>
              <a:gd name="connsiteX8" fmla="*/ 0 w 1525587"/>
              <a:gd name="connsiteY8" fmla="*/ 161658 h 1241425"/>
              <a:gd name="connsiteX0" fmla="*/ 0 w 1525587"/>
              <a:gd name="connsiteY0" fmla="*/ 161658 h 1241425"/>
              <a:gd name="connsiteX1" fmla="*/ 42862 w 1525587"/>
              <a:gd name="connsiteY1" fmla="*/ 48418 h 1241425"/>
              <a:gd name="connsiteX2" fmla="*/ 161658 w 1525587"/>
              <a:gd name="connsiteY2" fmla="*/ 0 h 1241425"/>
              <a:gd name="connsiteX3" fmla="*/ 1363929 w 1525587"/>
              <a:gd name="connsiteY3" fmla="*/ 0 h 1241425"/>
              <a:gd name="connsiteX4" fmla="*/ 1525587 w 1525587"/>
              <a:gd name="connsiteY4" fmla="*/ 161658 h 1241425"/>
              <a:gd name="connsiteX5" fmla="*/ 1525587 w 1525587"/>
              <a:gd name="connsiteY5" fmla="*/ 1079767 h 1241425"/>
              <a:gd name="connsiteX6" fmla="*/ 1363929 w 1525587"/>
              <a:gd name="connsiteY6" fmla="*/ 1241425 h 1241425"/>
              <a:gd name="connsiteX7" fmla="*/ 161658 w 1525587"/>
              <a:gd name="connsiteY7" fmla="*/ 1241425 h 1241425"/>
              <a:gd name="connsiteX8" fmla="*/ 0 w 1525587"/>
              <a:gd name="connsiteY8" fmla="*/ 1079767 h 1241425"/>
              <a:gd name="connsiteX9" fmla="*/ 0 w 1525587"/>
              <a:gd name="connsiteY9" fmla="*/ 161658 h 1241425"/>
              <a:gd name="connsiteX0" fmla="*/ 8672 w 1534259"/>
              <a:gd name="connsiteY0" fmla="*/ 165982 h 1245749"/>
              <a:gd name="connsiteX1" fmla="*/ 11053 w 1534259"/>
              <a:gd name="connsiteY1" fmla="*/ 12261 h 1245749"/>
              <a:gd name="connsiteX2" fmla="*/ 170330 w 1534259"/>
              <a:gd name="connsiteY2" fmla="*/ 4324 h 1245749"/>
              <a:gd name="connsiteX3" fmla="*/ 1372601 w 1534259"/>
              <a:gd name="connsiteY3" fmla="*/ 4324 h 1245749"/>
              <a:gd name="connsiteX4" fmla="*/ 1534259 w 1534259"/>
              <a:gd name="connsiteY4" fmla="*/ 165982 h 1245749"/>
              <a:gd name="connsiteX5" fmla="*/ 1534259 w 1534259"/>
              <a:gd name="connsiteY5" fmla="*/ 1084091 h 1245749"/>
              <a:gd name="connsiteX6" fmla="*/ 1372601 w 1534259"/>
              <a:gd name="connsiteY6" fmla="*/ 1245749 h 1245749"/>
              <a:gd name="connsiteX7" fmla="*/ 170330 w 1534259"/>
              <a:gd name="connsiteY7" fmla="*/ 1245749 h 1245749"/>
              <a:gd name="connsiteX8" fmla="*/ 8672 w 1534259"/>
              <a:gd name="connsiteY8" fmla="*/ 1084091 h 1245749"/>
              <a:gd name="connsiteX9" fmla="*/ 8672 w 1534259"/>
              <a:gd name="connsiteY9" fmla="*/ 165982 h 1245749"/>
              <a:gd name="connsiteX0" fmla="*/ 8672 w 1534259"/>
              <a:gd name="connsiteY0" fmla="*/ 167890 h 1247657"/>
              <a:gd name="connsiteX1" fmla="*/ 11053 w 1534259"/>
              <a:gd name="connsiteY1" fmla="*/ 14169 h 1247657"/>
              <a:gd name="connsiteX2" fmla="*/ 170330 w 1534259"/>
              <a:gd name="connsiteY2" fmla="*/ 6232 h 1247657"/>
              <a:gd name="connsiteX3" fmla="*/ 1372601 w 1534259"/>
              <a:gd name="connsiteY3" fmla="*/ 6232 h 1247657"/>
              <a:gd name="connsiteX4" fmla="*/ 1534259 w 1534259"/>
              <a:gd name="connsiteY4" fmla="*/ 167890 h 1247657"/>
              <a:gd name="connsiteX5" fmla="*/ 1534259 w 1534259"/>
              <a:gd name="connsiteY5" fmla="*/ 1085999 h 1247657"/>
              <a:gd name="connsiteX6" fmla="*/ 1372601 w 1534259"/>
              <a:gd name="connsiteY6" fmla="*/ 1247657 h 1247657"/>
              <a:gd name="connsiteX7" fmla="*/ 170330 w 1534259"/>
              <a:gd name="connsiteY7" fmla="*/ 1247657 h 1247657"/>
              <a:gd name="connsiteX8" fmla="*/ 8672 w 1534259"/>
              <a:gd name="connsiteY8" fmla="*/ 1085999 h 1247657"/>
              <a:gd name="connsiteX9" fmla="*/ 8672 w 1534259"/>
              <a:gd name="connsiteY9" fmla="*/ 167890 h 1247657"/>
              <a:gd name="connsiteX0" fmla="*/ 8672 w 1534259"/>
              <a:gd name="connsiteY0" fmla="*/ 161658 h 1241425"/>
              <a:gd name="connsiteX1" fmla="*/ 11053 w 1534259"/>
              <a:gd name="connsiteY1" fmla="*/ 7937 h 1241425"/>
              <a:gd name="connsiteX2" fmla="*/ 170330 w 1534259"/>
              <a:gd name="connsiteY2" fmla="*/ 0 h 1241425"/>
              <a:gd name="connsiteX3" fmla="*/ 1372601 w 1534259"/>
              <a:gd name="connsiteY3" fmla="*/ 0 h 1241425"/>
              <a:gd name="connsiteX4" fmla="*/ 1534259 w 1534259"/>
              <a:gd name="connsiteY4" fmla="*/ 161658 h 1241425"/>
              <a:gd name="connsiteX5" fmla="*/ 1534259 w 1534259"/>
              <a:gd name="connsiteY5" fmla="*/ 1079767 h 1241425"/>
              <a:gd name="connsiteX6" fmla="*/ 1372601 w 1534259"/>
              <a:gd name="connsiteY6" fmla="*/ 1241425 h 1241425"/>
              <a:gd name="connsiteX7" fmla="*/ 170330 w 1534259"/>
              <a:gd name="connsiteY7" fmla="*/ 1241425 h 1241425"/>
              <a:gd name="connsiteX8" fmla="*/ 8672 w 1534259"/>
              <a:gd name="connsiteY8" fmla="*/ 1079767 h 1241425"/>
              <a:gd name="connsiteX9" fmla="*/ 8672 w 1534259"/>
              <a:gd name="connsiteY9" fmla="*/ 161658 h 124142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3668 h 1243435"/>
              <a:gd name="connsiteX1" fmla="*/ 10644 w 1535715"/>
              <a:gd name="connsiteY1" fmla="*/ 0 h 1243435"/>
              <a:gd name="connsiteX2" fmla="*/ 171786 w 1535715"/>
              <a:gd name="connsiteY2" fmla="*/ 2010 h 1243435"/>
              <a:gd name="connsiteX3" fmla="*/ 1374057 w 1535715"/>
              <a:gd name="connsiteY3" fmla="*/ 2010 h 1243435"/>
              <a:gd name="connsiteX4" fmla="*/ 1535715 w 1535715"/>
              <a:gd name="connsiteY4" fmla="*/ 163668 h 1243435"/>
              <a:gd name="connsiteX5" fmla="*/ 1535715 w 1535715"/>
              <a:gd name="connsiteY5" fmla="*/ 1081777 h 1243435"/>
              <a:gd name="connsiteX6" fmla="*/ 1374057 w 1535715"/>
              <a:gd name="connsiteY6" fmla="*/ 1243435 h 1243435"/>
              <a:gd name="connsiteX7" fmla="*/ 171786 w 1535715"/>
              <a:gd name="connsiteY7" fmla="*/ 1243435 h 1243435"/>
              <a:gd name="connsiteX8" fmla="*/ 10128 w 1535715"/>
              <a:gd name="connsiteY8" fmla="*/ 1081777 h 1243435"/>
              <a:gd name="connsiteX9" fmla="*/ 10128 w 1535715"/>
              <a:gd name="connsiteY9" fmla="*/ 163668 h 124343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1808 w 1537395"/>
              <a:gd name="connsiteY0" fmla="*/ 161803 h 1241570"/>
              <a:gd name="connsiteX1" fmla="*/ 12324 w 1537395"/>
              <a:gd name="connsiteY1" fmla="*/ 0 h 1241570"/>
              <a:gd name="connsiteX2" fmla="*/ 173466 w 1537395"/>
              <a:gd name="connsiteY2" fmla="*/ 145 h 1241570"/>
              <a:gd name="connsiteX3" fmla="*/ 1375737 w 1537395"/>
              <a:gd name="connsiteY3" fmla="*/ 145 h 1241570"/>
              <a:gd name="connsiteX4" fmla="*/ 1537395 w 1537395"/>
              <a:gd name="connsiteY4" fmla="*/ 161803 h 1241570"/>
              <a:gd name="connsiteX5" fmla="*/ 1537395 w 1537395"/>
              <a:gd name="connsiteY5" fmla="*/ 1079912 h 1241570"/>
              <a:gd name="connsiteX6" fmla="*/ 1375737 w 1537395"/>
              <a:gd name="connsiteY6" fmla="*/ 1241570 h 1241570"/>
              <a:gd name="connsiteX7" fmla="*/ 173466 w 1537395"/>
              <a:gd name="connsiteY7" fmla="*/ 1241570 h 1241570"/>
              <a:gd name="connsiteX8" fmla="*/ 11808 w 1537395"/>
              <a:gd name="connsiteY8" fmla="*/ 1079912 h 1241570"/>
              <a:gd name="connsiteX9" fmla="*/ 11808 w 1537395"/>
              <a:gd name="connsiteY9" fmla="*/ 161803 h 1241570"/>
              <a:gd name="connsiteX0" fmla="*/ 346 w 1525933"/>
              <a:gd name="connsiteY0" fmla="*/ 161803 h 1241570"/>
              <a:gd name="connsiteX1" fmla="*/ 862 w 1525933"/>
              <a:gd name="connsiteY1" fmla="*/ 0 h 1241570"/>
              <a:gd name="connsiteX2" fmla="*/ 162004 w 1525933"/>
              <a:gd name="connsiteY2" fmla="*/ 145 h 1241570"/>
              <a:gd name="connsiteX3" fmla="*/ 1364275 w 1525933"/>
              <a:gd name="connsiteY3" fmla="*/ 145 h 1241570"/>
              <a:gd name="connsiteX4" fmla="*/ 1525933 w 1525933"/>
              <a:gd name="connsiteY4" fmla="*/ 161803 h 1241570"/>
              <a:gd name="connsiteX5" fmla="*/ 1525933 w 1525933"/>
              <a:gd name="connsiteY5" fmla="*/ 1079912 h 1241570"/>
              <a:gd name="connsiteX6" fmla="*/ 1364275 w 1525933"/>
              <a:gd name="connsiteY6" fmla="*/ 1241570 h 1241570"/>
              <a:gd name="connsiteX7" fmla="*/ 162004 w 1525933"/>
              <a:gd name="connsiteY7" fmla="*/ 1241570 h 1241570"/>
              <a:gd name="connsiteX8" fmla="*/ 346 w 1525933"/>
              <a:gd name="connsiteY8" fmla="*/ 1079912 h 1241570"/>
              <a:gd name="connsiteX9" fmla="*/ 346 w 1525933"/>
              <a:gd name="connsiteY9" fmla="*/ 161803 h 1241570"/>
              <a:gd name="connsiteX0" fmla="*/ 872 w 1526459"/>
              <a:gd name="connsiteY0" fmla="*/ 161803 h 1241570"/>
              <a:gd name="connsiteX1" fmla="*/ 1388 w 1526459"/>
              <a:gd name="connsiteY1" fmla="*/ 0 h 1241570"/>
              <a:gd name="connsiteX2" fmla="*/ 162530 w 1526459"/>
              <a:gd name="connsiteY2" fmla="*/ 145 h 1241570"/>
              <a:gd name="connsiteX3" fmla="*/ 1364801 w 1526459"/>
              <a:gd name="connsiteY3" fmla="*/ 145 h 1241570"/>
              <a:gd name="connsiteX4" fmla="*/ 1526459 w 1526459"/>
              <a:gd name="connsiteY4" fmla="*/ 161803 h 1241570"/>
              <a:gd name="connsiteX5" fmla="*/ 1526459 w 1526459"/>
              <a:gd name="connsiteY5" fmla="*/ 1079912 h 1241570"/>
              <a:gd name="connsiteX6" fmla="*/ 1364801 w 1526459"/>
              <a:gd name="connsiteY6" fmla="*/ 1241570 h 1241570"/>
              <a:gd name="connsiteX7" fmla="*/ 162530 w 1526459"/>
              <a:gd name="connsiteY7" fmla="*/ 1241570 h 1241570"/>
              <a:gd name="connsiteX8" fmla="*/ 872 w 1526459"/>
              <a:gd name="connsiteY8" fmla="*/ 1079912 h 1241570"/>
              <a:gd name="connsiteX9" fmla="*/ 872 w 1526459"/>
              <a:gd name="connsiteY9" fmla="*/ 161803 h 1241570"/>
              <a:gd name="connsiteX0" fmla="*/ 470 w 1526057"/>
              <a:gd name="connsiteY0" fmla="*/ 161803 h 1241570"/>
              <a:gd name="connsiteX1" fmla="*/ 986 w 1526057"/>
              <a:gd name="connsiteY1" fmla="*/ 0 h 1241570"/>
              <a:gd name="connsiteX2" fmla="*/ 162128 w 1526057"/>
              <a:gd name="connsiteY2" fmla="*/ 145 h 1241570"/>
              <a:gd name="connsiteX3" fmla="*/ 1364399 w 1526057"/>
              <a:gd name="connsiteY3" fmla="*/ 145 h 1241570"/>
              <a:gd name="connsiteX4" fmla="*/ 1526057 w 1526057"/>
              <a:gd name="connsiteY4" fmla="*/ 161803 h 1241570"/>
              <a:gd name="connsiteX5" fmla="*/ 1526057 w 1526057"/>
              <a:gd name="connsiteY5" fmla="*/ 1079912 h 1241570"/>
              <a:gd name="connsiteX6" fmla="*/ 1364399 w 1526057"/>
              <a:gd name="connsiteY6" fmla="*/ 1241570 h 1241570"/>
              <a:gd name="connsiteX7" fmla="*/ 162128 w 1526057"/>
              <a:gd name="connsiteY7" fmla="*/ 1241570 h 1241570"/>
              <a:gd name="connsiteX8" fmla="*/ 470 w 1526057"/>
              <a:gd name="connsiteY8" fmla="*/ 1079912 h 1241570"/>
              <a:gd name="connsiteX9" fmla="*/ 470 w 1526057"/>
              <a:gd name="connsiteY9" fmla="*/ 161803 h 1241570"/>
              <a:gd name="connsiteX0" fmla="*/ 649 w 1526236"/>
              <a:gd name="connsiteY0" fmla="*/ 161803 h 1241570"/>
              <a:gd name="connsiteX1" fmla="*/ 1165 w 1526236"/>
              <a:gd name="connsiteY1" fmla="*/ 0 h 1241570"/>
              <a:gd name="connsiteX2" fmla="*/ 162307 w 1526236"/>
              <a:gd name="connsiteY2" fmla="*/ 145 h 1241570"/>
              <a:gd name="connsiteX3" fmla="*/ 1364578 w 1526236"/>
              <a:gd name="connsiteY3" fmla="*/ 145 h 1241570"/>
              <a:gd name="connsiteX4" fmla="*/ 1526236 w 1526236"/>
              <a:gd name="connsiteY4" fmla="*/ 161803 h 1241570"/>
              <a:gd name="connsiteX5" fmla="*/ 1526236 w 1526236"/>
              <a:gd name="connsiteY5" fmla="*/ 1079912 h 1241570"/>
              <a:gd name="connsiteX6" fmla="*/ 1364578 w 1526236"/>
              <a:gd name="connsiteY6" fmla="*/ 1241570 h 1241570"/>
              <a:gd name="connsiteX7" fmla="*/ 162307 w 1526236"/>
              <a:gd name="connsiteY7" fmla="*/ 1241570 h 1241570"/>
              <a:gd name="connsiteX8" fmla="*/ 649 w 1526236"/>
              <a:gd name="connsiteY8" fmla="*/ 1079912 h 1241570"/>
              <a:gd name="connsiteX9" fmla="*/ 649 w 1526236"/>
              <a:gd name="connsiteY9" fmla="*/ 161803 h 1241570"/>
              <a:gd name="connsiteX0" fmla="*/ 268 w 1525855"/>
              <a:gd name="connsiteY0" fmla="*/ 161803 h 1241570"/>
              <a:gd name="connsiteX1" fmla="*/ 784 w 1525855"/>
              <a:gd name="connsiteY1" fmla="*/ 0 h 1241570"/>
              <a:gd name="connsiteX2" fmla="*/ 161926 w 1525855"/>
              <a:gd name="connsiteY2" fmla="*/ 145 h 1241570"/>
              <a:gd name="connsiteX3" fmla="*/ 1364197 w 1525855"/>
              <a:gd name="connsiteY3" fmla="*/ 145 h 1241570"/>
              <a:gd name="connsiteX4" fmla="*/ 1525855 w 1525855"/>
              <a:gd name="connsiteY4" fmla="*/ 161803 h 1241570"/>
              <a:gd name="connsiteX5" fmla="*/ 1525855 w 1525855"/>
              <a:gd name="connsiteY5" fmla="*/ 1079912 h 1241570"/>
              <a:gd name="connsiteX6" fmla="*/ 1364197 w 1525855"/>
              <a:gd name="connsiteY6" fmla="*/ 1241570 h 1241570"/>
              <a:gd name="connsiteX7" fmla="*/ 161926 w 1525855"/>
              <a:gd name="connsiteY7" fmla="*/ 1241570 h 1241570"/>
              <a:gd name="connsiteX8" fmla="*/ 268 w 1525855"/>
              <a:gd name="connsiteY8" fmla="*/ 1079912 h 1241570"/>
              <a:gd name="connsiteX9" fmla="*/ 268 w 1525855"/>
              <a:gd name="connsiteY9" fmla="*/ 161803 h 1241570"/>
              <a:gd name="connsiteX0" fmla="*/ 359 w 1525946"/>
              <a:gd name="connsiteY0" fmla="*/ 161803 h 1241570"/>
              <a:gd name="connsiteX1" fmla="*/ 253 w 1525946"/>
              <a:gd name="connsiteY1" fmla="*/ 0 h 1241570"/>
              <a:gd name="connsiteX2" fmla="*/ 162017 w 1525946"/>
              <a:gd name="connsiteY2" fmla="*/ 145 h 1241570"/>
              <a:gd name="connsiteX3" fmla="*/ 1364288 w 1525946"/>
              <a:gd name="connsiteY3" fmla="*/ 145 h 1241570"/>
              <a:gd name="connsiteX4" fmla="*/ 1525946 w 1525946"/>
              <a:gd name="connsiteY4" fmla="*/ 161803 h 1241570"/>
              <a:gd name="connsiteX5" fmla="*/ 1525946 w 1525946"/>
              <a:gd name="connsiteY5" fmla="*/ 1079912 h 1241570"/>
              <a:gd name="connsiteX6" fmla="*/ 1364288 w 1525946"/>
              <a:gd name="connsiteY6" fmla="*/ 1241570 h 1241570"/>
              <a:gd name="connsiteX7" fmla="*/ 162017 w 1525946"/>
              <a:gd name="connsiteY7" fmla="*/ 1241570 h 1241570"/>
              <a:gd name="connsiteX8" fmla="*/ 359 w 1525946"/>
              <a:gd name="connsiteY8" fmla="*/ 1079912 h 1241570"/>
              <a:gd name="connsiteX9" fmla="*/ 359 w 1525946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364035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25693" h="1241570">
                <a:moveTo>
                  <a:pt x="106" y="161803"/>
                </a:moveTo>
                <a:cubicBezTo>
                  <a:pt x="-210" y="159620"/>
                  <a:pt x="409" y="7672"/>
                  <a:pt x="0" y="0"/>
                </a:cubicBezTo>
                <a:cubicBezTo>
                  <a:pt x="6219" y="388"/>
                  <a:pt x="110655" y="450"/>
                  <a:pt x="161764" y="145"/>
                </a:cubicBezTo>
                <a:lnTo>
                  <a:pt x="1364035" y="145"/>
                </a:lnTo>
                <a:cubicBezTo>
                  <a:pt x="1453316" y="145"/>
                  <a:pt x="1525693" y="72522"/>
                  <a:pt x="1525693" y="161803"/>
                </a:cubicBezTo>
                <a:lnTo>
                  <a:pt x="1525693" y="1079912"/>
                </a:lnTo>
                <a:cubicBezTo>
                  <a:pt x="1525693" y="1169193"/>
                  <a:pt x="1453316" y="1241570"/>
                  <a:pt x="1364035" y="1241570"/>
                </a:cubicBezTo>
                <a:lnTo>
                  <a:pt x="161764" y="1241570"/>
                </a:lnTo>
                <a:cubicBezTo>
                  <a:pt x="72483" y="1241570"/>
                  <a:pt x="106" y="1169193"/>
                  <a:pt x="106" y="1079912"/>
                </a:cubicBezTo>
                <a:lnTo>
                  <a:pt x="106" y="1618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144000" anchor="b"/>
          <a:lstStyle>
            <a:lvl1pPr marL="0" indent="0" algn="ctr">
              <a:buNone/>
              <a:defRPr sz="2806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nl-NL" noProof="0"/>
          </a:p>
        </p:txBody>
      </p:sp>
      <p:sp>
        <p:nvSpPr>
          <p:cNvPr id="162" name="Tijdelijke aanduiding voor tekst 2">
            <a:extLst>
              <a:ext uri="{FF2B5EF4-FFF2-40B4-BE49-F238E27FC236}">
                <a16:creationId xmlns:a16="http://schemas.microsoft.com/office/drawing/2014/main" id="{7261898A-F5A9-4EF3-AA75-53FC19067F1D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533807" y="11466940"/>
            <a:ext cx="26489657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 marL="0" indent="0">
              <a:buNone/>
              <a:defRPr sz="4209"/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64" name="Tijdelijke aanduiding voor tekst 2">
            <a:extLst>
              <a:ext uri="{FF2B5EF4-FFF2-40B4-BE49-F238E27FC236}">
                <a16:creationId xmlns:a16="http://schemas.microsoft.com/office/drawing/2014/main" id="{F3B45119-1F04-468E-9C06-CB3EFB775B3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533807" y="16623324"/>
            <a:ext cx="26489657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 marL="0" indent="0">
              <a:buNone/>
              <a:defRPr sz="4209"/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66" name="Tijdelijke aanduiding voor tekst 2">
            <a:extLst>
              <a:ext uri="{FF2B5EF4-FFF2-40B4-BE49-F238E27FC236}">
                <a16:creationId xmlns:a16="http://schemas.microsoft.com/office/drawing/2014/main" id="{853D7205-234D-4794-8AC8-B9710AD7AFF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533807" y="21779704"/>
            <a:ext cx="26489657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 marL="0" indent="0">
              <a:buNone/>
              <a:defRPr sz="4209"/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grpSp>
        <p:nvGrpSpPr>
          <p:cNvPr id="24" name="Groep 77">
            <a:extLst>
              <a:ext uri="{FF2B5EF4-FFF2-40B4-BE49-F238E27FC236}">
                <a16:creationId xmlns:a16="http://schemas.microsoft.com/office/drawing/2014/main" id="{97085740-5F50-441B-B286-975E7F784D6E}"/>
              </a:ext>
            </a:extLst>
          </p:cNvPr>
          <p:cNvGrpSpPr/>
          <p:nvPr userDrawn="1"/>
        </p:nvGrpSpPr>
        <p:grpSpPr>
          <a:xfrm>
            <a:off x="43467414" y="0"/>
            <a:ext cx="13065546" cy="24210246"/>
            <a:chOff x="12391601" y="0"/>
            <a:chExt cx="3724699" cy="5484152"/>
          </a:xfrm>
        </p:grpSpPr>
        <p:sp>
          <p:nvSpPr>
            <p:cNvPr id="25" name="Rechthoek 78">
              <a:extLst>
                <a:ext uri="{FF2B5EF4-FFF2-40B4-BE49-F238E27FC236}">
                  <a16:creationId xmlns:a16="http://schemas.microsoft.com/office/drawing/2014/main" id="{08EE0EE7-9CBB-488C-A4A8-96FE315124EF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26" name="Ovaal 79">
              <a:extLst>
                <a:ext uri="{FF2B5EF4-FFF2-40B4-BE49-F238E27FC236}">
                  <a16:creationId xmlns:a16="http://schemas.microsoft.com/office/drawing/2014/main" id="{0309621B-3B70-4DB4-A0AC-3D08C1083917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7" name="Rechte verbindingslijn 80">
              <a:extLst>
                <a:ext uri="{FF2B5EF4-FFF2-40B4-BE49-F238E27FC236}">
                  <a16:creationId xmlns:a16="http://schemas.microsoft.com/office/drawing/2014/main" id="{595A5195-F77B-485F-B4B4-3B6693483EE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8" name="Rechte verbindingslijn 81">
              <a:extLst>
                <a:ext uri="{FF2B5EF4-FFF2-40B4-BE49-F238E27FC236}">
                  <a16:creationId xmlns:a16="http://schemas.microsoft.com/office/drawing/2014/main" id="{6E5EB08F-4D86-4B67-A2B6-51A9381697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0" name="Rechthoek 82">
              <a:extLst>
                <a:ext uri="{FF2B5EF4-FFF2-40B4-BE49-F238E27FC236}">
                  <a16:creationId xmlns:a16="http://schemas.microsoft.com/office/drawing/2014/main" id="{E2C07AA5-114A-4766-A4E1-D90863BC3CC0}"/>
                </a:ext>
              </a:extLst>
            </p:cNvPr>
            <p:cNvSpPr/>
            <p:nvPr userDrawn="1"/>
          </p:nvSpPr>
          <p:spPr>
            <a:xfrm>
              <a:off x="12757282" y="432552"/>
              <a:ext cx="335901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fbeelding door deze te selecteren en op 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m een nieuwe afbeelding in te voegen.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2" name="Ovaal 83">
              <a:extLst>
                <a:ext uri="{FF2B5EF4-FFF2-40B4-BE49-F238E27FC236}">
                  <a16:creationId xmlns:a16="http://schemas.microsoft.com/office/drawing/2014/main" id="{782FAFD6-0BC4-435A-BCDA-061DC4F9A15A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4" name="Rechthoek 84">
              <a:extLst>
                <a:ext uri="{FF2B5EF4-FFF2-40B4-BE49-F238E27FC236}">
                  <a16:creationId xmlns:a16="http://schemas.microsoft.com/office/drawing/2014/main" id="{F5C62566-713C-4226-AACA-50F6D0A41CA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" name="Groep 85">
              <a:extLst>
                <a:ext uri="{FF2B5EF4-FFF2-40B4-BE49-F238E27FC236}">
                  <a16:creationId xmlns:a16="http://schemas.microsoft.com/office/drawing/2014/main" id="{14699E00-C5BC-43D9-9335-55B37C71E20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79" name="Rechthoek 119">
                <a:extLst>
                  <a:ext uri="{FF2B5EF4-FFF2-40B4-BE49-F238E27FC236}">
                    <a16:creationId xmlns:a16="http://schemas.microsoft.com/office/drawing/2014/main" id="{DC26D3FF-0D90-4A96-AD14-03C81F0DDA3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80" name="Rechte verbindingslijn 120">
                <a:extLst>
                  <a:ext uri="{FF2B5EF4-FFF2-40B4-BE49-F238E27FC236}">
                    <a16:creationId xmlns:a16="http://schemas.microsoft.com/office/drawing/2014/main" id="{B07AFEE0-AAEB-4E58-9520-DCC13CFF98D1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81" name="Gelijkbenige driehoek 121">
                <a:extLst>
                  <a:ext uri="{FF2B5EF4-FFF2-40B4-BE49-F238E27FC236}">
                    <a16:creationId xmlns:a16="http://schemas.microsoft.com/office/drawing/2014/main" id="{B8C0303C-7A51-47C7-9AE7-D2F526F7C44C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6" name="Groep 86">
              <a:extLst>
                <a:ext uri="{FF2B5EF4-FFF2-40B4-BE49-F238E27FC236}">
                  <a16:creationId xmlns:a16="http://schemas.microsoft.com/office/drawing/2014/main" id="{5F8AD94C-7B9A-41A1-A702-7D82678117A5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73" name="Rechthoek 113">
                <a:extLst>
                  <a:ext uri="{FF2B5EF4-FFF2-40B4-BE49-F238E27FC236}">
                    <a16:creationId xmlns:a16="http://schemas.microsoft.com/office/drawing/2014/main" id="{346E73AA-9BD9-49B7-931F-EA7954EFD721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4" name="Ovaal 114">
                <a:extLst>
                  <a:ext uri="{FF2B5EF4-FFF2-40B4-BE49-F238E27FC236}">
                    <a16:creationId xmlns:a16="http://schemas.microsoft.com/office/drawing/2014/main" id="{F5CCB8D1-7824-4B2D-910C-C50602CD114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75" name="Vrije vorm: vorm 115">
                <a:extLst>
                  <a:ext uri="{FF2B5EF4-FFF2-40B4-BE49-F238E27FC236}">
                    <a16:creationId xmlns:a16="http://schemas.microsoft.com/office/drawing/2014/main" id="{D0E0CB0D-C57F-4504-B2B5-566C1025F1D6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76" name="Rechthoek: afgeronde hoeken 116">
                <a:extLst>
                  <a:ext uri="{FF2B5EF4-FFF2-40B4-BE49-F238E27FC236}">
                    <a16:creationId xmlns:a16="http://schemas.microsoft.com/office/drawing/2014/main" id="{79BE821C-E8A0-4E96-A63D-01EBCE8C737C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77" name="Rechte verbindingslijn 117">
                <a:extLst>
                  <a:ext uri="{FF2B5EF4-FFF2-40B4-BE49-F238E27FC236}">
                    <a16:creationId xmlns:a16="http://schemas.microsoft.com/office/drawing/2014/main" id="{DB12E892-8189-40EF-8A85-6A7EA311AAC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8" name="Rechte verbindingslijn 118">
                <a:extLst>
                  <a:ext uri="{FF2B5EF4-FFF2-40B4-BE49-F238E27FC236}">
                    <a16:creationId xmlns:a16="http://schemas.microsoft.com/office/drawing/2014/main" id="{31F44D82-3E86-49D6-AC54-94C660393E13}"/>
                  </a:ext>
                </a:extLst>
              </p:cNvPr>
              <p:cNvCxnSpPr>
                <a:cxnSpLocks/>
                <a:stCxn id="76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grpSp>
          <p:nvGrpSpPr>
            <p:cNvPr id="37" name="Groep 87">
              <a:extLst>
                <a:ext uri="{FF2B5EF4-FFF2-40B4-BE49-F238E27FC236}">
                  <a16:creationId xmlns:a16="http://schemas.microsoft.com/office/drawing/2014/main" id="{0092F181-8B0B-4A97-A26C-F195E4E82FC5}"/>
                </a:ext>
              </a:extLst>
            </p:cNvPr>
            <p:cNvGrpSpPr/>
            <p:nvPr userDrawn="1"/>
          </p:nvGrpSpPr>
          <p:grpSpPr>
            <a:xfrm>
              <a:off x="12391601" y="2643684"/>
              <a:ext cx="3183678" cy="2840468"/>
              <a:chOff x="12952763" y="4572241"/>
              <a:chExt cx="3183678" cy="2840468"/>
            </a:xfrm>
          </p:grpSpPr>
          <p:grpSp>
            <p:nvGrpSpPr>
              <p:cNvPr id="48" name="Meer informatie">
                <a:extLst>
                  <a:ext uri="{FF2B5EF4-FFF2-40B4-BE49-F238E27FC236}">
                    <a16:creationId xmlns:a16="http://schemas.microsoft.com/office/drawing/2014/main" id="{46F47CC9-3339-49C1-A35A-6D0DCFEDE159}"/>
                  </a:ext>
                </a:extLst>
              </p:cNvPr>
              <p:cNvGrpSpPr/>
              <p:nvPr userDrawn="1"/>
            </p:nvGrpSpPr>
            <p:grpSpPr>
              <a:xfrm>
                <a:off x="12957926" y="6629436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70" name="Freeform 101">
                  <a:extLst>
                    <a:ext uri="{FF2B5EF4-FFF2-40B4-BE49-F238E27FC236}">
                      <a16:creationId xmlns:a16="http://schemas.microsoft.com/office/drawing/2014/main" id="{4F3B90D8-5C83-46BB-8442-9E859CC6612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3859" noProof="0"/>
                </a:p>
              </p:txBody>
            </p:sp>
            <p:sp>
              <p:nvSpPr>
                <p:cNvPr id="71" name="Rechthoek 111">
                  <a:extLst>
                    <a:ext uri="{FF2B5EF4-FFF2-40B4-BE49-F238E27FC236}">
                      <a16:creationId xmlns:a16="http://schemas.microsoft.com/office/drawing/2014/main" id="{CDE70456-41E5-4DFC-8129-A3083862E9BC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3207489" eaLnBrk="1" fontAlgn="auto" latinLnBrk="0" hangingPunct="1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Meer weten?</a:t>
                  </a:r>
                  <a:b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a naar dia </a:t>
                  </a:r>
                  <a:r>
                    <a:rPr kumimoji="0" lang="nl-NL" sz="3859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´Instructie dia: YouTube links´</a:t>
                  </a: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deze in de diavoorstelling en klik op de gewenste video link.</a:t>
                  </a:r>
                </a:p>
              </p:txBody>
            </p:sp>
            <p:cxnSp>
              <p:nvCxnSpPr>
                <p:cNvPr id="72" name="Rechte verbindingslijn 112">
                  <a:extLst>
                    <a:ext uri="{FF2B5EF4-FFF2-40B4-BE49-F238E27FC236}">
                      <a16:creationId xmlns:a16="http://schemas.microsoft.com/office/drawing/2014/main" id="{99B0A9B0-D1F7-4E95-8F97-310800A65B4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49" name="Rechte verbindingslijn 89">
                <a:extLst>
                  <a:ext uri="{FF2B5EF4-FFF2-40B4-BE49-F238E27FC236}">
                    <a16:creationId xmlns:a16="http://schemas.microsoft.com/office/drawing/2014/main" id="{86A165B8-B7D0-4A07-BE9E-63819DD6249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958423" y="651155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50" name="Ovaal 90">
                <a:extLst>
                  <a:ext uri="{FF2B5EF4-FFF2-40B4-BE49-F238E27FC236}">
                    <a16:creationId xmlns:a16="http://schemas.microsoft.com/office/drawing/2014/main" id="{A5DEFE7F-75A6-4682-819F-443D4E4C7CFA}"/>
                  </a:ext>
                </a:extLst>
              </p:cNvPr>
              <p:cNvSpPr/>
              <p:nvPr userDrawn="1"/>
            </p:nvSpPr>
            <p:spPr>
              <a:xfrm>
                <a:off x="12952763" y="4690403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320748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1" name="Rechthoek 91">
                <a:extLst>
                  <a:ext uri="{FF2B5EF4-FFF2-40B4-BE49-F238E27FC236}">
                    <a16:creationId xmlns:a16="http://schemas.microsoft.com/office/drawing/2014/main" id="{59151D17-0759-43DE-AF90-3529903D9EB5}"/>
                  </a:ext>
                </a:extLst>
              </p:cNvPr>
              <p:cNvSpPr/>
              <p:nvPr userDrawn="1"/>
            </p:nvSpPr>
            <p:spPr>
              <a:xfrm>
                <a:off x="13318445" y="4756466"/>
                <a:ext cx="2817996" cy="887319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Om de afbeelding te schalen of bij te snijden, ga naar de tab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Hulpmiddelen voor afbeeldingen - Opmaak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 en klik op de knop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Bijsnijden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Schaal met de bolletjes de afbeelding en met de hoekjes het afbeeldingskader.</a:t>
                </a:r>
                <a:endPara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52" name="Rechte verbindingslijn 92">
                <a:extLst>
                  <a:ext uri="{FF2B5EF4-FFF2-40B4-BE49-F238E27FC236}">
                    <a16:creationId xmlns:a16="http://schemas.microsoft.com/office/drawing/2014/main" id="{71A8FFD9-B8B5-4511-8198-52DE5D02641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958423" y="457224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53" name="Groep 93">
                <a:extLst>
                  <a:ext uri="{FF2B5EF4-FFF2-40B4-BE49-F238E27FC236}">
                    <a16:creationId xmlns:a16="http://schemas.microsoft.com/office/drawing/2014/main" id="{526C11E9-F307-4840-91A5-57DC1CA903E0}"/>
                  </a:ext>
                </a:extLst>
              </p:cNvPr>
              <p:cNvGrpSpPr/>
              <p:nvPr userDrawn="1"/>
            </p:nvGrpSpPr>
            <p:grpSpPr>
              <a:xfrm>
                <a:off x="13257676" y="5773610"/>
                <a:ext cx="514284" cy="612917"/>
                <a:chOff x="12682980" y="3403271"/>
                <a:chExt cx="622284" cy="741637"/>
              </a:xfrm>
            </p:grpSpPr>
            <p:grpSp>
              <p:nvGrpSpPr>
                <p:cNvPr id="54" name="Groep 94">
                  <a:extLst>
                    <a:ext uri="{FF2B5EF4-FFF2-40B4-BE49-F238E27FC236}">
                      <a16:creationId xmlns:a16="http://schemas.microsoft.com/office/drawing/2014/main" id="{95A5E7B9-EC06-429E-9740-65D401D27AD4}"/>
                    </a:ext>
                  </a:extLst>
                </p:cNvPr>
                <p:cNvGrpSpPr/>
                <p:nvPr userDrawn="1"/>
              </p:nvGrpSpPr>
              <p:grpSpPr>
                <a:xfrm>
                  <a:off x="12771568" y="3403271"/>
                  <a:ext cx="467138" cy="448459"/>
                  <a:chOff x="12782195" y="3403271"/>
                  <a:chExt cx="467138" cy="448459"/>
                </a:xfrm>
              </p:grpSpPr>
              <p:grpSp>
                <p:nvGrpSpPr>
                  <p:cNvPr id="57" name="Groep 97">
                    <a:extLst>
                      <a:ext uri="{FF2B5EF4-FFF2-40B4-BE49-F238E27FC236}">
                        <a16:creationId xmlns:a16="http://schemas.microsoft.com/office/drawing/2014/main" id="{E2607B29-2789-42C4-9F57-642ECD64247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2782195" y="3403271"/>
                    <a:ext cx="412967" cy="393910"/>
                    <a:chOff x="13554906" y="3320143"/>
                    <a:chExt cx="443906" cy="423422"/>
                  </a:xfrm>
                </p:grpSpPr>
                <p:grpSp>
                  <p:nvGrpSpPr>
                    <p:cNvPr id="64" name="Groep 104">
                      <a:extLst>
                        <a:ext uri="{FF2B5EF4-FFF2-40B4-BE49-F238E27FC236}">
                          <a16:creationId xmlns:a16="http://schemas.microsoft.com/office/drawing/2014/main" id="{9D8BFFDC-3964-4F5C-8247-5ABF9FD11453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3554906" y="3320143"/>
                      <a:ext cx="443906" cy="423422"/>
                      <a:chOff x="12909684" y="1276177"/>
                      <a:chExt cx="443906" cy="423422"/>
                    </a:xfrm>
                  </p:grpSpPr>
                  <p:sp>
                    <p:nvSpPr>
                      <p:cNvPr id="67" name="Rechthoek 107">
                        <a:extLst>
                          <a:ext uri="{FF2B5EF4-FFF2-40B4-BE49-F238E27FC236}">
                            <a16:creationId xmlns:a16="http://schemas.microsoft.com/office/drawing/2014/main" id="{CD2A55FF-A46B-4661-9B7F-23AD0E518D9A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2918700" y="1285299"/>
                        <a:ext cx="434890" cy="414300"/>
                      </a:xfrm>
                      <a:prstGeom prst="rect">
                        <a:avLst/>
                      </a:prstGeom>
                      <a:noFill/>
                      <a:ln w="12700">
                        <a:solidFill>
                          <a:srgbClr val="818181"/>
                        </a:solidFill>
                        <a:prstDash val="dash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2105"/>
                          </a:spcBef>
                          <a:spcAft>
                            <a:spcPts val="2105"/>
                          </a:spcAft>
                        </a:pPr>
                        <a:endParaRPr lang="nl-NL" sz="2806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68" name="Rechthoek 108">
                        <a:extLst>
                          <a:ext uri="{FF2B5EF4-FFF2-40B4-BE49-F238E27FC236}">
                            <a16:creationId xmlns:a16="http://schemas.microsoft.com/office/drawing/2014/main" id="{7DE6CA22-FA69-48A0-A30F-1B03FF452AEB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2909684" y="1276177"/>
                        <a:ext cx="261629" cy="257808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12700">
                        <a:solidFill>
                          <a:srgbClr val="81818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2105"/>
                          </a:spcBef>
                          <a:spcAft>
                            <a:spcPts val="2105"/>
                          </a:spcAft>
                        </a:pPr>
                        <a:endParaRPr lang="nl-NL" sz="2806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69" name="Ovaal 109">
                        <a:extLst>
                          <a:ext uri="{FF2B5EF4-FFF2-40B4-BE49-F238E27FC236}">
                            <a16:creationId xmlns:a16="http://schemas.microsoft.com/office/drawing/2014/main" id="{E770EB0E-9FCB-4378-90F1-CE5A96CB8A84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3069071" y="1308734"/>
                        <a:ext cx="72187" cy="72188"/>
                      </a:xfrm>
                      <a:prstGeom prst="ellipse">
                        <a:avLst/>
                      </a:prstGeom>
                      <a:solidFill>
                        <a:srgbClr val="ECC679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="horz" wrap="square" lIns="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l"/>
                        <a:endParaRPr lang="nl-NL" sz="3509" b="1" noProof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  <p:pic>
                  <p:nvPicPr>
                    <p:cNvPr id="65" name="Afbeelding 105">
                      <a:extLst>
                        <a:ext uri="{FF2B5EF4-FFF2-40B4-BE49-F238E27FC236}">
                          <a16:creationId xmlns:a16="http://schemas.microsoft.com/office/drawing/2014/main" id="{A908E851-5DBE-41F9-B8D3-F4049A78A6F8}"/>
                        </a:ext>
                      </a:extLst>
                    </p:cNvPr>
                    <p:cNvPicPr>
                      <a:picLocks noChangeAspect="1"/>
                    </p:cNvPicPr>
                    <p:nvPr userDrawn="1"/>
                  </p:nvPicPr>
                  <p:blipFill>
                    <a:blip r:embed="rId2" cstate="screen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3567296" y="3424991"/>
                      <a:ext cx="173367" cy="14022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66" name="Afbeelding 106">
                      <a:extLst>
                        <a:ext uri="{FF2B5EF4-FFF2-40B4-BE49-F238E27FC236}">
                          <a16:creationId xmlns:a16="http://schemas.microsoft.com/office/drawing/2014/main" id="{33504082-DE75-41F9-A941-D892141DA144}"/>
                        </a:ext>
                      </a:extLst>
                    </p:cNvPr>
                    <p:cNvPicPr>
                      <a:picLocks noChangeAspect="1"/>
                    </p:cNvPicPr>
                    <p:nvPr userDrawn="1"/>
                  </p:nvPicPr>
                  <p:blipFill>
                    <a:blip r:embed="rId4" cstate="screen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5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flipH="1">
                      <a:off x="13635598" y="3454393"/>
                      <a:ext cx="173366" cy="111424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58" name="Groep 98">
                    <a:extLst>
                      <a:ext uri="{FF2B5EF4-FFF2-40B4-BE49-F238E27FC236}">
                        <a16:creationId xmlns:a16="http://schemas.microsoft.com/office/drawing/2014/main" id="{E05FAD33-582F-478C-B621-F8AB94A3EFF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103513" y="3705278"/>
                    <a:ext cx="145820" cy="146452"/>
                    <a:chOff x="13096169" y="3602288"/>
                    <a:chExt cx="145820" cy="146452"/>
                  </a:xfrm>
                </p:grpSpPr>
                <p:sp>
                  <p:nvSpPr>
                    <p:cNvPr id="62" name="Rechthoek 102">
                      <a:extLst>
                        <a:ext uri="{FF2B5EF4-FFF2-40B4-BE49-F238E27FC236}">
                          <a16:creationId xmlns:a16="http://schemas.microsoft.com/office/drawing/2014/main" id="{54C9EB89-249E-4D91-BF0A-963D2814762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96169" y="360228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3" name="Rechthoek 103">
                      <a:extLst>
                        <a:ext uri="{FF2B5EF4-FFF2-40B4-BE49-F238E27FC236}">
                          <a16:creationId xmlns:a16="http://schemas.microsoft.com/office/drawing/2014/main" id="{AD4BEEFB-7F67-492A-BE70-5693AECE2A2E}"/>
                        </a:ext>
                      </a:extLst>
                    </p:cNvPr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grpSp>
                <p:nvGrpSpPr>
                  <p:cNvPr id="59" name="Groep 99">
                    <a:extLst>
                      <a:ext uri="{FF2B5EF4-FFF2-40B4-BE49-F238E27FC236}">
                        <a16:creationId xmlns:a16="http://schemas.microsoft.com/office/drawing/2014/main" id="{DBA98214-9D86-4134-8CA6-4AC018C54C77}"/>
                      </a:ext>
                    </a:extLst>
                  </p:cNvPr>
                  <p:cNvGrpSpPr/>
                  <p:nvPr userDrawn="1"/>
                </p:nvGrpSpPr>
                <p:grpSpPr>
                  <a:xfrm rot="10800000">
                    <a:off x="13061402" y="3665668"/>
                    <a:ext cx="145820" cy="146461"/>
                    <a:chOff x="13096169" y="3602248"/>
                    <a:chExt cx="145820" cy="146461"/>
                  </a:xfrm>
                </p:grpSpPr>
                <p:sp>
                  <p:nvSpPr>
                    <p:cNvPr id="60" name="Rechthoek 100">
                      <a:extLst>
                        <a:ext uri="{FF2B5EF4-FFF2-40B4-BE49-F238E27FC236}">
                          <a16:creationId xmlns:a16="http://schemas.microsoft.com/office/drawing/2014/main" id="{ED580141-F5F4-4A8B-82E6-F8102185EF0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96169" y="360224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1" name="Rechthoek 101">
                      <a:extLst>
                        <a:ext uri="{FF2B5EF4-FFF2-40B4-BE49-F238E27FC236}">
                          <a16:creationId xmlns:a16="http://schemas.microsoft.com/office/drawing/2014/main" id="{1EC6A88F-C59D-407C-B40A-23D0643DA3C5}"/>
                        </a:ext>
                      </a:extLst>
                    </p:cNvPr>
                    <p:cNvSpPr/>
                    <p:nvPr userDrawn="1"/>
                  </p:nvSpPr>
                  <p:spPr>
                    <a:xfrm rot="5400000">
                      <a:off x="13037453" y="3661605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  <p:sp>
              <p:nvSpPr>
                <p:cNvPr id="55" name="Rechthoek 95">
                  <a:extLst>
                    <a:ext uri="{FF2B5EF4-FFF2-40B4-BE49-F238E27FC236}">
                      <a16:creationId xmlns:a16="http://schemas.microsoft.com/office/drawing/2014/main" id="{3210FEEE-416F-4ED2-9573-0D7AFC95E5F9}"/>
                    </a:ext>
                  </a:extLst>
                </p:cNvPr>
                <p:cNvSpPr/>
                <p:nvPr userDrawn="1"/>
              </p:nvSpPr>
              <p:spPr>
                <a:xfrm>
                  <a:off x="12682980" y="3889920"/>
                  <a:ext cx="622284" cy="16117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r>
                    <a:rPr lang="nl-NL" sz="3158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Bijsnijden</a:t>
                  </a:r>
                </a:p>
              </p:txBody>
            </p:sp>
            <p:sp>
              <p:nvSpPr>
                <p:cNvPr id="56" name="Gelijkbenige driehoek 96">
                  <a:extLst>
                    <a:ext uri="{FF2B5EF4-FFF2-40B4-BE49-F238E27FC236}">
                      <a16:creationId xmlns:a16="http://schemas.microsoft.com/office/drawing/2014/main" id="{BB343D76-EFA6-4D56-89B0-EA34F1C07AAA}"/>
                    </a:ext>
                  </a:extLst>
                </p:cNvPr>
                <p:cNvSpPr/>
                <p:nvPr userDrawn="1"/>
              </p:nvSpPr>
              <p:spPr>
                <a:xfrm rot="10800000">
                  <a:off x="12950688" y="4093761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pic>
        <p:nvPicPr>
          <p:cNvPr id="82" name="Afbeelding 81">
            <a:extLst>
              <a:ext uri="{FF2B5EF4-FFF2-40B4-BE49-F238E27FC236}">
                <a16:creationId xmlns:a16="http://schemas.microsoft.com/office/drawing/2014/main" id="{4267A6BF-8856-45AD-8DCE-2F7DFF35BC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1523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kaders + Uitleg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grpSp>
        <p:nvGrpSpPr>
          <p:cNvPr id="38" name="GRID" hidden="1">
            <a:extLst>
              <a:ext uri="{FF2B5EF4-FFF2-40B4-BE49-F238E27FC236}">
                <a16:creationId xmlns:a16="http://schemas.microsoft.com/office/drawing/2014/main" id="{51D5F7E8-69F8-47AD-81F5-1645C97607C1}"/>
              </a:ext>
            </a:extLst>
          </p:cNvPr>
          <p:cNvGrpSpPr/>
          <p:nvPr userDrawn="1"/>
        </p:nvGrpSpPr>
        <p:grpSpPr>
          <a:xfrm>
            <a:off x="5" y="0"/>
            <a:ext cx="42767261" cy="30275213"/>
            <a:chOff x="0" y="0"/>
            <a:chExt cx="12192003" cy="6858000"/>
          </a:xfrm>
        </p:grpSpPr>
        <p:sp>
          <p:nvSpPr>
            <p:cNvPr id="39" name="Rechthoek 38">
              <a:extLst>
                <a:ext uri="{FF2B5EF4-FFF2-40B4-BE49-F238E27FC236}">
                  <a16:creationId xmlns:a16="http://schemas.microsoft.com/office/drawing/2014/main" id="{71DB2C92-E6A8-4532-98F6-C917E7F5CD17}"/>
                </a:ext>
              </a:extLst>
            </p:cNvPr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0" name="Rechthoek 39">
              <a:extLst>
                <a:ext uri="{FF2B5EF4-FFF2-40B4-BE49-F238E27FC236}">
                  <a16:creationId xmlns:a16="http://schemas.microsoft.com/office/drawing/2014/main" id="{1283F161-5F8A-45E1-A9F2-F823FC1CB0A5}"/>
                </a:ext>
              </a:extLst>
            </p:cNvPr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1" name="Rechthoek 40">
              <a:extLst>
                <a:ext uri="{FF2B5EF4-FFF2-40B4-BE49-F238E27FC236}">
                  <a16:creationId xmlns:a16="http://schemas.microsoft.com/office/drawing/2014/main" id="{E25AE021-76F4-4113-9019-FB3CB3351AD2}"/>
                </a:ext>
              </a:extLst>
            </p:cNvPr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2" name="Rechthoek 41">
              <a:extLst>
                <a:ext uri="{FF2B5EF4-FFF2-40B4-BE49-F238E27FC236}">
                  <a16:creationId xmlns:a16="http://schemas.microsoft.com/office/drawing/2014/main" id="{4F56F574-960D-4395-B98C-5F49ED9EF418}"/>
                </a:ext>
              </a:extLst>
            </p:cNvPr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34E307D0-CCA0-4BDF-BC5F-E19838E9F7DA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4" name="Rechthoek 43">
              <a:extLst>
                <a:ext uri="{FF2B5EF4-FFF2-40B4-BE49-F238E27FC236}">
                  <a16:creationId xmlns:a16="http://schemas.microsoft.com/office/drawing/2014/main" id="{2AEE0B25-FBCC-4048-A2C0-6D97C3E7FEB7}"/>
                </a:ext>
              </a:extLst>
            </p:cNvPr>
            <p:cNvSpPr/>
            <p:nvPr userDrawn="1"/>
          </p:nvSpPr>
          <p:spPr>
            <a:xfrm rot="5400000">
              <a:off x="5895976" y="-108104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618A8028-D7C0-455A-B6A5-E5ECB2C2A8D6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Voettekst</a:t>
            </a:r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9" y="27329718"/>
            <a:ext cx="834509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1B658E1F-0E98-4ED4-B7E8-3A0C15D75D3F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687079" y="6308636"/>
            <a:ext cx="5345254" cy="5484109"/>
          </a:xfrm>
          <a:custGeom>
            <a:avLst/>
            <a:gdLst>
              <a:gd name="connsiteX0" fmla="*/ 0 w 6217773"/>
              <a:gd name="connsiteY0" fmla="*/ 631093 h 5069018"/>
              <a:gd name="connsiteX1" fmla="*/ 631093 w 6217773"/>
              <a:gd name="connsiteY1" fmla="*/ 0 h 5069018"/>
              <a:gd name="connsiteX2" fmla="*/ 5586680 w 6217773"/>
              <a:gd name="connsiteY2" fmla="*/ 0 h 5069018"/>
              <a:gd name="connsiteX3" fmla="*/ 6217773 w 6217773"/>
              <a:gd name="connsiteY3" fmla="*/ 631093 h 5069018"/>
              <a:gd name="connsiteX4" fmla="*/ 6217773 w 6217773"/>
              <a:gd name="connsiteY4" fmla="*/ 4437925 h 5069018"/>
              <a:gd name="connsiteX5" fmla="*/ 5586680 w 6217773"/>
              <a:gd name="connsiteY5" fmla="*/ 5069018 h 5069018"/>
              <a:gd name="connsiteX6" fmla="*/ 631093 w 6217773"/>
              <a:gd name="connsiteY6" fmla="*/ 5069018 h 5069018"/>
              <a:gd name="connsiteX7" fmla="*/ 0 w 6217773"/>
              <a:gd name="connsiteY7" fmla="*/ 4437925 h 5069018"/>
              <a:gd name="connsiteX8" fmla="*/ 0 w 6217773"/>
              <a:gd name="connsiteY8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31029 w 6248802"/>
              <a:gd name="connsiteY0" fmla="*/ 638400 h 5076325"/>
              <a:gd name="connsiteX1" fmla="*/ 35792 w 6248802"/>
              <a:gd name="connsiteY1" fmla="*/ 228 h 5076325"/>
              <a:gd name="connsiteX2" fmla="*/ 662122 w 6248802"/>
              <a:gd name="connsiteY2" fmla="*/ 7307 h 5076325"/>
              <a:gd name="connsiteX3" fmla="*/ 5617709 w 6248802"/>
              <a:gd name="connsiteY3" fmla="*/ 7307 h 5076325"/>
              <a:gd name="connsiteX4" fmla="*/ 6248802 w 6248802"/>
              <a:gd name="connsiteY4" fmla="*/ 638400 h 5076325"/>
              <a:gd name="connsiteX5" fmla="*/ 6248802 w 6248802"/>
              <a:gd name="connsiteY5" fmla="*/ 4445232 h 5076325"/>
              <a:gd name="connsiteX6" fmla="*/ 5617709 w 6248802"/>
              <a:gd name="connsiteY6" fmla="*/ 5076325 h 5076325"/>
              <a:gd name="connsiteX7" fmla="*/ 662122 w 6248802"/>
              <a:gd name="connsiteY7" fmla="*/ 5076325 h 5076325"/>
              <a:gd name="connsiteX8" fmla="*/ 31029 w 6248802"/>
              <a:gd name="connsiteY8" fmla="*/ 4445232 h 5076325"/>
              <a:gd name="connsiteX9" fmla="*/ 31029 w 6248802"/>
              <a:gd name="connsiteY9" fmla="*/ 638400 h 5076325"/>
              <a:gd name="connsiteX0" fmla="*/ 0 w 6217773"/>
              <a:gd name="connsiteY0" fmla="*/ 638860 h 5076785"/>
              <a:gd name="connsiteX1" fmla="*/ 4763 w 6217773"/>
              <a:gd name="connsiteY1" fmla="*/ 688 h 5076785"/>
              <a:gd name="connsiteX2" fmla="*/ 631093 w 6217773"/>
              <a:gd name="connsiteY2" fmla="*/ 7767 h 5076785"/>
              <a:gd name="connsiteX3" fmla="*/ 5586680 w 6217773"/>
              <a:gd name="connsiteY3" fmla="*/ 7767 h 5076785"/>
              <a:gd name="connsiteX4" fmla="*/ 6217773 w 6217773"/>
              <a:gd name="connsiteY4" fmla="*/ 638860 h 5076785"/>
              <a:gd name="connsiteX5" fmla="*/ 6217773 w 6217773"/>
              <a:gd name="connsiteY5" fmla="*/ 4445692 h 5076785"/>
              <a:gd name="connsiteX6" fmla="*/ 5586680 w 6217773"/>
              <a:gd name="connsiteY6" fmla="*/ 5076785 h 5076785"/>
              <a:gd name="connsiteX7" fmla="*/ 631093 w 6217773"/>
              <a:gd name="connsiteY7" fmla="*/ 5076785 h 5076785"/>
              <a:gd name="connsiteX8" fmla="*/ 0 w 6217773"/>
              <a:gd name="connsiteY8" fmla="*/ 4445692 h 5076785"/>
              <a:gd name="connsiteX9" fmla="*/ 0 w 6217773"/>
              <a:gd name="connsiteY9" fmla="*/ 638860 h 5076785"/>
              <a:gd name="connsiteX0" fmla="*/ 64 w 6217837"/>
              <a:gd name="connsiteY0" fmla="*/ 638860 h 5076785"/>
              <a:gd name="connsiteX1" fmla="*/ 4827 w 6217837"/>
              <a:gd name="connsiteY1" fmla="*/ 688 h 5076785"/>
              <a:gd name="connsiteX2" fmla="*/ 631157 w 6217837"/>
              <a:gd name="connsiteY2" fmla="*/ 7767 h 5076785"/>
              <a:gd name="connsiteX3" fmla="*/ 5586744 w 6217837"/>
              <a:gd name="connsiteY3" fmla="*/ 7767 h 5076785"/>
              <a:gd name="connsiteX4" fmla="*/ 6217837 w 6217837"/>
              <a:gd name="connsiteY4" fmla="*/ 638860 h 5076785"/>
              <a:gd name="connsiteX5" fmla="*/ 6217837 w 6217837"/>
              <a:gd name="connsiteY5" fmla="*/ 4445692 h 5076785"/>
              <a:gd name="connsiteX6" fmla="*/ 5586744 w 6217837"/>
              <a:gd name="connsiteY6" fmla="*/ 5076785 h 5076785"/>
              <a:gd name="connsiteX7" fmla="*/ 631157 w 6217837"/>
              <a:gd name="connsiteY7" fmla="*/ 5076785 h 5076785"/>
              <a:gd name="connsiteX8" fmla="*/ 64 w 6217837"/>
              <a:gd name="connsiteY8" fmla="*/ 4445692 h 5076785"/>
              <a:gd name="connsiteX9" fmla="*/ 64 w 6217837"/>
              <a:gd name="connsiteY9" fmla="*/ 638860 h 5076785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586744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17837" h="5069018">
                <a:moveTo>
                  <a:pt x="64" y="631093"/>
                </a:moveTo>
                <a:cubicBezTo>
                  <a:pt x="4033" y="467051"/>
                  <a:pt x="-5105" y="12378"/>
                  <a:pt x="4827" y="2446"/>
                </a:cubicBezTo>
                <a:cubicBezTo>
                  <a:pt x="11584" y="-1136"/>
                  <a:pt x="507287" y="937"/>
                  <a:pt x="631157" y="0"/>
                </a:cubicBezTo>
                <a:lnTo>
                  <a:pt x="5586744" y="0"/>
                </a:lnTo>
                <a:cubicBezTo>
                  <a:pt x="5935287" y="0"/>
                  <a:pt x="6217837" y="282550"/>
                  <a:pt x="6217837" y="631093"/>
                </a:cubicBezTo>
                <a:lnTo>
                  <a:pt x="6217837" y="4437925"/>
                </a:lnTo>
                <a:cubicBezTo>
                  <a:pt x="6217837" y="4786468"/>
                  <a:pt x="5935287" y="5069018"/>
                  <a:pt x="5586744" y="5069018"/>
                </a:cubicBezTo>
                <a:lnTo>
                  <a:pt x="631157" y="5069018"/>
                </a:lnTo>
                <a:cubicBezTo>
                  <a:pt x="282614" y="5069018"/>
                  <a:pt x="64" y="4786468"/>
                  <a:pt x="64" y="4437925"/>
                </a:cubicBezTo>
                <a:lnTo>
                  <a:pt x="64" y="631093"/>
                </a:lnTo>
                <a:close/>
              </a:path>
            </a:pathLst>
          </a:custGeom>
          <a:solidFill>
            <a:schemeClr val="bg2"/>
          </a:solidFill>
        </p:spPr>
        <p:txBody>
          <a:bodyPr lIns="360000" tIns="360000" rIns="360000" bIns="360000"/>
          <a:lstStyle>
            <a:lvl1pPr algn="ctr">
              <a:defRPr sz="4209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Punt 1</a:t>
            </a:r>
          </a:p>
        </p:txBody>
      </p:sp>
      <p:sp>
        <p:nvSpPr>
          <p:cNvPr id="24" name="Tijdelijke aanduiding voor tekst 3">
            <a:extLst>
              <a:ext uri="{FF2B5EF4-FFF2-40B4-BE49-F238E27FC236}">
                <a16:creationId xmlns:a16="http://schemas.microsoft.com/office/drawing/2014/main" id="{9403E59F-DA7E-493E-A75C-18B2CDC74E5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687079" y="13268192"/>
            <a:ext cx="5345254" cy="5484109"/>
          </a:xfrm>
          <a:custGeom>
            <a:avLst/>
            <a:gdLst>
              <a:gd name="connsiteX0" fmla="*/ 0 w 6217773"/>
              <a:gd name="connsiteY0" fmla="*/ 631093 h 5069018"/>
              <a:gd name="connsiteX1" fmla="*/ 631093 w 6217773"/>
              <a:gd name="connsiteY1" fmla="*/ 0 h 5069018"/>
              <a:gd name="connsiteX2" fmla="*/ 5586680 w 6217773"/>
              <a:gd name="connsiteY2" fmla="*/ 0 h 5069018"/>
              <a:gd name="connsiteX3" fmla="*/ 6217773 w 6217773"/>
              <a:gd name="connsiteY3" fmla="*/ 631093 h 5069018"/>
              <a:gd name="connsiteX4" fmla="*/ 6217773 w 6217773"/>
              <a:gd name="connsiteY4" fmla="*/ 4437925 h 5069018"/>
              <a:gd name="connsiteX5" fmla="*/ 5586680 w 6217773"/>
              <a:gd name="connsiteY5" fmla="*/ 5069018 h 5069018"/>
              <a:gd name="connsiteX6" fmla="*/ 631093 w 6217773"/>
              <a:gd name="connsiteY6" fmla="*/ 5069018 h 5069018"/>
              <a:gd name="connsiteX7" fmla="*/ 0 w 6217773"/>
              <a:gd name="connsiteY7" fmla="*/ 4437925 h 5069018"/>
              <a:gd name="connsiteX8" fmla="*/ 0 w 6217773"/>
              <a:gd name="connsiteY8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31029 w 6248802"/>
              <a:gd name="connsiteY0" fmla="*/ 638400 h 5076325"/>
              <a:gd name="connsiteX1" fmla="*/ 35792 w 6248802"/>
              <a:gd name="connsiteY1" fmla="*/ 228 h 5076325"/>
              <a:gd name="connsiteX2" fmla="*/ 662122 w 6248802"/>
              <a:gd name="connsiteY2" fmla="*/ 7307 h 5076325"/>
              <a:gd name="connsiteX3" fmla="*/ 5617709 w 6248802"/>
              <a:gd name="connsiteY3" fmla="*/ 7307 h 5076325"/>
              <a:gd name="connsiteX4" fmla="*/ 6248802 w 6248802"/>
              <a:gd name="connsiteY4" fmla="*/ 638400 h 5076325"/>
              <a:gd name="connsiteX5" fmla="*/ 6248802 w 6248802"/>
              <a:gd name="connsiteY5" fmla="*/ 4445232 h 5076325"/>
              <a:gd name="connsiteX6" fmla="*/ 5617709 w 6248802"/>
              <a:gd name="connsiteY6" fmla="*/ 5076325 h 5076325"/>
              <a:gd name="connsiteX7" fmla="*/ 662122 w 6248802"/>
              <a:gd name="connsiteY7" fmla="*/ 5076325 h 5076325"/>
              <a:gd name="connsiteX8" fmla="*/ 31029 w 6248802"/>
              <a:gd name="connsiteY8" fmla="*/ 4445232 h 5076325"/>
              <a:gd name="connsiteX9" fmla="*/ 31029 w 6248802"/>
              <a:gd name="connsiteY9" fmla="*/ 638400 h 5076325"/>
              <a:gd name="connsiteX0" fmla="*/ 0 w 6217773"/>
              <a:gd name="connsiteY0" fmla="*/ 638860 h 5076785"/>
              <a:gd name="connsiteX1" fmla="*/ 4763 w 6217773"/>
              <a:gd name="connsiteY1" fmla="*/ 688 h 5076785"/>
              <a:gd name="connsiteX2" fmla="*/ 631093 w 6217773"/>
              <a:gd name="connsiteY2" fmla="*/ 7767 h 5076785"/>
              <a:gd name="connsiteX3" fmla="*/ 5586680 w 6217773"/>
              <a:gd name="connsiteY3" fmla="*/ 7767 h 5076785"/>
              <a:gd name="connsiteX4" fmla="*/ 6217773 w 6217773"/>
              <a:gd name="connsiteY4" fmla="*/ 638860 h 5076785"/>
              <a:gd name="connsiteX5" fmla="*/ 6217773 w 6217773"/>
              <a:gd name="connsiteY5" fmla="*/ 4445692 h 5076785"/>
              <a:gd name="connsiteX6" fmla="*/ 5586680 w 6217773"/>
              <a:gd name="connsiteY6" fmla="*/ 5076785 h 5076785"/>
              <a:gd name="connsiteX7" fmla="*/ 631093 w 6217773"/>
              <a:gd name="connsiteY7" fmla="*/ 5076785 h 5076785"/>
              <a:gd name="connsiteX8" fmla="*/ 0 w 6217773"/>
              <a:gd name="connsiteY8" fmla="*/ 4445692 h 5076785"/>
              <a:gd name="connsiteX9" fmla="*/ 0 w 6217773"/>
              <a:gd name="connsiteY9" fmla="*/ 638860 h 5076785"/>
              <a:gd name="connsiteX0" fmla="*/ 64 w 6217837"/>
              <a:gd name="connsiteY0" fmla="*/ 638860 h 5076785"/>
              <a:gd name="connsiteX1" fmla="*/ 4827 w 6217837"/>
              <a:gd name="connsiteY1" fmla="*/ 688 h 5076785"/>
              <a:gd name="connsiteX2" fmla="*/ 631157 w 6217837"/>
              <a:gd name="connsiteY2" fmla="*/ 7767 h 5076785"/>
              <a:gd name="connsiteX3" fmla="*/ 5586744 w 6217837"/>
              <a:gd name="connsiteY3" fmla="*/ 7767 h 5076785"/>
              <a:gd name="connsiteX4" fmla="*/ 6217837 w 6217837"/>
              <a:gd name="connsiteY4" fmla="*/ 638860 h 5076785"/>
              <a:gd name="connsiteX5" fmla="*/ 6217837 w 6217837"/>
              <a:gd name="connsiteY5" fmla="*/ 4445692 h 5076785"/>
              <a:gd name="connsiteX6" fmla="*/ 5586744 w 6217837"/>
              <a:gd name="connsiteY6" fmla="*/ 5076785 h 5076785"/>
              <a:gd name="connsiteX7" fmla="*/ 631157 w 6217837"/>
              <a:gd name="connsiteY7" fmla="*/ 5076785 h 5076785"/>
              <a:gd name="connsiteX8" fmla="*/ 64 w 6217837"/>
              <a:gd name="connsiteY8" fmla="*/ 4445692 h 5076785"/>
              <a:gd name="connsiteX9" fmla="*/ 64 w 6217837"/>
              <a:gd name="connsiteY9" fmla="*/ 638860 h 5076785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586744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17837" h="5069018">
                <a:moveTo>
                  <a:pt x="64" y="631093"/>
                </a:moveTo>
                <a:cubicBezTo>
                  <a:pt x="4033" y="467051"/>
                  <a:pt x="-5105" y="12378"/>
                  <a:pt x="4827" y="2446"/>
                </a:cubicBezTo>
                <a:cubicBezTo>
                  <a:pt x="11584" y="-1136"/>
                  <a:pt x="507287" y="937"/>
                  <a:pt x="631157" y="0"/>
                </a:cubicBezTo>
                <a:lnTo>
                  <a:pt x="5586744" y="0"/>
                </a:lnTo>
                <a:cubicBezTo>
                  <a:pt x="5935287" y="0"/>
                  <a:pt x="6217837" y="282550"/>
                  <a:pt x="6217837" y="631093"/>
                </a:cubicBezTo>
                <a:lnTo>
                  <a:pt x="6217837" y="4437925"/>
                </a:lnTo>
                <a:cubicBezTo>
                  <a:pt x="6217837" y="4786468"/>
                  <a:pt x="5935287" y="5069018"/>
                  <a:pt x="5586744" y="5069018"/>
                </a:cubicBezTo>
                <a:lnTo>
                  <a:pt x="631157" y="5069018"/>
                </a:lnTo>
                <a:cubicBezTo>
                  <a:pt x="282614" y="5069018"/>
                  <a:pt x="64" y="4786468"/>
                  <a:pt x="64" y="4437925"/>
                </a:cubicBezTo>
                <a:lnTo>
                  <a:pt x="64" y="631093"/>
                </a:lnTo>
                <a:close/>
              </a:path>
            </a:pathLst>
          </a:custGeom>
          <a:solidFill>
            <a:schemeClr val="bg2"/>
          </a:solidFill>
        </p:spPr>
        <p:txBody>
          <a:bodyPr lIns="360000" tIns="360000" rIns="360000" bIns="360000"/>
          <a:lstStyle>
            <a:lvl1pPr algn="ctr">
              <a:defRPr sz="4209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Punt 2</a:t>
            </a:r>
          </a:p>
        </p:txBody>
      </p:sp>
      <p:sp>
        <p:nvSpPr>
          <p:cNvPr id="25" name="Tijdelijke aanduiding voor tekst 3">
            <a:extLst>
              <a:ext uri="{FF2B5EF4-FFF2-40B4-BE49-F238E27FC236}">
                <a16:creationId xmlns:a16="http://schemas.microsoft.com/office/drawing/2014/main" id="{18770FDC-CD6D-4A8D-A3C8-1090C7435D39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687079" y="20230721"/>
            <a:ext cx="5345254" cy="5484109"/>
          </a:xfrm>
          <a:custGeom>
            <a:avLst/>
            <a:gdLst>
              <a:gd name="connsiteX0" fmla="*/ 0 w 6217773"/>
              <a:gd name="connsiteY0" fmla="*/ 631093 h 5069018"/>
              <a:gd name="connsiteX1" fmla="*/ 631093 w 6217773"/>
              <a:gd name="connsiteY1" fmla="*/ 0 h 5069018"/>
              <a:gd name="connsiteX2" fmla="*/ 5586680 w 6217773"/>
              <a:gd name="connsiteY2" fmla="*/ 0 h 5069018"/>
              <a:gd name="connsiteX3" fmla="*/ 6217773 w 6217773"/>
              <a:gd name="connsiteY3" fmla="*/ 631093 h 5069018"/>
              <a:gd name="connsiteX4" fmla="*/ 6217773 w 6217773"/>
              <a:gd name="connsiteY4" fmla="*/ 4437925 h 5069018"/>
              <a:gd name="connsiteX5" fmla="*/ 5586680 w 6217773"/>
              <a:gd name="connsiteY5" fmla="*/ 5069018 h 5069018"/>
              <a:gd name="connsiteX6" fmla="*/ 631093 w 6217773"/>
              <a:gd name="connsiteY6" fmla="*/ 5069018 h 5069018"/>
              <a:gd name="connsiteX7" fmla="*/ 0 w 6217773"/>
              <a:gd name="connsiteY7" fmla="*/ 4437925 h 5069018"/>
              <a:gd name="connsiteX8" fmla="*/ 0 w 6217773"/>
              <a:gd name="connsiteY8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31029 w 6248802"/>
              <a:gd name="connsiteY0" fmla="*/ 638400 h 5076325"/>
              <a:gd name="connsiteX1" fmla="*/ 35792 w 6248802"/>
              <a:gd name="connsiteY1" fmla="*/ 228 h 5076325"/>
              <a:gd name="connsiteX2" fmla="*/ 662122 w 6248802"/>
              <a:gd name="connsiteY2" fmla="*/ 7307 h 5076325"/>
              <a:gd name="connsiteX3" fmla="*/ 5617709 w 6248802"/>
              <a:gd name="connsiteY3" fmla="*/ 7307 h 5076325"/>
              <a:gd name="connsiteX4" fmla="*/ 6248802 w 6248802"/>
              <a:gd name="connsiteY4" fmla="*/ 638400 h 5076325"/>
              <a:gd name="connsiteX5" fmla="*/ 6248802 w 6248802"/>
              <a:gd name="connsiteY5" fmla="*/ 4445232 h 5076325"/>
              <a:gd name="connsiteX6" fmla="*/ 5617709 w 6248802"/>
              <a:gd name="connsiteY6" fmla="*/ 5076325 h 5076325"/>
              <a:gd name="connsiteX7" fmla="*/ 662122 w 6248802"/>
              <a:gd name="connsiteY7" fmla="*/ 5076325 h 5076325"/>
              <a:gd name="connsiteX8" fmla="*/ 31029 w 6248802"/>
              <a:gd name="connsiteY8" fmla="*/ 4445232 h 5076325"/>
              <a:gd name="connsiteX9" fmla="*/ 31029 w 6248802"/>
              <a:gd name="connsiteY9" fmla="*/ 638400 h 5076325"/>
              <a:gd name="connsiteX0" fmla="*/ 0 w 6217773"/>
              <a:gd name="connsiteY0" fmla="*/ 638860 h 5076785"/>
              <a:gd name="connsiteX1" fmla="*/ 4763 w 6217773"/>
              <a:gd name="connsiteY1" fmla="*/ 688 h 5076785"/>
              <a:gd name="connsiteX2" fmla="*/ 631093 w 6217773"/>
              <a:gd name="connsiteY2" fmla="*/ 7767 h 5076785"/>
              <a:gd name="connsiteX3" fmla="*/ 5586680 w 6217773"/>
              <a:gd name="connsiteY3" fmla="*/ 7767 h 5076785"/>
              <a:gd name="connsiteX4" fmla="*/ 6217773 w 6217773"/>
              <a:gd name="connsiteY4" fmla="*/ 638860 h 5076785"/>
              <a:gd name="connsiteX5" fmla="*/ 6217773 w 6217773"/>
              <a:gd name="connsiteY5" fmla="*/ 4445692 h 5076785"/>
              <a:gd name="connsiteX6" fmla="*/ 5586680 w 6217773"/>
              <a:gd name="connsiteY6" fmla="*/ 5076785 h 5076785"/>
              <a:gd name="connsiteX7" fmla="*/ 631093 w 6217773"/>
              <a:gd name="connsiteY7" fmla="*/ 5076785 h 5076785"/>
              <a:gd name="connsiteX8" fmla="*/ 0 w 6217773"/>
              <a:gd name="connsiteY8" fmla="*/ 4445692 h 5076785"/>
              <a:gd name="connsiteX9" fmla="*/ 0 w 6217773"/>
              <a:gd name="connsiteY9" fmla="*/ 638860 h 5076785"/>
              <a:gd name="connsiteX0" fmla="*/ 64 w 6217837"/>
              <a:gd name="connsiteY0" fmla="*/ 638860 h 5076785"/>
              <a:gd name="connsiteX1" fmla="*/ 4827 w 6217837"/>
              <a:gd name="connsiteY1" fmla="*/ 688 h 5076785"/>
              <a:gd name="connsiteX2" fmla="*/ 631157 w 6217837"/>
              <a:gd name="connsiteY2" fmla="*/ 7767 h 5076785"/>
              <a:gd name="connsiteX3" fmla="*/ 5586744 w 6217837"/>
              <a:gd name="connsiteY3" fmla="*/ 7767 h 5076785"/>
              <a:gd name="connsiteX4" fmla="*/ 6217837 w 6217837"/>
              <a:gd name="connsiteY4" fmla="*/ 638860 h 5076785"/>
              <a:gd name="connsiteX5" fmla="*/ 6217837 w 6217837"/>
              <a:gd name="connsiteY5" fmla="*/ 4445692 h 5076785"/>
              <a:gd name="connsiteX6" fmla="*/ 5586744 w 6217837"/>
              <a:gd name="connsiteY6" fmla="*/ 5076785 h 5076785"/>
              <a:gd name="connsiteX7" fmla="*/ 631157 w 6217837"/>
              <a:gd name="connsiteY7" fmla="*/ 5076785 h 5076785"/>
              <a:gd name="connsiteX8" fmla="*/ 64 w 6217837"/>
              <a:gd name="connsiteY8" fmla="*/ 4445692 h 5076785"/>
              <a:gd name="connsiteX9" fmla="*/ 64 w 6217837"/>
              <a:gd name="connsiteY9" fmla="*/ 638860 h 5076785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586744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17837" h="5069018">
                <a:moveTo>
                  <a:pt x="64" y="631093"/>
                </a:moveTo>
                <a:cubicBezTo>
                  <a:pt x="4033" y="467051"/>
                  <a:pt x="-5105" y="12378"/>
                  <a:pt x="4827" y="2446"/>
                </a:cubicBezTo>
                <a:cubicBezTo>
                  <a:pt x="11584" y="-1136"/>
                  <a:pt x="507287" y="937"/>
                  <a:pt x="631157" y="0"/>
                </a:cubicBezTo>
                <a:lnTo>
                  <a:pt x="5586744" y="0"/>
                </a:lnTo>
                <a:cubicBezTo>
                  <a:pt x="5935287" y="0"/>
                  <a:pt x="6217837" y="282550"/>
                  <a:pt x="6217837" y="631093"/>
                </a:cubicBezTo>
                <a:lnTo>
                  <a:pt x="6217837" y="4437925"/>
                </a:lnTo>
                <a:cubicBezTo>
                  <a:pt x="6217837" y="4786468"/>
                  <a:pt x="5935287" y="5069018"/>
                  <a:pt x="5586744" y="5069018"/>
                </a:cubicBezTo>
                <a:lnTo>
                  <a:pt x="631157" y="5069018"/>
                </a:lnTo>
                <a:cubicBezTo>
                  <a:pt x="282614" y="5069018"/>
                  <a:pt x="64" y="4786468"/>
                  <a:pt x="64" y="4437925"/>
                </a:cubicBezTo>
                <a:lnTo>
                  <a:pt x="64" y="631093"/>
                </a:lnTo>
                <a:close/>
              </a:path>
            </a:pathLst>
          </a:custGeom>
          <a:solidFill>
            <a:schemeClr val="bg2"/>
          </a:solidFill>
        </p:spPr>
        <p:txBody>
          <a:bodyPr lIns="360000" tIns="360000" rIns="360000" bIns="360000"/>
          <a:lstStyle>
            <a:lvl1pPr algn="ctr">
              <a:defRPr sz="4209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Punt 3</a:t>
            </a:r>
          </a:p>
        </p:txBody>
      </p:sp>
      <p:sp>
        <p:nvSpPr>
          <p:cNvPr id="21" name="Tijdelijke aanduiding voor tekst 2">
            <a:extLst>
              <a:ext uri="{FF2B5EF4-FFF2-40B4-BE49-F238E27FC236}">
                <a16:creationId xmlns:a16="http://schemas.microsoft.com/office/drawing/2014/main" id="{93201188-BF14-4AD6-B8D4-12C6EDF4869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33803" y="6316510"/>
            <a:ext cx="25627524" cy="5476873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089185" y="2382"/>
                </a:lnTo>
                <a:cubicBezTo>
                  <a:pt x="7208841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08841" y="1240632"/>
                  <a:pt x="7089185" y="1240632"/>
                </a:cubicBezTo>
                <a:lnTo>
                  <a:pt x="216824" y="1240632"/>
                </a:lnTo>
                <a:cubicBezTo>
                  <a:pt x="9716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>
              <a:spcAft>
                <a:spcPts val="0"/>
              </a:spcAft>
              <a:defRPr sz="4209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6" name="Tijdelijke aanduiding voor tekst 2">
            <a:extLst>
              <a:ext uri="{FF2B5EF4-FFF2-40B4-BE49-F238E27FC236}">
                <a16:creationId xmlns:a16="http://schemas.microsoft.com/office/drawing/2014/main" id="{6BECFFED-1A12-4250-8E12-F2451314694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533803" y="13275428"/>
            <a:ext cx="25627524" cy="5476873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089185" y="2382"/>
                </a:lnTo>
                <a:cubicBezTo>
                  <a:pt x="7208841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08841" y="1240632"/>
                  <a:pt x="7089185" y="1240632"/>
                </a:cubicBezTo>
                <a:lnTo>
                  <a:pt x="216824" y="1240632"/>
                </a:lnTo>
                <a:cubicBezTo>
                  <a:pt x="9716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>
              <a:spcAft>
                <a:spcPts val="0"/>
              </a:spcAft>
              <a:defRPr sz="4209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7" name="Tijdelijke aanduiding voor tekst 2">
            <a:extLst>
              <a:ext uri="{FF2B5EF4-FFF2-40B4-BE49-F238E27FC236}">
                <a16:creationId xmlns:a16="http://schemas.microsoft.com/office/drawing/2014/main" id="{9A7B8253-F6CE-4FCD-AB4A-5EBAC3E7B2E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533803" y="20234339"/>
            <a:ext cx="25627524" cy="5476873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089185" y="2382"/>
                </a:lnTo>
                <a:cubicBezTo>
                  <a:pt x="7208841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08841" y="1240632"/>
                  <a:pt x="7089185" y="1240632"/>
                </a:cubicBezTo>
                <a:lnTo>
                  <a:pt x="216824" y="1240632"/>
                </a:lnTo>
                <a:cubicBezTo>
                  <a:pt x="9716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>
              <a:spcAft>
                <a:spcPts val="0"/>
              </a:spcAft>
              <a:defRPr sz="4209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pic>
        <p:nvPicPr>
          <p:cNvPr id="34" name="Afbeelding 33">
            <a:extLst>
              <a:ext uri="{FF2B5EF4-FFF2-40B4-BE49-F238E27FC236}">
                <a16:creationId xmlns:a16="http://schemas.microsoft.com/office/drawing/2014/main" id="{C1D6ADE6-9F8A-4FFA-9F89-B845469FFC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  <p:grpSp>
        <p:nvGrpSpPr>
          <p:cNvPr id="35" name="Instructie">
            <a:extLst>
              <a:ext uri="{FF2B5EF4-FFF2-40B4-BE49-F238E27FC236}">
                <a16:creationId xmlns:a16="http://schemas.microsoft.com/office/drawing/2014/main" id="{0950F664-376F-47E8-A039-7D1F3ABF53A0}"/>
              </a:ext>
            </a:extLst>
          </p:cNvPr>
          <p:cNvGrpSpPr/>
          <p:nvPr userDrawn="1"/>
        </p:nvGrpSpPr>
        <p:grpSpPr>
          <a:xfrm>
            <a:off x="43268722" y="0"/>
            <a:ext cx="11164508" cy="11743958"/>
            <a:chOff x="-3426088" y="4512342"/>
            <a:chExt cx="3182755" cy="2660264"/>
          </a:xfrm>
        </p:grpSpPr>
        <p:sp>
          <p:nvSpPr>
            <p:cNvPr id="36" name="Rechthoek 127">
              <a:extLst>
                <a:ext uri="{FF2B5EF4-FFF2-40B4-BE49-F238E27FC236}">
                  <a16:creationId xmlns:a16="http://schemas.microsoft.com/office/drawing/2014/main" id="{AE1BB9F2-F060-49F0-9B39-1909F6E2227B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37" name="Rechte verbindingslijn 128">
              <a:extLst>
                <a:ext uri="{FF2B5EF4-FFF2-40B4-BE49-F238E27FC236}">
                  <a16:creationId xmlns:a16="http://schemas.microsoft.com/office/drawing/2014/main" id="{AEA21112-DF6D-4506-933C-AED4861CFC8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8" name="Rechthoek 130">
              <a:extLst>
                <a:ext uri="{FF2B5EF4-FFF2-40B4-BE49-F238E27FC236}">
                  <a16:creationId xmlns:a16="http://schemas.microsoft.com/office/drawing/2014/main" id="{F89FD12B-CCDB-4EB4-B0A7-AFD5CCE7D284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49" name="Rechthoek 133">
              <a:extLst>
                <a:ext uri="{FF2B5EF4-FFF2-40B4-BE49-F238E27FC236}">
                  <a16:creationId xmlns:a16="http://schemas.microsoft.com/office/drawing/2014/main" id="{6A485D93-0FAA-4147-A4EA-8EC80B5EAB71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50" name="Rechthoek 136">
              <a:extLst>
                <a:ext uri="{FF2B5EF4-FFF2-40B4-BE49-F238E27FC236}">
                  <a16:creationId xmlns:a16="http://schemas.microsoft.com/office/drawing/2014/main" id="{BB0CB53E-11EF-477C-BE13-7DE257BC42F9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51" name="Rechthoek 139">
              <a:extLst>
                <a:ext uri="{FF2B5EF4-FFF2-40B4-BE49-F238E27FC236}">
                  <a16:creationId xmlns:a16="http://schemas.microsoft.com/office/drawing/2014/main" id="{5AC49D2B-0BA2-4398-B23A-5D9811CD5F65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60" name="Rechte verbindingslijn 140">
              <a:extLst>
                <a:ext uri="{FF2B5EF4-FFF2-40B4-BE49-F238E27FC236}">
                  <a16:creationId xmlns:a16="http://schemas.microsoft.com/office/drawing/2014/main" id="{4DAF4CBF-B6A1-42BE-B12F-1CF59C2CC3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32727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kaders + Uitleg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Tijdelijke aanduiding voor tekst 3">
            <a:extLst>
              <a:ext uri="{FF2B5EF4-FFF2-40B4-BE49-F238E27FC236}">
                <a16:creationId xmlns:a16="http://schemas.microsoft.com/office/drawing/2014/main" id="{62C5E5DA-733C-4AA3-9467-0732E67E8A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687079" y="21776191"/>
            <a:ext cx="5345254" cy="3935018"/>
          </a:xfrm>
          <a:custGeom>
            <a:avLst/>
            <a:gdLst>
              <a:gd name="connsiteX0" fmla="*/ 0 w 6217773"/>
              <a:gd name="connsiteY0" fmla="*/ 631093 h 5069018"/>
              <a:gd name="connsiteX1" fmla="*/ 631093 w 6217773"/>
              <a:gd name="connsiteY1" fmla="*/ 0 h 5069018"/>
              <a:gd name="connsiteX2" fmla="*/ 5586680 w 6217773"/>
              <a:gd name="connsiteY2" fmla="*/ 0 h 5069018"/>
              <a:gd name="connsiteX3" fmla="*/ 6217773 w 6217773"/>
              <a:gd name="connsiteY3" fmla="*/ 631093 h 5069018"/>
              <a:gd name="connsiteX4" fmla="*/ 6217773 w 6217773"/>
              <a:gd name="connsiteY4" fmla="*/ 4437925 h 5069018"/>
              <a:gd name="connsiteX5" fmla="*/ 5586680 w 6217773"/>
              <a:gd name="connsiteY5" fmla="*/ 5069018 h 5069018"/>
              <a:gd name="connsiteX6" fmla="*/ 631093 w 6217773"/>
              <a:gd name="connsiteY6" fmla="*/ 5069018 h 5069018"/>
              <a:gd name="connsiteX7" fmla="*/ 0 w 6217773"/>
              <a:gd name="connsiteY7" fmla="*/ 4437925 h 5069018"/>
              <a:gd name="connsiteX8" fmla="*/ 0 w 6217773"/>
              <a:gd name="connsiteY8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31029 w 6248802"/>
              <a:gd name="connsiteY0" fmla="*/ 638400 h 5076325"/>
              <a:gd name="connsiteX1" fmla="*/ 35792 w 6248802"/>
              <a:gd name="connsiteY1" fmla="*/ 228 h 5076325"/>
              <a:gd name="connsiteX2" fmla="*/ 662122 w 6248802"/>
              <a:gd name="connsiteY2" fmla="*/ 7307 h 5076325"/>
              <a:gd name="connsiteX3" fmla="*/ 5617709 w 6248802"/>
              <a:gd name="connsiteY3" fmla="*/ 7307 h 5076325"/>
              <a:gd name="connsiteX4" fmla="*/ 6248802 w 6248802"/>
              <a:gd name="connsiteY4" fmla="*/ 638400 h 5076325"/>
              <a:gd name="connsiteX5" fmla="*/ 6248802 w 6248802"/>
              <a:gd name="connsiteY5" fmla="*/ 4445232 h 5076325"/>
              <a:gd name="connsiteX6" fmla="*/ 5617709 w 6248802"/>
              <a:gd name="connsiteY6" fmla="*/ 5076325 h 5076325"/>
              <a:gd name="connsiteX7" fmla="*/ 662122 w 6248802"/>
              <a:gd name="connsiteY7" fmla="*/ 5076325 h 5076325"/>
              <a:gd name="connsiteX8" fmla="*/ 31029 w 6248802"/>
              <a:gd name="connsiteY8" fmla="*/ 4445232 h 5076325"/>
              <a:gd name="connsiteX9" fmla="*/ 31029 w 6248802"/>
              <a:gd name="connsiteY9" fmla="*/ 638400 h 5076325"/>
              <a:gd name="connsiteX0" fmla="*/ 0 w 6217773"/>
              <a:gd name="connsiteY0" fmla="*/ 638860 h 5076785"/>
              <a:gd name="connsiteX1" fmla="*/ 4763 w 6217773"/>
              <a:gd name="connsiteY1" fmla="*/ 688 h 5076785"/>
              <a:gd name="connsiteX2" fmla="*/ 631093 w 6217773"/>
              <a:gd name="connsiteY2" fmla="*/ 7767 h 5076785"/>
              <a:gd name="connsiteX3" fmla="*/ 5586680 w 6217773"/>
              <a:gd name="connsiteY3" fmla="*/ 7767 h 5076785"/>
              <a:gd name="connsiteX4" fmla="*/ 6217773 w 6217773"/>
              <a:gd name="connsiteY4" fmla="*/ 638860 h 5076785"/>
              <a:gd name="connsiteX5" fmla="*/ 6217773 w 6217773"/>
              <a:gd name="connsiteY5" fmla="*/ 4445692 h 5076785"/>
              <a:gd name="connsiteX6" fmla="*/ 5586680 w 6217773"/>
              <a:gd name="connsiteY6" fmla="*/ 5076785 h 5076785"/>
              <a:gd name="connsiteX7" fmla="*/ 631093 w 6217773"/>
              <a:gd name="connsiteY7" fmla="*/ 5076785 h 5076785"/>
              <a:gd name="connsiteX8" fmla="*/ 0 w 6217773"/>
              <a:gd name="connsiteY8" fmla="*/ 4445692 h 5076785"/>
              <a:gd name="connsiteX9" fmla="*/ 0 w 6217773"/>
              <a:gd name="connsiteY9" fmla="*/ 638860 h 5076785"/>
              <a:gd name="connsiteX0" fmla="*/ 64 w 6217837"/>
              <a:gd name="connsiteY0" fmla="*/ 638860 h 5076785"/>
              <a:gd name="connsiteX1" fmla="*/ 4827 w 6217837"/>
              <a:gd name="connsiteY1" fmla="*/ 688 h 5076785"/>
              <a:gd name="connsiteX2" fmla="*/ 631157 w 6217837"/>
              <a:gd name="connsiteY2" fmla="*/ 7767 h 5076785"/>
              <a:gd name="connsiteX3" fmla="*/ 5586744 w 6217837"/>
              <a:gd name="connsiteY3" fmla="*/ 7767 h 5076785"/>
              <a:gd name="connsiteX4" fmla="*/ 6217837 w 6217837"/>
              <a:gd name="connsiteY4" fmla="*/ 638860 h 5076785"/>
              <a:gd name="connsiteX5" fmla="*/ 6217837 w 6217837"/>
              <a:gd name="connsiteY5" fmla="*/ 4445692 h 5076785"/>
              <a:gd name="connsiteX6" fmla="*/ 5586744 w 6217837"/>
              <a:gd name="connsiteY6" fmla="*/ 5076785 h 5076785"/>
              <a:gd name="connsiteX7" fmla="*/ 631157 w 6217837"/>
              <a:gd name="connsiteY7" fmla="*/ 5076785 h 5076785"/>
              <a:gd name="connsiteX8" fmla="*/ 64 w 6217837"/>
              <a:gd name="connsiteY8" fmla="*/ 4445692 h 5076785"/>
              <a:gd name="connsiteX9" fmla="*/ 64 w 6217837"/>
              <a:gd name="connsiteY9" fmla="*/ 638860 h 5076785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586744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19941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17837" h="5069018">
                <a:moveTo>
                  <a:pt x="64" y="631093"/>
                </a:moveTo>
                <a:cubicBezTo>
                  <a:pt x="4033" y="467051"/>
                  <a:pt x="-5105" y="12378"/>
                  <a:pt x="4827" y="2446"/>
                </a:cubicBezTo>
                <a:cubicBezTo>
                  <a:pt x="11584" y="-1136"/>
                  <a:pt x="507287" y="937"/>
                  <a:pt x="631157" y="0"/>
                </a:cubicBezTo>
                <a:lnTo>
                  <a:pt x="5819941" y="0"/>
                </a:lnTo>
                <a:cubicBezTo>
                  <a:pt x="6168484" y="0"/>
                  <a:pt x="6217837" y="282550"/>
                  <a:pt x="6217837" y="631093"/>
                </a:cubicBezTo>
                <a:lnTo>
                  <a:pt x="6217837" y="4437925"/>
                </a:lnTo>
                <a:cubicBezTo>
                  <a:pt x="6217837" y="4786468"/>
                  <a:pt x="6155528" y="5069018"/>
                  <a:pt x="5806985" y="5069018"/>
                </a:cubicBezTo>
                <a:lnTo>
                  <a:pt x="449783" y="5069018"/>
                </a:lnTo>
                <a:cubicBezTo>
                  <a:pt x="101240" y="5069018"/>
                  <a:pt x="64" y="4786468"/>
                  <a:pt x="64" y="4437925"/>
                </a:cubicBezTo>
                <a:lnTo>
                  <a:pt x="64" y="631093"/>
                </a:lnTo>
                <a:close/>
              </a:path>
            </a:pathLst>
          </a:custGeom>
          <a:solidFill>
            <a:schemeClr val="bg2"/>
          </a:solidFill>
        </p:spPr>
        <p:txBody>
          <a:bodyPr lIns="504000" tIns="252000" rIns="252000" bIns="360000"/>
          <a:lstStyle>
            <a:lvl1pPr>
              <a:defRPr sz="4209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Punt 4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grpSp>
        <p:nvGrpSpPr>
          <p:cNvPr id="38" name="GRID" hidden="1">
            <a:extLst>
              <a:ext uri="{FF2B5EF4-FFF2-40B4-BE49-F238E27FC236}">
                <a16:creationId xmlns:a16="http://schemas.microsoft.com/office/drawing/2014/main" id="{51D5F7E8-69F8-47AD-81F5-1645C97607C1}"/>
              </a:ext>
            </a:extLst>
          </p:cNvPr>
          <p:cNvGrpSpPr/>
          <p:nvPr userDrawn="1"/>
        </p:nvGrpSpPr>
        <p:grpSpPr>
          <a:xfrm>
            <a:off x="5" y="0"/>
            <a:ext cx="42767261" cy="30275213"/>
            <a:chOff x="0" y="0"/>
            <a:chExt cx="12192003" cy="6858000"/>
          </a:xfrm>
        </p:grpSpPr>
        <p:sp>
          <p:nvSpPr>
            <p:cNvPr id="39" name="Rechthoek 38">
              <a:extLst>
                <a:ext uri="{FF2B5EF4-FFF2-40B4-BE49-F238E27FC236}">
                  <a16:creationId xmlns:a16="http://schemas.microsoft.com/office/drawing/2014/main" id="{71DB2C92-E6A8-4532-98F6-C917E7F5CD17}"/>
                </a:ext>
              </a:extLst>
            </p:cNvPr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0" name="Rechthoek 39">
              <a:extLst>
                <a:ext uri="{FF2B5EF4-FFF2-40B4-BE49-F238E27FC236}">
                  <a16:creationId xmlns:a16="http://schemas.microsoft.com/office/drawing/2014/main" id="{1283F161-5F8A-45E1-A9F2-F823FC1CB0A5}"/>
                </a:ext>
              </a:extLst>
            </p:cNvPr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1" name="Rechthoek 40">
              <a:extLst>
                <a:ext uri="{FF2B5EF4-FFF2-40B4-BE49-F238E27FC236}">
                  <a16:creationId xmlns:a16="http://schemas.microsoft.com/office/drawing/2014/main" id="{E25AE021-76F4-4113-9019-FB3CB3351AD2}"/>
                </a:ext>
              </a:extLst>
            </p:cNvPr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2" name="Rechthoek 41">
              <a:extLst>
                <a:ext uri="{FF2B5EF4-FFF2-40B4-BE49-F238E27FC236}">
                  <a16:creationId xmlns:a16="http://schemas.microsoft.com/office/drawing/2014/main" id="{4F56F574-960D-4395-B98C-5F49ED9EF418}"/>
                </a:ext>
              </a:extLst>
            </p:cNvPr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34E307D0-CCA0-4BDF-BC5F-E19838E9F7DA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4" name="Rechthoek 43">
              <a:extLst>
                <a:ext uri="{FF2B5EF4-FFF2-40B4-BE49-F238E27FC236}">
                  <a16:creationId xmlns:a16="http://schemas.microsoft.com/office/drawing/2014/main" id="{2AEE0B25-FBCC-4048-A2C0-6D97C3E7FEB7}"/>
                </a:ext>
              </a:extLst>
            </p:cNvPr>
            <p:cNvSpPr/>
            <p:nvPr userDrawn="1"/>
          </p:nvSpPr>
          <p:spPr>
            <a:xfrm rot="5400000">
              <a:off x="5895976" y="-108104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endParaRPr lang="nl-NL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endParaRPr lang="nl-NL" noProof="0"/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8"/>
            <a:ext cx="707315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1B658E1F-0E98-4ED4-B7E8-3A0C15D75D3F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687079" y="6308642"/>
            <a:ext cx="5345254" cy="3935018"/>
          </a:xfrm>
          <a:custGeom>
            <a:avLst/>
            <a:gdLst>
              <a:gd name="connsiteX0" fmla="*/ 0 w 6217773"/>
              <a:gd name="connsiteY0" fmla="*/ 631093 h 5069018"/>
              <a:gd name="connsiteX1" fmla="*/ 631093 w 6217773"/>
              <a:gd name="connsiteY1" fmla="*/ 0 h 5069018"/>
              <a:gd name="connsiteX2" fmla="*/ 5586680 w 6217773"/>
              <a:gd name="connsiteY2" fmla="*/ 0 h 5069018"/>
              <a:gd name="connsiteX3" fmla="*/ 6217773 w 6217773"/>
              <a:gd name="connsiteY3" fmla="*/ 631093 h 5069018"/>
              <a:gd name="connsiteX4" fmla="*/ 6217773 w 6217773"/>
              <a:gd name="connsiteY4" fmla="*/ 4437925 h 5069018"/>
              <a:gd name="connsiteX5" fmla="*/ 5586680 w 6217773"/>
              <a:gd name="connsiteY5" fmla="*/ 5069018 h 5069018"/>
              <a:gd name="connsiteX6" fmla="*/ 631093 w 6217773"/>
              <a:gd name="connsiteY6" fmla="*/ 5069018 h 5069018"/>
              <a:gd name="connsiteX7" fmla="*/ 0 w 6217773"/>
              <a:gd name="connsiteY7" fmla="*/ 4437925 h 5069018"/>
              <a:gd name="connsiteX8" fmla="*/ 0 w 6217773"/>
              <a:gd name="connsiteY8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31029 w 6248802"/>
              <a:gd name="connsiteY0" fmla="*/ 638400 h 5076325"/>
              <a:gd name="connsiteX1" fmla="*/ 35792 w 6248802"/>
              <a:gd name="connsiteY1" fmla="*/ 228 h 5076325"/>
              <a:gd name="connsiteX2" fmla="*/ 662122 w 6248802"/>
              <a:gd name="connsiteY2" fmla="*/ 7307 h 5076325"/>
              <a:gd name="connsiteX3" fmla="*/ 5617709 w 6248802"/>
              <a:gd name="connsiteY3" fmla="*/ 7307 h 5076325"/>
              <a:gd name="connsiteX4" fmla="*/ 6248802 w 6248802"/>
              <a:gd name="connsiteY4" fmla="*/ 638400 h 5076325"/>
              <a:gd name="connsiteX5" fmla="*/ 6248802 w 6248802"/>
              <a:gd name="connsiteY5" fmla="*/ 4445232 h 5076325"/>
              <a:gd name="connsiteX6" fmla="*/ 5617709 w 6248802"/>
              <a:gd name="connsiteY6" fmla="*/ 5076325 h 5076325"/>
              <a:gd name="connsiteX7" fmla="*/ 662122 w 6248802"/>
              <a:gd name="connsiteY7" fmla="*/ 5076325 h 5076325"/>
              <a:gd name="connsiteX8" fmla="*/ 31029 w 6248802"/>
              <a:gd name="connsiteY8" fmla="*/ 4445232 h 5076325"/>
              <a:gd name="connsiteX9" fmla="*/ 31029 w 6248802"/>
              <a:gd name="connsiteY9" fmla="*/ 638400 h 5076325"/>
              <a:gd name="connsiteX0" fmla="*/ 0 w 6217773"/>
              <a:gd name="connsiteY0" fmla="*/ 638860 h 5076785"/>
              <a:gd name="connsiteX1" fmla="*/ 4763 w 6217773"/>
              <a:gd name="connsiteY1" fmla="*/ 688 h 5076785"/>
              <a:gd name="connsiteX2" fmla="*/ 631093 w 6217773"/>
              <a:gd name="connsiteY2" fmla="*/ 7767 h 5076785"/>
              <a:gd name="connsiteX3" fmla="*/ 5586680 w 6217773"/>
              <a:gd name="connsiteY3" fmla="*/ 7767 h 5076785"/>
              <a:gd name="connsiteX4" fmla="*/ 6217773 w 6217773"/>
              <a:gd name="connsiteY4" fmla="*/ 638860 h 5076785"/>
              <a:gd name="connsiteX5" fmla="*/ 6217773 w 6217773"/>
              <a:gd name="connsiteY5" fmla="*/ 4445692 h 5076785"/>
              <a:gd name="connsiteX6" fmla="*/ 5586680 w 6217773"/>
              <a:gd name="connsiteY6" fmla="*/ 5076785 h 5076785"/>
              <a:gd name="connsiteX7" fmla="*/ 631093 w 6217773"/>
              <a:gd name="connsiteY7" fmla="*/ 5076785 h 5076785"/>
              <a:gd name="connsiteX8" fmla="*/ 0 w 6217773"/>
              <a:gd name="connsiteY8" fmla="*/ 4445692 h 5076785"/>
              <a:gd name="connsiteX9" fmla="*/ 0 w 6217773"/>
              <a:gd name="connsiteY9" fmla="*/ 638860 h 5076785"/>
              <a:gd name="connsiteX0" fmla="*/ 64 w 6217837"/>
              <a:gd name="connsiteY0" fmla="*/ 638860 h 5076785"/>
              <a:gd name="connsiteX1" fmla="*/ 4827 w 6217837"/>
              <a:gd name="connsiteY1" fmla="*/ 688 h 5076785"/>
              <a:gd name="connsiteX2" fmla="*/ 631157 w 6217837"/>
              <a:gd name="connsiteY2" fmla="*/ 7767 h 5076785"/>
              <a:gd name="connsiteX3" fmla="*/ 5586744 w 6217837"/>
              <a:gd name="connsiteY3" fmla="*/ 7767 h 5076785"/>
              <a:gd name="connsiteX4" fmla="*/ 6217837 w 6217837"/>
              <a:gd name="connsiteY4" fmla="*/ 638860 h 5076785"/>
              <a:gd name="connsiteX5" fmla="*/ 6217837 w 6217837"/>
              <a:gd name="connsiteY5" fmla="*/ 4445692 h 5076785"/>
              <a:gd name="connsiteX6" fmla="*/ 5586744 w 6217837"/>
              <a:gd name="connsiteY6" fmla="*/ 5076785 h 5076785"/>
              <a:gd name="connsiteX7" fmla="*/ 631157 w 6217837"/>
              <a:gd name="connsiteY7" fmla="*/ 5076785 h 5076785"/>
              <a:gd name="connsiteX8" fmla="*/ 64 w 6217837"/>
              <a:gd name="connsiteY8" fmla="*/ 4445692 h 5076785"/>
              <a:gd name="connsiteX9" fmla="*/ 64 w 6217837"/>
              <a:gd name="connsiteY9" fmla="*/ 638860 h 5076785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586744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19941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17837" h="5069018">
                <a:moveTo>
                  <a:pt x="64" y="631093"/>
                </a:moveTo>
                <a:cubicBezTo>
                  <a:pt x="4033" y="467051"/>
                  <a:pt x="-5105" y="12378"/>
                  <a:pt x="4827" y="2446"/>
                </a:cubicBezTo>
                <a:cubicBezTo>
                  <a:pt x="11584" y="-1136"/>
                  <a:pt x="507287" y="937"/>
                  <a:pt x="631157" y="0"/>
                </a:cubicBezTo>
                <a:lnTo>
                  <a:pt x="5819941" y="0"/>
                </a:lnTo>
                <a:cubicBezTo>
                  <a:pt x="6168484" y="0"/>
                  <a:pt x="6217837" y="282550"/>
                  <a:pt x="6217837" y="631093"/>
                </a:cubicBezTo>
                <a:lnTo>
                  <a:pt x="6217837" y="4437925"/>
                </a:lnTo>
                <a:cubicBezTo>
                  <a:pt x="6217837" y="4786468"/>
                  <a:pt x="6155528" y="5069018"/>
                  <a:pt x="5806985" y="5069018"/>
                </a:cubicBezTo>
                <a:lnTo>
                  <a:pt x="449783" y="5069018"/>
                </a:lnTo>
                <a:cubicBezTo>
                  <a:pt x="101240" y="5069018"/>
                  <a:pt x="64" y="4786468"/>
                  <a:pt x="64" y="4437925"/>
                </a:cubicBezTo>
                <a:lnTo>
                  <a:pt x="64" y="631093"/>
                </a:lnTo>
                <a:close/>
              </a:path>
            </a:pathLst>
          </a:custGeom>
          <a:solidFill>
            <a:schemeClr val="bg2"/>
          </a:solidFill>
        </p:spPr>
        <p:txBody>
          <a:bodyPr lIns="504000" tIns="252000" rIns="252000" bIns="360000"/>
          <a:lstStyle>
            <a:lvl1pPr>
              <a:defRPr sz="4209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Punt 1</a:t>
            </a:r>
          </a:p>
        </p:txBody>
      </p:sp>
      <p:sp>
        <p:nvSpPr>
          <p:cNvPr id="163" name="Tijdelijke aanduiding voor tekst 3">
            <a:extLst>
              <a:ext uri="{FF2B5EF4-FFF2-40B4-BE49-F238E27FC236}">
                <a16:creationId xmlns:a16="http://schemas.microsoft.com/office/drawing/2014/main" id="{D63CF0FC-A378-4DBC-879D-CF2808176423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687079" y="11464491"/>
            <a:ext cx="5345254" cy="3935018"/>
          </a:xfrm>
          <a:custGeom>
            <a:avLst/>
            <a:gdLst>
              <a:gd name="connsiteX0" fmla="*/ 0 w 6217773"/>
              <a:gd name="connsiteY0" fmla="*/ 631093 h 5069018"/>
              <a:gd name="connsiteX1" fmla="*/ 631093 w 6217773"/>
              <a:gd name="connsiteY1" fmla="*/ 0 h 5069018"/>
              <a:gd name="connsiteX2" fmla="*/ 5586680 w 6217773"/>
              <a:gd name="connsiteY2" fmla="*/ 0 h 5069018"/>
              <a:gd name="connsiteX3" fmla="*/ 6217773 w 6217773"/>
              <a:gd name="connsiteY3" fmla="*/ 631093 h 5069018"/>
              <a:gd name="connsiteX4" fmla="*/ 6217773 w 6217773"/>
              <a:gd name="connsiteY4" fmla="*/ 4437925 h 5069018"/>
              <a:gd name="connsiteX5" fmla="*/ 5586680 w 6217773"/>
              <a:gd name="connsiteY5" fmla="*/ 5069018 h 5069018"/>
              <a:gd name="connsiteX6" fmla="*/ 631093 w 6217773"/>
              <a:gd name="connsiteY6" fmla="*/ 5069018 h 5069018"/>
              <a:gd name="connsiteX7" fmla="*/ 0 w 6217773"/>
              <a:gd name="connsiteY7" fmla="*/ 4437925 h 5069018"/>
              <a:gd name="connsiteX8" fmla="*/ 0 w 6217773"/>
              <a:gd name="connsiteY8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31029 w 6248802"/>
              <a:gd name="connsiteY0" fmla="*/ 638400 h 5076325"/>
              <a:gd name="connsiteX1" fmla="*/ 35792 w 6248802"/>
              <a:gd name="connsiteY1" fmla="*/ 228 h 5076325"/>
              <a:gd name="connsiteX2" fmla="*/ 662122 w 6248802"/>
              <a:gd name="connsiteY2" fmla="*/ 7307 h 5076325"/>
              <a:gd name="connsiteX3" fmla="*/ 5617709 w 6248802"/>
              <a:gd name="connsiteY3" fmla="*/ 7307 h 5076325"/>
              <a:gd name="connsiteX4" fmla="*/ 6248802 w 6248802"/>
              <a:gd name="connsiteY4" fmla="*/ 638400 h 5076325"/>
              <a:gd name="connsiteX5" fmla="*/ 6248802 w 6248802"/>
              <a:gd name="connsiteY5" fmla="*/ 4445232 h 5076325"/>
              <a:gd name="connsiteX6" fmla="*/ 5617709 w 6248802"/>
              <a:gd name="connsiteY6" fmla="*/ 5076325 h 5076325"/>
              <a:gd name="connsiteX7" fmla="*/ 662122 w 6248802"/>
              <a:gd name="connsiteY7" fmla="*/ 5076325 h 5076325"/>
              <a:gd name="connsiteX8" fmla="*/ 31029 w 6248802"/>
              <a:gd name="connsiteY8" fmla="*/ 4445232 h 5076325"/>
              <a:gd name="connsiteX9" fmla="*/ 31029 w 6248802"/>
              <a:gd name="connsiteY9" fmla="*/ 638400 h 5076325"/>
              <a:gd name="connsiteX0" fmla="*/ 0 w 6217773"/>
              <a:gd name="connsiteY0" fmla="*/ 638860 h 5076785"/>
              <a:gd name="connsiteX1" fmla="*/ 4763 w 6217773"/>
              <a:gd name="connsiteY1" fmla="*/ 688 h 5076785"/>
              <a:gd name="connsiteX2" fmla="*/ 631093 w 6217773"/>
              <a:gd name="connsiteY2" fmla="*/ 7767 h 5076785"/>
              <a:gd name="connsiteX3" fmla="*/ 5586680 w 6217773"/>
              <a:gd name="connsiteY3" fmla="*/ 7767 h 5076785"/>
              <a:gd name="connsiteX4" fmla="*/ 6217773 w 6217773"/>
              <a:gd name="connsiteY4" fmla="*/ 638860 h 5076785"/>
              <a:gd name="connsiteX5" fmla="*/ 6217773 w 6217773"/>
              <a:gd name="connsiteY5" fmla="*/ 4445692 h 5076785"/>
              <a:gd name="connsiteX6" fmla="*/ 5586680 w 6217773"/>
              <a:gd name="connsiteY6" fmla="*/ 5076785 h 5076785"/>
              <a:gd name="connsiteX7" fmla="*/ 631093 w 6217773"/>
              <a:gd name="connsiteY7" fmla="*/ 5076785 h 5076785"/>
              <a:gd name="connsiteX8" fmla="*/ 0 w 6217773"/>
              <a:gd name="connsiteY8" fmla="*/ 4445692 h 5076785"/>
              <a:gd name="connsiteX9" fmla="*/ 0 w 6217773"/>
              <a:gd name="connsiteY9" fmla="*/ 638860 h 5076785"/>
              <a:gd name="connsiteX0" fmla="*/ 64 w 6217837"/>
              <a:gd name="connsiteY0" fmla="*/ 638860 h 5076785"/>
              <a:gd name="connsiteX1" fmla="*/ 4827 w 6217837"/>
              <a:gd name="connsiteY1" fmla="*/ 688 h 5076785"/>
              <a:gd name="connsiteX2" fmla="*/ 631157 w 6217837"/>
              <a:gd name="connsiteY2" fmla="*/ 7767 h 5076785"/>
              <a:gd name="connsiteX3" fmla="*/ 5586744 w 6217837"/>
              <a:gd name="connsiteY3" fmla="*/ 7767 h 5076785"/>
              <a:gd name="connsiteX4" fmla="*/ 6217837 w 6217837"/>
              <a:gd name="connsiteY4" fmla="*/ 638860 h 5076785"/>
              <a:gd name="connsiteX5" fmla="*/ 6217837 w 6217837"/>
              <a:gd name="connsiteY5" fmla="*/ 4445692 h 5076785"/>
              <a:gd name="connsiteX6" fmla="*/ 5586744 w 6217837"/>
              <a:gd name="connsiteY6" fmla="*/ 5076785 h 5076785"/>
              <a:gd name="connsiteX7" fmla="*/ 631157 w 6217837"/>
              <a:gd name="connsiteY7" fmla="*/ 5076785 h 5076785"/>
              <a:gd name="connsiteX8" fmla="*/ 64 w 6217837"/>
              <a:gd name="connsiteY8" fmla="*/ 4445692 h 5076785"/>
              <a:gd name="connsiteX9" fmla="*/ 64 w 6217837"/>
              <a:gd name="connsiteY9" fmla="*/ 638860 h 5076785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586744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19941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17837" h="5069018">
                <a:moveTo>
                  <a:pt x="64" y="631093"/>
                </a:moveTo>
                <a:cubicBezTo>
                  <a:pt x="4033" y="467051"/>
                  <a:pt x="-5105" y="12378"/>
                  <a:pt x="4827" y="2446"/>
                </a:cubicBezTo>
                <a:cubicBezTo>
                  <a:pt x="11584" y="-1136"/>
                  <a:pt x="507287" y="937"/>
                  <a:pt x="631157" y="0"/>
                </a:cubicBezTo>
                <a:lnTo>
                  <a:pt x="5819941" y="0"/>
                </a:lnTo>
                <a:cubicBezTo>
                  <a:pt x="6168484" y="0"/>
                  <a:pt x="6217837" y="282550"/>
                  <a:pt x="6217837" y="631093"/>
                </a:cubicBezTo>
                <a:lnTo>
                  <a:pt x="6217837" y="4437925"/>
                </a:lnTo>
                <a:cubicBezTo>
                  <a:pt x="6217837" y="4786468"/>
                  <a:pt x="6155528" y="5069018"/>
                  <a:pt x="5806985" y="5069018"/>
                </a:cubicBezTo>
                <a:lnTo>
                  <a:pt x="449783" y="5069018"/>
                </a:lnTo>
                <a:cubicBezTo>
                  <a:pt x="101240" y="5069018"/>
                  <a:pt x="64" y="4786468"/>
                  <a:pt x="64" y="4437925"/>
                </a:cubicBezTo>
                <a:lnTo>
                  <a:pt x="64" y="631093"/>
                </a:lnTo>
                <a:close/>
              </a:path>
            </a:pathLst>
          </a:custGeom>
          <a:solidFill>
            <a:schemeClr val="bg2"/>
          </a:solidFill>
        </p:spPr>
        <p:txBody>
          <a:bodyPr lIns="504000" tIns="252000" rIns="252000" bIns="360000"/>
          <a:lstStyle>
            <a:lvl1pPr>
              <a:defRPr sz="4209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Punt 2</a:t>
            </a:r>
          </a:p>
        </p:txBody>
      </p:sp>
      <p:sp>
        <p:nvSpPr>
          <p:cNvPr id="164" name="Tijdelijke aanduiding voor tekst 3">
            <a:extLst>
              <a:ext uri="{FF2B5EF4-FFF2-40B4-BE49-F238E27FC236}">
                <a16:creationId xmlns:a16="http://schemas.microsoft.com/office/drawing/2014/main" id="{3D564F2E-B66A-44B1-BD7F-8488248EED5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687079" y="16620337"/>
            <a:ext cx="5345254" cy="3935018"/>
          </a:xfrm>
          <a:custGeom>
            <a:avLst/>
            <a:gdLst>
              <a:gd name="connsiteX0" fmla="*/ 0 w 6217773"/>
              <a:gd name="connsiteY0" fmla="*/ 631093 h 5069018"/>
              <a:gd name="connsiteX1" fmla="*/ 631093 w 6217773"/>
              <a:gd name="connsiteY1" fmla="*/ 0 h 5069018"/>
              <a:gd name="connsiteX2" fmla="*/ 5586680 w 6217773"/>
              <a:gd name="connsiteY2" fmla="*/ 0 h 5069018"/>
              <a:gd name="connsiteX3" fmla="*/ 6217773 w 6217773"/>
              <a:gd name="connsiteY3" fmla="*/ 631093 h 5069018"/>
              <a:gd name="connsiteX4" fmla="*/ 6217773 w 6217773"/>
              <a:gd name="connsiteY4" fmla="*/ 4437925 h 5069018"/>
              <a:gd name="connsiteX5" fmla="*/ 5586680 w 6217773"/>
              <a:gd name="connsiteY5" fmla="*/ 5069018 h 5069018"/>
              <a:gd name="connsiteX6" fmla="*/ 631093 w 6217773"/>
              <a:gd name="connsiteY6" fmla="*/ 5069018 h 5069018"/>
              <a:gd name="connsiteX7" fmla="*/ 0 w 6217773"/>
              <a:gd name="connsiteY7" fmla="*/ 4437925 h 5069018"/>
              <a:gd name="connsiteX8" fmla="*/ 0 w 6217773"/>
              <a:gd name="connsiteY8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31029 w 6248802"/>
              <a:gd name="connsiteY0" fmla="*/ 638400 h 5076325"/>
              <a:gd name="connsiteX1" fmla="*/ 35792 w 6248802"/>
              <a:gd name="connsiteY1" fmla="*/ 228 h 5076325"/>
              <a:gd name="connsiteX2" fmla="*/ 662122 w 6248802"/>
              <a:gd name="connsiteY2" fmla="*/ 7307 h 5076325"/>
              <a:gd name="connsiteX3" fmla="*/ 5617709 w 6248802"/>
              <a:gd name="connsiteY3" fmla="*/ 7307 h 5076325"/>
              <a:gd name="connsiteX4" fmla="*/ 6248802 w 6248802"/>
              <a:gd name="connsiteY4" fmla="*/ 638400 h 5076325"/>
              <a:gd name="connsiteX5" fmla="*/ 6248802 w 6248802"/>
              <a:gd name="connsiteY5" fmla="*/ 4445232 h 5076325"/>
              <a:gd name="connsiteX6" fmla="*/ 5617709 w 6248802"/>
              <a:gd name="connsiteY6" fmla="*/ 5076325 h 5076325"/>
              <a:gd name="connsiteX7" fmla="*/ 662122 w 6248802"/>
              <a:gd name="connsiteY7" fmla="*/ 5076325 h 5076325"/>
              <a:gd name="connsiteX8" fmla="*/ 31029 w 6248802"/>
              <a:gd name="connsiteY8" fmla="*/ 4445232 h 5076325"/>
              <a:gd name="connsiteX9" fmla="*/ 31029 w 6248802"/>
              <a:gd name="connsiteY9" fmla="*/ 638400 h 5076325"/>
              <a:gd name="connsiteX0" fmla="*/ 0 w 6217773"/>
              <a:gd name="connsiteY0" fmla="*/ 638860 h 5076785"/>
              <a:gd name="connsiteX1" fmla="*/ 4763 w 6217773"/>
              <a:gd name="connsiteY1" fmla="*/ 688 h 5076785"/>
              <a:gd name="connsiteX2" fmla="*/ 631093 w 6217773"/>
              <a:gd name="connsiteY2" fmla="*/ 7767 h 5076785"/>
              <a:gd name="connsiteX3" fmla="*/ 5586680 w 6217773"/>
              <a:gd name="connsiteY3" fmla="*/ 7767 h 5076785"/>
              <a:gd name="connsiteX4" fmla="*/ 6217773 w 6217773"/>
              <a:gd name="connsiteY4" fmla="*/ 638860 h 5076785"/>
              <a:gd name="connsiteX5" fmla="*/ 6217773 w 6217773"/>
              <a:gd name="connsiteY5" fmla="*/ 4445692 h 5076785"/>
              <a:gd name="connsiteX6" fmla="*/ 5586680 w 6217773"/>
              <a:gd name="connsiteY6" fmla="*/ 5076785 h 5076785"/>
              <a:gd name="connsiteX7" fmla="*/ 631093 w 6217773"/>
              <a:gd name="connsiteY7" fmla="*/ 5076785 h 5076785"/>
              <a:gd name="connsiteX8" fmla="*/ 0 w 6217773"/>
              <a:gd name="connsiteY8" fmla="*/ 4445692 h 5076785"/>
              <a:gd name="connsiteX9" fmla="*/ 0 w 6217773"/>
              <a:gd name="connsiteY9" fmla="*/ 638860 h 5076785"/>
              <a:gd name="connsiteX0" fmla="*/ 64 w 6217837"/>
              <a:gd name="connsiteY0" fmla="*/ 638860 h 5076785"/>
              <a:gd name="connsiteX1" fmla="*/ 4827 w 6217837"/>
              <a:gd name="connsiteY1" fmla="*/ 688 h 5076785"/>
              <a:gd name="connsiteX2" fmla="*/ 631157 w 6217837"/>
              <a:gd name="connsiteY2" fmla="*/ 7767 h 5076785"/>
              <a:gd name="connsiteX3" fmla="*/ 5586744 w 6217837"/>
              <a:gd name="connsiteY3" fmla="*/ 7767 h 5076785"/>
              <a:gd name="connsiteX4" fmla="*/ 6217837 w 6217837"/>
              <a:gd name="connsiteY4" fmla="*/ 638860 h 5076785"/>
              <a:gd name="connsiteX5" fmla="*/ 6217837 w 6217837"/>
              <a:gd name="connsiteY5" fmla="*/ 4445692 h 5076785"/>
              <a:gd name="connsiteX6" fmla="*/ 5586744 w 6217837"/>
              <a:gd name="connsiteY6" fmla="*/ 5076785 h 5076785"/>
              <a:gd name="connsiteX7" fmla="*/ 631157 w 6217837"/>
              <a:gd name="connsiteY7" fmla="*/ 5076785 h 5076785"/>
              <a:gd name="connsiteX8" fmla="*/ 64 w 6217837"/>
              <a:gd name="connsiteY8" fmla="*/ 4445692 h 5076785"/>
              <a:gd name="connsiteX9" fmla="*/ 64 w 6217837"/>
              <a:gd name="connsiteY9" fmla="*/ 638860 h 5076785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586744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19941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17837" h="5069018">
                <a:moveTo>
                  <a:pt x="64" y="631093"/>
                </a:moveTo>
                <a:cubicBezTo>
                  <a:pt x="4033" y="467051"/>
                  <a:pt x="-5105" y="12378"/>
                  <a:pt x="4827" y="2446"/>
                </a:cubicBezTo>
                <a:cubicBezTo>
                  <a:pt x="11584" y="-1136"/>
                  <a:pt x="507287" y="937"/>
                  <a:pt x="631157" y="0"/>
                </a:cubicBezTo>
                <a:lnTo>
                  <a:pt x="5819941" y="0"/>
                </a:lnTo>
                <a:cubicBezTo>
                  <a:pt x="6168484" y="0"/>
                  <a:pt x="6217837" y="282550"/>
                  <a:pt x="6217837" y="631093"/>
                </a:cubicBezTo>
                <a:lnTo>
                  <a:pt x="6217837" y="4437925"/>
                </a:lnTo>
                <a:cubicBezTo>
                  <a:pt x="6217837" y="4786468"/>
                  <a:pt x="6155528" y="5069018"/>
                  <a:pt x="5806985" y="5069018"/>
                </a:cubicBezTo>
                <a:lnTo>
                  <a:pt x="449783" y="5069018"/>
                </a:lnTo>
                <a:cubicBezTo>
                  <a:pt x="101240" y="5069018"/>
                  <a:pt x="64" y="4786468"/>
                  <a:pt x="64" y="4437925"/>
                </a:cubicBezTo>
                <a:lnTo>
                  <a:pt x="64" y="631093"/>
                </a:lnTo>
                <a:close/>
              </a:path>
            </a:pathLst>
          </a:custGeom>
          <a:solidFill>
            <a:schemeClr val="bg2"/>
          </a:solidFill>
        </p:spPr>
        <p:txBody>
          <a:bodyPr lIns="504000" tIns="252000" rIns="252000" bIns="360000"/>
          <a:lstStyle>
            <a:lvl1pPr>
              <a:defRPr sz="4209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Punt 3</a:t>
            </a:r>
          </a:p>
        </p:txBody>
      </p:sp>
      <p:sp>
        <p:nvSpPr>
          <p:cNvPr id="160" name="Tijdelijke aanduiding voor tekst 2">
            <a:extLst>
              <a:ext uri="{FF2B5EF4-FFF2-40B4-BE49-F238E27FC236}">
                <a16:creationId xmlns:a16="http://schemas.microsoft.com/office/drawing/2014/main" id="{C8983519-A824-4AAD-84BE-E86BCCAA3C8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33807" y="6316512"/>
            <a:ext cx="26489657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 marL="0" indent="0">
              <a:buNone/>
              <a:defRPr sz="4209"/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61" name="Tijdelijke aanduiding voor tekst 2">
            <a:extLst>
              <a:ext uri="{FF2B5EF4-FFF2-40B4-BE49-F238E27FC236}">
                <a16:creationId xmlns:a16="http://schemas.microsoft.com/office/drawing/2014/main" id="{AE7372F4-5605-49B5-BFA6-75FB9F7F477F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533807" y="11466940"/>
            <a:ext cx="26489657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 marL="0" indent="0">
              <a:buNone/>
              <a:defRPr sz="4209"/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69" name="Tijdelijke aanduiding voor tekst 2">
            <a:extLst>
              <a:ext uri="{FF2B5EF4-FFF2-40B4-BE49-F238E27FC236}">
                <a16:creationId xmlns:a16="http://schemas.microsoft.com/office/drawing/2014/main" id="{6DF20755-33D3-4DFC-B8F1-88598EDF11D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533807" y="16623324"/>
            <a:ext cx="26489657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 marL="0" indent="0">
              <a:buNone/>
              <a:defRPr sz="4209"/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70" name="Tijdelijke aanduiding voor tekst 2">
            <a:extLst>
              <a:ext uri="{FF2B5EF4-FFF2-40B4-BE49-F238E27FC236}">
                <a16:creationId xmlns:a16="http://schemas.microsoft.com/office/drawing/2014/main" id="{E9ABA610-FA89-4787-B010-B4676D2C42C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533807" y="21779704"/>
            <a:ext cx="26489657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 marL="0" indent="0">
              <a:buNone/>
              <a:defRPr sz="4209"/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pic>
        <p:nvPicPr>
          <p:cNvPr id="24" name="Afbeelding 23">
            <a:extLst>
              <a:ext uri="{FF2B5EF4-FFF2-40B4-BE49-F238E27FC236}">
                <a16:creationId xmlns:a16="http://schemas.microsoft.com/office/drawing/2014/main" id="{E73F6112-D899-4F2E-A37F-7292DFE860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  <p:grpSp>
        <p:nvGrpSpPr>
          <p:cNvPr id="25" name="Instructie">
            <a:extLst>
              <a:ext uri="{FF2B5EF4-FFF2-40B4-BE49-F238E27FC236}">
                <a16:creationId xmlns:a16="http://schemas.microsoft.com/office/drawing/2014/main" id="{6B80ED24-686D-4703-833A-DFF98BF6FA34}"/>
              </a:ext>
            </a:extLst>
          </p:cNvPr>
          <p:cNvGrpSpPr/>
          <p:nvPr userDrawn="1"/>
        </p:nvGrpSpPr>
        <p:grpSpPr>
          <a:xfrm>
            <a:off x="43268722" y="0"/>
            <a:ext cx="11164508" cy="11743958"/>
            <a:chOff x="-3426088" y="4512342"/>
            <a:chExt cx="3182755" cy="2660264"/>
          </a:xfrm>
        </p:grpSpPr>
        <p:sp>
          <p:nvSpPr>
            <p:cNvPr id="26" name="Rechthoek 127">
              <a:extLst>
                <a:ext uri="{FF2B5EF4-FFF2-40B4-BE49-F238E27FC236}">
                  <a16:creationId xmlns:a16="http://schemas.microsoft.com/office/drawing/2014/main" id="{062D4B2D-434F-47B3-A870-0155931F969C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27" name="Rechte verbindingslijn 128">
              <a:extLst>
                <a:ext uri="{FF2B5EF4-FFF2-40B4-BE49-F238E27FC236}">
                  <a16:creationId xmlns:a16="http://schemas.microsoft.com/office/drawing/2014/main" id="{77436DFA-7D76-4055-A207-4850EC866E9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8" name="Rechthoek 130">
              <a:extLst>
                <a:ext uri="{FF2B5EF4-FFF2-40B4-BE49-F238E27FC236}">
                  <a16:creationId xmlns:a16="http://schemas.microsoft.com/office/drawing/2014/main" id="{BE66A822-8F0B-4E68-8DDB-CDDE9A5FFC2C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30" name="Rechthoek 133">
              <a:extLst>
                <a:ext uri="{FF2B5EF4-FFF2-40B4-BE49-F238E27FC236}">
                  <a16:creationId xmlns:a16="http://schemas.microsoft.com/office/drawing/2014/main" id="{994F4FAB-ECE6-40D4-A381-483634364B6A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31" name="Rechthoek 136">
              <a:extLst>
                <a:ext uri="{FF2B5EF4-FFF2-40B4-BE49-F238E27FC236}">
                  <a16:creationId xmlns:a16="http://schemas.microsoft.com/office/drawing/2014/main" id="{67AFAADF-A676-4765-A4AF-5B8C246FF961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32" name="Rechthoek 139">
              <a:extLst>
                <a:ext uri="{FF2B5EF4-FFF2-40B4-BE49-F238E27FC236}">
                  <a16:creationId xmlns:a16="http://schemas.microsoft.com/office/drawing/2014/main" id="{579184D9-BFD8-41CB-9056-6F3BD24C1777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33" name="Rechte verbindingslijn 140">
              <a:extLst>
                <a:ext uri="{FF2B5EF4-FFF2-40B4-BE49-F238E27FC236}">
                  <a16:creationId xmlns:a16="http://schemas.microsoft.com/office/drawing/2014/main" id="{76B4A990-530A-4CD6-983D-6A5661EEDE9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100767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-media + tekst 50%50%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1742377" y="6476687"/>
            <a:ext cx="39446169" cy="3973575"/>
          </a:xfrm>
        </p:spPr>
        <p:txBody>
          <a:bodyPr vert="horz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b="1">
                <a:solidFill>
                  <a:schemeClr val="bg2"/>
                </a:solidFill>
                <a:latin typeface="+mj-lt"/>
              </a:defRPr>
            </a:lvl1pPr>
            <a:lvl2pPr marL="0" indent="0">
              <a:lnSpc>
                <a:spcPct val="120000"/>
              </a:lnSpc>
              <a:spcAft>
                <a:spcPts val="0"/>
              </a:spcAft>
              <a:buNone/>
              <a:defRPr/>
            </a:lvl2pPr>
            <a:lvl3pPr marL="2199582" indent="-952226">
              <a:lnSpc>
                <a:spcPct val="70000"/>
              </a:lnSpc>
              <a:defRPr/>
            </a:lvl3pPr>
            <a:lvl4pPr>
              <a:lnSpc>
                <a:spcPct val="70000"/>
              </a:lnSpc>
              <a:defRPr/>
            </a:lvl4pPr>
            <a:lvl5pPr>
              <a:lnSpc>
                <a:spcPct val="70000"/>
              </a:lnSpc>
              <a:defRPr>
                <a:solidFill>
                  <a:schemeClr val="bg2"/>
                </a:solidFill>
              </a:defRPr>
            </a:lvl5pPr>
            <a:lvl6pPr marL="0" indent="0">
              <a:lnSpc>
                <a:spcPct val="70000"/>
              </a:lnSpc>
              <a:buFontTx/>
              <a:buNone/>
              <a:defRPr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34" name="Titel 1">
            <a:extLst>
              <a:ext uri="{FF2B5EF4-FFF2-40B4-BE49-F238E27FC236}">
                <a16:creationId xmlns:a16="http://schemas.microsoft.com/office/drawing/2014/main" id="{53A6CE20-1E7A-4F87-96EC-7E964AA913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41" name="Tijdelijke aanduiding voor tekst 14">
            <a:extLst>
              <a:ext uri="{FF2B5EF4-FFF2-40B4-BE49-F238E27FC236}">
                <a16:creationId xmlns:a16="http://schemas.microsoft.com/office/drawing/2014/main" id="{4B035891-3F3E-4E86-9D5A-96D1E3B9D0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grpSp>
        <p:nvGrpSpPr>
          <p:cNvPr id="50" name="GRID" hidden="1">
            <a:extLst>
              <a:ext uri="{FF2B5EF4-FFF2-40B4-BE49-F238E27FC236}">
                <a16:creationId xmlns:a16="http://schemas.microsoft.com/office/drawing/2014/main" id="{C59E2946-118D-4C01-970E-FC9CE00C6395}"/>
              </a:ext>
            </a:extLst>
          </p:cNvPr>
          <p:cNvGrpSpPr/>
          <p:nvPr userDrawn="1"/>
        </p:nvGrpSpPr>
        <p:grpSpPr>
          <a:xfrm>
            <a:off x="5" y="0"/>
            <a:ext cx="42767261" cy="30275213"/>
            <a:chOff x="0" y="0"/>
            <a:chExt cx="12192003" cy="6858000"/>
          </a:xfrm>
        </p:grpSpPr>
        <p:sp>
          <p:nvSpPr>
            <p:cNvPr id="51" name="Rechthoek 50">
              <a:extLst>
                <a:ext uri="{FF2B5EF4-FFF2-40B4-BE49-F238E27FC236}">
                  <a16:creationId xmlns:a16="http://schemas.microsoft.com/office/drawing/2014/main" id="{E2414C7D-389F-487F-9221-8D96900B448B}"/>
                </a:ext>
              </a:extLst>
            </p:cNvPr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52" name="Rechthoek 51">
              <a:extLst>
                <a:ext uri="{FF2B5EF4-FFF2-40B4-BE49-F238E27FC236}">
                  <a16:creationId xmlns:a16="http://schemas.microsoft.com/office/drawing/2014/main" id="{A8F1195A-80D2-4EBF-8EE2-23A21E134CE7}"/>
                </a:ext>
              </a:extLst>
            </p:cNvPr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53" name="Rechthoek 52">
              <a:extLst>
                <a:ext uri="{FF2B5EF4-FFF2-40B4-BE49-F238E27FC236}">
                  <a16:creationId xmlns:a16="http://schemas.microsoft.com/office/drawing/2014/main" id="{CA706088-94D0-49B2-9F47-CD39731ED611}"/>
                </a:ext>
              </a:extLst>
            </p:cNvPr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54" name="Rechthoek 53">
              <a:extLst>
                <a:ext uri="{FF2B5EF4-FFF2-40B4-BE49-F238E27FC236}">
                  <a16:creationId xmlns:a16="http://schemas.microsoft.com/office/drawing/2014/main" id="{6701A262-4D8B-4596-BEA3-1CDEA9A29D2D}"/>
                </a:ext>
              </a:extLst>
            </p:cNvPr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55" name="Rechthoek 54">
              <a:extLst>
                <a:ext uri="{FF2B5EF4-FFF2-40B4-BE49-F238E27FC236}">
                  <a16:creationId xmlns:a16="http://schemas.microsoft.com/office/drawing/2014/main" id="{3961D0F0-38E3-4745-BB91-8DF2B41B9EC6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56" name="Rechthoek 55">
              <a:extLst>
                <a:ext uri="{FF2B5EF4-FFF2-40B4-BE49-F238E27FC236}">
                  <a16:creationId xmlns:a16="http://schemas.microsoft.com/office/drawing/2014/main" id="{F082B6D4-918A-42B7-99B3-3B8D5AD389F5}"/>
                </a:ext>
              </a:extLst>
            </p:cNvPr>
            <p:cNvSpPr/>
            <p:nvPr userDrawn="1"/>
          </p:nvSpPr>
          <p:spPr>
            <a:xfrm rot="5400000">
              <a:off x="5895976" y="-108104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6D9780EE-AC3E-4C16-9B20-B0A0803E6ED4}"/>
                </a:ext>
              </a:extLst>
            </p:cNvPr>
            <p:cNvSpPr/>
            <p:nvPr userDrawn="1"/>
          </p:nvSpPr>
          <p:spPr>
            <a:xfrm rot="5400000">
              <a:off x="5895976" y="-3728182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FBFCF26E-9F29-4558-9176-F149D8C8577D}"/>
                </a:ext>
              </a:extLst>
            </p:cNvPr>
            <p:cNvSpPr/>
            <p:nvPr userDrawn="1"/>
          </p:nvSpPr>
          <p:spPr>
            <a:xfrm>
              <a:off x="603936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58" name="Tijdelijke aanduiding voor voettekst 4">
            <a:extLst>
              <a:ext uri="{FF2B5EF4-FFF2-40B4-BE49-F238E27FC236}">
                <a16:creationId xmlns:a16="http://schemas.microsoft.com/office/drawing/2014/main" id="{0E659B60-CF7C-460A-A879-0DDBF9C652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endParaRPr lang="nl-NL" noProof="0"/>
          </a:p>
        </p:txBody>
      </p:sp>
      <p:sp>
        <p:nvSpPr>
          <p:cNvPr id="59" name="Tijdelijke aanduiding voor dianummer 5">
            <a:extLst>
              <a:ext uri="{FF2B5EF4-FFF2-40B4-BE49-F238E27FC236}">
                <a16:creationId xmlns:a16="http://schemas.microsoft.com/office/drawing/2014/main" id="{F1A38C1E-7B15-4C30-B676-08D9095C1F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8"/>
            <a:ext cx="707315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26" name="Tijdelijke aanduiding voor inhoud 3">
            <a:extLst>
              <a:ext uri="{FF2B5EF4-FFF2-40B4-BE49-F238E27FC236}">
                <a16:creationId xmlns:a16="http://schemas.microsoft.com/office/drawing/2014/main" id="{D2E8F4BF-FD5F-4F05-BB33-AC3E7EF96F6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22826085" y="11156982"/>
            <a:ext cx="18368190" cy="14394742"/>
          </a:xfrm>
          <a:solidFill>
            <a:schemeClr val="bg1">
              <a:lumMod val="95000"/>
            </a:schemeClr>
          </a:solidFill>
        </p:spPr>
        <p:txBody>
          <a:bodyPr vert="horz" lIns="180000" tIns="180000" rIns="180000" bIns="180000" rtlCol="0">
            <a:normAutofit/>
          </a:bodyPr>
          <a:lstStyle>
            <a:lvl1pPr algn="l">
              <a:defRPr lang="nl-NL" sz="4209" b="0" i="0" smtClean="0">
                <a:latin typeface="+mj-lt"/>
              </a:defRPr>
            </a:lvl1pPr>
            <a:lvl2pPr>
              <a:defRPr lang="nl-NL" smtClean="0"/>
            </a:lvl2pPr>
            <a:lvl3pPr>
              <a:defRPr lang="nl-NL" smtClean="0"/>
            </a:lvl3pPr>
            <a:lvl4pPr>
              <a:defRPr lang="nl-NL" smtClean="0"/>
            </a:lvl4pPr>
            <a:lvl5pPr>
              <a:defRPr lang="nl-NL"/>
            </a:lvl5pPr>
          </a:lstStyle>
          <a:p>
            <a:pPr marL="0" lvl="0" indent="0" algn="ctr">
              <a:buNone/>
            </a:pPr>
            <a:r>
              <a:rPr lang="nl-NL" noProof="0"/>
              <a:t>Klik op één van de iconen</a:t>
            </a:r>
            <a:br>
              <a:rPr lang="nl-NL" noProof="0"/>
            </a:br>
            <a:r>
              <a:rPr lang="nl-NL" noProof="0"/>
              <a:t>om een media in te vullen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3DFC91BB-AEF5-43B4-84CF-C6590D01D3E3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22820351" y="11157673"/>
            <a:ext cx="18373922" cy="14394049"/>
          </a:xfrm>
          <a:solidFill>
            <a:schemeClr val="bg1">
              <a:lumMod val="95000"/>
            </a:schemeClr>
          </a:solidFill>
        </p:spPr>
        <p:txBody>
          <a:bodyPr lIns="180000" tIns="180000" rIns="180000" bIns="180000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 sz="4911" b="1">
                <a:solidFill>
                  <a:schemeClr val="bg2"/>
                </a:solidFill>
              </a:defRPr>
            </a:lvl1pPr>
            <a:lvl2pPr marL="0" indent="0">
              <a:spcAft>
                <a:spcPts val="0"/>
              </a:spcAft>
              <a:buNone/>
              <a:defRPr sz="4209"/>
            </a:lvl2pPr>
            <a:lvl3pPr marL="1247357" indent="-623677">
              <a:spcAft>
                <a:spcPts val="0"/>
              </a:spcAft>
              <a:defRPr sz="4209"/>
            </a:lvl3pPr>
            <a:lvl4pPr marL="1002340" indent="-1002340"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à"/>
              <a:defRPr sz="4209"/>
            </a:lvl4pPr>
            <a:lvl5pPr>
              <a:spcAft>
                <a:spcPts val="4209"/>
              </a:spcAft>
              <a:defRPr sz="4911"/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0" name="Tijdelijke aanduiding voor inhoud 3">
            <a:extLst>
              <a:ext uri="{FF2B5EF4-FFF2-40B4-BE49-F238E27FC236}">
                <a16:creationId xmlns:a16="http://schemas.microsoft.com/office/drawing/2014/main" id="{011BE011-FD19-4C53-988E-6F68943521B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1742373" y="11157673"/>
            <a:ext cx="18373922" cy="14394049"/>
          </a:xfrm>
          <a:solidFill>
            <a:schemeClr val="bg1">
              <a:lumMod val="95000"/>
            </a:schemeClr>
          </a:solidFill>
        </p:spPr>
        <p:txBody>
          <a:bodyPr lIns="180000" tIns="180000" rIns="180000" bIns="18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 sz="4911" b="1">
                <a:solidFill>
                  <a:schemeClr val="bg2"/>
                </a:solidFill>
              </a:defRPr>
            </a:lvl1pPr>
            <a:lvl2pPr marL="0" indent="0">
              <a:spcAft>
                <a:spcPts val="0"/>
              </a:spcAft>
              <a:buNone/>
              <a:defRPr sz="4209"/>
            </a:lvl2pPr>
            <a:lvl3pPr marL="1247357" indent="-623677">
              <a:spcAft>
                <a:spcPts val="0"/>
              </a:spcAft>
              <a:defRPr sz="4209"/>
            </a:lvl3pPr>
            <a:lvl4pPr marL="1002340" indent="-1002340"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à"/>
              <a:defRPr sz="4209"/>
            </a:lvl4pPr>
            <a:lvl5pPr>
              <a:spcAft>
                <a:spcPts val="4209"/>
              </a:spcAft>
              <a:defRPr sz="4911"/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nl-NL" noProof="0"/>
              <a:t>Klik om tekst in te voegen</a:t>
            </a:r>
          </a:p>
          <a:p>
            <a:pPr lvl="0"/>
            <a:endParaRPr lang="nl-NL" noProof="0"/>
          </a:p>
        </p:txBody>
      </p:sp>
      <p:grpSp>
        <p:nvGrpSpPr>
          <p:cNvPr id="23" name="Instructie">
            <a:extLst>
              <a:ext uri="{FF2B5EF4-FFF2-40B4-BE49-F238E27FC236}">
                <a16:creationId xmlns:a16="http://schemas.microsoft.com/office/drawing/2014/main" id="{969EA301-B913-4643-9ABD-180EFDB46534}"/>
              </a:ext>
            </a:extLst>
          </p:cNvPr>
          <p:cNvGrpSpPr/>
          <p:nvPr userDrawn="1"/>
        </p:nvGrpSpPr>
        <p:grpSpPr>
          <a:xfrm>
            <a:off x="43467416" y="3"/>
            <a:ext cx="11167745" cy="17428095"/>
            <a:chOff x="12391601" y="0"/>
            <a:chExt cx="3183678" cy="3947846"/>
          </a:xfrm>
        </p:grpSpPr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671A3C21-2740-4EB0-9EFD-9D2F7EC6FB9E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SmartArt invoegen/veranderen</a:t>
              </a:r>
            </a:p>
          </p:txBody>
        </p:sp>
        <p:sp>
          <p:nvSpPr>
            <p:cNvPr id="25" name="Ovaal 24">
              <a:extLst>
                <a:ext uri="{FF2B5EF4-FFF2-40B4-BE49-F238E27FC236}">
                  <a16:creationId xmlns:a16="http://schemas.microsoft.com/office/drawing/2014/main" id="{F3BC5726-1C08-4F05-B026-F3EFEB5D15A7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7" name="Rechte verbindingslijn 26">
              <a:extLst>
                <a:ext uri="{FF2B5EF4-FFF2-40B4-BE49-F238E27FC236}">
                  <a16:creationId xmlns:a16="http://schemas.microsoft.com/office/drawing/2014/main" id="{710F43EA-6B64-44B0-A291-485624C9AE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8" name="Rechte verbindingslijn 27">
              <a:extLst>
                <a:ext uri="{FF2B5EF4-FFF2-40B4-BE49-F238E27FC236}">
                  <a16:creationId xmlns:a16="http://schemas.microsoft.com/office/drawing/2014/main" id="{E09EE25D-EE60-42D7-A9E7-C5DD7B052EB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16A7D4DE-E8D0-42C4-82F1-6E9D4792E020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het bestaande SmartArt object d.m.v.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knop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Klik op het pictogram om een nieuw object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0" name="Rechte verbindingslijn 29">
              <a:extLst>
                <a:ext uri="{FF2B5EF4-FFF2-40B4-BE49-F238E27FC236}">
                  <a16:creationId xmlns:a16="http://schemas.microsoft.com/office/drawing/2014/main" id="{3DAC510A-CCEA-4C67-80F5-91B5DB4266B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947846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1" name="Ovaal 30">
              <a:extLst>
                <a:ext uri="{FF2B5EF4-FFF2-40B4-BE49-F238E27FC236}">
                  <a16:creationId xmlns:a16="http://schemas.microsoft.com/office/drawing/2014/main" id="{599A7A1A-AC9F-4335-9BBF-F7F10ACE59B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2" name="Rechthoek 31">
              <a:extLst>
                <a:ext uri="{FF2B5EF4-FFF2-40B4-BE49-F238E27FC236}">
                  <a16:creationId xmlns:a16="http://schemas.microsoft.com/office/drawing/2014/main" id="{FC429184-DD71-4C45-9AE9-EC6D4DDF83A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aan de linker kant van het venster het gewenste type en vervolgens het gewenste objecten klik op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3" name="Groep 32">
              <a:extLst>
                <a:ext uri="{FF2B5EF4-FFF2-40B4-BE49-F238E27FC236}">
                  <a16:creationId xmlns:a16="http://schemas.microsoft.com/office/drawing/2014/main" id="{AF3004DB-BC64-4750-94C3-119F8F8A0392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60" name="Rechthoek 59">
                <a:extLst>
                  <a:ext uri="{FF2B5EF4-FFF2-40B4-BE49-F238E27FC236}">
                    <a16:creationId xmlns:a16="http://schemas.microsoft.com/office/drawing/2014/main" id="{8117F592-BBC9-433D-A383-3FAA32C7BB0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61" name="Rechte verbindingslijn 60">
                <a:extLst>
                  <a:ext uri="{FF2B5EF4-FFF2-40B4-BE49-F238E27FC236}">
                    <a16:creationId xmlns:a16="http://schemas.microsoft.com/office/drawing/2014/main" id="{64C97D7B-D416-4CB8-988A-E030848DB9F9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62" name="Gelijkbenige driehoek 61">
                <a:extLst>
                  <a:ext uri="{FF2B5EF4-FFF2-40B4-BE49-F238E27FC236}">
                    <a16:creationId xmlns:a16="http://schemas.microsoft.com/office/drawing/2014/main" id="{E9931FC1-FE37-449E-85C9-20F1E0A2A853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5" name="Ovaal 34">
              <a:extLst>
                <a:ext uri="{FF2B5EF4-FFF2-40B4-BE49-F238E27FC236}">
                  <a16:creationId xmlns:a16="http://schemas.microsoft.com/office/drawing/2014/main" id="{403294EC-1214-4265-BF57-7F02819C38B2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" name="Rechthoek 35">
              <a:extLst>
                <a:ext uri="{FF2B5EF4-FFF2-40B4-BE49-F238E27FC236}">
                  <a16:creationId xmlns:a16="http://schemas.microsoft.com/office/drawing/2014/main" id="{7CCC7F87-B043-4C9B-962A-2BFE1EC696DF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ulpmiddelen voor SmartArt - Opmaak’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kunnen opvulkleuren en lijnkleuren aangepast worden.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der de tab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tart’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kan o.a. de tekstopmaak worden gewijzigd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" name="Rechte verbindingslijn 36">
              <a:extLst>
                <a:ext uri="{FF2B5EF4-FFF2-40B4-BE49-F238E27FC236}">
                  <a16:creationId xmlns:a16="http://schemas.microsoft.com/office/drawing/2014/main" id="{4EA2C6E2-1BD9-4FC0-9202-F35C5F46679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" name="Groep 37">
              <a:extLst>
                <a:ext uri="{FF2B5EF4-FFF2-40B4-BE49-F238E27FC236}">
                  <a16:creationId xmlns:a16="http://schemas.microsoft.com/office/drawing/2014/main" id="{20880509-B8A3-4761-B4E3-14EEE63E71A9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39" name="Pijl: punthaak 38">
                <a:extLst>
                  <a:ext uri="{FF2B5EF4-FFF2-40B4-BE49-F238E27FC236}">
                    <a16:creationId xmlns:a16="http://schemas.microsoft.com/office/drawing/2014/main" id="{F82DBB84-5BFC-4D76-A29E-E1030376D7D0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A8F93624-F9B6-420B-AEFC-DAA83308AE10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42" name="Groep 41">
                <a:extLst>
                  <a:ext uri="{FF2B5EF4-FFF2-40B4-BE49-F238E27FC236}">
                    <a16:creationId xmlns:a16="http://schemas.microsoft.com/office/drawing/2014/main" id="{6D01A9BB-A323-4B22-94AA-B37B07E22AD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49" name="Ovaal 48">
                  <a:extLst>
                    <a:ext uri="{FF2B5EF4-FFF2-40B4-BE49-F238E27FC236}">
                      <a16:creationId xmlns:a16="http://schemas.microsoft.com/office/drawing/2014/main" id="{E258FA11-22E2-49D3-A8E5-83DA1680A660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57" name="Rechte verbindingslijn 56">
                  <a:extLst>
                    <a:ext uri="{FF2B5EF4-FFF2-40B4-BE49-F238E27FC236}">
                      <a16:creationId xmlns:a16="http://schemas.microsoft.com/office/drawing/2014/main" id="{7ACF1F81-6476-4EEC-8068-788F2A7ACD30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43" name="Groep 42">
                <a:extLst>
                  <a:ext uri="{FF2B5EF4-FFF2-40B4-BE49-F238E27FC236}">
                    <a16:creationId xmlns:a16="http://schemas.microsoft.com/office/drawing/2014/main" id="{EF97AA14-53A2-4BFC-B45F-476F5004D488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47" name="Ovaal 46">
                  <a:extLst>
                    <a:ext uri="{FF2B5EF4-FFF2-40B4-BE49-F238E27FC236}">
                      <a16:creationId xmlns:a16="http://schemas.microsoft.com/office/drawing/2014/main" id="{32C1C2A0-E77D-4E49-9818-18CA943D6700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48" name="Rechte verbindingslijn 47">
                  <a:extLst>
                    <a:ext uri="{FF2B5EF4-FFF2-40B4-BE49-F238E27FC236}">
                      <a16:creationId xmlns:a16="http://schemas.microsoft.com/office/drawing/2014/main" id="{219F074F-C4DC-40EC-A4E3-73D2F77F52C7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44" name="Groep 43">
                <a:extLst>
                  <a:ext uri="{FF2B5EF4-FFF2-40B4-BE49-F238E27FC236}">
                    <a16:creationId xmlns:a16="http://schemas.microsoft.com/office/drawing/2014/main" id="{30A68E1B-82DB-4868-BC90-521430CA2057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45" name="Ovaal 44">
                  <a:extLst>
                    <a:ext uri="{FF2B5EF4-FFF2-40B4-BE49-F238E27FC236}">
                      <a16:creationId xmlns:a16="http://schemas.microsoft.com/office/drawing/2014/main" id="{DCED931A-9F11-4F84-B19A-DB412A998567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46" name="Rechte verbindingslijn 45">
                  <a:extLst>
                    <a:ext uri="{FF2B5EF4-FFF2-40B4-BE49-F238E27FC236}">
                      <a16:creationId xmlns:a16="http://schemas.microsoft.com/office/drawing/2014/main" id="{A0679111-00FC-40BF-8A13-5C1FE834D7B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63" name="Afbeelding 62">
            <a:extLst>
              <a:ext uri="{FF2B5EF4-FFF2-40B4-BE49-F238E27FC236}">
                <a16:creationId xmlns:a16="http://schemas.microsoft.com/office/drawing/2014/main" id="{520D55F0-1946-40CA-BE77-284D34AB78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040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 Balken 8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-5567" y="6476684"/>
            <a:ext cx="42767257" cy="23798534"/>
          </a:xfrm>
          <a:solidFill>
            <a:schemeClr val="bg1">
              <a:lumMod val="95000"/>
            </a:schemeClr>
          </a:solidFill>
        </p:spPr>
        <p:txBody>
          <a:bodyPr tIns="1080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0" name="Tijdelijke aanduiding voor voettekst 4">
            <a:extLst>
              <a:ext uri="{FF2B5EF4-FFF2-40B4-BE49-F238E27FC236}">
                <a16:creationId xmlns:a16="http://schemas.microsoft.com/office/drawing/2014/main" id="{1DA20FBD-9D0F-4EAB-B12C-126591D8B7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6644E39-2AF2-4EA0-9C3F-28C89D5A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7" y="27329718"/>
            <a:ext cx="851960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7" name="Tijdelijke aanduiding voor tekst 14">
            <a:extLst>
              <a:ext uri="{FF2B5EF4-FFF2-40B4-BE49-F238E27FC236}">
                <a16:creationId xmlns:a16="http://schemas.microsoft.com/office/drawing/2014/main" id="{A6BF4B27-7FC5-4896-80CE-3BA6119B83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32" name="Tijdelijke aanduiding voor tekst 3">
            <a:extLst>
              <a:ext uri="{FF2B5EF4-FFF2-40B4-BE49-F238E27FC236}">
                <a16:creationId xmlns:a16="http://schemas.microsoft.com/office/drawing/2014/main" id="{54C989E9-FA4D-4EA9-9D83-ACEFB86E984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2673480" y="14733967"/>
            <a:ext cx="18310781" cy="2416918"/>
          </a:xfrm>
          <a:custGeom>
            <a:avLst/>
            <a:gdLst>
              <a:gd name="connsiteX0" fmla="*/ 0 w 6336000"/>
              <a:gd name="connsiteY0" fmla="*/ 34052 h 547200"/>
              <a:gd name="connsiteX1" fmla="*/ 34052 w 6336000"/>
              <a:gd name="connsiteY1" fmla="*/ 0 h 547200"/>
              <a:gd name="connsiteX2" fmla="*/ 6301948 w 6336000"/>
              <a:gd name="connsiteY2" fmla="*/ 0 h 547200"/>
              <a:gd name="connsiteX3" fmla="*/ 6336000 w 6336000"/>
              <a:gd name="connsiteY3" fmla="*/ 34052 h 547200"/>
              <a:gd name="connsiteX4" fmla="*/ 6336000 w 6336000"/>
              <a:gd name="connsiteY4" fmla="*/ 513148 h 547200"/>
              <a:gd name="connsiteX5" fmla="*/ 6301948 w 6336000"/>
              <a:gd name="connsiteY5" fmla="*/ 547200 h 547200"/>
              <a:gd name="connsiteX6" fmla="*/ 34052 w 6336000"/>
              <a:gd name="connsiteY6" fmla="*/ 547200 h 547200"/>
              <a:gd name="connsiteX7" fmla="*/ 0 w 6336000"/>
              <a:gd name="connsiteY7" fmla="*/ 513148 h 547200"/>
              <a:gd name="connsiteX8" fmla="*/ 0 w 6336000"/>
              <a:gd name="connsiteY8" fmla="*/ 34052 h 547200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0 w 6336000"/>
              <a:gd name="connsiteY0" fmla="*/ 44015 h 557163"/>
              <a:gd name="connsiteX1" fmla="*/ 4390 w 6336000"/>
              <a:gd name="connsiteY1" fmla="*/ 17721 h 557163"/>
              <a:gd name="connsiteX2" fmla="*/ 34052 w 6336000"/>
              <a:gd name="connsiteY2" fmla="*/ 9963 h 557163"/>
              <a:gd name="connsiteX3" fmla="*/ 6301948 w 6336000"/>
              <a:gd name="connsiteY3" fmla="*/ 9963 h 557163"/>
              <a:gd name="connsiteX4" fmla="*/ 6336000 w 6336000"/>
              <a:gd name="connsiteY4" fmla="*/ 44015 h 557163"/>
              <a:gd name="connsiteX5" fmla="*/ 6336000 w 6336000"/>
              <a:gd name="connsiteY5" fmla="*/ 523111 h 557163"/>
              <a:gd name="connsiteX6" fmla="*/ 6301948 w 6336000"/>
              <a:gd name="connsiteY6" fmla="*/ 557163 h 557163"/>
              <a:gd name="connsiteX7" fmla="*/ 34052 w 6336000"/>
              <a:gd name="connsiteY7" fmla="*/ 557163 h 557163"/>
              <a:gd name="connsiteX8" fmla="*/ 0 w 6336000"/>
              <a:gd name="connsiteY8" fmla="*/ 523111 h 557163"/>
              <a:gd name="connsiteX9" fmla="*/ 0 w 6336000"/>
              <a:gd name="connsiteY9" fmla="*/ 44015 h 557163"/>
              <a:gd name="connsiteX0" fmla="*/ 325 w 6336325"/>
              <a:gd name="connsiteY0" fmla="*/ 34265 h 547413"/>
              <a:gd name="connsiteX1" fmla="*/ 4715 w 6336325"/>
              <a:gd name="connsiteY1" fmla="*/ 7971 h 547413"/>
              <a:gd name="connsiteX2" fmla="*/ 34377 w 6336325"/>
              <a:gd name="connsiteY2" fmla="*/ 213 h 547413"/>
              <a:gd name="connsiteX3" fmla="*/ 6302273 w 6336325"/>
              <a:gd name="connsiteY3" fmla="*/ 213 h 547413"/>
              <a:gd name="connsiteX4" fmla="*/ 6336325 w 6336325"/>
              <a:gd name="connsiteY4" fmla="*/ 34265 h 547413"/>
              <a:gd name="connsiteX5" fmla="*/ 6336325 w 6336325"/>
              <a:gd name="connsiteY5" fmla="*/ 513361 h 547413"/>
              <a:gd name="connsiteX6" fmla="*/ 6302273 w 6336325"/>
              <a:gd name="connsiteY6" fmla="*/ 547413 h 547413"/>
              <a:gd name="connsiteX7" fmla="*/ 34377 w 6336325"/>
              <a:gd name="connsiteY7" fmla="*/ 547413 h 547413"/>
              <a:gd name="connsiteX8" fmla="*/ 325 w 6336325"/>
              <a:gd name="connsiteY8" fmla="*/ 513361 h 547413"/>
              <a:gd name="connsiteX9" fmla="*/ 325 w 6336325"/>
              <a:gd name="connsiteY9" fmla="*/ 34265 h 547413"/>
              <a:gd name="connsiteX0" fmla="*/ 2320 w 6338320"/>
              <a:gd name="connsiteY0" fmla="*/ 545788 h 579840"/>
              <a:gd name="connsiteX1" fmla="*/ 6710 w 6338320"/>
              <a:gd name="connsiteY1" fmla="*/ 40398 h 579840"/>
              <a:gd name="connsiteX2" fmla="*/ 36372 w 6338320"/>
              <a:gd name="connsiteY2" fmla="*/ 32640 h 579840"/>
              <a:gd name="connsiteX3" fmla="*/ 6304268 w 6338320"/>
              <a:gd name="connsiteY3" fmla="*/ 32640 h 579840"/>
              <a:gd name="connsiteX4" fmla="*/ 6338320 w 6338320"/>
              <a:gd name="connsiteY4" fmla="*/ 66692 h 579840"/>
              <a:gd name="connsiteX5" fmla="*/ 6338320 w 6338320"/>
              <a:gd name="connsiteY5" fmla="*/ 545788 h 579840"/>
              <a:gd name="connsiteX6" fmla="*/ 6304268 w 6338320"/>
              <a:gd name="connsiteY6" fmla="*/ 579840 h 579840"/>
              <a:gd name="connsiteX7" fmla="*/ 36372 w 6338320"/>
              <a:gd name="connsiteY7" fmla="*/ 579840 h 579840"/>
              <a:gd name="connsiteX8" fmla="*/ 2320 w 6338320"/>
              <a:gd name="connsiteY8" fmla="*/ 545788 h 579840"/>
              <a:gd name="connsiteX0" fmla="*/ 440580 w 6776580"/>
              <a:gd name="connsiteY0" fmla="*/ 545209 h 579261"/>
              <a:gd name="connsiteX1" fmla="*/ 440208 w 6776580"/>
              <a:gd name="connsiteY1" fmla="*/ 39819 h 579261"/>
              <a:gd name="connsiteX2" fmla="*/ 474632 w 6776580"/>
              <a:gd name="connsiteY2" fmla="*/ 32061 h 579261"/>
              <a:gd name="connsiteX3" fmla="*/ 6742528 w 6776580"/>
              <a:gd name="connsiteY3" fmla="*/ 32061 h 579261"/>
              <a:gd name="connsiteX4" fmla="*/ 6776580 w 6776580"/>
              <a:gd name="connsiteY4" fmla="*/ 66113 h 579261"/>
              <a:gd name="connsiteX5" fmla="*/ 6776580 w 6776580"/>
              <a:gd name="connsiteY5" fmla="*/ 545209 h 579261"/>
              <a:gd name="connsiteX6" fmla="*/ 6742528 w 6776580"/>
              <a:gd name="connsiteY6" fmla="*/ 579261 h 579261"/>
              <a:gd name="connsiteX7" fmla="*/ 474632 w 6776580"/>
              <a:gd name="connsiteY7" fmla="*/ 579261 h 579261"/>
              <a:gd name="connsiteX8" fmla="*/ 440580 w 6776580"/>
              <a:gd name="connsiteY8" fmla="*/ 545209 h 579261"/>
              <a:gd name="connsiteX0" fmla="*/ 4188 w 6340188"/>
              <a:gd name="connsiteY0" fmla="*/ 545788 h 579840"/>
              <a:gd name="connsiteX1" fmla="*/ 3816 w 6340188"/>
              <a:gd name="connsiteY1" fmla="*/ 40398 h 579840"/>
              <a:gd name="connsiteX2" fmla="*/ 38240 w 6340188"/>
              <a:gd name="connsiteY2" fmla="*/ 32640 h 579840"/>
              <a:gd name="connsiteX3" fmla="*/ 6306136 w 6340188"/>
              <a:gd name="connsiteY3" fmla="*/ 32640 h 579840"/>
              <a:gd name="connsiteX4" fmla="*/ 6340188 w 6340188"/>
              <a:gd name="connsiteY4" fmla="*/ 66692 h 579840"/>
              <a:gd name="connsiteX5" fmla="*/ 6340188 w 6340188"/>
              <a:gd name="connsiteY5" fmla="*/ 545788 h 579840"/>
              <a:gd name="connsiteX6" fmla="*/ 6306136 w 6340188"/>
              <a:gd name="connsiteY6" fmla="*/ 579840 h 579840"/>
              <a:gd name="connsiteX7" fmla="*/ 38240 w 6340188"/>
              <a:gd name="connsiteY7" fmla="*/ 579840 h 579840"/>
              <a:gd name="connsiteX8" fmla="*/ 4188 w 6340188"/>
              <a:gd name="connsiteY8" fmla="*/ 545788 h 579840"/>
              <a:gd name="connsiteX0" fmla="*/ 1984 w 6337984"/>
              <a:gd name="connsiteY0" fmla="*/ 513434 h 547486"/>
              <a:gd name="connsiteX1" fmla="*/ 1612 w 6337984"/>
              <a:gd name="connsiteY1" fmla="*/ 8044 h 547486"/>
              <a:gd name="connsiteX2" fmla="*/ 36036 w 6337984"/>
              <a:gd name="connsiteY2" fmla="*/ 286 h 547486"/>
              <a:gd name="connsiteX3" fmla="*/ 6303932 w 6337984"/>
              <a:gd name="connsiteY3" fmla="*/ 286 h 547486"/>
              <a:gd name="connsiteX4" fmla="*/ 6337984 w 6337984"/>
              <a:gd name="connsiteY4" fmla="*/ 34338 h 547486"/>
              <a:gd name="connsiteX5" fmla="*/ 6337984 w 6337984"/>
              <a:gd name="connsiteY5" fmla="*/ 513434 h 547486"/>
              <a:gd name="connsiteX6" fmla="*/ 6303932 w 6337984"/>
              <a:gd name="connsiteY6" fmla="*/ 547486 h 547486"/>
              <a:gd name="connsiteX7" fmla="*/ 36036 w 6337984"/>
              <a:gd name="connsiteY7" fmla="*/ 547486 h 547486"/>
              <a:gd name="connsiteX8" fmla="*/ 1984 w 6337984"/>
              <a:gd name="connsiteY8" fmla="*/ 513434 h 547486"/>
              <a:gd name="connsiteX0" fmla="*/ 443038 w 6779038"/>
              <a:gd name="connsiteY0" fmla="*/ 513148 h 547200"/>
              <a:gd name="connsiteX1" fmla="*/ 440285 w 6779038"/>
              <a:gd name="connsiteY1" fmla="*/ 7758 h 547200"/>
              <a:gd name="connsiteX2" fmla="*/ 477090 w 6779038"/>
              <a:gd name="connsiteY2" fmla="*/ 0 h 547200"/>
              <a:gd name="connsiteX3" fmla="*/ 6744986 w 6779038"/>
              <a:gd name="connsiteY3" fmla="*/ 0 h 547200"/>
              <a:gd name="connsiteX4" fmla="*/ 6779038 w 6779038"/>
              <a:gd name="connsiteY4" fmla="*/ 34052 h 547200"/>
              <a:gd name="connsiteX5" fmla="*/ 6779038 w 6779038"/>
              <a:gd name="connsiteY5" fmla="*/ 513148 h 547200"/>
              <a:gd name="connsiteX6" fmla="*/ 6744986 w 6779038"/>
              <a:gd name="connsiteY6" fmla="*/ 547200 h 547200"/>
              <a:gd name="connsiteX7" fmla="*/ 477090 w 6779038"/>
              <a:gd name="connsiteY7" fmla="*/ 547200 h 547200"/>
              <a:gd name="connsiteX8" fmla="*/ 443038 w 6779038"/>
              <a:gd name="connsiteY8" fmla="*/ 513148 h 547200"/>
              <a:gd name="connsiteX0" fmla="*/ 3229 w 6339229"/>
              <a:gd name="connsiteY0" fmla="*/ 513433 h 547485"/>
              <a:gd name="connsiteX1" fmla="*/ 476 w 6339229"/>
              <a:gd name="connsiteY1" fmla="*/ 8043 h 547485"/>
              <a:gd name="connsiteX2" fmla="*/ 37281 w 6339229"/>
              <a:gd name="connsiteY2" fmla="*/ 285 h 547485"/>
              <a:gd name="connsiteX3" fmla="*/ 6305177 w 6339229"/>
              <a:gd name="connsiteY3" fmla="*/ 285 h 547485"/>
              <a:gd name="connsiteX4" fmla="*/ 6339229 w 6339229"/>
              <a:gd name="connsiteY4" fmla="*/ 34337 h 547485"/>
              <a:gd name="connsiteX5" fmla="*/ 6339229 w 6339229"/>
              <a:gd name="connsiteY5" fmla="*/ 513433 h 547485"/>
              <a:gd name="connsiteX6" fmla="*/ 6305177 w 6339229"/>
              <a:gd name="connsiteY6" fmla="*/ 547485 h 547485"/>
              <a:gd name="connsiteX7" fmla="*/ 37281 w 6339229"/>
              <a:gd name="connsiteY7" fmla="*/ 547485 h 547485"/>
              <a:gd name="connsiteX8" fmla="*/ 3229 w 6339229"/>
              <a:gd name="connsiteY8" fmla="*/ 513433 h 547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339229" h="547485">
                <a:moveTo>
                  <a:pt x="3229" y="513433"/>
                </a:moveTo>
                <a:cubicBezTo>
                  <a:pt x="-1715" y="423526"/>
                  <a:pt x="1945" y="14987"/>
                  <a:pt x="476" y="8043"/>
                </a:cubicBezTo>
                <a:cubicBezTo>
                  <a:pt x="-993" y="1099"/>
                  <a:pt x="-1471" y="-803"/>
                  <a:pt x="37281" y="285"/>
                </a:cubicBezTo>
                <a:cubicBezTo>
                  <a:pt x="76033" y="1373"/>
                  <a:pt x="4215878" y="285"/>
                  <a:pt x="6305177" y="285"/>
                </a:cubicBezTo>
                <a:cubicBezTo>
                  <a:pt x="6323983" y="285"/>
                  <a:pt x="6339229" y="15531"/>
                  <a:pt x="6339229" y="34337"/>
                </a:cubicBezTo>
                <a:lnTo>
                  <a:pt x="6339229" y="513433"/>
                </a:lnTo>
                <a:cubicBezTo>
                  <a:pt x="6339229" y="532239"/>
                  <a:pt x="6323983" y="547485"/>
                  <a:pt x="6305177" y="547485"/>
                </a:cubicBezTo>
                <a:lnTo>
                  <a:pt x="37281" y="547485"/>
                </a:lnTo>
                <a:cubicBezTo>
                  <a:pt x="18475" y="547485"/>
                  <a:pt x="3229" y="532239"/>
                  <a:pt x="3229" y="513433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144000" tIns="144000" rIns="216000" bIns="216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3" name="Tijdelijke aanduiding voor datum 3">
            <a:extLst>
              <a:ext uri="{FF2B5EF4-FFF2-40B4-BE49-F238E27FC236}">
                <a16:creationId xmlns:a16="http://schemas.microsoft.com/office/drawing/2014/main" id="{BDC78B71-F098-49D0-A82C-26F4C2AFD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70796E-DDED-4E27-9226-E9660C071F14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153" name="Tijdelijke aanduiding voor tekst 3">
            <a:extLst>
              <a:ext uri="{FF2B5EF4-FFF2-40B4-BE49-F238E27FC236}">
                <a16:creationId xmlns:a16="http://schemas.microsoft.com/office/drawing/2014/main" id="{8A98C4B6-1A94-4159-9EB3-581D74066A8F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22673480" y="17557276"/>
            <a:ext cx="18310781" cy="2416918"/>
          </a:xfrm>
          <a:custGeom>
            <a:avLst/>
            <a:gdLst>
              <a:gd name="connsiteX0" fmla="*/ 0 w 6336000"/>
              <a:gd name="connsiteY0" fmla="*/ 34052 h 547200"/>
              <a:gd name="connsiteX1" fmla="*/ 34052 w 6336000"/>
              <a:gd name="connsiteY1" fmla="*/ 0 h 547200"/>
              <a:gd name="connsiteX2" fmla="*/ 6301948 w 6336000"/>
              <a:gd name="connsiteY2" fmla="*/ 0 h 547200"/>
              <a:gd name="connsiteX3" fmla="*/ 6336000 w 6336000"/>
              <a:gd name="connsiteY3" fmla="*/ 34052 h 547200"/>
              <a:gd name="connsiteX4" fmla="*/ 6336000 w 6336000"/>
              <a:gd name="connsiteY4" fmla="*/ 513148 h 547200"/>
              <a:gd name="connsiteX5" fmla="*/ 6301948 w 6336000"/>
              <a:gd name="connsiteY5" fmla="*/ 547200 h 547200"/>
              <a:gd name="connsiteX6" fmla="*/ 34052 w 6336000"/>
              <a:gd name="connsiteY6" fmla="*/ 547200 h 547200"/>
              <a:gd name="connsiteX7" fmla="*/ 0 w 6336000"/>
              <a:gd name="connsiteY7" fmla="*/ 513148 h 547200"/>
              <a:gd name="connsiteX8" fmla="*/ 0 w 6336000"/>
              <a:gd name="connsiteY8" fmla="*/ 34052 h 547200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0 w 6336000"/>
              <a:gd name="connsiteY0" fmla="*/ 44015 h 557163"/>
              <a:gd name="connsiteX1" fmla="*/ 4390 w 6336000"/>
              <a:gd name="connsiteY1" fmla="*/ 17721 h 557163"/>
              <a:gd name="connsiteX2" fmla="*/ 34052 w 6336000"/>
              <a:gd name="connsiteY2" fmla="*/ 9963 h 557163"/>
              <a:gd name="connsiteX3" fmla="*/ 6301948 w 6336000"/>
              <a:gd name="connsiteY3" fmla="*/ 9963 h 557163"/>
              <a:gd name="connsiteX4" fmla="*/ 6336000 w 6336000"/>
              <a:gd name="connsiteY4" fmla="*/ 44015 h 557163"/>
              <a:gd name="connsiteX5" fmla="*/ 6336000 w 6336000"/>
              <a:gd name="connsiteY5" fmla="*/ 523111 h 557163"/>
              <a:gd name="connsiteX6" fmla="*/ 6301948 w 6336000"/>
              <a:gd name="connsiteY6" fmla="*/ 557163 h 557163"/>
              <a:gd name="connsiteX7" fmla="*/ 34052 w 6336000"/>
              <a:gd name="connsiteY7" fmla="*/ 557163 h 557163"/>
              <a:gd name="connsiteX8" fmla="*/ 0 w 6336000"/>
              <a:gd name="connsiteY8" fmla="*/ 523111 h 557163"/>
              <a:gd name="connsiteX9" fmla="*/ 0 w 6336000"/>
              <a:gd name="connsiteY9" fmla="*/ 44015 h 557163"/>
              <a:gd name="connsiteX0" fmla="*/ 325 w 6336325"/>
              <a:gd name="connsiteY0" fmla="*/ 34265 h 547413"/>
              <a:gd name="connsiteX1" fmla="*/ 4715 w 6336325"/>
              <a:gd name="connsiteY1" fmla="*/ 7971 h 547413"/>
              <a:gd name="connsiteX2" fmla="*/ 34377 w 6336325"/>
              <a:gd name="connsiteY2" fmla="*/ 213 h 547413"/>
              <a:gd name="connsiteX3" fmla="*/ 6302273 w 6336325"/>
              <a:gd name="connsiteY3" fmla="*/ 213 h 547413"/>
              <a:gd name="connsiteX4" fmla="*/ 6336325 w 6336325"/>
              <a:gd name="connsiteY4" fmla="*/ 34265 h 547413"/>
              <a:gd name="connsiteX5" fmla="*/ 6336325 w 6336325"/>
              <a:gd name="connsiteY5" fmla="*/ 513361 h 547413"/>
              <a:gd name="connsiteX6" fmla="*/ 6302273 w 6336325"/>
              <a:gd name="connsiteY6" fmla="*/ 547413 h 547413"/>
              <a:gd name="connsiteX7" fmla="*/ 34377 w 6336325"/>
              <a:gd name="connsiteY7" fmla="*/ 547413 h 547413"/>
              <a:gd name="connsiteX8" fmla="*/ 325 w 6336325"/>
              <a:gd name="connsiteY8" fmla="*/ 513361 h 547413"/>
              <a:gd name="connsiteX9" fmla="*/ 325 w 6336325"/>
              <a:gd name="connsiteY9" fmla="*/ 34265 h 547413"/>
              <a:gd name="connsiteX0" fmla="*/ 2320 w 6338320"/>
              <a:gd name="connsiteY0" fmla="*/ 545788 h 579840"/>
              <a:gd name="connsiteX1" fmla="*/ 6710 w 6338320"/>
              <a:gd name="connsiteY1" fmla="*/ 40398 h 579840"/>
              <a:gd name="connsiteX2" fmla="*/ 36372 w 6338320"/>
              <a:gd name="connsiteY2" fmla="*/ 32640 h 579840"/>
              <a:gd name="connsiteX3" fmla="*/ 6304268 w 6338320"/>
              <a:gd name="connsiteY3" fmla="*/ 32640 h 579840"/>
              <a:gd name="connsiteX4" fmla="*/ 6338320 w 6338320"/>
              <a:gd name="connsiteY4" fmla="*/ 66692 h 579840"/>
              <a:gd name="connsiteX5" fmla="*/ 6338320 w 6338320"/>
              <a:gd name="connsiteY5" fmla="*/ 545788 h 579840"/>
              <a:gd name="connsiteX6" fmla="*/ 6304268 w 6338320"/>
              <a:gd name="connsiteY6" fmla="*/ 579840 h 579840"/>
              <a:gd name="connsiteX7" fmla="*/ 36372 w 6338320"/>
              <a:gd name="connsiteY7" fmla="*/ 579840 h 579840"/>
              <a:gd name="connsiteX8" fmla="*/ 2320 w 6338320"/>
              <a:gd name="connsiteY8" fmla="*/ 545788 h 579840"/>
              <a:gd name="connsiteX0" fmla="*/ 440580 w 6776580"/>
              <a:gd name="connsiteY0" fmla="*/ 545209 h 579261"/>
              <a:gd name="connsiteX1" fmla="*/ 440208 w 6776580"/>
              <a:gd name="connsiteY1" fmla="*/ 39819 h 579261"/>
              <a:gd name="connsiteX2" fmla="*/ 474632 w 6776580"/>
              <a:gd name="connsiteY2" fmla="*/ 32061 h 579261"/>
              <a:gd name="connsiteX3" fmla="*/ 6742528 w 6776580"/>
              <a:gd name="connsiteY3" fmla="*/ 32061 h 579261"/>
              <a:gd name="connsiteX4" fmla="*/ 6776580 w 6776580"/>
              <a:gd name="connsiteY4" fmla="*/ 66113 h 579261"/>
              <a:gd name="connsiteX5" fmla="*/ 6776580 w 6776580"/>
              <a:gd name="connsiteY5" fmla="*/ 545209 h 579261"/>
              <a:gd name="connsiteX6" fmla="*/ 6742528 w 6776580"/>
              <a:gd name="connsiteY6" fmla="*/ 579261 h 579261"/>
              <a:gd name="connsiteX7" fmla="*/ 474632 w 6776580"/>
              <a:gd name="connsiteY7" fmla="*/ 579261 h 579261"/>
              <a:gd name="connsiteX8" fmla="*/ 440580 w 6776580"/>
              <a:gd name="connsiteY8" fmla="*/ 545209 h 579261"/>
              <a:gd name="connsiteX0" fmla="*/ 4188 w 6340188"/>
              <a:gd name="connsiteY0" fmla="*/ 545788 h 579840"/>
              <a:gd name="connsiteX1" fmla="*/ 3816 w 6340188"/>
              <a:gd name="connsiteY1" fmla="*/ 40398 h 579840"/>
              <a:gd name="connsiteX2" fmla="*/ 38240 w 6340188"/>
              <a:gd name="connsiteY2" fmla="*/ 32640 h 579840"/>
              <a:gd name="connsiteX3" fmla="*/ 6306136 w 6340188"/>
              <a:gd name="connsiteY3" fmla="*/ 32640 h 579840"/>
              <a:gd name="connsiteX4" fmla="*/ 6340188 w 6340188"/>
              <a:gd name="connsiteY4" fmla="*/ 66692 h 579840"/>
              <a:gd name="connsiteX5" fmla="*/ 6340188 w 6340188"/>
              <a:gd name="connsiteY5" fmla="*/ 545788 h 579840"/>
              <a:gd name="connsiteX6" fmla="*/ 6306136 w 6340188"/>
              <a:gd name="connsiteY6" fmla="*/ 579840 h 579840"/>
              <a:gd name="connsiteX7" fmla="*/ 38240 w 6340188"/>
              <a:gd name="connsiteY7" fmla="*/ 579840 h 579840"/>
              <a:gd name="connsiteX8" fmla="*/ 4188 w 6340188"/>
              <a:gd name="connsiteY8" fmla="*/ 545788 h 579840"/>
              <a:gd name="connsiteX0" fmla="*/ 1984 w 6337984"/>
              <a:gd name="connsiteY0" fmla="*/ 513434 h 547486"/>
              <a:gd name="connsiteX1" fmla="*/ 1612 w 6337984"/>
              <a:gd name="connsiteY1" fmla="*/ 8044 h 547486"/>
              <a:gd name="connsiteX2" fmla="*/ 36036 w 6337984"/>
              <a:gd name="connsiteY2" fmla="*/ 286 h 547486"/>
              <a:gd name="connsiteX3" fmla="*/ 6303932 w 6337984"/>
              <a:gd name="connsiteY3" fmla="*/ 286 h 547486"/>
              <a:gd name="connsiteX4" fmla="*/ 6337984 w 6337984"/>
              <a:gd name="connsiteY4" fmla="*/ 34338 h 547486"/>
              <a:gd name="connsiteX5" fmla="*/ 6337984 w 6337984"/>
              <a:gd name="connsiteY5" fmla="*/ 513434 h 547486"/>
              <a:gd name="connsiteX6" fmla="*/ 6303932 w 6337984"/>
              <a:gd name="connsiteY6" fmla="*/ 547486 h 547486"/>
              <a:gd name="connsiteX7" fmla="*/ 36036 w 6337984"/>
              <a:gd name="connsiteY7" fmla="*/ 547486 h 547486"/>
              <a:gd name="connsiteX8" fmla="*/ 1984 w 6337984"/>
              <a:gd name="connsiteY8" fmla="*/ 513434 h 547486"/>
              <a:gd name="connsiteX0" fmla="*/ 443038 w 6779038"/>
              <a:gd name="connsiteY0" fmla="*/ 513148 h 547200"/>
              <a:gd name="connsiteX1" fmla="*/ 440285 w 6779038"/>
              <a:gd name="connsiteY1" fmla="*/ 7758 h 547200"/>
              <a:gd name="connsiteX2" fmla="*/ 477090 w 6779038"/>
              <a:gd name="connsiteY2" fmla="*/ 0 h 547200"/>
              <a:gd name="connsiteX3" fmla="*/ 6744986 w 6779038"/>
              <a:gd name="connsiteY3" fmla="*/ 0 h 547200"/>
              <a:gd name="connsiteX4" fmla="*/ 6779038 w 6779038"/>
              <a:gd name="connsiteY4" fmla="*/ 34052 h 547200"/>
              <a:gd name="connsiteX5" fmla="*/ 6779038 w 6779038"/>
              <a:gd name="connsiteY5" fmla="*/ 513148 h 547200"/>
              <a:gd name="connsiteX6" fmla="*/ 6744986 w 6779038"/>
              <a:gd name="connsiteY6" fmla="*/ 547200 h 547200"/>
              <a:gd name="connsiteX7" fmla="*/ 477090 w 6779038"/>
              <a:gd name="connsiteY7" fmla="*/ 547200 h 547200"/>
              <a:gd name="connsiteX8" fmla="*/ 443038 w 6779038"/>
              <a:gd name="connsiteY8" fmla="*/ 513148 h 547200"/>
              <a:gd name="connsiteX0" fmla="*/ 3229 w 6339229"/>
              <a:gd name="connsiteY0" fmla="*/ 513433 h 547485"/>
              <a:gd name="connsiteX1" fmla="*/ 476 w 6339229"/>
              <a:gd name="connsiteY1" fmla="*/ 8043 h 547485"/>
              <a:gd name="connsiteX2" fmla="*/ 37281 w 6339229"/>
              <a:gd name="connsiteY2" fmla="*/ 285 h 547485"/>
              <a:gd name="connsiteX3" fmla="*/ 6305177 w 6339229"/>
              <a:gd name="connsiteY3" fmla="*/ 285 h 547485"/>
              <a:gd name="connsiteX4" fmla="*/ 6339229 w 6339229"/>
              <a:gd name="connsiteY4" fmla="*/ 34337 h 547485"/>
              <a:gd name="connsiteX5" fmla="*/ 6339229 w 6339229"/>
              <a:gd name="connsiteY5" fmla="*/ 513433 h 547485"/>
              <a:gd name="connsiteX6" fmla="*/ 6305177 w 6339229"/>
              <a:gd name="connsiteY6" fmla="*/ 547485 h 547485"/>
              <a:gd name="connsiteX7" fmla="*/ 37281 w 6339229"/>
              <a:gd name="connsiteY7" fmla="*/ 547485 h 547485"/>
              <a:gd name="connsiteX8" fmla="*/ 3229 w 6339229"/>
              <a:gd name="connsiteY8" fmla="*/ 513433 h 547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339229" h="547485">
                <a:moveTo>
                  <a:pt x="3229" y="513433"/>
                </a:moveTo>
                <a:cubicBezTo>
                  <a:pt x="-1715" y="423526"/>
                  <a:pt x="1945" y="14987"/>
                  <a:pt x="476" y="8043"/>
                </a:cubicBezTo>
                <a:cubicBezTo>
                  <a:pt x="-993" y="1099"/>
                  <a:pt x="-1471" y="-803"/>
                  <a:pt x="37281" y="285"/>
                </a:cubicBezTo>
                <a:cubicBezTo>
                  <a:pt x="76033" y="1373"/>
                  <a:pt x="4215878" y="285"/>
                  <a:pt x="6305177" y="285"/>
                </a:cubicBezTo>
                <a:cubicBezTo>
                  <a:pt x="6323983" y="285"/>
                  <a:pt x="6339229" y="15531"/>
                  <a:pt x="6339229" y="34337"/>
                </a:cubicBezTo>
                <a:lnTo>
                  <a:pt x="6339229" y="513433"/>
                </a:lnTo>
                <a:cubicBezTo>
                  <a:pt x="6339229" y="532239"/>
                  <a:pt x="6323983" y="547485"/>
                  <a:pt x="6305177" y="547485"/>
                </a:cubicBezTo>
                <a:lnTo>
                  <a:pt x="37281" y="547485"/>
                </a:lnTo>
                <a:cubicBezTo>
                  <a:pt x="18475" y="547485"/>
                  <a:pt x="3229" y="532239"/>
                  <a:pt x="3229" y="513433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144000" tIns="144000" rIns="216000" bIns="216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54" name="Tijdelijke aanduiding voor tekst 3">
            <a:extLst>
              <a:ext uri="{FF2B5EF4-FFF2-40B4-BE49-F238E27FC236}">
                <a16:creationId xmlns:a16="http://schemas.microsoft.com/office/drawing/2014/main" id="{FD32AE00-24ED-4295-A98C-4052E811CA7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22673480" y="20380583"/>
            <a:ext cx="18310781" cy="2416918"/>
          </a:xfrm>
          <a:custGeom>
            <a:avLst/>
            <a:gdLst>
              <a:gd name="connsiteX0" fmla="*/ 0 w 6336000"/>
              <a:gd name="connsiteY0" fmla="*/ 34052 h 547200"/>
              <a:gd name="connsiteX1" fmla="*/ 34052 w 6336000"/>
              <a:gd name="connsiteY1" fmla="*/ 0 h 547200"/>
              <a:gd name="connsiteX2" fmla="*/ 6301948 w 6336000"/>
              <a:gd name="connsiteY2" fmla="*/ 0 h 547200"/>
              <a:gd name="connsiteX3" fmla="*/ 6336000 w 6336000"/>
              <a:gd name="connsiteY3" fmla="*/ 34052 h 547200"/>
              <a:gd name="connsiteX4" fmla="*/ 6336000 w 6336000"/>
              <a:gd name="connsiteY4" fmla="*/ 513148 h 547200"/>
              <a:gd name="connsiteX5" fmla="*/ 6301948 w 6336000"/>
              <a:gd name="connsiteY5" fmla="*/ 547200 h 547200"/>
              <a:gd name="connsiteX6" fmla="*/ 34052 w 6336000"/>
              <a:gd name="connsiteY6" fmla="*/ 547200 h 547200"/>
              <a:gd name="connsiteX7" fmla="*/ 0 w 6336000"/>
              <a:gd name="connsiteY7" fmla="*/ 513148 h 547200"/>
              <a:gd name="connsiteX8" fmla="*/ 0 w 6336000"/>
              <a:gd name="connsiteY8" fmla="*/ 34052 h 547200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0 w 6336000"/>
              <a:gd name="connsiteY0" fmla="*/ 44015 h 557163"/>
              <a:gd name="connsiteX1" fmla="*/ 4390 w 6336000"/>
              <a:gd name="connsiteY1" fmla="*/ 17721 h 557163"/>
              <a:gd name="connsiteX2" fmla="*/ 34052 w 6336000"/>
              <a:gd name="connsiteY2" fmla="*/ 9963 h 557163"/>
              <a:gd name="connsiteX3" fmla="*/ 6301948 w 6336000"/>
              <a:gd name="connsiteY3" fmla="*/ 9963 h 557163"/>
              <a:gd name="connsiteX4" fmla="*/ 6336000 w 6336000"/>
              <a:gd name="connsiteY4" fmla="*/ 44015 h 557163"/>
              <a:gd name="connsiteX5" fmla="*/ 6336000 w 6336000"/>
              <a:gd name="connsiteY5" fmla="*/ 523111 h 557163"/>
              <a:gd name="connsiteX6" fmla="*/ 6301948 w 6336000"/>
              <a:gd name="connsiteY6" fmla="*/ 557163 h 557163"/>
              <a:gd name="connsiteX7" fmla="*/ 34052 w 6336000"/>
              <a:gd name="connsiteY7" fmla="*/ 557163 h 557163"/>
              <a:gd name="connsiteX8" fmla="*/ 0 w 6336000"/>
              <a:gd name="connsiteY8" fmla="*/ 523111 h 557163"/>
              <a:gd name="connsiteX9" fmla="*/ 0 w 6336000"/>
              <a:gd name="connsiteY9" fmla="*/ 44015 h 557163"/>
              <a:gd name="connsiteX0" fmla="*/ 325 w 6336325"/>
              <a:gd name="connsiteY0" fmla="*/ 34265 h 547413"/>
              <a:gd name="connsiteX1" fmla="*/ 4715 w 6336325"/>
              <a:gd name="connsiteY1" fmla="*/ 7971 h 547413"/>
              <a:gd name="connsiteX2" fmla="*/ 34377 w 6336325"/>
              <a:gd name="connsiteY2" fmla="*/ 213 h 547413"/>
              <a:gd name="connsiteX3" fmla="*/ 6302273 w 6336325"/>
              <a:gd name="connsiteY3" fmla="*/ 213 h 547413"/>
              <a:gd name="connsiteX4" fmla="*/ 6336325 w 6336325"/>
              <a:gd name="connsiteY4" fmla="*/ 34265 h 547413"/>
              <a:gd name="connsiteX5" fmla="*/ 6336325 w 6336325"/>
              <a:gd name="connsiteY5" fmla="*/ 513361 h 547413"/>
              <a:gd name="connsiteX6" fmla="*/ 6302273 w 6336325"/>
              <a:gd name="connsiteY6" fmla="*/ 547413 h 547413"/>
              <a:gd name="connsiteX7" fmla="*/ 34377 w 6336325"/>
              <a:gd name="connsiteY7" fmla="*/ 547413 h 547413"/>
              <a:gd name="connsiteX8" fmla="*/ 325 w 6336325"/>
              <a:gd name="connsiteY8" fmla="*/ 513361 h 547413"/>
              <a:gd name="connsiteX9" fmla="*/ 325 w 6336325"/>
              <a:gd name="connsiteY9" fmla="*/ 34265 h 547413"/>
              <a:gd name="connsiteX0" fmla="*/ 2320 w 6338320"/>
              <a:gd name="connsiteY0" fmla="*/ 545788 h 579840"/>
              <a:gd name="connsiteX1" fmla="*/ 6710 w 6338320"/>
              <a:gd name="connsiteY1" fmla="*/ 40398 h 579840"/>
              <a:gd name="connsiteX2" fmla="*/ 36372 w 6338320"/>
              <a:gd name="connsiteY2" fmla="*/ 32640 h 579840"/>
              <a:gd name="connsiteX3" fmla="*/ 6304268 w 6338320"/>
              <a:gd name="connsiteY3" fmla="*/ 32640 h 579840"/>
              <a:gd name="connsiteX4" fmla="*/ 6338320 w 6338320"/>
              <a:gd name="connsiteY4" fmla="*/ 66692 h 579840"/>
              <a:gd name="connsiteX5" fmla="*/ 6338320 w 6338320"/>
              <a:gd name="connsiteY5" fmla="*/ 545788 h 579840"/>
              <a:gd name="connsiteX6" fmla="*/ 6304268 w 6338320"/>
              <a:gd name="connsiteY6" fmla="*/ 579840 h 579840"/>
              <a:gd name="connsiteX7" fmla="*/ 36372 w 6338320"/>
              <a:gd name="connsiteY7" fmla="*/ 579840 h 579840"/>
              <a:gd name="connsiteX8" fmla="*/ 2320 w 6338320"/>
              <a:gd name="connsiteY8" fmla="*/ 545788 h 579840"/>
              <a:gd name="connsiteX0" fmla="*/ 440580 w 6776580"/>
              <a:gd name="connsiteY0" fmla="*/ 545209 h 579261"/>
              <a:gd name="connsiteX1" fmla="*/ 440208 w 6776580"/>
              <a:gd name="connsiteY1" fmla="*/ 39819 h 579261"/>
              <a:gd name="connsiteX2" fmla="*/ 474632 w 6776580"/>
              <a:gd name="connsiteY2" fmla="*/ 32061 h 579261"/>
              <a:gd name="connsiteX3" fmla="*/ 6742528 w 6776580"/>
              <a:gd name="connsiteY3" fmla="*/ 32061 h 579261"/>
              <a:gd name="connsiteX4" fmla="*/ 6776580 w 6776580"/>
              <a:gd name="connsiteY4" fmla="*/ 66113 h 579261"/>
              <a:gd name="connsiteX5" fmla="*/ 6776580 w 6776580"/>
              <a:gd name="connsiteY5" fmla="*/ 545209 h 579261"/>
              <a:gd name="connsiteX6" fmla="*/ 6742528 w 6776580"/>
              <a:gd name="connsiteY6" fmla="*/ 579261 h 579261"/>
              <a:gd name="connsiteX7" fmla="*/ 474632 w 6776580"/>
              <a:gd name="connsiteY7" fmla="*/ 579261 h 579261"/>
              <a:gd name="connsiteX8" fmla="*/ 440580 w 6776580"/>
              <a:gd name="connsiteY8" fmla="*/ 545209 h 579261"/>
              <a:gd name="connsiteX0" fmla="*/ 4188 w 6340188"/>
              <a:gd name="connsiteY0" fmla="*/ 545788 h 579840"/>
              <a:gd name="connsiteX1" fmla="*/ 3816 w 6340188"/>
              <a:gd name="connsiteY1" fmla="*/ 40398 h 579840"/>
              <a:gd name="connsiteX2" fmla="*/ 38240 w 6340188"/>
              <a:gd name="connsiteY2" fmla="*/ 32640 h 579840"/>
              <a:gd name="connsiteX3" fmla="*/ 6306136 w 6340188"/>
              <a:gd name="connsiteY3" fmla="*/ 32640 h 579840"/>
              <a:gd name="connsiteX4" fmla="*/ 6340188 w 6340188"/>
              <a:gd name="connsiteY4" fmla="*/ 66692 h 579840"/>
              <a:gd name="connsiteX5" fmla="*/ 6340188 w 6340188"/>
              <a:gd name="connsiteY5" fmla="*/ 545788 h 579840"/>
              <a:gd name="connsiteX6" fmla="*/ 6306136 w 6340188"/>
              <a:gd name="connsiteY6" fmla="*/ 579840 h 579840"/>
              <a:gd name="connsiteX7" fmla="*/ 38240 w 6340188"/>
              <a:gd name="connsiteY7" fmla="*/ 579840 h 579840"/>
              <a:gd name="connsiteX8" fmla="*/ 4188 w 6340188"/>
              <a:gd name="connsiteY8" fmla="*/ 545788 h 579840"/>
              <a:gd name="connsiteX0" fmla="*/ 1984 w 6337984"/>
              <a:gd name="connsiteY0" fmla="*/ 513434 h 547486"/>
              <a:gd name="connsiteX1" fmla="*/ 1612 w 6337984"/>
              <a:gd name="connsiteY1" fmla="*/ 8044 h 547486"/>
              <a:gd name="connsiteX2" fmla="*/ 36036 w 6337984"/>
              <a:gd name="connsiteY2" fmla="*/ 286 h 547486"/>
              <a:gd name="connsiteX3" fmla="*/ 6303932 w 6337984"/>
              <a:gd name="connsiteY3" fmla="*/ 286 h 547486"/>
              <a:gd name="connsiteX4" fmla="*/ 6337984 w 6337984"/>
              <a:gd name="connsiteY4" fmla="*/ 34338 h 547486"/>
              <a:gd name="connsiteX5" fmla="*/ 6337984 w 6337984"/>
              <a:gd name="connsiteY5" fmla="*/ 513434 h 547486"/>
              <a:gd name="connsiteX6" fmla="*/ 6303932 w 6337984"/>
              <a:gd name="connsiteY6" fmla="*/ 547486 h 547486"/>
              <a:gd name="connsiteX7" fmla="*/ 36036 w 6337984"/>
              <a:gd name="connsiteY7" fmla="*/ 547486 h 547486"/>
              <a:gd name="connsiteX8" fmla="*/ 1984 w 6337984"/>
              <a:gd name="connsiteY8" fmla="*/ 513434 h 547486"/>
              <a:gd name="connsiteX0" fmla="*/ 443038 w 6779038"/>
              <a:gd name="connsiteY0" fmla="*/ 513148 h 547200"/>
              <a:gd name="connsiteX1" fmla="*/ 440285 w 6779038"/>
              <a:gd name="connsiteY1" fmla="*/ 7758 h 547200"/>
              <a:gd name="connsiteX2" fmla="*/ 477090 w 6779038"/>
              <a:gd name="connsiteY2" fmla="*/ 0 h 547200"/>
              <a:gd name="connsiteX3" fmla="*/ 6744986 w 6779038"/>
              <a:gd name="connsiteY3" fmla="*/ 0 h 547200"/>
              <a:gd name="connsiteX4" fmla="*/ 6779038 w 6779038"/>
              <a:gd name="connsiteY4" fmla="*/ 34052 h 547200"/>
              <a:gd name="connsiteX5" fmla="*/ 6779038 w 6779038"/>
              <a:gd name="connsiteY5" fmla="*/ 513148 h 547200"/>
              <a:gd name="connsiteX6" fmla="*/ 6744986 w 6779038"/>
              <a:gd name="connsiteY6" fmla="*/ 547200 h 547200"/>
              <a:gd name="connsiteX7" fmla="*/ 477090 w 6779038"/>
              <a:gd name="connsiteY7" fmla="*/ 547200 h 547200"/>
              <a:gd name="connsiteX8" fmla="*/ 443038 w 6779038"/>
              <a:gd name="connsiteY8" fmla="*/ 513148 h 547200"/>
              <a:gd name="connsiteX0" fmla="*/ 3229 w 6339229"/>
              <a:gd name="connsiteY0" fmla="*/ 513433 h 547485"/>
              <a:gd name="connsiteX1" fmla="*/ 476 w 6339229"/>
              <a:gd name="connsiteY1" fmla="*/ 8043 h 547485"/>
              <a:gd name="connsiteX2" fmla="*/ 37281 w 6339229"/>
              <a:gd name="connsiteY2" fmla="*/ 285 h 547485"/>
              <a:gd name="connsiteX3" fmla="*/ 6305177 w 6339229"/>
              <a:gd name="connsiteY3" fmla="*/ 285 h 547485"/>
              <a:gd name="connsiteX4" fmla="*/ 6339229 w 6339229"/>
              <a:gd name="connsiteY4" fmla="*/ 34337 h 547485"/>
              <a:gd name="connsiteX5" fmla="*/ 6339229 w 6339229"/>
              <a:gd name="connsiteY5" fmla="*/ 513433 h 547485"/>
              <a:gd name="connsiteX6" fmla="*/ 6305177 w 6339229"/>
              <a:gd name="connsiteY6" fmla="*/ 547485 h 547485"/>
              <a:gd name="connsiteX7" fmla="*/ 37281 w 6339229"/>
              <a:gd name="connsiteY7" fmla="*/ 547485 h 547485"/>
              <a:gd name="connsiteX8" fmla="*/ 3229 w 6339229"/>
              <a:gd name="connsiteY8" fmla="*/ 513433 h 547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339229" h="547485">
                <a:moveTo>
                  <a:pt x="3229" y="513433"/>
                </a:moveTo>
                <a:cubicBezTo>
                  <a:pt x="-1715" y="423526"/>
                  <a:pt x="1945" y="14987"/>
                  <a:pt x="476" y="8043"/>
                </a:cubicBezTo>
                <a:cubicBezTo>
                  <a:pt x="-993" y="1099"/>
                  <a:pt x="-1471" y="-803"/>
                  <a:pt x="37281" y="285"/>
                </a:cubicBezTo>
                <a:cubicBezTo>
                  <a:pt x="76033" y="1373"/>
                  <a:pt x="4215878" y="285"/>
                  <a:pt x="6305177" y="285"/>
                </a:cubicBezTo>
                <a:cubicBezTo>
                  <a:pt x="6323983" y="285"/>
                  <a:pt x="6339229" y="15531"/>
                  <a:pt x="6339229" y="34337"/>
                </a:cubicBezTo>
                <a:lnTo>
                  <a:pt x="6339229" y="513433"/>
                </a:lnTo>
                <a:cubicBezTo>
                  <a:pt x="6339229" y="532239"/>
                  <a:pt x="6323983" y="547485"/>
                  <a:pt x="6305177" y="547485"/>
                </a:cubicBezTo>
                <a:lnTo>
                  <a:pt x="37281" y="547485"/>
                </a:lnTo>
                <a:cubicBezTo>
                  <a:pt x="18475" y="547485"/>
                  <a:pt x="3229" y="532239"/>
                  <a:pt x="3229" y="513433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144000" tIns="144000" rIns="216000" bIns="216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55" name="Tijdelijke aanduiding voor tekst 3">
            <a:extLst>
              <a:ext uri="{FF2B5EF4-FFF2-40B4-BE49-F238E27FC236}">
                <a16:creationId xmlns:a16="http://schemas.microsoft.com/office/drawing/2014/main" id="{995A4DD9-A511-424A-A6EF-3EFF4DF1BE8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2673480" y="23203883"/>
            <a:ext cx="18310781" cy="2416918"/>
          </a:xfrm>
          <a:custGeom>
            <a:avLst/>
            <a:gdLst>
              <a:gd name="connsiteX0" fmla="*/ 0 w 6336000"/>
              <a:gd name="connsiteY0" fmla="*/ 34052 h 547200"/>
              <a:gd name="connsiteX1" fmla="*/ 34052 w 6336000"/>
              <a:gd name="connsiteY1" fmla="*/ 0 h 547200"/>
              <a:gd name="connsiteX2" fmla="*/ 6301948 w 6336000"/>
              <a:gd name="connsiteY2" fmla="*/ 0 h 547200"/>
              <a:gd name="connsiteX3" fmla="*/ 6336000 w 6336000"/>
              <a:gd name="connsiteY3" fmla="*/ 34052 h 547200"/>
              <a:gd name="connsiteX4" fmla="*/ 6336000 w 6336000"/>
              <a:gd name="connsiteY4" fmla="*/ 513148 h 547200"/>
              <a:gd name="connsiteX5" fmla="*/ 6301948 w 6336000"/>
              <a:gd name="connsiteY5" fmla="*/ 547200 h 547200"/>
              <a:gd name="connsiteX6" fmla="*/ 34052 w 6336000"/>
              <a:gd name="connsiteY6" fmla="*/ 547200 h 547200"/>
              <a:gd name="connsiteX7" fmla="*/ 0 w 6336000"/>
              <a:gd name="connsiteY7" fmla="*/ 513148 h 547200"/>
              <a:gd name="connsiteX8" fmla="*/ 0 w 6336000"/>
              <a:gd name="connsiteY8" fmla="*/ 34052 h 547200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0 w 6336000"/>
              <a:gd name="connsiteY0" fmla="*/ 44015 h 557163"/>
              <a:gd name="connsiteX1" fmla="*/ 4390 w 6336000"/>
              <a:gd name="connsiteY1" fmla="*/ 17721 h 557163"/>
              <a:gd name="connsiteX2" fmla="*/ 34052 w 6336000"/>
              <a:gd name="connsiteY2" fmla="*/ 9963 h 557163"/>
              <a:gd name="connsiteX3" fmla="*/ 6301948 w 6336000"/>
              <a:gd name="connsiteY3" fmla="*/ 9963 h 557163"/>
              <a:gd name="connsiteX4" fmla="*/ 6336000 w 6336000"/>
              <a:gd name="connsiteY4" fmla="*/ 44015 h 557163"/>
              <a:gd name="connsiteX5" fmla="*/ 6336000 w 6336000"/>
              <a:gd name="connsiteY5" fmla="*/ 523111 h 557163"/>
              <a:gd name="connsiteX6" fmla="*/ 6301948 w 6336000"/>
              <a:gd name="connsiteY6" fmla="*/ 557163 h 557163"/>
              <a:gd name="connsiteX7" fmla="*/ 34052 w 6336000"/>
              <a:gd name="connsiteY7" fmla="*/ 557163 h 557163"/>
              <a:gd name="connsiteX8" fmla="*/ 0 w 6336000"/>
              <a:gd name="connsiteY8" fmla="*/ 523111 h 557163"/>
              <a:gd name="connsiteX9" fmla="*/ 0 w 6336000"/>
              <a:gd name="connsiteY9" fmla="*/ 44015 h 557163"/>
              <a:gd name="connsiteX0" fmla="*/ 325 w 6336325"/>
              <a:gd name="connsiteY0" fmla="*/ 34265 h 547413"/>
              <a:gd name="connsiteX1" fmla="*/ 4715 w 6336325"/>
              <a:gd name="connsiteY1" fmla="*/ 7971 h 547413"/>
              <a:gd name="connsiteX2" fmla="*/ 34377 w 6336325"/>
              <a:gd name="connsiteY2" fmla="*/ 213 h 547413"/>
              <a:gd name="connsiteX3" fmla="*/ 6302273 w 6336325"/>
              <a:gd name="connsiteY3" fmla="*/ 213 h 547413"/>
              <a:gd name="connsiteX4" fmla="*/ 6336325 w 6336325"/>
              <a:gd name="connsiteY4" fmla="*/ 34265 h 547413"/>
              <a:gd name="connsiteX5" fmla="*/ 6336325 w 6336325"/>
              <a:gd name="connsiteY5" fmla="*/ 513361 h 547413"/>
              <a:gd name="connsiteX6" fmla="*/ 6302273 w 6336325"/>
              <a:gd name="connsiteY6" fmla="*/ 547413 h 547413"/>
              <a:gd name="connsiteX7" fmla="*/ 34377 w 6336325"/>
              <a:gd name="connsiteY7" fmla="*/ 547413 h 547413"/>
              <a:gd name="connsiteX8" fmla="*/ 325 w 6336325"/>
              <a:gd name="connsiteY8" fmla="*/ 513361 h 547413"/>
              <a:gd name="connsiteX9" fmla="*/ 325 w 6336325"/>
              <a:gd name="connsiteY9" fmla="*/ 34265 h 547413"/>
              <a:gd name="connsiteX0" fmla="*/ 2320 w 6338320"/>
              <a:gd name="connsiteY0" fmla="*/ 545788 h 579840"/>
              <a:gd name="connsiteX1" fmla="*/ 6710 w 6338320"/>
              <a:gd name="connsiteY1" fmla="*/ 40398 h 579840"/>
              <a:gd name="connsiteX2" fmla="*/ 36372 w 6338320"/>
              <a:gd name="connsiteY2" fmla="*/ 32640 h 579840"/>
              <a:gd name="connsiteX3" fmla="*/ 6304268 w 6338320"/>
              <a:gd name="connsiteY3" fmla="*/ 32640 h 579840"/>
              <a:gd name="connsiteX4" fmla="*/ 6338320 w 6338320"/>
              <a:gd name="connsiteY4" fmla="*/ 66692 h 579840"/>
              <a:gd name="connsiteX5" fmla="*/ 6338320 w 6338320"/>
              <a:gd name="connsiteY5" fmla="*/ 545788 h 579840"/>
              <a:gd name="connsiteX6" fmla="*/ 6304268 w 6338320"/>
              <a:gd name="connsiteY6" fmla="*/ 579840 h 579840"/>
              <a:gd name="connsiteX7" fmla="*/ 36372 w 6338320"/>
              <a:gd name="connsiteY7" fmla="*/ 579840 h 579840"/>
              <a:gd name="connsiteX8" fmla="*/ 2320 w 6338320"/>
              <a:gd name="connsiteY8" fmla="*/ 545788 h 579840"/>
              <a:gd name="connsiteX0" fmla="*/ 440580 w 6776580"/>
              <a:gd name="connsiteY0" fmla="*/ 545209 h 579261"/>
              <a:gd name="connsiteX1" fmla="*/ 440208 w 6776580"/>
              <a:gd name="connsiteY1" fmla="*/ 39819 h 579261"/>
              <a:gd name="connsiteX2" fmla="*/ 474632 w 6776580"/>
              <a:gd name="connsiteY2" fmla="*/ 32061 h 579261"/>
              <a:gd name="connsiteX3" fmla="*/ 6742528 w 6776580"/>
              <a:gd name="connsiteY3" fmla="*/ 32061 h 579261"/>
              <a:gd name="connsiteX4" fmla="*/ 6776580 w 6776580"/>
              <a:gd name="connsiteY4" fmla="*/ 66113 h 579261"/>
              <a:gd name="connsiteX5" fmla="*/ 6776580 w 6776580"/>
              <a:gd name="connsiteY5" fmla="*/ 545209 h 579261"/>
              <a:gd name="connsiteX6" fmla="*/ 6742528 w 6776580"/>
              <a:gd name="connsiteY6" fmla="*/ 579261 h 579261"/>
              <a:gd name="connsiteX7" fmla="*/ 474632 w 6776580"/>
              <a:gd name="connsiteY7" fmla="*/ 579261 h 579261"/>
              <a:gd name="connsiteX8" fmla="*/ 440580 w 6776580"/>
              <a:gd name="connsiteY8" fmla="*/ 545209 h 579261"/>
              <a:gd name="connsiteX0" fmla="*/ 4188 w 6340188"/>
              <a:gd name="connsiteY0" fmla="*/ 545788 h 579840"/>
              <a:gd name="connsiteX1" fmla="*/ 3816 w 6340188"/>
              <a:gd name="connsiteY1" fmla="*/ 40398 h 579840"/>
              <a:gd name="connsiteX2" fmla="*/ 38240 w 6340188"/>
              <a:gd name="connsiteY2" fmla="*/ 32640 h 579840"/>
              <a:gd name="connsiteX3" fmla="*/ 6306136 w 6340188"/>
              <a:gd name="connsiteY3" fmla="*/ 32640 h 579840"/>
              <a:gd name="connsiteX4" fmla="*/ 6340188 w 6340188"/>
              <a:gd name="connsiteY4" fmla="*/ 66692 h 579840"/>
              <a:gd name="connsiteX5" fmla="*/ 6340188 w 6340188"/>
              <a:gd name="connsiteY5" fmla="*/ 545788 h 579840"/>
              <a:gd name="connsiteX6" fmla="*/ 6306136 w 6340188"/>
              <a:gd name="connsiteY6" fmla="*/ 579840 h 579840"/>
              <a:gd name="connsiteX7" fmla="*/ 38240 w 6340188"/>
              <a:gd name="connsiteY7" fmla="*/ 579840 h 579840"/>
              <a:gd name="connsiteX8" fmla="*/ 4188 w 6340188"/>
              <a:gd name="connsiteY8" fmla="*/ 545788 h 579840"/>
              <a:gd name="connsiteX0" fmla="*/ 1984 w 6337984"/>
              <a:gd name="connsiteY0" fmla="*/ 513434 h 547486"/>
              <a:gd name="connsiteX1" fmla="*/ 1612 w 6337984"/>
              <a:gd name="connsiteY1" fmla="*/ 8044 h 547486"/>
              <a:gd name="connsiteX2" fmla="*/ 36036 w 6337984"/>
              <a:gd name="connsiteY2" fmla="*/ 286 h 547486"/>
              <a:gd name="connsiteX3" fmla="*/ 6303932 w 6337984"/>
              <a:gd name="connsiteY3" fmla="*/ 286 h 547486"/>
              <a:gd name="connsiteX4" fmla="*/ 6337984 w 6337984"/>
              <a:gd name="connsiteY4" fmla="*/ 34338 h 547486"/>
              <a:gd name="connsiteX5" fmla="*/ 6337984 w 6337984"/>
              <a:gd name="connsiteY5" fmla="*/ 513434 h 547486"/>
              <a:gd name="connsiteX6" fmla="*/ 6303932 w 6337984"/>
              <a:gd name="connsiteY6" fmla="*/ 547486 h 547486"/>
              <a:gd name="connsiteX7" fmla="*/ 36036 w 6337984"/>
              <a:gd name="connsiteY7" fmla="*/ 547486 h 547486"/>
              <a:gd name="connsiteX8" fmla="*/ 1984 w 6337984"/>
              <a:gd name="connsiteY8" fmla="*/ 513434 h 547486"/>
              <a:gd name="connsiteX0" fmla="*/ 443038 w 6779038"/>
              <a:gd name="connsiteY0" fmla="*/ 513148 h 547200"/>
              <a:gd name="connsiteX1" fmla="*/ 440285 w 6779038"/>
              <a:gd name="connsiteY1" fmla="*/ 7758 h 547200"/>
              <a:gd name="connsiteX2" fmla="*/ 477090 w 6779038"/>
              <a:gd name="connsiteY2" fmla="*/ 0 h 547200"/>
              <a:gd name="connsiteX3" fmla="*/ 6744986 w 6779038"/>
              <a:gd name="connsiteY3" fmla="*/ 0 h 547200"/>
              <a:gd name="connsiteX4" fmla="*/ 6779038 w 6779038"/>
              <a:gd name="connsiteY4" fmla="*/ 34052 h 547200"/>
              <a:gd name="connsiteX5" fmla="*/ 6779038 w 6779038"/>
              <a:gd name="connsiteY5" fmla="*/ 513148 h 547200"/>
              <a:gd name="connsiteX6" fmla="*/ 6744986 w 6779038"/>
              <a:gd name="connsiteY6" fmla="*/ 547200 h 547200"/>
              <a:gd name="connsiteX7" fmla="*/ 477090 w 6779038"/>
              <a:gd name="connsiteY7" fmla="*/ 547200 h 547200"/>
              <a:gd name="connsiteX8" fmla="*/ 443038 w 6779038"/>
              <a:gd name="connsiteY8" fmla="*/ 513148 h 547200"/>
              <a:gd name="connsiteX0" fmla="*/ 3229 w 6339229"/>
              <a:gd name="connsiteY0" fmla="*/ 513433 h 547485"/>
              <a:gd name="connsiteX1" fmla="*/ 476 w 6339229"/>
              <a:gd name="connsiteY1" fmla="*/ 8043 h 547485"/>
              <a:gd name="connsiteX2" fmla="*/ 37281 w 6339229"/>
              <a:gd name="connsiteY2" fmla="*/ 285 h 547485"/>
              <a:gd name="connsiteX3" fmla="*/ 6305177 w 6339229"/>
              <a:gd name="connsiteY3" fmla="*/ 285 h 547485"/>
              <a:gd name="connsiteX4" fmla="*/ 6339229 w 6339229"/>
              <a:gd name="connsiteY4" fmla="*/ 34337 h 547485"/>
              <a:gd name="connsiteX5" fmla="*/ 6339229 w 6339229"/>
              <a:gd name="connsiteY5" fmla="*/ 513433 h 547485"/>
              <a:gd name="connsiteX6" fmla="*/ 6305177 w 6339229"/>
              <a:gd name="connsiteY6" fmla="*/ 547485 h 547485"/>
              <a:gd name="connsiteX7" fmla="*/ 37281 w 6339229"/>
              <a:gd name="connsiteY7" fmla="*/ 547485 h 547485"/>
              <a:gd name="connsiteX8" fmla="*/ 3229 w 6339229"/>
              <a:gd name="connsiteY8" fmla="*/ 513433 h 547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339229" h="547485">
                <a:moveTo>
                  <a:pt x="3229" y="513433"/>
                </a:moveTo>
                <a:cubicBezTo>
                  <a:pt x="-1715" y="423526"/>
                  <a:pt x="1945" y="14987"/>
                  <a:pt x="476" y="8043"/>
                </a:cubicBezTo>
                <a:cubicBezTo>
                  <a:pt x="-993" y="1099"/>
                  <a:pt x="-1471" y="-803"/>
                  <a:pt x="37281" y="285"/>
                </a:cubicBezTo>
                <a:cubicBezTo>
                  <a:pt x="76033" y="1373"/>
                  <a:pt x="4215878" y="285"/>
                  <a:pt x="6305177" y="285"/>
                </a:cubicBezTo>
                <a:cubicBezTo>
                  <a:pt x="6323983" y="285"/>
                  <a:pt x="6339229" y="15531"/>
                  <a:pt x="6339229" y="34337"/>
                </a:cubicBezTo>
                <a:lnTo>
                  <a:pt x="6339229" y="513433"/>
                </a:lnTo>
                <a:cubicBezTo>
                  <a:pt x="6339229" y="532239"/>
                  <a:pt x="6323983" y="547485"/>
                  <a:pt x="6305177" y="547485"/>
                </a:cubicBezTo>
                <a:lnTo>
                  <a:pt x="37281" y="547485"/>
                </a:lnTo>
                <a:cubicBezTo>
                  <a:pt x="18475" y="547485"/>
                  <a:pt x="3229" y="532239"/>
                  <a:pt x="3229" y="513433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144000" tIns="144000" rIns="216000" bIns="216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grpSp>
        <p:nvGrpSpPr>
          <p:cNvPr id="167" name="Groep 258">
            <a:extLst>
              <a:ext uri="{FF2B5EF4-FFF2-40B4-BE49-F238E27FC236}">
                <a16:creationId xmlns:a16="http://schemas.microsoft.com/office/drawing/2014/main" id="{FE18E7C9-5F3C-41EF-BF34-D683CD93781B}"/>
              </a:ext>
            </a:extLst>
          </p:cNvPr>
          <p:cNvGrpSpPr/>
          <p:nvPr userDrawn="1"/>
        </p:nvGrpSpPr>
        <p:grpSpPr>
          <a:xfrm>
            <a:off x="43467416" y="5"/>
            <a:ext cx="11167745" cy="23084356"/>
            <a:chOff x="12391601" y="0"/>
            <a:chExt cx="3183678" cy="5229113"/>
          </a:xfrm>
        </p:grpSpPr>
        <p:grpSp>
          <p:nvGrpSpPr>
            <p:cNvPr id="168" name="Meer informatie">
              <a:extLst>
                <a:ext uri="{FF2B5EF4-FFF2-40B4-BE49-F238E27FC236}">
                  <a16:creationId xmlns:a16="http://schemas.microsoft.com/office/drawing/2014/main" id="{0F7A2FB2-D7BB-48FE-8D4F-62B9A176ED81}"/>
                </a:ext>
              </a:extLst>
            </p:cNvPr>
            <p:cNvGrpSpPr/>
            <p:nvPr userDrawn="1"/>
          </p:nvGrpSpPr>
          <p:grpSpPr>
            <a:xfrm>
              <a:off x="12396764" y="4445840"/>
              <a:ext cx="3178515" cy="783273"/>
              <a:chOff x="-3741486" y="3386444"/>
              <a:chExt cx="3178515" cy="783273"/>
            </a:xfrm>
          </p:grpSpPr>
          <p:sp>
            <p:nvSpPr>
              <p:cNvPr id="229" name="Freeform 101">
                <a:extLst>
                  <a:ext uri="{FF2B5EF4-FFF2-40B4-BE49-F238E27FC236}">
                    <a16:creationId xmlns:a16="http://schemas.microsoft.com/office/drawing/2014/main" id="{0031DDF7-C28C-4806-A86F-2013C6A9F7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230" name="Rechthoek 306">
                <a:extLst>
                  <a:ext uri="{FF2B5EF4-FFF2-40B4-BE49-F238E27FC236}">
                    <a16:creationId xmlns:a16="http://schemas.microsoft.com/office/drawing/2014/main" id="{4B4FF802-0062-4182-A927-B60762328980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45" name="Rechte verbindingslijn 307">
                <a:extLst>
                  <a:ext uri="{FF2B5EF4-FFF2-40B4-BE49-F238E27FC236}">
                    <a16:creationId xmlns:a16="http://schemas.microsoft.com/office/drawing/2014/main" id="{3A2592B0-6D7A-45E7-8F22-0323E512F1A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9" name="Rechthoek 260">
              <a:extLst>
                <a:ext uri="{FF2B5EF4-FFF2-40B4-BE49-F238E27FC236}">
                  <a16:creationId xmlns:a16="http://schemas.microsoft.com/office/drawing/2014/main" id="{52C54B33-0E6F-4900-A56F-19F0B351850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170" name="Ovaal 261">
              <a:extLst>
                <a:ext uri="{FF2B5EF4-FFF2-40B4-BE49-F238E27FC236}">
                  <a16:creationId xmlns:a16="http://schemas.microsoft.com/office/drawing/2014/main" id="{2B842E25-22E9-4681-AE1C-387696989BB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1" name="Rechte verbindingslijn 262">
              <a:extLst>
                <a:ext uri="{FF2B5EF4-FFF2-40B4-BE49-F238E27FC236}">
                  <a16:creationId xmlns:a16="http://schemas.microsoft.com/office/drawing/2014/main" id="{1620D41F-AB81-46F9-99BE-1B9124F7B8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7" name="Rechte verbindingslijn 263">
              <a:extLst>
                <a:ext uri="{FF2B5EF4-FFF2-40B4-BE49-F238E27FC236}">
                  <a16:creationId xmlns:a16="http://schemas.microsoft.com/office/drawing/2014/main" id="{60989F6B-E889-44B7-8FF9-52DAAC264D1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88" name="Rechthoek 264">
              <a:extLst>
                <a:ext uri="{FF2B5EF4-FFF2-40B4-BE49-F238E27FC236}">
                  <a16:creationId xmlns:a16="http://schemas.microsoft.com/office/drawing/2014/main" id="{5C7E4C0C-182F-4B9E-AE82-C28502245921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oor deze te selecteren en op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om een nieuwe afbeelding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89" name="Rechte verbindingslijn 265">
              <a:extLst>
                <a:ext uri="{FF2B5EF4-FFF2-40B4-BE49-F238E27FC236}">
                  <a16:creationId xmlns:a16="http://schemas.microsoft.com/office/drawing/2014/main" id="{0E852508-8CBA-43BD-8D2D-72E14BEDE5C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4327957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90" name="Ovaal 266">
              <a:extLst>
                <a:ext uri="{FF2B5EF4-FFF2-40B4-BE49-F238E27FC236}">
                  <a16:creationId xmlns:a16="http://schemas.microsoft.com/office/drawing/2014/main" id="{B3EA64D6-D0B9-42B9-A0E7-1E9CE13B131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91" name="Rechthoek 267">
              <a:extLst>
                <a:ext uri="{FF2B5EF4-FFF2-40B4-BE49-F238E27FC236}">
                  <a16:creationId xmlns:a16="http://schemas.microsoft.com/office/drawing/2014/main" id="{D94D0B71-4AD1-444D-A3C1-D84F41870101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92" name="Groep 268">
              <a:extLst>
                <a:ext uri="{FF2B5EF4-FFF2-40B4-BE49-F238E27FC236}">
                  <a16:creationId xmlns:a16="http://schemas.microsoft.com/office/drawing/2014/main" id="{C3AE59F1-5BCF-4C25-B665-F056FB35F7D1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26" name="Rechthoek 302">
                <a:extLst>
                  <a:ext uri="{FF2B5EF4-FFF2-40B4-BE49-F238E27FC236}">
                    <a16:creationId xmlns:a16="http://schemas.microsoft.com/office/drawing/2014/main" id="{CF7490C1-4857-4F62-9534-0289BB759C7D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227" name="Rechte verbindingslijn 303">
                <a:extLst>
                  <a:ext uri="{FF2B5EF4-FFF2-40B4-BE49-F238E27FC236}">
                    <a16:creationId xmlns:a16="http://schemas.microsoft.com/office/drawing/2014/main" id="{D8B49E5E-9784-4489-90CA-AC197D62229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28" name="Gelijkbenige driehoek 304">
                <a:extLst>
                  <a:ext uri="{FF2B5EF4-FFF2-40B4-BE49-F238E27FC236}">
                    <a16:creationId xmlns:a16="http://schemas.microsoft.com/office/drawing/2014/main" id="{1E92FB0C-DCB1-4FD2-9390-00C4DB0B0E3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93" name="Groep 269">
              <a:extLst>
                <a:ext uri="{FF2B5EF4-FFF2-40B4-BE49-F238E27FC236}">
                  <a16:creationId xmlns:a16="http://schemas.microsoft.com/office/drawing/2014/main" id="{E772412E-F4EA-4570-9686-E3FEC98EEE9A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220" name="Rechthoek 296">
                <a:extLst>
                  <a:ext uri="{FF2B5EF4-FFF2-40B4-BE49-F238E27FC236}">
                    <a16:creationId xmlns:a16="http://schemas.microsoft.com/office/drawing/2014/main" id="{A5213E24-7215-48EA-8BB0-CC7435242DA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1" name="Ovaal 297">
                <a:extLst>
                  <a:ext uri="{FF2B5EF4-FFF2-40B4-BE49-F238E27FC236}">
                    <a16:creationId xmlns:a16="http://schemas.microsoft.com/office/drawing/2014/main" id="{DD5060DB-DF93-4FAB-8006-F1A519E6461D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2" name="Vrije vorm: vorm 298">
                <a:extLst>
                  <a:ext uri="{FF2B5EF4-FFF2-40B4-BE49-F238E27FC236}">
                    <a16:creationId xmlns:a16="http://schemas.microsoft.com/office/drawing/2014/main" id="{B0B2F49B-3A69-452B-A23D-32B8D39B30CF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3" name="Rechthoek: afgeronde hoeken 299">
                <a:extLst>
                  <a:ext uri="{FF2B5EF4-FFF2-40B4-BE49-F238E27FC236}">
                    <a16:creationId xmlns:a16="http://schemas.microsoft.com/office/drawing/2014/main" id="{67CEDE91-2011-4A0A-9C72-C29BE7EC087A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224" name="Rechte verbindingslijn 300">
                <a:extLst>
                  <a:ext uri="{FF2B5EF4-FFF2-40B4-BE49-F238E27FC236}">
                    <a16:creationId xmlns:a16="http://schemas.microsoft.com/office/drawing/2014/main" id="{18932C09-A93A-46A3-BC20-77AAC16A3F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25" name="Rechte verbindingslijn 301">
                <a:extLst>
                  <a:ext uri="{FF2B5EF4-FFF2-40B4-BE49-F238E27FC236}">
                    <a16:creationId xmlns:a16="http://schemas.microsoft.com/office/drawing/2014/main" id="{3B5E5436-3EAE-413F-ABA5-1756E7C8674E}"/>
                  </a:ext>
                </a:extLst>
              </p:cNvPr>
              <p:cNvCxnSpPr>
                <a:cxnSpLocks/>
                <a:stCxn id="223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94" name="Ovaal 270">
              <a:extLst>
                <a:ext uri="{FF2B5EF4-FFF2-40B4-BE49-F238E27FC236}">
                  <a16:creationId xmlns:a16="http://schemas.microsoft.com/office/drawing/2014/main" id="{2419888C-19B6-481E-B2FF-C4DC63D52977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95" name="Rechthoek 271">
              <a:extLst>
                <a:ext uri="{FF2B5EF4-FFF2-40B4-BE49-F238E27FC236}">
                  <a16:creationId xmlns:a16="http://schemas.microsoft.com/office/drawing/2014/main" id="{84D765E4-A791-4119-BA2B-5C4D7918047F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43320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aan de linker kant van het scherm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96" name="Rechte verbindingslijn 272">
              <a:extLst>
                <a:ext uri="{FF2B5EF4-FFF2-40B4-BE49-F238E27FC236}">
                  <a16:creationId xmlns:a16="http://schemas.microsoft.com/office/drawing/2014/main" id="{F476E69D-E8BF-4595-8E00-C2E4F7C220D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97" name="Rechthoek 273">
              <a:extLst>
                <a:ext uri="{FF2B5EF4-FFF2-40B4-BE49-F238E27FC236}">
                  <a16:creationId xmlns:a16="http://schemas.microsoft.com/office/drawing/2014/main" id="{5EA26063-7526-462C-87B0-58492330FAB4}"/>
                </a:ext>
              </a:extLst>
            </p:cNvPr>
            <p:cNvSpPr/>
            <p:nvPr userDrawn="1"/>
          </p:nvSpPr>
          <p:spPr>
            <a:xfrm>
              <a:off x="12654153" y="3238910"/>
              <a:ext cx="1624926" cy="805220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3509" b="0" i="1" noProof="0">
                <a:solidFill>
                  <a:schemeClr val="tx1"/>
                </a:solidFill>
              </a:endParaRPr>
            </a:p>
          </p:txBody>
        </p:sp>
        <p:grpSp>
          <p:nvGrpSpPr>
            <p:cNvPr id="198" name="Groep 274">
              <a:extLst>
                <a:ext uri="{FF2B5EF4-FFF2-40B4-BE49-F238E27FC236}">
                  <a16:creationId xmlns:a16="http://schemas.microsoft.com/office/drawing/2014/main" id="{4D87C859-C297-43C7-887B-2EB1DE1E3DB5}"/>
                </a:ext>
              </a:extLst>
            </p:cNvPr>
            <p:cNvGrpSpPr/>
            <p:nvPr userDrawn="1"/>
          </p:nvGrpSpPr>
          <p:grpSpPr>
            <a:xfrm>
              <a:off x="13614067" y="3535184"/>
              <a:ext cx="1195438" cy="678267"/>
              <a:chOff x="12757284" y="3224292"/>
              <a:chExt cx="1195438" cy="678267"/>
            </a:xfrm>
          </p:grpSpPr>
          <p:sp>
            <p:nvSpPr>
              <p:cNvPr id="199" name="Rechthoek 275">
                <a:extLst>
                  <a:ext uri="{FF2B5EF4-FFF2-40B4-BE49-F238E27FC236}">
                    <a16:creationId xmlns:a16="http://schemas.microsoft.com/office/drawing/2014/main" id="{49CA24D3-8532-4674-B98A-8296E6528AF2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00" name="Rechthoek 276">
                <a:extLst>
                  <a:ext uri="{FF2B5EF4-FFF2-40B4-BE49-F238E27FC236}">
                    <a16:creationId xmlns:a16="http://schemas.microsoft.com/office/drawing/2014/main" id="{4B8939E3-92C3-44F4-9BD5-1DB7FB0A66B8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01" name="Groep 277">
                <a:extLst>
                  <a:ext uri="{FF2B5EF4-FFF2-40B4-BE49-F238E27FC236}">
                    <a16:creationId xmlns:a16="http://schemas.microsoft.com/office/drawing/2014/main" id="{855C3FD2-D5A3-4C68-BAA6-B45D3AB5AD00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214" name="Rechthoek: afgeronde hoeken 290">
                  <a:extLst>
                    <a:ext uri="{FF2B5EF4-FFF2-40B4-BE49-F238E27FC236}">
                      <a16:creationId xmlns:a16="http://schemas.microsoft.com/office/drawing/2014/main" id="{D6592CD7-4960-4B26-A3A8-7BD365991DBB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endPara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5" name="Rechthoek 291">
                  <a:extLst>
                    <a:ext uri="{FF2B5EF4-FFF2-40B4-BE49-F238E27FC236}">
                      <a16:creationId xmlns:a16="http://schemas.microsoft.com/office/drawing/2014/main" id="{AA4A7C17-FB54-4CFF-82FD-8E2CE35D7C39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6" name="Rechthoek 292">
                  <a:extLst>
                    <a:ext uri="{FF2B5EF4-FFF2-40B4-BE49-F238E27FC236}">
                      <a16:creationId xmlns:a16="http://schemas.microsoft.com/office/drawing/2014/main" id="{A244A498-0425-4308-8955-DFB58DF90D1A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7" name="Rechthoek 293">
                  <a:extLst>
                    <a:ext uri="{FF2B5EF4-FFF2-40B4-BE49-F238E27FC236}">
                      <a16:creationId xmlns:a16="http://schemas.microsoft.com/office/drawing/2014/main" id="{4FCDD622-0C8B-4364-BE92-D9FC5CB0ACB1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8" name="Rechthoek 294">
                  <a:extLst>
                    <a:ext uri="{FF2B5EF4-FFF2-40B4-BE49-F238E27FC236}">
                      <a16:creationId xmlns:a16="http://schemas.microsoft.com/office/drawing/2014/main" id="{D1802FA6-02D6-47CD-8382-93A10D0ED1B7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9" name="Rechthoek 295">
                  <a:extLst>
                    <a:ext uri="{FF2B5EF4-FFF2-40B4-BE49-F238E27FC236}">
                      <a16:creationId xmlns:a16="http://schemas.microsoft.com/office/drawing/2014/main" id="{7CCAE6D6-0960-47F2-A8FF-5C4236C3F017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202" name="Groep 278">
                <a:extLst>
                  <a:ext uri="{FF2B5EF4-FFF2-40B4-BE49-F238E27FC236}">
                    <a16:creationId xmlns:a16="http://schemas.microsoft.com/office/drawing/2014/main" id="{0A65F830-9A93-416D-A8DE-4C626A5808C8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206" name="Groep 282">
                  <a:extLst>
                    <a:ext uri="{FF2B5EF4-FFF2-40B4-BE49-F238E27FC236}">
                      <a16:creationId xmlns:a16="http://schemas.microsoft.com/office/drawing/2014/main" id="{EAE90E13-348A-43A8-A4E6-B5466EE74C3E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208" name="Rechthoek: afgeronde hoeken 284">
                    <a:extLst>
                      <a:ext uri="{FF2B5EF4-FFF2-40B4-BE49-F238E27FC236}">
                        <a16:creationId xmlns:a16="http://schemas.microsoft.com/office/drawing/2014/main" id="{5F77DA0A-C183-478A-B017-0410985F7C4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2105"/>
                      </a:spcBef>
                      <a:spcAft>
                        <a:spcPts val="2105"/>
                      </a:spcAft>
                    </a:pPr>
                    <a:endParaRPr lang="nl-NL" sz="280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09" name="Rechthoek 285">
                    <a:extLst>
                      <a:ext uri="{FF2B5EF4-FFF2-40B4-BE49-F238E27FC236}">
                        <a16:creationId xmlns:a16="http://schemas.microsoft.com/office/drawing/2014/main" id="{96A832AB-F720-4677-A58E-304A99A962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0" name="Rechthoek 286">
                    <a:extLst>
                      <a:ext uri="{FF2B5EF4-FFF2-40B4-BE49-F238E27FC236}">
                        <a16:creationId xmlns:a16="http://schemas.microsoft.com/office/drawing/2014/main" id="{B64019D6-18FD-4935-AE7E-4A41AEBB1C7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1" name="Rechthoek 287">
                    <a:extLst>
                      <a:ext uri="{FF2B5EF4-FFF2-40B4-BE49-F238E27FC236}">
                        <a16:creationId xmlns:a16="http://schemas.microsoft.com/office/drawing/2014/main" id="{AF896FF2-4F79-4B3A-B16F-303DB01B99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2" name="Rechthoek 288">
                    <a:extLst>
                      <a:ext uri="{FF2B5EF4-FFF2-40B4-BE49-F238E27FC236}">
                        <a16:creationId xmlns:a16="http://schemas.microsoft.com/office/drawing/2014/main" id="{5C2A8C0D-0583-42B3-8C7A-07A28E797ED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3" name="Rechthoek 289">
                    <a:extLst>
                      <a:ext uri="{FF2B5EF4-FFF2-40B4-BE49-F238E27FC236}">
                        <a16:creationId xmlns:a16="http://schemas.microsoft.com/office/drawing/2014/main" id="{E4C9D569-FA79-4D56-ADDE-25FDBCBD504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207" name="Boog 283">
                  <a:extLst>
                    <a:ext uri="{FF2B5EF4-FFF2-40B4-BE49-F238E27FC236}">
                      <a16:creationId xmlns:a16="http://schemas.microsoft.com/office/drawing/2014/main" id="{5A56BBA6-F562-421F-9337-19ECAC422E00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</p:grpSp>
          <p:sp>
            <p:nvSpPr>
              <p:cNvPr id="203" name="Tekstvak 279">
                <a:extLst>
                  <a:ext uri="{FF2B5EF4-FFF2-40B4-BE49-F238E27FC236}">
                    <a16:creationId xmlns:a16="http://schemas.microsoft.com/office/drawing/2014/main" id="{3EB31D65-4EFE-415F-8BFB-3EC9FDDC22A3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204" name="Tekstvak 280">
                <a:extLst>
                  <a:ext uri="{FF2B5EF4-FFF2-40B4-BE49-F238E27FC236}">
                    <a16:creationId xmlns:a16="http://schemas.microsoft.com/office/drawing/2014/main" id="{B7EF83F3-2B7D-4A64-B8C2-61227520E238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205" name="Picture 3">
                <a:extLst>
                  <a:ext uri="{FF2B5EF4-FFF2-40B4-BE49-F238E27FC236}">
                    <a16:creationId xmlns:a16="http://schemas.microsoft.com/office/drawing/2014/main" id="{6ECEF6A9-F446-4E57-8697-B8562D0E271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810206" y="3671228"/>
                <a:ext cx="14251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grpSp>
        <p:nvGrpSpPr>
          <p:cNvPr id="87" name="Instructie">
            <a:extLst>
              <a:ext uri="{FF2B5EF4-FFF2-40B4-BE49-F238E27FC236}">
                <a16:creationId xmlns:a16="http://schemas.microsoft.com/office/drawing/2014/main" id="{1FB51ED4-F5DD-486A-9E36-11EBE1FBB0B7}"/>
              </a:ext>
            </a:extLst>
          </p:cNvPr>
          <p:cNvGrpSpPr/>
          <p:nvPr userDrawn="1"/>
        </p:nvGrpSpPr>
        <p:grpSpPr>
          <a:xfrm>
            <a:off x="-11761540" y="0"/>
            <a:ext cx="11164508" cy="11743958"/>
            <a:chOff x="-3426088" y="4512342"/>
            <a:chExt cx="3182755" cy="2660264"/>
          </a:xfrm>
        </p:grpSpPr>
        <p:sp>
          <p:nvSpPr>
            <p:cNvPr id="88" name="Rechthoek 127">
              <a:extLst>
                <a:ext uri="{FF2B5EF4-FFF2-40B4-BE49-F238E27FC236}">
                  <a16:creationId xmlns:a16="http://schemas.microsoft.com/office/drawing/2014/main" id="{90A476DB-9B4A-476C-B3CD-A1A5C8C09EE2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89" name="Rechte verbindingslijn 128">
              <a:extLst>
                <a:ext uri="{FF2B5EF4-FFF2-40B4-BE49-F238E27FC236}">
                  <a16:creationId xmlns:a16="http://schemas.microsoft.com/office/drawing/2014/main" id="{3661848B-C261-4C32-891C-F024942F9F2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0" name="Rechthoek 130">
              <a:extLst>
                <a:ext uri="{FF2B5EF4-FFF2-40B4-BE49-F238E27FC236}">
                  <a16:creationId xmlns:a16="http://schemas.microsoft.com/office/drawing/2014/main" id="{856D4C44-35AF-488D-8B4A-5F819DDDEB62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91" name="Rechthoek 133">
              <a:extLst>
                <a:ext uri="{FF2B5EF4-FFF2-40B4-BE49-F238E27FC236}">
                  <a16:creationId xmlns:a16="http://schemas.microsoft.com/office/drawing/2014/main" id="{1371B4DB-163F-4863-BACE-D948DECA21BC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92" name="Rechthoek 136">
              <a:extLst>
                <a:ext uri="{FF2B5EF4-FFF2-40B4-BE49-F238E27FC236}">
                  <a16:creationId xmlns:a16="http://schemas.microsoft.com/office/drawing/2014/main" id="{11876C2B-3DFA-4771-8C36-791C16CF633D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93" name="Rechthoek 139">
              <a:extLst>
                <a:ext uri="{FF2B5EF4-FFF2-40B4-BE49-F238E27FC236}">
                  <a16:creationId xmlns:a16="http://schemas.microsoft.com/office/drawing/2014/main" id="{20E38BB6-2FC6-4BD7-94CD-82F88AD296C5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94" name="Rechte verbindingslijn 140">
              <a:extLst>
                <a:ext uri="{FF2B5EF4-FFF2-40B4-BE49-F238E27FC236}">
                  <a16:creationId xmlns:a16="http://schemas.microsoft.com/office/drawing/2014/main" id="{0D45D1BD-1E6B-41C3-AA27-B8A834AC400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71" name="Afbeelding 70">
            <a:extLst>
              <a:ext uri="{FF2B5EF4-FFF2-40B4-BE49-F238E27FC236}">
                <a16:creationId xmlns:a16="http://schemas.microsoft.com/office/drawing/2014/main" id="{EBAD7435-810D-4257-965C-E74C034C95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5933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Instructie">
            <a:extLst>
              <a:ext uri="{FF2B5EF4-FFF2-40B4-BE49-F238E27FC236}">
                <a16:creationId xmlns:a16="http://schemas.microsoft.com/office/drawing/2014/main" id="{D5E8EF87-B02C-4C6C-90C8-D7C17E25FCC5}"/>
              </a:ext>
            </a:extLst>
          </p:cNvPr>
          <p:cNvGrpSpPr/>
          <p:nvPr userDrawn="1"/>
        </p:nvGrpSpPr>
        <p:grpSpPr>
          <a:xfrm>
            <a:off x="-11879069" y="0"/>
            <a:ext cx="11304947" cy="9880756"/>
            <a:chOff x="-3428327" y="4512342"/>
            <a:chExt cx="3222791" cy="2238208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63EA60B4-85E3-4F49-9206-3E0CB959F555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ettekst wijzigen</a:t>
              </a:r>
            </a:p>
          </p:txBody>
        </p:sp>
        <p:cxnSp>
          <p:nvCxnSpPr>
            <p:cNvPr id="20" name="Rechte verbindingslijn 19">
              <a:extLst>
                <a:ext uri="{FF2B5EF4-FFF2-40B4-BE49-F238E27FC236}">
                  <a16:creationId xmlns:a16="http://schemas.microsoft.com/office/drawing/2014/main" id="{77C1EF7D-EFC8-447F-8B5D-929F29A96FB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" name="Ovaal 20">
              <a:extLst>
                <a:ext uri="{FF2B5EF4-FFF2-40B4-BE49-F238E27FC236}">
                  <a16:creationId xmlns:a16="http://schemas.microsoft.com/office/drawing/2014/main" id="{E87DD442-5E0D-43FD-A7B2-815E2103B9E9}"/>
                </a:ext>
              </a:extLst>
            </p:cNvPr>
            <p:cNvSpPr/>
            <p:nvPr userDrawn="1"/>
          </p:nvSpPr>
          <p:spPr>
            <a:xfrm>
              <a:off x="-3428327" y="489302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50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22" name="Rechthoek 21">
              <a:extLst>
                <a:ext uri="{FF2B5EF4-FFF2-40B4-BE49-F238E27FC236}">
                  <a16:creationId xmlns:a16="http://schemas.microsoft.com/office/drawing/2014/main" id="{49AFB772-31D2-4D09-87E1-B7CC4FFC5DB2}"/>
                </a:ext>
              </a:extLst>
            </p:cNvPr>
            <p:cNvSpPr/>
            <p:nvPr userDrawn="1"/>
          </p:nvSpPr>
          <p:spPr>
            <a:xfrm>
              <a:off x="-3062646" y="4959088"/>
              <a:ext cx="2247687" cy="82820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Ga naa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I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nvoeg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b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lik op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op- en voettekst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.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ink de box voo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ettekst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an om deze zichtbaar te maken.</a:t>
              </a:r>
            </a:p>
          </p:txBody>
        </p:sp>
        <p:cxnSp>
          <p:nvCxnSpPr>
            <p:cNvPr id="23" name="Rechte verbindingslijn 22">
              <a:extLst>
                <a:ext uri="{FF2B5EF4-FFF2-40B4-BE49-F238E27FC236}">
                  <a16:creationId xmlns:a16="http://schemas.microsoft.com/office/drawing/2014/main" id="{DC8C399E-4AE3-44A0-8778-EC90420C6A1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787288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4" name="Ovaal 23">
              <a:extLst>
                <a:ext uri="{FF2B5EF4-FFF2-40B4-BE49-F238E27FC236}">
                  <a16:creationId xmlns:a16="http://schemas.microsoft.com/office/drawing/2014/main" id="{5101A021-9595-4403-AAC2-DBB328463133}"/>
                </a:ext>
              </a:extLst>
            </p:cNvPr>
            <p:cNvSpPr/>
            <p:nvPr userDrawn="1"/>
          </p:nvSpPr>
          <p:spPr>
            <a:xfrm>
              <a:off x="-3428327" y="59089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50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5" name="Rechthoek 24">
              <a:extLst>
                <a:ext uri="{FF2B5EF4-FFF2-40B4-BE49-F238E27FC236}">
                  <a16:creationId xmlns:a16="http://schemas.microsoft.com/office/drawing/2014/main" id="{A76E70CF-6246-444C-87EB-E324464EDA0F}"/>
                </a:ext>
              </a:extLst>
            </p:cNvPr>
            <p:cNvSpPr/>
            <p:nvPr userDrawn="1"/>
          </p:nvSpPr>
          <p:spPr>
            <a:xfrm>
              <a:off x="-3062645" y="5974980"/>
              <a:ext cx="2817996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Typ de gewenste voettekst in het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angegeven tekstkader.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vervolgens op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veral toepass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b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de gegevens op elke slide toe te passen.</a:t>
              </a:r>
            </a:p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350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26" name="Rechte verbindingslijn 25">
              <a:extLst>
                <a:ext uri="{FF2B5EF4-FFF2-40B4-BE49-F238E27FC236}">
                  <a16:creationId xmlns:a16="http://schemas.microsoft.com/office/drawing/2014/main" id="{474FE3ED-3EC5-46D2-8BF1-9E695001801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675055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7" name="Groep 26">
              <a:extLst>
                <a:ext uri="{FF2B5EF4-FFF2-40B4-BE49-F238E27FC236}">
                  <a16:creationId xmlns:a16="http://schemas.microsoft.com/office/drawing/2014/main" id="{3ECD38D8-6580-42F2-95A1-2AFD451A5F19}"/>
                </a:ext>
              </a:extLst>
            </p:cNvPr>
            <p:cNvGrpSpPr/>
            <p:nvPr userDrawn="1"/>
          </p:nvGrpSpPr>
          <p:grpSpPr>
            <a:xfrm>
              <a:off x="-886669" y="4993966"/>
              <a:ext cx="681133" cy="750023"/>
              <a:chOff x="-910573" y="4987990"/>
              <a:chExt cx="681133" cy="750023"/>
            </a:xfrm>
          </p:grpSpPr>
          <p:grpSp>
            <p:nvGrpSpPr>
              <p:cNvPr id="29" name="Groep 28">
                <a:extLst>
                  <a:ext uri="{FF2B5EF4-FFF2-40B4-BE49-F238E27FC236}">
                    <a16:creationId xmlns:a16="http://schemas.microsoft.com/office/drawing/2014/main" id="{399AD2D2-8AF2-4610-BBAD-F7FC1EB9276B}"/>
                  </a:ext>
                </a:extLst>
              </p:cNvPr>
              <p:cNvGrpSpPr/>
              <p:nvPr userDrawn="1"/>
            </p:nvGrpSpPr>
            <p:grpSpPr>
              <a:xfrm>
                <a:off x="-713542" y="4987990"/>
                <a:ext cx="287071" cy="379107"/>
                <a:chOff x="-4050578" y="288410"/>
                <a:chExt cx="322125" cy="379107"/>
              </a:xfrm>
            </p:grpSpPr>
            <p:sp>
              <p:nvSpPr>
                <p:cNvPr id="32" name="Rechthoek met één afgeknipte en afgeronde hoek 47">
                  <a:extLst>
                    <a:ext uri="{FF2B5EF4-FFF2-40B4-BE49-F238E27FC236}">
                      <a16:creationId xmlns:a16="http://schemas.microsoft.com/office/drawing/2014/main" id="{43A6D2FC-3164-4919-8E6C-8EFCE3358913}"/>
                    </a:ext>
                  </a:extLst>
                </p:cNvPr>
                <p:cNvSpPr/>
                <p:nvPr userDrawn="1"/>
              </p:nvSpPr>
              <p:spPr>
                <a:xfrm>
                  <a:off x="-4050578" y="288410"/>
                  <a:ext cx="322125" cy="379107"/>
                </a:xfrm>
                <a:prstGeom prst="snipRoundRect">
                  <a:avLst>
                    <a:gd name="adj1" fmla="val 0"/>
                    <a:gd name="adj2" fmla="val 33753"/>
                  </a:avLst>
                </a:prstGeom>
                <a:solidFill>
                  <a:sysClr val="window" lastClr="FFFFFF"/>
                </a:solidFill>
                <a:ln w="12700" cap="flat" cmpd="sng" algn="ctr">
                  <a:solidFill>
                    <a:srgbClr val="FFFFFF">
                      <a:lumMod val="65000"/>
                    </a:srgbClr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3207489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4911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  <p:sp>
              <p:nvSpPr>
                <p:cNvPr id="33" name="Rechthoekige driehoek 32">
                  <a:extLst>
                    <a:ext uri="{FF2B5EF4-FFF2-40B4-BE49-F238E27FC236}">
                      <a16:creationId xmlns:a16="http://schemas.microsoft.com/office/drawing/2014/main" id="{A1FB10E2-833B-4A59-A608-CD0D3ADFF6B1}"/>
                    </a:ext>
                  </a:extLst>
                </p:cNvPr>
                <p:cNvSpPr/>
                <p:nvPr userDrawn="1"/>
              </p:nvSpPr>
              <p:spPr>
                <a:xfrm>
                  <a:off x="-3833537" y="291656"/>
                  <a:ext cx="103133" cy="93757"/>
                </a:xfrm>
                <a:prstGeom prst="rtTriangle">
                  <a:avLst/>
                </a:prstGeom>
                <a:solidFill>
                  <a:sysClr val="window" lastClr="FFFFFF"/>
                </a:solidFill>
                <a:ln w="12700" cap="flat" cmpd="sng" algn="ctr">
                  <a:solidFill>
                    <a:srgbClr val="FFFFFF">
                      <a:lumMod val="65000"/>
                    </a:srgbClr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3207489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4911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Rechthoek 33">
                  <a:extLst>
                    <a:ext uri="{FF2B5EF4-FFF2-40B4-BE49-F238E27FC236}">
                      <a16:creationId xmlns:a16="http://schemas.microsoft.com/office/drawing/2014/main" id="{B2E39825-570F-4F57-876F-6095E3E102BF}"/>
                    </a:ext>
                  </a:extLst>
                </p:cNvPr>
                <p:cNvSpPr/>
                <p:nvPr userDrawn="1"/>
              </p:nvSpPr>
              <p:spPr>
                <a:xfrm>
                  <a:off x="-4013673" y="314848"/>
                  <a:ext cx="140930" cy="70565"/>
                </a:xfrm>
                <a:prstGeom prst="rect">
                  <a:avLst/>
                </a:prstGeom>
                <a:solidFill>
                  <a:srgbClr val="EDC87E"/>
                </a:solidFill>
                <a:ln w="12700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3207489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4911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  <p:sp>
              <p:nvSpPr>
                <p:cNvPr id="35" name="Rechthoek 34">
                  <a:extLst>
                    <a:ext uri="{FF2B5EF4-FFF2-40B4-BE49-F238E27FC236}">
                      <a16:creationId xmlns:a16="http://schemas.microsoft.com/office/drawing/2014/main" id="{63A4E748-AD95-4386-A068-20C1DAB6317B}"/>
                    </a:ext>
                  </a:extLst>
                </p:cNvPr>
                <p:cNvSpPr/>
                <p:nvPr userDrawn="1"/>
              </p:nvSpPr>
              <p:spPr>
                <a:xfrm>
                  <a:off x="-4020379" y="586428"/>
                  <a:ext cx="261727" cy="61406"/>
                </a:xfrm>
                <a:prstGeom prst="rect">
                  <a:avLst/>
                </a:prstGeom>
                <a:solidFill>
                  <a:srgbClr val="EDC87E"/>
                </a:solidFill>
                <a:ln w="12700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R="0" lvl="0" indent="0" algn="ctr" defTabSz="3207489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nl-NL" sz="4911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C6833428-E8A1-4528-AAAA-ED03CB49B8B1}"/>
                  </a:ext>
                </a:extLst>
              </p:cNvPr>
              <p:cNvSpPr/>
              <p:nvPr userDrawn="1"/>
            </p:nvSpPr>
            <p:spPr>
              <a:xfrm>
                <a:off x="-910573" y="5352063"/>
                <a:ext cx="681133" cy="385950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32074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2455" b="0" i="0" u="none" strike="noStrike" kern="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+mn-lt"/>
                    <a:ea typeface="+mn-ea"/>
                    <a:cs typeface="Segoe UI Light" panose="020B0502040204020203" pitchFamily="34" charset="0"/>
                  </a:rPr>
                  <a:t>Koptekst en voettekst</a:t>
                </a:r>
              </a:p>
            </p:txBody>
          </p:sp>
        </p:grpSp>
      </p:grpSp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22C8233F-3E7B-49DC-AC22-FB28BF26342E}"/>
              </a:ext>
            </a:extLst>
          </p:cNvPr>
          <p:cNvSpPr>
            <a:spLocks noGrp="1"/>
          </p:cNvSpPr>
          <p:nvPr userDrawn="1">
            <p:ph type="pic" sz="quarter" idx="35" hasCustomPrompt="1"/>
          </p:nvPr>
        </p:nvSpPr>
        <p:spPr>
          <a:xfrm>
            <a:off x="-5566" y="2543961"/>
            <a:ext cx="38729979" cy="22727432"/>
          </a:xfrm>
          <a:solidFill>
            <a:schemeClr val="bg1">
              <a:lumMod val="95000"/>
            </a:schemeClr>
          </a:solidFill>
        </p:spPr>
        <p:txBody>
          <a:bodyPr vert="horz" lIns="0" tIns="2880000" rIns="0" bIns="0" rtlCol="0">
            <a:normAutofit/>
          </a:bodyPr>
          <a:lstStyle>
            <a:lvl1pPr marL="801872" indent="-801872" algn="ctr">
              <a:spcBef>
                <a:spcPts val="0"/>
              </a:spcBef>
              <a:spcAft>
                <a:spcPts val="0"/>
              </a:spcAft>
              <a:buFont typeface="+mj-lt"/>
              <a:buNone/>
              <a:defRPr lang="nl-NL"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801872" lvl="0" indent="-801872" algn="ctr"/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815D2346-2389-418D-A441-59E88FFEBE24}"/>
              </a:ext>
            </a:extLst>
          </p:cNvPr>
          <p:cNvSpPr>
            <a:spLocks noGrp="1"/>
          </p:cNvSpPr>
          <p:nvPr userDrawn="1">
            <p:ph type="body" sz="quarter" idx="31"/>
          </p:nvPr>
        </p:nvSpPr>
        <p:spPr>
          <a:xfrm>
            <a:off x="-3408" y="0"/>
            <a:ext cx="42770656" cy="25428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351">
                <a:solidFill>
                  <a:schemeClr val="bg1"/>
                </a:solidFill>
              </a:defRPr>
            </a:lvl1pPr>
          </a:lstStyle>
          <a:p>
            <a:pPr lvl="0"/>
            <a:endParaRPr lang="nl-NL" noProof="0"/>
          </a:p>
        </p:txBody>
      </p:sp>
      <p:sp>
        <p:nvSpPr>
          <p:cNvPr id="28" name="Tijdelijke aanduiding voor tekst 2">
            <a:extLst>
              <a:ext uri="{FF2B5EF4-FFF2-40B4-BE49-F238E27FC236}">
                <a16:creationId xmlns:a16="http://schemas.microsoft.com/office/drawing/2014/main" id="{7BDE5674-83BE-4E1D-873D-42FE9FEB8D5C}"/>
              </a:ext>
            </a:extLst>
          </p:cNvPr>
          <p:cNvSpPr>
            <a:spLocks noGrp="1"/>
          </p:cNvSpPr>
          <p:nvPr userDrawn="1">
            <p:ph type="body" sz="quarter" idx="32"/>
          </p:nvPr>
        </p:nvSpPr>
        <p:spPr>
          <a:xfrm>
            <a:off x="38726250" y="0"/>
            <a:ext cx="4041000" cy="30306998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351">
                <a:solidFill>
                  <a:schemeClr val="bg1"/>
                </a:solidFill>
              </a:defRPr>
            </a:lvl1pPr>
          </a:lstStyle>
          <a:p>
            <a:pPr lvl="0"/>
            <a:endParaRPr lang="nl-NL" noProof="0"/>
          </a:p>
        </p:txBody>
      </p:sp>
      <p:sp>
        <p:nvSpPr>
          <p:cNvPr id="30" name="Tijdelijke aanduiding voor tekst 2">
            <a:extLst>
              <a:ext uri="{FF2B5EF4-FFF2-40B4-BE49-F238E27FC236}">
                <a16:creationId xmlns:a16="http://schemas.microsoft.com/office/drawing/2014/main" id="{ED88654C-2F09-42A2-8633-BAD63AF9F763}"/>
              </a:ext>
            </a:extLst>
          </p:cNvPr>
          <p:cNvSpPr>
            <a:spLocks noGrp="1"/>
          </p:cNvSpPr>
          <p:nvPr userDrawn="1">
            <p:ph type="body" sz="quarter" idx="33"/>
          </p:nvPr>
        </p:nvSpPr>
        <p:spPr>
          <a:xfrm rot="16200000">
            <a:off x="18842930" y="6346683"/>
            <a:ext cx="5085600" cy="42771459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351">
                <a:solidFill>
                  <a:schemeClr val="bg1"/>
                </a:solidFill>
              </a:defRPr>
            </a:lvl1pPr>
          </a:lstStyle>
          <a:p>
            <a:pPr lvl="0"/>
            <a:endParaRPr lang="nl-NL" noProof="0"/>
          </a:p>
        </p:txBody>
      </p:sp>
      <p:sp>
        <p:nvSpPr>
          <p:cNvPr id="17" name="Tijdelijke aanduiding voor tekst 15">
            <a:extLst>
              <a:ext uri="{FF2B5EF4-FFF2-40B4-BE49-F238E27FC236}">
                <a16:creationId xmlns:a16="http://schemas.microsoft.com/office/drawing/2014/main" id="{7D35ADBF-F5AF-4BEF-A048-07416BC1D671}"/>
              </a:ext>
            </a:extLst>
          </p:cNvPr>
          <p:cNvSpPr>
            <a:spLocks noGrp="1"/>
          </p:cNvSpPr>
          <p:nvPr userDrawn="1">
            <p:ph type="body" sz="quarter" idx="43" hasCustomPrompt="1"/>
          </p:nvPr>
        </p:nvSpPr>
        <p:spPr>
          <a:xfrm>
            <a:off x="2596218" y="4421477"/>
            <a:ext cx="15869579" cy="8579805"/>
          </a:xfrm>
          <a:custGeom>
            <a:avLst/>
            <a:gdLst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4067 w 4524067"/>
              <a:gd name="connsiteY3" fmla="*/ 1604261 h 1943514"/>
              <a:gd name="connsiteX4" fmla="*/ 374342 w 4524067"/>
              <a:gd name="connsiteY4" fmla="*/ 1604261 h 1943514"/>
              <a:gd name="connsiteX5" fmla="*/ 374342 w 4524067"/>
              <a:gd name="connsiteY5" fmla="*/ 1604495 h 1943514"/>
              <a:gd name="connsiteX6" fmla="*/ 372031 w 4524067"/>
              <a:gd name="connsiteY6" fmla="*/ 1604262 h 1943514"/>
              <a:gd name="connsiteX7" fmla="*/ 7555 w 4524067"/>
              <a:gd name="connsiteY7" fmla="*/ 1901319 h 1943514"/>
              <a:gd name="connsiteX8" fmla="*/ 3301 w 4524067"/>
              <a:gd name="connsiteY8" fmla="*/ 1943514 h 1943514"/>
              <a:gd name="connsiteX9" fmla="*/ 0 w 4524067"/>
              <a:gd name="connsiteY9" fmla="*/ 1935545 h 1943514"/>
              <a:gd name="connsiteX10" fmla="*/ 0 w 4524067"/>
              <a:gd name="connsiteY10" fmla="*/ 71054 h 1943514"/>
              <a:gd name="connsiteX11" fmla="*/ 71054 w 4524067"/>
              <a:gd name="connsiteY11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524067 w 4524067"/>
              <a:gd name="connsiteY4" fmla="*/ 160426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524067 w 4524067"/>
              <a:gd name="connsiteY4" fmla="*/ 1604261 h 1943514"/>
              <a:gd name="connsiteX5" fmla="*/ 4481998 w 4524067"/>
              <a:gd name="connsiteY5" fmla="*/ 1606550 h 1943514"/>
              <a:gd name="connsiteX6" fmla="*/ 374342 w 4524067"/>
              <a:gd name="connsiteY6" fmla="*/ 1604261 h 1943514"/>
              <a:gd name="connsiteX7" fmla="*/ 374342 w 4524067"/>
              <a:gd name="connsiteY7" fmla="*/ 1604495 h 1943514"/>
              <a:gd name="connsiteX8" fmla="*/ 372031 w 4524067"/>
              <a:gd name="connsiteY8" fmla="*/ 1604262 h 1943514"/>
              <a:gd name="connsiteX9" fmla="*/ 7555 w 4524067"/>
              <a:gd name="connsiteY9" fmla="*/ 1901319 h 1943514"/>
              <a:gd name="connsiteX10" fmla="*/ 3301 w 4524067"/>
              <a:gd name="connsiteY10" fmla="*/ 1943514 h 1943514"/>
              <a:gd name="connsiteX11" fmla="*/ 0 w 4524067"/>
              <a:gd name="connsiteY11" fmla="*/ 1935545 h 1943514"/>
              <a:gd name="connsiteX12" fmla="*/ 0 w 4524067"/>
              <a:gd name="connsiteY12" fmla="*/ 71054 h 1943514"/>
              <a:gd name="connsiteX13" fmla="*/ 71054 w 4524067"/>
              <a:gd name="connsiteY13" fmla="*/ 0 h 1943514"/>
              <a:gd name="connsiteX0" fmla="*/ 71054 w 4799095"/>
              <a:gd name="connsiteY0" fmla="*/ 0 h 1943514"/>
              <a:gd name="connsiteX1" fmla="*/ 4453013 w 4799095"/>
              <a:gd name="connsiteY1" fmla="*/ 0 h 1943514"/>
              <a:gd name="connsiteX2" fmla="*/ 4524067 w 4799095"/>
              <a:gd name="connsiteY2" fmla="*/ 71054 h 1943514"/>
              <a:gd name="connsiteX3" fmla="*/ 4522480 w 4799095"/>
              <a:gd name="connsiteY3" fmla="*/ 1547019 h 1943514"/>
              <a:gd name="connsiteX4" fmla="*/ 4524067 w 4799095"/>
              <a:gd name="connsiteY4" fmla="*/ 1604261 h 1943514"/>
              <a:gd name="connsiteX5" fmla="*/ 4481998 w 4799095"/>
              <a:gd name="connsiteY5" fmla="*/ 1606550 h 1943514"/>
              <a:gd name="connsiteX6" fmla="*/ 374342 w 4799095"/>
              <a:gd name="connsiteY6" fmla="*/ 1604261 h 1943514"/>
              <a:gd name="connsiteX7" fmla="*/ 374342 w 4799095"/>
              <a:gd name="connsiteY7" fmla="*/ 1604495 h 1943514"/>
              <a:gd name="connsiteX8" fmla="*/ 372031 w 4799095"/>
              <a:gd name="connsiteY8" fmla="*/ 1604262 h 1943514"/>
              <a:gd name="connsiteX9" fmla="*/ 7555 w 4799095"/>
              <a:gd name="connsiteY9" fmla="*/ 1901319 h 1943514"/>
              <a:gd name="connsiteX10" fmla="*/ 3301 w 4799095"/>
              <a:gd name="connsiteY10" fmla="*/ 1943514 h 1943514"/>
              <a:gd name="connsiteX11" fmla="*/ 0 w 4799095"/>
              <a:gd name="connsiteY11" fmla="*/ 1935545 h 1943514"/>
              <a:gd name="connsiteX12" fmla="*/ 0 w 4799095"/>
              <a:gd name="connsiteY12" fmla="*/ 71054 h 1943514"/>
              <a:gd name="connsiteX13" fmla="*/ 71054 w 4799095"/>
              <a:gd name="connsiteY13" fmla="*/ 0 h 1943514"/>
              <a:gd name="connsiteX0" fmla="*/ 71054 w 4798479"/>
              <a:gd name="connsiteY0" fmla="*/ 0 h 1943514"/>
              <a:gd name="connsiteX1" fmla="*/ 4453013 w 4798479"/>
              <a:gd name="connsiteY1" fmla="*/ 0 h 1943514"/>
              <a:gd name="connsiteX2" fmla="*/ 4524067 w 4798479"/>
              <a:gd name="connsiteY2" fmla="*/ 71054 h 1943514"/>
              <a:gd name="connsiteX3" fmla="*/ 4522480 w 4798479"/>
              <a:gd name="connsiteY3" fmla="*/ 1547019 h 1943514"/>
              <a:gd name="connsiteX4" fmla="*/ 4481998 w 4798479"/>
              <a:gd name="connsiteY4" fmla="*/ 1606550 h 1943514"/>
              <a:gd name="connsiteX5" fmla="*/ 374342 w 4798479"/>
              <a:gd name="connsiteY5" fmla="*/ 1604261 h 1943514"/>
              <a:gd name="connsiteX6" fmla="*/ 374342 w 4798479"/>
              <a:gd name="connsiteY6" fmla="*/ 1604495 h 1943514"/>
              <a:gd name="connsiteX7" fmla="*/ 372031 w 4798479"/>
              <a:gd name="connsiteY7" fmla="*/ 1604262 h 1943514"/>
              <a:gd name="connsiteX8" fmla="*/ 7555 w 4798479"/>
              <a:gd name="connsiteY8" fmla="*/ 1901319 h 1943514"/>
              <a:gd name="connsiteX9" fmla="*/ 3301 w 4798479"/>
              <a:gd name="connsiteY9" fmla="*/ 1943514 h 1943514"/>
              <a:gd name="connsiteX10" fmla="*/ 0 w 4798479"/>
              <a:gd name="connsiteY10" fmla="*/ 1935545 h 1943514"/>
              <a:gd name="connsiteX11" fmla="*/ 0 w 4798479"/>
              <a:gd name="connsiteY11" fmla="*/ 71054 h 1943514"/>
              <a:gd name="connsiteX12" fmla="*/ 71054 w 4798479"/>
              <a:gd name="connsiteY12" fmla="*/ 0 h 1943514"/>
              <a:gd name="connsiteX0" fmla="*/ 71054 w 4801282"/>
              <a:gd name="connsiteY0" fmla="*/ 0 h 1943514"/>
              <a:gd name="connsiteX1" fmla="*/ 4453013 w 4801282"/>
              <a:gd name="connsiteY1" fmla="*/ 0 h 1943514"/>
              <a:gd name="connsiteX2" fmla="*/ 4524067 w 4801282"/>
              <a:gd name="connsiteY2" fmla="*/ 71054 h 1943514"/>
              <a:gd name="connsiteX3" fmla="*/ 4522480 w 4801282"/>
              <a:gd name="connsiteY3" fmla="*/ 1547019 h 1943514"/>
              <a:gd name="connsiteX4" fmla="*/ 4481998 w 4801282"/>
              <a:gd name="connsiteY4" fmla="*/ 1606550 h 1943514"/>
              <a:gd name="connsiteX5" fmla="*/ 374342 w 4801282"/>
              <a:gd name="connsiteY5" fmla="*/ 1604261 h 1943514"/>
              <a:gd name="connsiteX6" fmla="*/ 374342 w 4801282"/>
              <a:gd name="connsiteY6" fmla="*/ 1604495 h 1943514"/>
              <a:gd name="connsiteX7" fmla="*/ 372031 w 4801282"/>
              <a:gd name="connsiteY7" fmla="*/ 1604262 h 1943514"/>
              <a:gd name="connsiteX8" fmla="*/ 7555 w 4801282"/>
              <a:gd name="connsiteY8" fmla="*/ 1901319 h 1943514"/>
              <a:gd name="connsiteX9" fmla="*/ 3301 w 4801282"/>
              <a:gd name="connsiteY9" fmla="*/ 1943514 h 1943514"/>
              <a:gd name="connsiteX10" fmla="*/ 0 w 4801282"/>
              <a:gd name="connsiteY10" fmla="*/ 1935545 h 1943514"/>
              <a:gd name="connsiteX11" fmla="*/ 0 w 4801282"/>
              <a:gd name="connsiteY11" fmla="*/ 71054 h 1943514"/>
              <a:gd name="connsiteX12" fmla="*/ 71054 w 4801282"/>
              <a:gd name="connsiteY12" fmla="*/ 0 h 1943514"/>
              <a:gd name="connsiteX0" fmla="*/ 71054 w 4527104"/>
              <a:gd name="connsiteY0" fmla="*/ 0 h 1943514"/>
              <a:gd name="connsiteX1" fmla="*/ 4453013 w 4527104"/>
              <a:gd name="connsiteY1" fmla="*/ 0 h 1943514"/>
              <a:gd name="connsiteX2" fmla="*/ 4524067 w 4527104"/>
              <a:gd name="connsiteY2" fmla="*/ 71054 h 1943514"/>
              <a:gd name="connsiteX3" fmla="*/ 4522480 w 4527104"/>
              <a:gd name="connsiteY3" fmla="*/ 1547019 h 1943514"/>
              <a:gd name="connsiteX4" fmla="*/ 4481998 w 4527104"/>
              <a:gd name="connsiteY4" fmla="*/ 1606550 h 1943514"/>
              <a:gd name="connsiteX5" fmla="*/ 374342 w 4527104"/>
              <a:gd name="connsiteY5" fmla="*/ 1604261 h 1943514"/>
              <a:gd name="connsiteX6" fmla="*/ 374342 w 4527104"/>
              <a:gd name="connsiteY6" fmla="*/ 1604495 h 1943514"/>
              <a:gd name="connsiteX7" fmla="*/ 372031 w 4527104"/>
              <a:gd name="connsiteY7" fmla="*/ 1604262 h 1943514"/>
              <a:gd name="connsiteX8" fmla="*/ 7555 w 4527104"/>
              <a:gd name="connsiteY8" fmla="*/ 1901319 h 1943514"/>
              <a:gd name="connsiteX9" fmla="*/ 3301 w 4527104"/>
              <a:gd name="connsiteY9" fmla="*/ 1943514 h 1943514"/>
              <a:gd name="connsiteX10" fmla="*/ 0 w 4527104"/>
              <a:gd name="connsiteY10" fmla="*/ 1935545 h 1943514"/>
              <a:gd name="connsiteX11" fmla="*/ 0 w 4527104"/>
              <a:gd name="connsiteY11" fmla="*/ 71054 h 1943514"/>
              <a:gd name="connsiteX12" fmla="*/ 71054 w 4527104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81998 w 4524067"/>
              <a:gd name="connsiteY4" fmla="*/ 1606550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81998 w 4524067"/>
              <a:gd name="connsiteY4" fmla="*/ 1606550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81998 w 4524067"/>
              <a:gd name="connsiteY4" fmla="*/ 1606550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16062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16062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16062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524067" h="1943514">
                <a:moveTo>
                  <a:pt x="71054" y="0"/>
                </a:moveTo>
                <a:lnTo>
                  <a:pt x="4453013" y="0"/>
                </a:lnTo>
                <a:cubicBezTo>
                  <a:pt x="4492255" y="0"/>
                  <a:pt x="4524067" y="31812"/>
                  <a:pt x="4524067" y="71054"/>
                </a:cubicBezTo>
                <a:cubicBezTo>
                  <a:pt x="4523538" y="552723"/>
                  <a:pt x="4522346" y="1479221"/>
                  <a:pt x="4522480" y="1516062"/>
                </a:cubicBezTo>
                <a:cubicBezTo>
                  <a:pt x="4522614" y="1552903"/>
                  <a:pt x="4525654" y="1606535"/>
                  <a:pt x="4458185" y="1608931"/>
                </a:cubicBezTo>
                <a:cubicBezTo>
                  <a:pt x="4390716" y="1611327"/>
                  <a:pt x="1735623" y="1605818"/>
                  <a:pt x="374342" y="1604261"/>
                </a:cubicBezTo>
                <a:lnTo>
                  <a:pt x="374342" y="1604495"/>
                </a:lnTo>
                <a:lnTo>
                  <a:pt x="372031" y="1604262"/>
                </a:lnTo>
                <a:cubicBezTo>
                  <a:pt x="192246" y="1604262"/>
                  <a:pt x="42246" y="1731789"/>
                  <a:pt x="7555" y="1901319"/>
                </a:cubicBezTo>
                <a:lnTo>
                  <a:pt x="3301" y="1943514"/>
                </a:lnTo>
                <a:lnTo>
                  <a:pt x="0" y="1935545"/>
                </a:lnTo>
                <a:lnTo>
                  <a:pt x="0" y="71054"/>
                </a:lnTo>
                <a:cubicBezTo>
                  <a:pt x="0" y="31812"/>
                  <a:pt x="31812" y="0"/>
                  <a:pt x="71054" y="0"/>
                </a:cubicBezTo>
                <a:close/>
              </a:path>
            </a:pathLst>
          </a:custGeom>
          <a:solidFill>
            <a:schemeClr val="bg2">
              <a:alpha val="85000"/>
            </a:schemeClr>
          </a:solidFill>
        </p:spPr>
        <p:txBody>
          <a:bodyPr wrap="square" lIns="360000" tIns="144000" rIns="360000" bIns="180000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31" b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8419" b="0">
                <a:solidFill>
                  <a:schemeClr val="bg1"/>
                </a:solidFill>
              </a:defRPr>
            </a:lvl5pPr>
            <a:lvl9pPr>
              <a:defRPr sz="12628">
                <a:solidFill>
                  <a:schemeClr val="bg1"/>
                </a:solidFill>
              </a:defRPr>
            </a:lvl9pPr>
          </a:lstStyle>
          <a:p>
            <a:pPr lvl="0"/>
            <a:r>
              <a:rPr lang="nl-NL" noProof="0"/>
              <a:t>Klik om tekst in te voegen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B5843EA3-8D9E-4442-9E97-1352961F62DC}"/>
              </a:ext>
            </a:extLst>
          </p:cNvPr>
          <p:cNvSpPr>
            <a:spLocks noGrp="1"/>
          </p:cNvSpPr>
          <p:nvPr userDrawn="1">
            <p:ph type="body" sz="quarter" idx="44" hasCustomPrompt="1"/>
          </p:nvPr>
        </p:nvSpPr>
        <p:spPr>
          <a:xfrm>
            <a:off x="3903630" y="26698989"/>
            <a:ext cx="14562168" cy="905995"/>
          </a:xfrm>
        </p:spPr>
        <p:txBody>
          <a:bodyPr/>
          <a:lstStyle>
            <a:lvl1pPr marL="0" indent="0">
              <a:buFontTx/>
              <a:buNone/>
              <a:defRPr sz="4209" b="0">
                <a:solidFill>
                  <a:schemeClr val="tx2"/>
                </a:solidFill>
              </a:defRPr>
            </a:lvl1pPr>
          </a:lstStyle>
          <a:p>
            <a:r>
              <a:rPr lang="nl-NL"/>
              <a:t>Naam   l   Afdeling   l   Datum</a:t>
            </a:r>
          </a:p>
          <a:p>
            <a:endParaRPr lang="nl-NL"/>
          </a:p>
        </p:txBody>
      </p:sp>
      <p:grpSp>
        <p:nvGrpSpPr>
          <p:cNvPr id="94" name="Instructie">
            <a:extLst>
              <a:ext uri="{FF2B5EF4-FFF2-40B4-BE49-F238E27FC236}">
                <a16:creationId xmlns:a16="http://schemas.microsoft.com/office/drawing/2014/main" id="{14CA3848-BE43-4020-B86D-05EA71058B48}"/>
              </a:ext>
            </a:extLst>
          </p:cNvPr>
          <p:cNvGrpSpPr/>
          <p:nvPr userDrawn="1"/>
        </p:nvGrpSpPr>
        <p:grpSpPr>
          <a:xfrm>
            <a:off x="-11761540" y="10988781"/>
            <a:ext cx="11164508" cy="11743958"/>
            <a:chOff x="-3426088" y="4512342"/>
            <a:chExt cx="3182755" cy="2660264"/>
          </a:xfrm>
        </p:grpSpPr>
        <p:sp>
          <p:nvSpPr>
            <p:cNvPr id="95" name="Rechthoek 127">
              <a:extLst>
                <a:ext uri="{FF2B5EF4-FFF2-40B4-BE49-F238E27FC236}">
                  <a16:creationId xmlns:a16="http://schemas.microsoft.com/office/drawing/2014/main" id="{4279C20D-829E-423F-8499-A6385B2E49AE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96" name="Rechte verbindingslijn 128">
              <a:extLst>
                <a:ext uri="{FF2B5EF4-FFF2-40B4-BE49-F238E27FC236}">
                  <a16:creationId xmlns:a16="http://schemas.microsoft.com/office/drawing/2014/main" id="{51111279-137B-46DE-9ECD-343D45C3E1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7" name="Rechthoek 130">
              <a:extLst>
                <a:ext uri="{FF2B5EF4-FFF2-40B4-BE49-F238E27FC236}">
                  <a16:creationId xmlns:a16="http://schemas.microsoft.com/office/drawing/2014/main" id="{E7FCE7BD-78A5-4814-83D7-478A506813C4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98" name="Rechthoek 133">
              <a:extLst>
                <a:ext uri="{FF2B5EF4-FFF2-40B4-BE49-F238E27FC236}">
                  <a16:creationId xmlns:a16="http://schemas.microsoft.com/office/drawing/2014/main" id="{D0D214C4-790E-4593-8B35-91F20D6F06AF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99" name="Rechthoek 136">
              <a:extLst>
                <a:ext uri="{FF2B5EF4-FFF2-40B4-BE49-F238E27FC236}">
                  <a16:creationId xmlns:a16="http://schemas.microsoft.com/office/drawing/2014/main" id="{9EC0B7F9-1033-4BD1-8CC1-90BF61EA9A92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00" name="Rechthoek 139">
              <a:extLst>
                <a:ext uri="{FF2B5EF4-FFF2-40B4-BE49-F238E27FC236}">
                  <a16:creationId xmlns:a16="http://schemas.microsoft.com/office/drawing/2014/main" id="{3197B3B6-CEF7-45C7-9A0B-38449A205632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40">
              <a:extLst>
                <a:ext uri="{FF2B5EF4-FFF2-40B4-BE49-F238E27FC236}">
                  <a16:creationId xmlns:a16="http://schemas.microsoft.com/office/drawing/2014/main" id="{C911901A-E702-4600-805D-C002276448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93" name="Tijdelijke aanduiding voor tekst 3">
            <a:extLst>
              <a:ext uri="{FF2B5EF4-FFF2-40B4-BE49-F238E27FC236}">
                <a16:creationId xmlns:a16="http://schemas.microsoft.com/office/drawing/2014/main" id="{ABD8BE62-C6E3-4AF1-BB04-29678FB69637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34060473" y="24070399"/>
            <a:ext cx="6635238" cy="3534585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51"/>
            </a:lvl1pPr>
          </a:lstStyle>
          <a:p>
            <a:pPr lvl="0"/>
            <a:endParaRPr lang="nl-NL"/>
          </a:p>
        </p:txBody>
      </p:sp>
      <p:grpSp>
        <p:nvGrpSpPr>
          <p:cNvPr id="2" name="Groep 1">
            <a:extLst>
              <a:ext uri="{FF2B5EF4-FFF2-40B4-BE49-F238E27FC236}">
                <a16:creationId xmlns:a16="http://schemas.microsoft.com/office/drawing/2014/main" id="{E43AE0DE-633C-4F50-96D8-70DDBA2C0AFC}"/>
              </a:ext>
            </a:extLst>
          </p:cNvPr>
          <p:cNvGrpSpPr/>
          <p:nvPr userDrawn="1"/>
        </p:nvGrpSpPr>
        <p:grpSpPr>
          <a:xfrm>
            <a:off x="43467416" y="5"/>
            <a:ext cx="11167745" cy="23084356"/>
            <a:chOff x="12391601" y="0"/>
            <a:chExt cx="3183678" cy="5229113"/>
          </a:xfrm>
        </p:grpSpPr>
        <p:grpSp>
          <p:nvGrpSpPr>
            <p:cNvPr id="103" name="Meer informatie">
              <a:extLst>
                <a:ext uri="{FF2B5EF4-FFF2-40B4-BE49-F238E27FC236}">
                  <a16:creationId xmlns:a16="http://schemas.microsoft.com/office/drawing/2014/main" id="{BDBD27CD-0043-4BB6-BD33-EEF2499AFD9E}"/>
                </a:ext>
              </a:extLst>
            </p:cNvPr>
            <p:cNvGrpSpPr/>
            <p:nvPr userDrawn="1"/>
          </p:nvGrpSpPr>
          <p:grpSpPr>
            <a:xfrm>
              <a:off x="12396764" y="4445840"/>
              <a:ext cx="3178515" cy="783273"/>
              <a:chOff x="-3741486" y="3386444"/>
              <a:chExt cx="3178515" cy="783273"/>
            </a:xfrm>
          </p:grpSpPr>
          <p:sp>
            <p:nvSpPr>
              <p:cNvPr id="154" name="Freeform 101">
                <a:extLst>
                  <a:ext uri="{FF2B5EF4-FFF2-40B4-BE49-F238E27FC236}">
                    <a16:creationId xmlns:a16="http://schemas.microsoft.com/office/drawing/2014/main" id="{2503363B-F8CF-41C0-832F-8E04CAC8AFA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155" name="Rechthoek 306">
                <a:extLst>
                  <a:ext uri="{FF2B5EF4-FFF2-40B4-BE49-F238E27FC236}">
                    <a16:creationId xmlns:a16="http://schemas.microsoft.com/office/drawing/2014/main" id="{A3172913-5730-4C6C-8A10-7C54CE850A97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56" name="Rechte verbindingslijn 307">
                <a:extLst>
                  <a:ext uri="{FF2B5EF4-FFF2-40B4-BE49-F238E27FC236}">
                    <a16:creationId xmlns:a16="http://schemas.microsoft.com/office/drawing/2014/main" id="{39AD1594-DD0A-461B-B5EE-E5CF6BBBB67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04" name="Rechthoek 260">
              <a:extLst>
                <a:ext uri="{FF2B5EF4-FFF2-40B4-BE49-F238E27FC236}">
                  <a16:creationId xmlns:a16="http://schemas.microsoft.com/office/drawing/2014/main" id="{FB7641D9-6761-4D37-AB13-4BDA36CF75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105" name="Ovaal 261">
              <a:extLst>
                <a:ext uri="{FF2B5EF4-FFF2-40B4-BE49-F238E27FC236}">
                  <a16:creationId xmlns:a16="http://schemas.microsoft.com/office/drawing/2014/main" id="{EB109169-0138-405F-9D67-D7D705E47D9E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6" name="Rechte verbindingslijn 262">
              <a:extLst>
                <a:ext uri="{FF2B5EF4-FFF2-40B4-BE49-F238E27FC236}">
                  <a16:creationId xmlns:a16="http://schemas.microsoft.com/office/drawing/2014/main" id="{4FD0CF49-6B70-4B2D-B14A-DAFD1E4CF0F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7" name="Rechte verbindingslijn 263">
              <a:extLst>
                <a:ext uri="{FF2B5EF4-FFF2-40B4-BE49-F238E27FC236}">
                  <a16:creationId xmlns:a16="http://schemas.microsoft.com/office/drawing/2014/main" id="{E6E61A7D-10C6-407D-81F7-7134DF0A5C9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8" name="Rechthoek 264">
              <a:extLst>
                <a:ext uri="{FF2B5EF4-FFF2-40B4-BE49-F238E27FC236}">
                  <a16:creationId xmlns:a16="http://schemas.microsoft.com/office/drawing/2014/main" id="{1DC5448A-24AF-427D-ABC4-CE91659175B7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oor deze te selecteren en op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om een nieuwe afbeelding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9" name="Rechte verbindingslijn 265">
              <a:extLst>
                <a:ext uri="{FF2B5EF4-FFF2-40B4-BE49-F238E27FC236}">
                  <a16:creationId xmlns:a16="http://schemas.microsoft.com/office/drawing/2014/main" id="{9A185AB6-9B06-4E26-A371-81C56AC4FA1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4327957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0" name="Ovaal 266">
              <a:extLst>
                <a:ext uri="{FF2B5EF4-FFF2-40B4-BE49-F238E27FC236}">
                  <a16:creationId xmlns:a16="http://schemas.microsoft.com/office/drawing/2014/main" id="{08A2A3AD-7E09-4C6B-9A53-BB3B874D535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1" name="Rechthoek 267">
              <a:extLst>
                <a:ext uri="{FF2B5EF4-FFF2-40B4-BE49-F238E27FC236}">
                  <a16:creationId xmlns:a16="http://schemas.microsoft.com/office/drawing/2014/main" id="{CF1A3137-5EBC-4410-9717-E4D8B9F6ADA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12" name="Groep 268">
              <a:extLst>
                <a:ext uri="{FF2B5EF4-FFF2-40B4-BE49-F238E27FC236}">
                  <a16:creationId xmlns:a16="http://schemas.microsoft.com/office/drawing/2014/main" id="{45E121F8-1934-4F7C-9D71-5A8A38BB663C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51" name="Rechthoek 302">
                <a:extLst>
                  <a:ext uri="{FF2B5EF4-FFF2-40B4-BE49-F238E27FC236}">
                    <a16:creationId xmlns:a16="http://schemas.microsoft.com/office/drawing/2014/main" id="{9AD37789-AEF6-4EFE-8EFE-63E6276F5591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152" name="Rechte verbindingslijn 303">
                <a:extLst>
                  <a:ext uri="{FF2B5EF4-FFF2-40B4-BE49-F238E27FC236}">
                    <a16:creationId xmlns:a16="http://schemas.microsoft.com/office/drawing/2014/main" id="{FACC0A2C-B19A-4434-8469-B6988FD70AD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53" name="Gelijkbenige driehoek 304">
                <a:extLst>
                  <a:ext uri="{FF2B5EF4-FFF2-40B4-BE49-F238E27FC236}">
                    <a16:creationId xmlns:a16="http://schemas.microsoft.com/office/drawing/2014/main" id="{799FE67C-DB5A-442A-A296-C4C50E93C3F1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13" name="Groep 269">
              <a:extLst>
                <a:ext uri="{FF2B5EF4-FFF2-40B4-BE49-F238E27FC236}">
                  <a16:creationId xmlns:a16="http://schemas.microsoft.com/office/drawing/2014/main" id="{88CED179-DEBF-469B-BF1B-2818FCB990C4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145" name="Rechthoek 296">
                <a:extLst>
                  <a:ext uri="{FF2B5EF4-FFF2-40B4-BE49-F238E27FC236}">
                    <a16:creationId xmlns:a16="http://schemas.microsoft.com/office/drawing/2014/main" id="{670346D2-50EC-482A-AE54-D6681782ADED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6" name="Ovaal 297">
                <a:extLst>
                  <a:ext uri="{FF2B5EF4-FFF2-40B4-BE49-F238E27FC236}">
                    <a16:creationId xmlns:a16="http://schemas.microsoft.com/office/drawing/2014/main" id="{7D086B27-2CBE-4DC4-A301-2AEAB95B7FFF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7" name="Vrije vorm: vorm 298">
                <a:extLst>
                  <a:ext uri="{FF2B5EF4-FFF2-40B4-BE49-F238E27FC236}">
                    <a16:creationId xmlns:a16="http://schemas.microsoft.com/office/drawing/2014/main" id="{26DC9FAD-7C4F-4026-B038-53045BB9A126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8" name="Rechthoek: afgeronde hoeken 299">
                <a:extLst>
                  <a:ext uri="{FF2B5EF4-FFF2-40B4-BE49-F238E27FC236}">
                    <a16:creationId xmlns:a16="http://schemas.microsoft.com/office/drawing/2014/main" id="{66DFA944-5E60-4BA8-8808-C5E07141960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49" name="Rechte verbindingslijn 300">
                <a:extLst>
                  <a:ext uri="{FF2B5EF4-FFF2-40B4-BE49-F238E27FC236}">
                    <a16:creationId xmlns:a16="http://schemas.microsoft.com/office/drawing/2014/main" id="{7A81856E-BA51-4B64-893F-0E97958E7BD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50" name="Rechte verbindingslijn 301">
                <a:extLst>
                  <a:ext uri="{FF2B5EF4-FFF2-40B4-BE49-F238E27FC236}">
                    <a16:creationId xmlns:a16="http://schemas.microsoft.com/office/drawing/2014/main" id="{583BDEA5-CB62-44E5-9EBB-A4F8203B58A0}"/>
                  </a:ext>
                </a:extLst>
              </p:cNvPr>
              <p:cNvCxnSpPr>
                <a:cxnSpLocks/>
                <a:stCxn id="148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14" name="Ovaal 270">
              <a:extLst>
                <a:ext uri="{FF2B5EF4-FFF2-40B4-BE49-F238E27FC236}">
                  <a16:creationId xmlns:a16="http://schemas.microsoft.com/office/drawing/2014/main" id="{EB9A639A-ADD6-4BAA-983F-CCB3E1A2848B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5" name="Rechthoek 271">
              <a:extLst>
                <a:ext uri="{FF2B5EF4-FFF2-40B4-BE49-F238E27FC236}">
                  <a16:creationId xmlns:a16="http://schemas.microsoft.com/office/drawing/2014/main" id="{A1BD53A9-44DA-478F-AA4A-2C8E361588F2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43320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aan de linker kant van het scherm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16" name="Rechte verbindingslijn 272">
              <a:extLst>
                <a:ext uri="{FF2B5EF4-FFF2-40B4-BE49-F238E27FC236}">
                  <a16:creationId xmlns:a16="http://schemas.microsoft.com/office/drawing/2014/main" id="{62E23F7B-B42B-4711-8E0E-59042E0E9D1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7" name="Rechthoek 273">
              <a:extLst>
                <a:ext uri="{FF2B5EF4-FFF2-40B4-BE49-F238E27FC236}">
                  <a16:creationId xmlns:a16="http://schemas.microsoft.com/office/drawing/2014/main" id="{E145748E-10A3-4B74-B9BC-F6BFD75A738B}"/>
                </a:ext>
              </a:extLst>
            </p:cNvPr>
            <p:cNvSpPr/>
            <p:nvPr userDrawn="1"/>
          </p:nvSpPr>
          <p:spPr>
            <a:xfrm>
              <a:off x="12654153" y="3238910"/>
              <a:ext cx="1624926" cy="805220"/>
            </a:xfrm>
            <a:prstGeom prst="rect">
              <a:avLst/>
            </a:prstGeom>
            <a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3509" b="0" i="1" noProof="0">
                <a:solidFill>
                  <a:schemeClr val="tx1"/>
                </a:solidFill>
              </a:endParaRPr>
            </a:p>
          </p:txBody>
        </p:sp>
        <p:grpSp>
          <p:nvGrpSpPr>
            <p:cNvPr id="118" name="Groep 274">
              <a:extLst>
                <a:ext uri="{FF2B5EF4-FFF2-40B4-BE49-F238E27FC236}">
                  <a16:creationId xmlns:a16="http://schemas.microsoft.com/office/drawing/2014/main" id="{56E43DF0-01D0-464B-9C93-3B14E04B6D30}"/>
                </a:ext>
              </a:extLst>
            </p:cNvPr>
            <p:cNvGrpSpPr/>
            <p:nvPr userDrawn="1"/>
          </p:nvGrpSpPr>
          <p:grpSpPr>
            <a:xfrm>
              <a:off x="13614067" y="3535184"/>
              <a:ext cx="1195438" cy="678267"/>
              <a:chOff x="12757284" y="3224292"/>
              <a:chExt cx="1195438" cy="678267"/>
            </a:xfrm>
          </p:grpSpPr>
          <p:sp>
            <p:nvSpPr>
              <p:cNvPr id="124" name="Rechthoek 275">
                <a:extLst>
                  <a:ext uri="{FF2B5EF4-FFF2-40B4-BE49-F238E27FC236}">
                    <a16:creationId xmlns:a16="http://schemas.microsoft.com/office/drawing/2014/main" id="{6F2E7C5E-8E67-457C-ABAF-6F338BD04625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5" name="Rechthoek 276">
                <a:extLst>
                  <a:ext uri="{FF2B5EF4-FFF2-40B4-BE49-F238E27FC236}">
                    <a16:creationId xmlns:a16="http://schemas.microsoft.com/office/drawing/2014/main" id="{FD3B2D5A-8960-4DFC-BF44-9C9128604F79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6" name="Groep 277">
                <a:extLst>
                  <a:ext uri="{FF2B5EF4-FFF2-40B4-BE49-F238E27FC236}">
                    <a16:creationId xmlns:a16="http://schemas.microsoft.com/office/drawing/2014/main" id="{E6985C94-85C3-417D-8FB8-4A1E787A9A29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39" name="Rechthoek: afgeronde hoeken 290">
                  <a:extLst>
                    <a:ext uri="{FF2B5EF4-FFF2-40B4-BE49-F238E27FC236}">
                      <a16:creationId xmlns:a16="http://schemas.microsoft.com/office/drawing/2014/main" id="{451E584A-EF18-41B4-96C5-9B126BA61560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endPara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0" name="Rechthoek 291">
                  <a:extLst>
                    <a:ext uri="{FF2B5EF4-FFF2-40B4-BE49-F238E27FC236}">
                      <a16:creationId xmlns:a16="http://schemas.microsoft.com/office/drawing/2014/main" id="{CED5484F-2DBC-4E86-A034-DB27E4B726FE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1" name="Rechthoek 292">
                  <a:extLst>
                    <a:ext uri="{FF2B5EF4-FFF2-40B4-BE49-F238E27FC236}">
                      <a16:creationId xmlns:a16="http://schemas.microsoft.com/office/drawing/2014/main" id="{96C10C4D-5DAA-4297-AB0A-73D9D7307029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2" name="Rechthoek 293">
                  <a:extLst>
                    <a:ext uri="{FF2B5EF4-FFF2-40B4-BE49-F238E27FC236}">
                      <a16:creationId xmlns:a16="http://schemas.microsoft.com/office/drawing/2014/main" id="{894E025F-705C-4AF9-9A92-DF8DBC5BB694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3" name="Rechthoek 294">
                  <a:extLst>
                    <a:ext uri="{FF2B5EF4-FFF2-40B4-BE49-F238E27FC236}">
                      <a16:creationId xmlns:a16="http://schemas.microsoft.com/office/drawing/2014/main" id="{F63EBC1E-6700-40B1-BCC5-8ED3C247361C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4" name="Rechthoek 295">
                  <a:extLst>
                    <a:ext uri="{FF2B5EF4-FFF2-40B4-BE49-F238E27FC236}">
                      <a16:creationId xmlns:a16="http://schemas.microsoft.com/office/drawing/2014/main" id="{9BF1CED8-F647-4A48-BE87-A95EA5882C3B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27" name="Groep 278">
                <a:extLst>
                  <a:ext uri="{FF2B5EF4-FFF2-40B4-BE49-F238E27FC236}">
                    <a16:creationId xmlns:a16="http://schemas.microsoft.com/office/drawing/2014/main" id="{565AE2C8-0D0E-4460-8C9D-16856F09DFBD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31" name="Groep 282">
                  <a:extLst>
                    <a:ext uri="{FF2B5EF4-FFF2-40B4-BE49-F238E27FC236}">
                      <a16:creationId xmlns:a16="http://schemas.microsoft.com/office/drawing/2014/main" id="{A3ED2192-EAC7-4800-AF27-82725F37A48C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33" name="Rechthoek: afgeronde hoeken 284">
                    <a:extLst>
                      <a:ext uri="{FF2B5EF4-FFF2-40B4-BE49-F238E27FC236}">
                        <a16:creationId xmlns:a16="http://schemas.microsoft.com/office/drawing/2014/main" id="{161103DF-AA91-40C2-B827-AB96A390E561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2105"/>
                      </a:spcBef>
                      <a:spcAft>
                        <a:spcPts val="2105"/>
                      </a:spcAft>
                    </a:pPr>
                    <a:endParaRPr lang="nl-NL" sz="280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34" name="Rechthoek 285">
                    <a:extLst>
                      <a:ext uri="{FF2B5EF4-FFF2-40B4-BE49-F238E27FC236}">
                        <a16:creationId xmlns:a16="http://schemas.microsoft.com/office/drawing/2014/main" id="{CCD507C7-2C64-4D4C-A492-3614F9A16B5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5" name="Rechthoek 286">
                    <a:extLst>
                      <a:ext uri="{FF2B5EF4-FFF2-40B4-BE49-F238E27FC236}">
                        <a16:creationId xmlns:a16="http://schemas.microsoft.com/office/drawing/2014/main" id="{80EB8E6D-E61D-4956-BA80-6CFC87F9A5E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6" name="Rechthoek 287">
                    <a:extLst>
                      <a:ext uri="{FF2B5EF4-FFF2-40B4-BE49-F238E27FC236}">
                        <a16:creationId xmlns:a16="http://schemas.microsoft.com/office/drawing/2014/main" id="{A3028B7B-3FA7-4267-BA5B-AE500A9CB10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7" name="Rechthoek 288">
                    <a:extLst>
                      <a:ext uri="{FF2B5EF4-FFF2-40B4-BE49-F238E27FC236}">
                        <a16:creationId xmlns:a16="http://schemas.microsoft.com/office/drawing/2014/main" id="{282EC25C-927D-446B-94DD-04AB5D8D0C3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8" name="Rechthoek 289">
                    <a:extLst>
                      <a:ext uri="{FF2B5EF4-FFF2-40B4-BE49-F238E27FC236}">
                        <a16:creationId xmlns:a16="http://schemas.microsoft.com/office/drawing/2014/main" id="{1595B18F-E2A6-4D5D-8B98-5D440FBB500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132" name="Boog 283">
                  <a:extLst>
                    <a:ext uri="{FF2B5EF4-FFF2-40B4-BE49-F238E27FC236}">
                      <a16:creationId xmlns:a16="http://schemas.microsoft.com/office/drawing/2014/main" id="{CECB4D93-22DF-4D05-ACC5-5A888B420F51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</p:grpSp>
          <p:sp>
            <p:nvSpPr>
              <p:cNvPr id="128" name="Tekstvak 279">
                <a:extLst>
                  <a:ext uri="{FF2B5EF4-FFF2-40B4-BE49-F238E27FC236}">
                    <a16:creationId xmlns:a16="http://schemas.microsoft.com/office/drawing/2014/main" id="{C32DAE91-90D9-4111-A91A-8B96DB1E03B5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29" name="Tekstvak 280">
                <a:extLst>
                  <a:ext uri="{FF2B5EF4-FFF2-40B4-BE49-F238E27FC236}">
                    <a16:creationId xmlns:a16="http://schemas.microsoft.com/office/drawing/2014/main" id="{7ABA1DC7-053B-47F2-8313-49D022A2A49B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30" name="Picture 3">
                <a:extLst>
                  <a:ext uri="{FF2B5EF4-FFF2-40B4-BE49-F238E27FC236}">
                    <a16:creationId xmlns:a16="http://schemas.microsoft.com/office/drawing/2014/main" id="{13BA7E26-066D-4C49-82D5-7F5E392325D3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810206" y="3671228"/>
                <a:ext cx="14251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1055321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4250" fill="hold"/>
                                        <p:tgtEl>
                                          <p:spTgt spid="7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7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/Inhou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7FC8C1DB-5A16-4DC5-BE9E-D1DB67A9F5BF}"/>
              </a:ext>
            </a:extLst>
          </p:cNvPr>
          <p:cNvSpPr/>
          <p:nvPr userDrawn="1"/>
        </p:nvSpPr>
        <p:spPr>
          <a:xfrm>
            <a:off x="-5567" y="22482154"/>
            <a:ext cx="42767250" cy="78246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78844" tIns="378844" rIns="378844" bIns="378844" rtlCol="0" anchor="ctr"/>
          <a:lstStyle/>
          <a:p>
            <a:pPr algn="ctr"/>
            <a:endParaRPr lang="nl-NL" sz="4911" noProof="0"/>
          </a:p>
        </p:txBody>
      </p:sp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-5567" y="-31537"/>
            <a:ext cx="42767257" cy="30306755"/>
          </a:xfrm>
          <a:solidFill>
            <a:schemeClr val="bg1">
              <a:lumMod val="95000"/>
            </a:schemeClr>
          </a:solidFill>
        </p:spPr>
        <p:txBody>
          <a:bodyPr tIns="100800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209" b="0" i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B0FACCAB-FC4B-4AA0-B92F-53F1DD2A892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685526" y="1766054"/>
            <a:ext cx="11962419" cy="22233608"/>
          </a:xfrm>
          <a:custGeom>
            <a:avLst/>
            <a:gdLst>
              <a:gd name="connsiteX0" fmla="*/ 0 w 3384000"/>
              <a:gd name="connsiteY0" fmla="*/ 122061 h 5036400"/>
              <a:gd name="connsiteX1" fmla="*/ 122061 w 3384000"/>
              <a:gd name="connsiteY1" fmla="*/ 0 h 5036400"/>
              <a:gd name="connsiteX2" fmla="*/ 3261939 w 3384000"/>
              <a:gd name="connsiteY2" fmla="*/ 0 h 5036400"/>
              <a:gd name="connsiteX3" fmla="*/ 3384000 w 3384000"/>
              <a:gd name="connsiteY3" fmla="*/ 122061 h 5036400"/>
              <a:gd name="connsiteX4" fmla="*/ 3384000 w 3384000"/>
              <a:gd name="connsiteY4" fmla="*/ 4914339 h 5036400"/>
              <a:gd name="connsiteX5" fmla="*/ 3261939 w 3384000"/>
              <a:gd name="connsiteY5" fmla="*/ 5036400 h 5036400"/>
              <a:gd name="connsiteX6" fmla="*/ 122061 w 3384000"/>
              <a:gd name="connsiteY6" fmla="*/ 5036400 h 5036400"/>
              <a:gd name="connsiteX7" fmla="*/ 0 w 3384000"/>
              <a:gd name="connsiteY7" fmla="*/ 4914339 h 5036400"/>
              <a:gd name="connsiteX8" fmla="*/ 0 w 3384000"/>
              <a:gd name="connsiteY8" fmla="*/ 122061 h 5036400"/>
              <a:gd name="connsiteX0" fmla="*/ 139014 w 3523014"/>
              <a:gd name="connsiteY0" fmla="*/ 381655 h 5295994"/>
              <a:gd name="connsiteX1" fmla="*/ 167589 w 3523014"/>
              <a:gd name="connsiteY1" fmla="*/ 291344 h 5295994"/>
              <a:gd name="connsiteX2" fmla="*/ 261075 w 3523014"/>
              <a:gd name="connsiteY2" fmla="*/ 259594 h 5295994"/>
              <a:gd name="connsiteX3" fmla="*/ 3400953 w 3523014"/>
              <a:gd name="connsiteY3" fmla="*/ 259594 h 5295994"/>
              <a:gd name="connsiteX4" fmla="*/ 3523014 w 3523014"/>
              <a:gd name="connsiteY4" fmla="*/ 381655 h 5295994"/>
              <a:gd name="connsiteX5" fmla="*/ 3523014 w 3523014"/>
              <a:gd name="connsiteY5" fmla="*/ 5173933 h 5295994"/>
              <a:gd name="connsiteX6" fmla="*/ 3400953 w 3523014"/>
              <a:gd name="connsiteY6" fmla="*/ 5295994 h 5295994"/>
              <a:gd name="connsiteX7" fmla="*/ 261075 w 3523014"/>
              <a:gd name="connsiteY7" fmla="*/ 5295994 h 5295994"/>
              <a:gd name="connsiteX8" fmla="*/ 139014 w 3523014"/>
              <a:gd name="connsiteY8" fmla="*/ 5173933 h 5295994"/>
              <a:gd name="connsiteX9" fmla="*/ 139014 w 3523014"/>
              <a:gd name="connsiteY9" fmla="*/ 381655 h 5295994"/>
              <a:gd name="connsiteX0" fmla="*/ 139014 w 3523014"/>
              <a:gd name="connsiteY0" fmla="*/ 381655 h 5295994"/>
              <a:gd name="connsiteX1" fmla="*/ 167589 w 3523014"/>
              <a:gd name="connsiteY1" fmla="*/ 291344 h 5295994"/>
              <a:gd name="connsiteX2" fmla="*/ 261075 w 3523014"/>
              <a:gd name="connsiteY2" fmla="*/ 259594 h 5295994"/>
              <a:gd name="connsiteX3" fmla="*/ 3400953 w 3523014"/>
              <a:gd name="connsiteY3" fmla="*/ 259594 h 5295994"/>
              <a:gd name="connsiteX4" fmla="*/ 3523014 w 3523014"/>
              <a:gd name="connsiteY4" fmla="*/ 381655 h 5295994"/>
              <a:gd name="connsiteX5" fmla="*/ 3523014 w 3523014"/>
              <a:gd name="connsiteY5" fmla="*/ 5173933 h 5295994"/>
              <a:gd name="connsiteX6" fmla="*/ 3400953 w 3523014"/>
              <a:gd name="connsiteY6" fmla="*/ 5295994 h 5295994"/>
              <a:gd name="connsiteX7" fmla="*/ 261075 w 3523014"/>
              <a:gd name="connsiteY7" fmla="*/ 5295994 h 5295994"/>
              <a:gd name="connsiteX8" fmla="*/ 139014 w 3523014"/>
              <a:gd name="connsiteY8" fmla="*/ 5173933 h 5295994"/>
              <a:gd name="connsiteX9" fmla="*/ 139014 w 3523014"/>
              <a:gd name="connsiteY9" fmla="*/ 381655 h 5295994"/>
              <a:gd name="connsiteX0" fmla="*/ 148137 w 3532137"/>
              <a:gd name="connsiteY0" fmla="*/ 390093 h 5304432"/>
              <a:gd name="connsiteX1" fmla="*/ 148137 w 3532137"/>
              <a:gd name="connsiteY1" fmla="*/ 271207 h 5304432"/>
              <a:gd name="connsiteX2" fmla="*/ 270198 w 3532137"/>
              <a:gd name="connsiteY2" fmla="*/ 268032 h 5304432"/>
              <a:gd name="connsiteX3" fmla="*/ 3410076 w 3532137"/>
              <a:gd name="connsiteY3" fmla="*/ 268032 h 5304432"/>
              <a:gd name="connsiteX4" fmla="*/ 3532137 w 3532137"/>
              <a:gd name="connsiteY4" fmla="*/ 390093 h 5304432"/>
              <a:gd name="connsiteX5" fmla="*/ 3532137 w 3532137"/>
              <a:gd name="connsiteY5" fmla="*/ 5182371 h 5304432"/>
              <a:gd name="connsiteX6" fmla="*/ 3410076 w 3532137"/>
              <a:gd name="connsiteY6" fmla="*/ 5304432 h 5304432"/>
              <a:gd name="connsiteX7" fmla="*/ 270198 w 3532137"/>
              <a:gd name="connsiteY7" fmla="*/ 5304432 h 5304432"/>
              <a:gd name="connsiteX8" fmla="*/ 148137 w 3532137"/>
              <a:gd name="connsiteY8" fmla="*/ 5182371 h 5304432"/>
              <a:gd name="connsiteX9" fmla="*/ 148137 w 3532137"/>
              <a:gd name="connsiteY9" fmla="*/ 390093 h 5304432"/>
              <a:gd name="connsiteX0" fmla="*/ 8072 w 3392072"/>
              <a:gd name="connsiteY0" fmla="*/ 390093 h 5304432"/>
              <a:gd name="connsiteX1" fmla="*/ 8072 w 3392072"/>
              <a:gd name="connsiteY1" fmla="*/ 271207 h 5304432"/>
              <a:gd name="connsiteX2" fmla="*/ 130133 w 3392072"/>
              <a:gd name="connsiteY2" fmla="*/ 268032 h 5304432"/>
              <a:gd name="connsiteX3" fmla="*/ 3270011 w 3392072"/>
              <a:gd name="connsiteY3" fmla="*/ 268032 h 5304432"/>
              <a:gd name="connsiteX4" fmla="*/ 3392072 w 3392072"/>
              <a:gd name="connsiteY4" fmla="*/ 390093 h 5304432"/>
              <a:gd name="connsiteX5" fmla="*/ 3392072 w 3392072"/>
              <a:gd name="connsiteY5" fmla="*/ 5182371 h 5304432"/>
              <a:gd name="connsiteX6" fmla="*/ 3270011 w 3392072"/>
              <a:gd name="connsiteY6" fmla="*/ 5304432 h 5304432"/>
              <a:gd name="connsiteX7" fmla="*/ 130133 w 3392072"/>
              <a:gd name="connsiteY7" fmla="*/ 5304432 h 5304432"/>
              <a:gd name="connsiteX8" fmla="*/ 8072 w 3392072"/>
              <a:gd name="connsiteY8" fmla="*/ 5182371 h 5304432"/>
              <a:gd name="connsiteX9" fmla="*/ 8072 w 3392072"/>
              <a:gd name="connsiteY9" fmla="*/ 390093 h 5304432"/>
              <a:gd name="connsiteX0" fmla="*/ 8072 w 3392072"/>
              <a:gd name="connsiteY0" fmla="*/ 129113 h 5043452"/>
              <a:gd name="connsiteX1" fmla="*/ 8072 w 3392072"/>
              <a:gd name="connsiteY1" fmla="*/ 10227 h 5043452"/>
              <a:gd name="connsiteX2" fmla="*/ 130133 w 3392072"/>
              <a:gd name="connsiteY2" fmla="*/ 7052 h 5043452"/>
              <a:gd name="connsiteX3" fmla="*/ 3270011 w 3392072"/>
              <a:gd name="connsiteY3" fmla="*/ 7052 h 5043452"/>
              <a:gd name="connsiteX4" fmla="*/ 3392072 w 3392072"/>
              <a:gd name="connsiteY4" fmla="*/ 129113 h 5043452"/>
              <a:gd name="connsiteX5" fmla="*/ 3392072 w 3392072"/>
              <a:gd name="connsiteY5" fmla="*/ 4921391 h 5043452"/>
              <a:gd name="connsiteX6" fmla="*/ 3270011 w 3392072"/>
              <a:gd name="connsiteY6" fmla="*/ 5043452 h 5043452"/>
              <a:gd name="connsiteX7" fmla="*/ 130133 w 3392072"/>
              <a:gd name="connsiteY7" fmla="*/ 5043452 h 5043452"/>
              <a:gd name="connsiteX8" fmla="*/ 8072 w 3392072"/>
              <a:gd name="connsiteY8" fmla="*/ 4921391 h 5043452"/>
              <a:gd name="connsiteX9" fmla="*/ 8072 w 3392072"/>
              <a:gd name="connsiteY9" fmla="*/ 129113 h 5043452"/>
              <a:gd name="connsiteX0" fmla="*/ 7649 w 3391649"/>
              <a:gd name="connsiteY0" fmla="*/ 129113 h 5043452"/>
              <a:gd name="connsiteX1" fmla="*/ 7649 w 3391649"/>
              <a:gd name="connsiteY1" fmla="*/ 10227 h 5043452"/>
              <a:gd name="connsiteX2" fmla="*/ 129710 w 3391649"/>
              <a:gd name="connsiteY2" fmla="*/ 7052 h 5043452"/>
              <a:gd name="connsiteX3" fmla="*/ 3269588 w 3391649"/>
              <a:gd name="connsiteY3" fmla="*/ 7052 h 5043452"/>
              <a:gd name="connsiteX4" fmla="*/ 3391649 w 3391649"/>
              <a:gd name="connsiteY4" fmla="*/ 129113 h 5043452"/>
              <a:gd name="connsiteX5" fmla="*/ 3391649 w 3391649"/>
              <a:gd name="connsiteY5" fmla="*/ 4921391 h 5043452"/>
              <a:gd name="connsiteX6" fmla="*/ 3269588 w 3391649"/>
              <a:gd name="connsiteY6" fmla="*/ 5043452 h 5043452"/>
              <a:gd name="connsiteX7" fmla="*/ 129710 w 3391649"/>
              <a:gd name="connsiteY7" fmla="*/ 5043452 h 5043452"/>
              <a:gd name="connsiteX8" fmla="*/ 7649 w 3391649"/>
              <a:gd name="connsiteY8" fmla="*/ 4921391 h 5043452"/>
              <a:gd name="connsiteX9" fmla="*/ 7649 w 3391649"/>
              <a:gd name="connsiteY9" fmla="*/ 129113 h 5043452"/>
              <a:gd name="connsiteX0" fmla="*/ 7649 w 3391649"/>
              <a:gd name="connsiteY0" fmla="*/ 122287 h 5036626"/>
              <a:gd name="connsiteX1" fmla="*/ 7649 w 3391649"/>
              <a:gd name="connsiteY1" fmla="*/ 3401 h 5036626"/>
              <a:gd name="connsiteX2" fmla="*/ 129710 w 3391649"/>
              <a:gd name="connsiteY2" fmla="*/ 226 h 5036626"/>
              <a:gd name="connsiteX3" fmla="*/ 3269588 w 3391649"/>
              <a:gd name="connsiteY3" fmla="*/ 226 h 5036626"/>
              <a:gd name="connsiteX4" fmla="*/ 3391649 w 3391649"/>
              <a:gd name="connsiteY4" fmla="*/ 122287 h 5036626"/>
              <a:gd name="connsiteX5" fmla="*/ 3391649 w 3391649"/>
              <a:gd name="connsiteY5" fmla="*/ 4914565 h 5036626"/>
              <a:gd name="connsiteX6" fmla="*/ 3269588 w 3391649"/>
              <a:gd name="connsiteY6" fmla="*/ 5036626 h 5036626"/>
              <a:gd name="connsiteX7" fmla="*/ 129710 w 3391649"/>
              <a:gd name="connsiteY7" fmla="*/ 5036626 h 5036626"/>
              <a:gd name="connsiteX8" fmla="*/ 7649 w 3391649"/>
              <a:gd name="connsiteY8" fmla="*/ 4914565 h 5036626"/>
              <a:gd name="connsiteX9" fmla="*/ 7649 w 3391649"/>
              <a:gd name="connsiteY9" fmla="*/ 122287 h 5036626"/>
              <a:gd name="connsiteX0" fmla="*/ 7649 w 3391649"/>
              <a:gd name="connsiteY0" fmla="*/ 127836 h 5042175"/>
              <a:gd name="connsiteX1" fmla="*/ 7649 w 3391649"/>
              <a:gd name="connsiteY1" fmla="*/ 8950 h 5042175"/>
              <a:gd name="connsiteX2" fmla="*/ 129710 w 3391649"/>
              <a:gd name="connsiteY2" fmla="*/ 5775 h 5042175"/>
              <a:gd name="connsiteX3" fmla="*/ 3269588 w 3391649"/>
              <a:gd name="connsiteY3" fmla="*/ 5775 h 5042175"/>
              <a:gd name="connsiteX4" fmla="*/ 3391649 w 3391649"/>
              <a:gd name="connsiteY4" fmla="*/ 127836 h 5042175"/>
              <a:gd name="connsiteX5" fmla="*/ 3391649 w 3391649"/>
              <a:gd name="connsiteY5" fmla="*/ 4920114 h 5042175"/>
              <a:gd name="connsiteX6" fmla="*/ 3269588 w 3391649"/>
              <a:gd name="connsiteY6" fmla="*/ 5042175 h 5042175"/>
              <a:gd name="connsiteX7" fmla="*/ 129710 w 3391649"/>
              <a:gd name="connsiteY7" fmla="*/ 5042175 h 5042175"/>
              <a:gd name="connsiteX8" fmla="*/ 7649 w 3391649"/>
              <a:gd name="connsiteY8" fmla="*/ 4920114 h 5042175"/>
              <a:gd name="connsiteX9" fmla="*/ 7649 w 3391649"/>
              <a:gd name="connsiteY9" fmla="*/ 127836 h 5042175"/>
              <a:gd name="connsiteX0" fmla="*/ 7649 w 3391649"/>
              <a:gd name="connsiteY0" fmla="*/ 127836 h 5042175"/>
              <a:gd name="connsiteX1" fmla="*/ 7649 w 3391649"/>
              <a:gd name="connsiteY1" fmla="*/ 8950 h 5042175"/>
              <a:gd name="connsiteX2" fmla="*/ 129710 w 3391649"/>
              <a:gd name="connsiteY2" fmla="*/ 5775 h 5042175"/>
              <a:gd name="connsiteX3" fmla="*/ 3269588 w 3391649"/>
              <a:gd name="connsiteY3" fmla="*/ 5775 h 5042175"/>
              <a:gd name="connsiteX4" fmla="*/ 3391649 w 3391649"/>
              <a:gd name="connsiteY4" fmla="*/ 127836 h 5042175"/>
              <a:gd name="connsiteX5" fmla="*/ 3391649 w 3391649"/>
              <a:gd name="connsiteY5" fmla="*/ 4920114 h 5042175"/>
              <a:gd name="connsiteX6" fmla="*/ 3269588 w 3391649"/>
              <a:gd name="connsiteY6" fmla="*/ 5042175 h 5042175"/>
              <a:gd name="connsiteX7" fmla="*/ 129710 w 3391649"/>
              <a:gd name="connsiteY7" fmla="*/ 5042175 h 5042175"/>
              <a:gd name="connsiteX8" fmla="*/ 7649 w 3391649"/>
              <a:gd name="connsiteY8" fmla="*/ 4920114 h 5042175"/>
              <a:gd name="connsiteX9" fmla="*/ 7649 w 3391649"/>
              <a:gd name="connsiteY9" fmla="*/ 127836 h 5042175"/>
              <a:gd name="connsiteX0" fmla="*/ 15257 w 3399257"/>
              <a:gd name="connsiteY0" fmla="*/ 5276782 h 5398843"/>
              <a:gd name="connsiteX1" fmla="*/ 15257 w 3399257"/>
              <a:gd name="connsiteY1" fmla="*/ 365618 h 5398843"/>
              <a:gd name="connsiteX2" fmla="*/ 137318 w 3399257"/>
              <a:gd name="connsiteY2" fmla="*/ 362443 h 5398843"/>
              <a:gd name="connsiteX3" fmla="*/ 3277196 w 3399257"/>
              <a:gd name="connsiteY3" fmla="*/ 362443 h 5398843"/>
              <a:gd name="connsiteX4" fmla="*/ 3399257 w 3399257"/>
              <a:gd name="connsiteY4" fmla="*/ 484504 h 5398843"/>
              <a:gd name="connsiteX5" fmla="*/ 3399257 w 3399257"/>
              <a:gd name="connsiteY5" fmla="*/ 5276782 h 5398843"/>
              <a:gd name="connsiteX6" fmla="*/ 3277196 w 3399257"/>
              <a:gd name="connsiteY6" fmla="*/ 5398843 h 5398843"/>
              <a:gd name="connsiteX7" fmla="*/ 137318 w 3399257"/>
              <a:gd name="connsiteY7" fmla="*/ 5398843 h 5398843"/>
              <a:gd name="connsiteX8" fmla="*/ 15257 w 3399257"/>
              <a:gd name="connsiteY8" fmla="*/ 5276782 h 5398843"/>
              <a:gd name="connsiteX0" fmla="*/ 10990 w 3394990"/>
              <a:gd name="connsiteY0" fmla="*/ 5276782 h 5398843"/>
              <a:gd name="connsiteX1" fmla="*/ 10990 w 3394990"/>
              <a:gd name="connsiteY1" fmla="*/ 365618 h 5398843"/>
              <a:gd name="connsiteX2" fmla="*/ 133051 w 3394990"/>
              <a:gd name="connsiteY2" fmla="*/ 362443 h 5398843"/>
              <a:gd name="connsiteX3" fmla="*/ 3272929 w 3394990"/>
              <a:gd name="connsiteY3" fmla="*/ 362443 h 5398843"/>
              <a:gd name="connsiteX4" fmla="*/ 3394990 w 3394990"/>
              <a:gd name="connsiteY4" fmla="*/ 484504 h 5398843"/>
              <a:gd name="connsiteX5" fmla="*/ 3394990 w 3394990"/>
              <a:gd name="connsiteY5" fmla="*/ 5276782 h 5398843"/>
              <a:gd name="connsiteX6" fmla="*/ 3272929 w 3394990"/>
              <a:gd name="connsiteY6" fmla="*/ 5398843 h 5398843"/>
              <a:gd name="connsiteX7" fmla="*/ 133051 w 3394990"/>
              <a:gd name="connsiteY7" fmla="*/ 5398843 h 5398843"/>
              <a:gd name="connsiteX8" fmla="*/ 10990 w 3394990"/>
              <a:gd name="connsiteY8" fmla="*/ 5276782 h 5398843"/>
              <a:gd name="connsiteX0" fmla="*/ 10990 w 3394990"/>
              <a:gd name="connsiteY0" fmla="*/ 4918814 h 5040875"/>
              <a:gd name="connsiteX1" fmla="*/ 10990 w 3394990"/>
              <a:gd name="connsiteY1" fmla="*/ 7650 h 5040875"/>
              <a:gd name="connsiteX2" fmla="*/ 133051 w 3394990"/>
              <a:gd name="connsiteY2" fmla="*/ 4475 h 5040875"/>
              <a:gd name="connsiteX3" fmla="*/ 3272929 w 3394990"/>
              <a:gd name="connsiteY3" fmla="*/ 4475 h 5040875"/>
              <a:gd name="connsiteX4" fmla="*/ 3394990 w 3394990"/>
              <a:gd name="connsiteY4" fmla="*/ 126536 h 5040875"/>
              <a:gd name="connsiteX5" fmla="*/ 3394990 w 3394990"/>
              <a:gd name="connsiteY5" fmla="*/ 4918814 h 5040875"/>
              <a:gd name="connsiteX6" fmla="*/ 3272929 w 3394990"/>
              <a:gd name="connsiteY6" fmla="*/ 5040875 h 5040875"/>
              <a:gd name="connsiteX7" fmla="*/ 133051 w 3394990"/>
              <a:gd name="connsiteY7" fmla="*/ 5040875 h 5040875"/>
              <a:gd name="connsiteX8" fmla="*/ 10990 w 3394990"/>
              <a:gd name="connsiteY8" fmla="*/ 4918814 h 5040875"/>
              <a:gd name="connsiteX0" fmla="*/ 158635 w 3542635"/>
              <a:gd name="connsiteY0" fmla="*/ 4917578 h 5039639"/>
              <a:gd name="connsiteX1" fmla="*/ 146729 w 3542635"/>
              <a:gd name="connsiteY1" fmla="*/ 6414 h 5039639"/>
              <a:gd name="connsiteX2" fmla="*/ 280696 w 3542635"/>
              <a:gd name="connsiteY2" fmla="*/ 3239 h 5039639"/>
              <a:gd name="connsiteX3" fmla="*/ 3420574 w 3542635"/>
              <a:gd name="connsiteY3" fmla="*/ 3239 h 5039639"/>
              <a:gd name="connsiteX4" fmla="*/ 3542635 w 3542635"/>
              <a:gd name="connsiteY4" fmla="*/ 125300 h 5039639"/>
              <a:gd name="connsiteX5" fmla="*/ 3542635 w 3542635"/>
              <a:gd name="connsiteY5" fmla="*/ 4917578 h 5039639"/>
              <a:gd name="connsiteX6" fmla="*/ 3420574 w 3542635"/>
              <a:gd name="connsiteY6" fmla="*/ 5039639 h 5039639"/>
              <a:gd name="connsiteX7" fmla="*/ 280696 w 3542635"/>
              <a:gd name="connsiteY7" fmla="*/ 5039639 h 5039639"/>
              <a:gd name="connsiteX8" fmla="*/ 158635 w 3542635"/>
              <a:gd name="connsiteY8" fmla="*/ 4917578 h 5039639"/>
              <a:gd name="connsiteX0" fmla="*/ 160634 w 3544634"/>
              <a:gd name="connsiteY0" fmla="*/ 4917578 h 5039639"/>
              <a:gd name="connsiteX1" fmla="*/ 143965 w 3544634"/>
              <a:gd name="connsiteY1" fmla="*/ 6414 h 5039639"/>
              <a:gd name="connsiteX2" fmla="*/ 282695 w 3544634"/>
              <a:gd name="connsiteY2" fmla="*/ 3239 h 5039639"/>
              <a:gd name="connsiteX3" fmla="*/ 3422573 w 3544634"/>
              <a:gd name="connsiteY3" fmla="*/ 3239 h 5039639"/>
              <a:gd name="connsiteX4" fmla="*/ 3544634 w 3544634"/>
              <a:gd name="connsiteY4" fmla="*/ 125300 h 5039639"/>
              <a:gd name="connsiteX5" fmla="*/ 3544634 w 3544634"/>
              <a:gd name="connsiteY5" fmla="*/ 4917578 h 5039639"/>
              <a:gd name="connsiteX6" fmla="*/ 3422573 w 3544634"/>
              <a:gd name="connsiteY6" fmla="*/ 5039639 h 5039639"/>
              <a:gd name="connsiteX7" fmla="*/ 282695 w 3544634"/>
              <a:gd name="connsiteY7" fmla="*/ 5039639 h 5039639"/>
              <a:gd name="connsiteX8" fmla="*/ 160634 w 3544634"/>
              <a:gd name="connsiteY8" fmla="*/ 4917578 h 5039639"/>
              <a:gd name="connsiteX0" fmla="*/ 164685 w 3548685"/>
              <a:gd name="connsiteY0" fmla="*/ 4917578 h 5039639"/>
              <a:gd name="connsiteX1" fmla="*/ 138491 w 3548685"/>
              <a:gd name="connsiteY1" fmla="*/ 6414 h 5039639"/>
              <a:gd name="connsiteX2" fmla="*/ 286746 w 3548685"/>
              <a:gd name="connsiteY2" fmla="*/ 3239 h 5039639"/>
              <a:gd name="connsiteX3" fmla="*/ 3426624 w 3548685"/>
              <a:gd name="connsiteY3" fmla="*/ 3239 h 5039639"/>
              <a:gd name="connsiteX4" fmla="*/ 3548685 w 3548685"/>
              <a:gd name="connsiteY4" fmla="*/ 125300 h 5039639"/>
              <a:gd name="connsiteX5" fmla="*/ 3548685 w 3548685"/>
              <a:gd name="connsiteY5" fmla="*/ 4917578 h 5039639"/>
              <a:gd name="connsiteX6" fmla="*/ 3426624 w 3548685"/>
              <a:gd name="connsiteY6" fmla="*/ 5039639 h 5039639"/>
              <a:gd name="connsiteX7" fmla="*/ 286746 w 3548685"/>
              <a:gd name="connsiteY7" fmla="*/ 5039639 h 5039639"/>
              <a:gd name="connsiteX8" fmla="*/ 164685 w 3548685"/>
              <a:gd name="connsiteY8" fmla="*/ 4917578 h 5039639"/>
              <a:gd name="connsiteX0" fmla="*/ 163666 w 3547666"/>
              <a:gd name="connsiteY0" fmla="*/ 4917578 h 5039639"/>
              <a:gd name="connsiteX1" fmla="*/ 139854 w 3547666"/>
              <a:gd name="connsiteY1" fmla="*/ 6414 h 5039639"/>
              <a:gd name="connsiteX2" fmla="*/ 285727 w 3547666"/>
              <a:gd name="connsiteY2" fmla="*/ 3239 h 5039639"/>
              <a:gd name="connsiteX3" fmla="*/ 3425605 w 3547666"/>
              <a:gd name="connsiteY3" fmla="*/ 3239 h 5039639"/>
              <a:gd name="connsiteX4" fmla="*/ 3547666 w 3547666"/>
              <a:gd name="connsiteY4" fmla="*/ 125300 h 5039639"/>
              <a:gd name="connsiteX5" fmla="*/ 3547666 w 3547666"/>
              <a:gd name="connsiteY5" fmla="*/ 4917578 h 5039639"/>
              <a:gd name="connsiteX6" fmla="*/ 3425605 w 3547666"/>
              <a:gd name="connsiteY6" fmla="*/ 5039639 h 5039639"/>
              <a:gd name="connsiteX7" fmla="*/ 285727 w 3547666"/>
              <a:gd name="connsiteY7" fmla="*/ 5039639 h 5039639"/>
              <a:gd name="connsiteX8" fmla="*/ 163666 w 3547666"/>
              <a:gd name="connsiteY8" fmla="*/ 4917578 h 5039639"/>
              <a:gd name="connsiteX0" fmla="*/ 161641 w 3545641"/>
              <a:gd name="connsiteY0" fmla="*/ 4917578 h 5039639"/>
              <a:gd name="connsiteX1" fmla="*/ 142591 w 3545641"/>
              <a:gd name="connsiteY1" fmla="*/ 6414 h 5039639"/>
              <a:gd name="connsiteX2" fmla="*/ 283702 w 3545641"/>
              <a:gd name="connsiteY2" fmla="*/ 3239 h 5039639"/>
              <a:gd name="connsiteX3" fmla="*/ 3423580 w 3545641"/>
              <a:gd name="connsiteY3" fmla="*/ 3239 h 5039639"/>
              <a:gd name="connsiteX4" fmla="*/ 3545641 w 3545641"/>
              <a:gd name="connsiteY4" fmla="*/ 125300 h 5039639"/>
              <a:gd name="connsiteX5" fmla="*/ 3545641 w 3545641"/>
              <a:gd name="connsiteY5" fmla="*/ 4917578 h 5039639"/>
              <a:gd name="connsiteX6" fmla="*/ 3423580 w 3545641"/>
              <a:gd name="connsiteY6" fmla="*/ 5039639 h 5039639"/>
              <a:gd name="connsiteX7" fmla="*/ 283702 w 3545641"/>
              <a:gd name="connsiteY7" fmla="*/ 5039639 h 5039639"/>
              <a:gd name="connsiteX8" fmla="*/ 161641 w 3545641"/>
              <a:gd name="connsiteY8" fmla="*/ 4917578 h 5039639"/>
              <a:gd name="connsiteX0" fmla="*/ 158636 w 3542636"/>
              <a:gd name="connsiteY0" fmla="*/ 4917578 h 5039639"/>
              <a:gd name="connsiteX1" fmla="*/ 146730 w 3542636"/>
              <a:gd name="connsiteY1" fmla="*/ 6414 h 5039639"/>
              <a:gd name="connsiteX2" fmla="*/ 280697 w 3542636"/>
              <a:gd name="connsiteY2" fmla="*/ 3239 h 5039639"/>
              <a:gd name="connsiteX3" fmla="*/ 3420575 w 3542636"/>
              <a:gd name="connsiteY3" fmla="*/ 3239 h 5039639"/>
              <a:gd name="connsiteX4" fmla="*/ 3542636 w 3542636"/>
              <a:gd name="connsiteY4" fmla="*/ 125300 h 5039639"/>
              <a:gd name="connsiteX5" fmla="*/ 3542636 w 3542636"/>
              <a:gd name="connsiteY5" fmla="*/ 4917578 h 5039639"/>
              <a:gd name="connsiteX6" fmla="*/ 3420575 w 3542636"/>
              <a:gd name="connsiteY6" fmla="*/ 5039639 h 5039639"/>
              <a:gd name="connsiteX7" fmla="*/ 280697 w 3542636"/>
              <a:gd name="connsiteY7" fmla="*/ 5039639 h 5039639"/>
              <a:gd name="connsiteX8" fmla="*/ 158636 w 3542636"/>
              <a:gd name="connsiteY8" fmla="*/ 4917578 h 5039639"/>
              <a:gd name="connsiteX0" fmla="*/ 160634 w 3544634"/>
              <a:gd name="connsiteY0" fmla="*/ 4917578 h 5039639"/>
              <a:gd name="connsiteX1" fmla="*/ 143965 w 3544634"/>
              <a:gd name="connsiteY1" fmla="*/ 6414 h 5039639"/>
              <a:gd name="connsiteX2" fmla="*/ 282695 w 3544634"/>
              <a:gd name="connsiteY2" fmla="*/ 3239 h 5039639"/>
              <a:gd name="connsiteX3" fmla="*/ 3422573 w 3544634"/>
              <a:gd name="connsiteY3" fmla="*/ 3239 h 5039639"/>
              <a:gd name="connsiteX4" fmla="*/ 3544634 w 3544634"/>
              <a:gd name="connsiteY4" fmla="*/ 125300 h 5039639"/>
              <a:gd name="connsiteX5" fmla="*/ 3544634 w 3544634"/>
              <a:gd name="connsiteY5" fmla="*/ 4917578 h 5039639"/>
              <a:gd name="connsiteX6" fmla="*/ 3422573 w 3544634"/>
              <a:gd name="connsiteY6" fmla="*/ 5039639 h 5039639"/>
              <a:gd name="connsiteX7" fmla="*/ 282695 w 3544634"/>
              <a:gd name="connsiteY7" fmla="*/ 5039639 h 5039639"/>
              <a:gd name="connsiteX8" fmla="*/ 160634 w 3544634"/>
              <a:gd name="connsiteY8" fmla="*/ 4917578 h 5039639"/>
              <a:gd name="connsiteX0" fmla="*/ 162650 w 3546650"/>
              <a:gd name="connsiteY0" fmla="*/ 4917578 h 5039639"/>
              <a:gd name="connsiteX1" fmla="*/ 141219 w 3546650"/>
              <a:gd name="connsiteY1" fmla="*/ 6414 h 5039639"/>
              <a:gd name="connsiteX2" fmla="*/ 284711 w 3546650"/>
              <a:gd name="connsiteY2" fmla="*/ 3239 h 5039639"/>
              <a:gd name="connsiteX3" fmla="*/ 3424589 w 3546650"/>
              <a:gd name="connsiteY3" fmla="*/ 3239 h 5039639"/>
              <a:gd name="connsiteX4" fmla="*/ 3546650 w 3546650"/>
              <a:gd name="connsiteY4" fmla="*/ 125300 h 5039639"/>
              <a:gd name="connsiteX5" fmla="*/ 3546650 w 3546650"/>
              <a:gd name="connsiteY5" fmla="*/ 4917578 h 5039639"/>
              <a:gd name="connsiteX6" fmla="*/ 3424589 w 3546650"/>
              <a:gd name="connsiteY6" fmla="*/ 5039639 h 5039639"/>
              <a:gd name="connsiteX7" fmla="*/ 284711 w 3546650"/>
              <a:gd name="connsiteY7" fmla="*/ 5039639 h 5039639"/>
              <a:gd name="connsiteX8" fmla="*/ 162650 w 3546650"/>
              <a:gd name="connsiteY8" fmla="*/ 4917578 h 5039639"/>
              <a:gd name="connsiteX0" fmla="*/ 164685 w 3548685"/>
              <a:gd name="connsiteY0" fmla="*/ 4917578 h 5039639"/>
              <a:gd name="connsiteX1" fmla="*/ 138491 w 3548685"/>
              <a:gd name="connsiteY1" fmla="*/ 6414 h 5039639"/>
              <a:gd name="connsiteX2" fmla="*/ 286746 w 3548685"/>
              <a:gd name="connsiteY2" fmla="*/ 3239 h 5039639"/>
              <a:gd name="connsiteX3" fmla="*/ 3426624 w 3548685"/>
              <a:gd name="connsiteY3" fmla="*/ 3239 h 5039639"/>
              <a:gd name="connsiteX4" fmla="*/ 3548685 w 3548685"/>
              <a:gd name="connsiteY4" fmla="*/ 125300 h 5039639"/>
              <a:gd name="connsiteX5" fmla="*/ 3548685 w 3548685"/>
              <a:gd name="connsiteY5" fmla="*/ 4917578 h 5039639"/>
              <a:gd name="connsiteX6" fmla="*/ 3426624 w 3548685"/>
              <a:gd name="connsiteY6" fmla="*/ 5039639 h 5039639"/>
              <a:gd name="connsiteX7" fmla="*/ 286746 w 3548685"/>
              <a:gd name="connsiteY7" fmla="*/ 5039639 h 5039639"/>
              <a:gd name="connsiteX8" fmla="*/ 164685 w 3548685"/>
              <a:gd name="connsiteY8" fmla="*/ 4917578 h 5039639"/>
              <a:gd name="connsiteX0" fmla="*/ 162651 w 3546651"/>
              <a:gd name="connsiteY0" fmla="*/ 4917578 h 5039639"/>
              <a:gd name="connsiteX1" fmla="*/ 141220 w 3546651"/>
              <a:gd name="connsiteY1" fmla="*/ 6414 h 5039639"/>
              <a:gd name="connsiteX2" fmla="*/ 284712 w 3546651"/>
              <a:gd name="connsiteY2" fmla="*/ 3239 h 5039639"/>
              <a:gd name="connsiteX3" fmla="*/ 3424590 w 3546651"/>
              <a:gd name="connsiteY3" fmla="*/ 3239 h 5039639"/>
              <a:gd name="connsiteX4" fmla="*/ 3546651 w 3546651"/>
              <a:gd name="connsiteY4" fmla="*/ 125300 h 5039639"/>
              <a:gd name="connsiteX5" fmla="*/ 3546651 w 3546651"/>
              <a:gd name="connsiteY5" fmla="*/ 4917578 h 5039639"/>
              <a:gd name="connsiteX6" fmla="*/ 3424590 w 3546651"/>
              <a:gd name="connsiteY6" fmla="*/ 5039639 h 5039639"/>
              <a:gd name="connsiteX7" fmla="*/ 284712 w 3546651"/>
              <a:gd name="connsiteY7" fmla="*/ 5039639 h 5039639"/>
              <a:gd name="connsiteX8" fmla="*/ 162651 w 3546651"/>
              <a:gd name="connsiteY8" fmla="*/ 4917578 h 5039639"/>
              <a:gd name="connsiteX0" fmla="*/ 164685 w 3548685"/>
              <a:gd name="connsiteY0" fmla="*/ 4917578 h 5039639"/>
              <a:gd name="connsiteX1" fmla="*/ 138491 w 3548685"/>
              <a:gd name="connsiteY1" fmla="*/ 6414 h 5039639"/>
              <a:gd name="connsiteX2" fmla="*/ 286746 w 3548685"/>
              <a:gd name="connsiteY2" fmla="*/ 3239 h 5039639"/>
              <a:gd name="connsiteX3" fmla="*/ 3426624 w 3548685"/>
              <a:gd name="connsiteY3" fmla="*/ 3239 h 5039639"/>
              <a:gd name="connsiteX4" fmla="*/ 3548685 w 3548685"/>
              <a:gd name="connsiteY4" fmla="*/ 125300 h 5039639"/>
              <a:gd name="connsiteX5" fmla="*/ 3548685 w 3548685"/>
              <a:gd name="connsiteY5" fmla="*/ 4917578 h 5039639"/>
              <a:gd name="connsiteX6" fmla="*/ 3426624 w 3548685"/>
              <a:gd name="connsiteY6" fmla="*/ 5039639 h 5039639"/>
              <a:gd name="connsiteX7" fmla="*/ 286746 w 3548685"/>
              <a:gd name="connsiteY7" fmla="*/ 5039639 h 5039639"/>
              <a:gd name="connsiteX8" fmla="*/ 164685 w 3548685"/>
              <a:gd name="connsiteY8" fmla="*/ 4917578 h 5039639"/>
              <a:gd name="connsiteX0" fmla="*/ 28361 w 3412361"/>
              <a:gd name="connsiteY0" fmla="*/ 4917578 h 5039639"/>
              <a:gd name="connsiteX1" fmla="*/ 2167 w 3412361"/>
              <a:gd name="connsiteY1" fmla="*/ 6414 h 5039639"/>
              <a:gd name="connsiteX2" fmla="*/ 150422 w 3412361"/>
              <a:gd name="connsiteY2" fmla="*/ 3239 h 5039639"/>
              <a:gd name="connsiteX3" fmla="*/ 3290300 w 3412361"/>
              <a:gd name="connsiteY3" fmla="*/ 3239 h 5039639"/>
              <a:gd name="connsiteX4" fmla="*/ 3412361 w 3412361"/>
              <a:gd name="connsiteY4" fmla="*/ 125300 h 5039639"/>
              <a:gd name="connsiteX5" fmla="*/ 3412361 w 3412361"/>
              <a:gd name="connsiteY5" fmla="*/ 4917578 h 5039639"/>
              <a:gd name="connsiteX6" fmla="*/ 3290300 w 3412361"/>
              <a:gd name="connsiteY6" fmla="*/ 5039639 h 5039639"/>
              <a:gd name="connsiteX7" fmla="*/ 150422 w 3412361"/>
              <a:gd name="connsiteY7" fmla="*/ 5039639 h 5039639"/>
              <a:gd name="connsiteX8" fmla="*/ 28361 w 3412361"/>
              <a:gd name="connsiteY8" fmla="*/ 4917578 h 5039639"/>
              <a:gd name="connsiteX0" fmla="*/ 28361 w 3412361"/>
              <a:gd name="connsiteY0" fmla="*/ 4917578 h 5039639"/>
              <a:gd name="connsiteX1" fmla="*/ 2167 w 3412361"/>
              <a:gd name="connsiteY1" fmla="*/ 6414 h 5039639"/>
              <a:gd name="connsiteX2" fmla="*/ 150422 w 3412361"/>
              <a:gd name="connsiteY2" fmla="*/ 3239 h 5039639"/>
              <a:gd name="connsiteX3" fmla="*/ 3290300 w 3412361"/>
              <a:gd name="connsiteY3" fmla="*/ 3239 h 5039639"/>
              <a:gd name="connsiteX4" fmla="*/ 3412361 w 3412361"/>
              <a:gd name="connsiteY4" fmla="*/ 125300 h 5039639"/>
              <a:gd name="connsiteX5" fmla="*/ 3412361 w 3412361"/>
              <a:gd name="connsiteY5" fmla="*/ 4917578 h 5039639"/>
              <a:gd name="connsiteX6" fmla="*/ 3290300 w 3412361"/>
              <a:gd name="connsiteY6" fmla="*/ 5039639 h 5039639"/>
              <a:gd name="connsiteX7" fmla="*/ 150422 w 3412361"/>
              <a:gd name="connsiteY7" fmla="*/ 5039639 h 5039639"/>
              <a:gd name="connsiteX8" fmla="*/ 28361 w 3412361"/>
              <a:gd name="connsiteY8" fmla="*/ 4917578 h 5039639"/>
              <a:gd name="connsiteX0" fmla="*/ 33210 w 3417210"/>
              <a:gd name="connsiteY0" fmla="*/ 4916549 h 5038610"/>
              <a:gd name="connsiteX1" fmla="*/ 7016 w 3417210"/>
              <a:gd name="connsiteY1" fmla="*/ 5385 h 5038610"/>
              <a:gd name="connsiteX2" fmla="*/ 155271 w 3417210"/>
              <a:gd name="connsiteY2" fmla="*/ 2210 h 5038610"/>
              <a:gd name="connsiteX3" fmla="*/ 3295149 w 3417210"/>
              <a:gd name="connsiteY3" fmla="*/ 2210 h 5038610"/>
              <a:gd name="connsiteX4" fmla="*/ 3417210 w 3417210"/>
              <a:gd name="connsiteY4" fmla="*/ 124271 h 5038610"/>
              <a:gd name="connsiteX5" fmla="*/ 3417210 w 3417210"/>
              <a:gd name="connsiteY5" fmla="*/ 4916549 h 5038610"/>
              <a:gd name="connsiteX6" fmla="*/ 3295149 w 3417210"/>
              <a:gd name="connsiteY6" fmla="*/ 5038610 h 5038610"/>
              <a:gd name="connsiteX7" fmla="*/ 155271 w 3417210"/>
              <a:gd name="connsiteY7" fmla="*/ 5038610 h 5038610"/>
              <a:gd name="connsiteX8" fmla="*/ 33210 w 3417210"/>
              <a:gd name="connsiteY8" fmla="*/ 4916549 h 5038610"/>
              <a:gd name="connsiteX0" fmla="*/ 26222 w 3410222"/>
              <a:gd name="connsiteY0" fmla="*/ 4914339 h 5036400"/>
              <a:gd name="connsiteX1" fmla="*/ 28 w 3410222"/>
              <a:gd name="connsiteY1" fmla="*/ 3175 h 5036400"/>
              <a:gd name="connsiteX2" fmla="*/ 148283 w 3410222"/>
              <a:gd name="connsiteY2" fmla="*/ 0 h 5036400"/>
              <a:gd name="connsiteX3" fmla="*/ 3288161 w 3410222"/>
              <a:gd name="connsiteY3" fmla="*/ 0 h 5036400"/>
              <a:gd name="connsiteX4" fmla="*/ 3410222 w 3410222"/>
              <a:gd name="connsiteY4" fmla="*/ 122061 h 5036400"/>
              <a:gd name="connsiteX5" fmla="*/ 3410222 w 3410222"/>
              <a:gd name="connsiteY5" fmla="*/ 4914339 h 5036400"/>
              <a:gd name="connsiteX6" fmla="*/ 3288161 w 3410222"/>
              <a:gd name="connsiteY6" fmla="*/ 5036400 h 5036400"/>
              <a:gd name="connsiteX7" fmla="*/ 148283 w 3410222"/>
              <a:gd name="connsiteY7" fmla="*/ 5036400 h 5036400"/>
              <a:gd name="connsiteX8" fmla="*/ 26222 w 3410222"/>
              <a:gd name="connsiteY8" fmla="*/ 4914339 h 503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10222" h="5036400">
                <a:moveTo>
                  <a:pt x="26222" y="4914339"/>
                </a:moveTo>
                <a:cubicBezTo>
                  <a:pt x="5879" y="4075468"/>
                  <a:pt x="1910" y="6256"/>
                  <a:pt x="28" y="3175"/>
                </a:cubicBezTo>
                <a:cubicBezTo>
                  <a:pt x="-1854" y="94"/>
                  <a:pt x="93180" y="529"/>
                  <a:pt x="148283" y="0"/>
                </a:cubicBezTo>
                <a:lnTo>
                  <a:pt x="3288161" y="0"/>
                </a:lnTo>
                <a:cubicBezTo>
                  <a:pt x="3355573" y="0"/>
                  <a:pt x="3410222" y="54649"/>
                  <a:pt x="3410222" y="122061"/>
                </a:cubicBezTo>
                <a:lnTo>
                  <a:pt x="3410222" y="4914339"/>
                </a:lnTo>
                <a:cubicBezTo>
                  <a:pt x="3410222" y="4981751"/>
                  <a:pt x="3355573" y="5036400"/>
                  <a:pt x="3288161" y="5036400"/>
                </a:cubicBezTo>
                <a:lnTo>
                  <a:pt x="148283" y="5036400"/>
                </a:lnTo>
                <a:cubicBezTo>
                  <a:pt x="80871" y="5036400"/>
                  <a:pt x="26222" y="4981751"/>
                  <a:pt x="26222" y="4914339"/>
                </a:cubicBezTo>
                <a:close/>
              </a:path>
            </a:pathLst>
          </a:custGeom>
          <a:solidFill>
            <a:schemeClr val="bg1"/>
          </a:solidFill>
        </p:spPr>
        <p:txBody>
          <a:bodyPr lIns="576000" tIns="1224000" rIns="576000" bIns="576000"/>
          <a:lstStyle>
            <a:lvl1pPr marL="0" indent="0">
              <a:spcAft>
                <a:spcPts val="0"/>
              </a:spcAft>
              <a:buNone/>
              <a:defRPr sz="6314" b="0">
                <a:solidFill>
                  <a:schemeClr val="bg2"/>
                </a:solidFill>
              </a:defRPr>
            </a:lvl1pPr>
            <a:lvl2pPr marL="1275202" indent="-1275202">
              <a:spcAft>
                <a:spcPts val="0"/>
              </a:spcAft>
              <a:buClr>
                <a:schemeClr val="bg2"/>
              </a:buClr>
              <a:buFont typeface="+mj-lt"/>
              <a:buAutoNum type="arabicPeriod"/>
              <a:defRPr sz="6314">
                <a:solidFill>
                  <a:schemeClr val="bg2"/>
                </a:solidFill>
              </a:defRPr>
            </a:lvl2pPr>
            <a:lvl3pPr marL="1002340" indent="-1002340">
              <a:spcAft>
                <a:spcPts val="0"/>
              </a:spcAft>
              <a:buFont typeface="Arial" panose="020B0604020202020204" pitchFamily="34" charset="0"/>
              <a:buChar char="•"/>
              <a:defRPr sz="6314">
                <a:solidFill>
                  <a:schemeClr val="bg2"/>
                </a:solidFill>
              </a:defRPr>
            </a:lvl3pPr>
            <a:lvl4pPr marL="634816" indent="0">
              <a:spcAft>
                <a:spcPts val="0"/>
              </a:spcAft>
              <a:buNone/>
              <a:defRPr sz="6314">
                <a:solidFill>
                  <a:schemeClr val="tx2"/>
                </a:solidFill>
              </a:defRPr>
            </a:lvl4pPr>
            <a:lvl5pPr marL="0" indent="0">
              <a:spcBef>
                <a:spcPts val="2806"/>
              </a:spcBef>
              <a:spcAft>
                <a:spcPts val="0"/>
              </a:spcAft>
              <a:buNone/>
              <a:defRPr sz="12628" b="0">
                <a:solidFill>
                  <a:schemeClr val="tx2"/>
                </a:solidFill>
              </a:defRPr>
            </a:lvl5pPr>
          </a:lstStyle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145" name="Tijdelijke aanduiding voor verticale tekst 2">
            <a:extLst>
              <a:ext uri="{FF2B5EF4-FFF2-40B4-BE49-F238E27FC236}">
                <a16:creationId xmlns:a16="http://schemas.microsoft.com/office/drawing/2014/main" id="{9001FD48-79F0-4F0E-AB81-634459ED5BE7}"/>
              </a:ext>
            </a:extLst>
          </p:cNvPr>
          <p:cNvSpPr>
            <a:spLocks noGrp="1"/>
          </p:cNvSpPr>
          <p:nvPr>
            <p:ph type="body" orient="vert" idx="30" hasCustomPrompt="1"/>
          </p:nvPr>
        </p:nvSpPr>
        <p:spPr>
          <a:xfrm>
            <a:off x="3673386" y="4706259"/>
            <a:ext cx="6882851" cy="2325638"/>
          </a:xfrm>
        </p:spPr>
        <p:txBody>
          <a:bodyPr vert="horz" anchor="b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Tx/>
              <a:buNone/>
              <a:defRPr sz="12628" b="0" baseline="0">
                <a:solidFill>
                  <a:schemeClr val="tx2"/>
                </a:solidFill>
                <a:latin typeface="+mj-lt"/>
              </a:defRPr>
            </a:lvl1pPr>
            <a:lvl2pPr algn="r">
              <a:lnSpc>
                <a:spcPct val="100000"/>
              </a:lnSpc>
              <a:defRPr>
                <a:latin typeface="+mj-lt"/>
              </a:defRPr>
            </a:lvl2pPr>
            <a:lvl3pPr algn="r">
              <a:lnSpc>
                <a:spcPct val="100000"/>
              </a:lnSpc>
              <a:defRPr>
                <a:latin typeface="+mj-lt"/>
              </a:defRPr>
            </a:lvl3pPr>
            <a:lvl4pPr algn="r">
              <a:lnSpc>
                <a:spcPct val="100000"/>
              </a:lnSpc>
              <a:defRPr sz="16838">
                <a:solidFill>
                  <a:schemeClr val="tx2"/>
                </a:solidFill>
                <a:latin typeface="+mj-lt"/>
              </a:defRPr>
            </a:lvl4pPr>
            <a:lvl5pPr algn="r">
              <a:lnSpc>
                <a:spcPct val="100000"/>
              </a:lnSpc>
              <a:defRPr>
                <a:latin typeface="+mj-lt"/>
              </a:defRPr>
            </a:lvl5pPr>
          </a:lstStyle>
          <a:p>
            <a:pPr lvl="0"/>
            <a:r>
              <a:rPr lang="nl-NL" noProof="0"/>
              <a:t>Typ Titel</a:t>
            </a:r>
          </a:p>
        </p:txBody>
      </p:sp>
      <p:grpSp>
        <p:nvGrpSpPr>
          <p:cNvPr id="2" name="Groep 1">
            <a:extLst>
              <a:ext uri="{FF2B5EF4-FFF2-40B4-BE49-F238E27FC236}">
                <a16:creationId xmlns:a16="http://schemas.microsoft.com/office/drawing/2014/main" id="{900C9842-CD09-4A8A-AB84-5E6126572BB8}"/>
              </a:ext>
            </a:extLst>
          </p:cNvPr>
          <p:cNvGrpSpPr/>
          <p:nvPr userDrawn="1"/>
        </p:nvGrpSpPr>
        <p:grpSpPr>
          <a:xfrm>
            <a:off x="43467415" y="5"/>
            <a:ext cx="13081583" cy="23084356"/>
            <a:chOff x="12391601" y="0"/>
            <a:chExt cx="3729271" cy="5229113"/>
          </a:xfrm>
        </p:grpSpPr>
        <p:grpSp>
          <p:nvGrpSpPr>
            <p:cNvPr id="125" name="Meer informatie">
              <a:extLst>
                <a:ext uri="{FF2B5EF4-FFF2-40B4-BE49-F238E27FC236}">
                  <a16:creationId xmlns:a16="http://schemas.microsoft.com/office/drawing/2014/main" id="{BBB63082-3390-4523-ABC6-2696FEAF78BE}"/>
                </a:ext>
              </a:extLst>
            </p:cNvPr>
            <p:cNvGrpSpPr/>
            <p:nvPr userDrawn="1"/>
          </p:nvGrpSpPr>
          <p:grpSpPr>
            <a:xfrm>
              <a:off x="12396764" y="4445840"/>
              <a:ext cx="3178515" cy="783273"/>
              <a:chOff x="-3741486" y="3386444"/>
              <a:chExt cx="3178515" cy="783273"/>
            </a:xfrm>
          </p:grpSpPr>
          <p:sp>
            <p:nvSpPr>
              <p:cNvPr id="216" name="Freeform 101">
                <a:extLst>
                  <a:ext uri="{FF2B5EF4-FFF2-40B4-BE49-F238E27FC236}">
                    <a16:creationId xmlns:a16="http://schemas.microsoft.com/office/drawing/2014/main" id="{8EC7D39B-6986-4BCE-94CA-81C2E574CFE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2684365E-23C2-4B87-996C-6D3AF800D9AE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9035E986-2FB4-4DD0-B21F-4F9974A26D4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26" name="Rechthoek 125">
              <a:extLst>
                <a:ext uri="{FF2B5EF4-FFF2-40B4-BE49-F238E27FC236}">
                  <a16:creationId xmlns:a16="http://schemas.microsoft.com/office/drawing/2014/main" id="{E143865B-B592-4ECC-8682-2E16D6D8836C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3A6833BB-28EB-45F9-9586-E31822CB6BDA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8" name="Rechte verbindingslijn 127">
              <a:extLst>
                <a:ext uri="{FF2B5EF4-FFF2-40B4-BE49-F238E27FC236}">
                  <a16:creationId xmlns:a16="http://schemas.microsoft.com/office/drawing/2014/main" id="{6252EA7E-B03C-4297-8853-E25D3F1281C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9" name="Rechte verbindingslijn 128">
              <a:extLst>
                <a:ext uri="{FF2B5EF4-FFF2-40B4-BE49-F238E27FC236}">
                  <a16:creationId xmlns:a16="http://schemas.microsoft.com/office/drawing/2014/main" id="{372B8B2C-3747-40B2-88B6-E3AD69419DA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30" name="Rechthoek 129">
              <a:extLst>
                <a:ext uri="{FF2B5EF4-FFF2-40B4-BE49-F238E27FC236}">
                  <a16:creationId xmlns:a16="http://schemas.microsoft.com/office/drawing/2014/main" id="{3D2C872C-737F-43CC-9155-EF2C8BDA4469}"/>
                </a:ext>
              </a:extLst>
            </p:cNvPr>
            <p:cNvSpPr/>
            <p:nvPr userDrawn="1"/>
          </p:nvSpPr>
          <p:spPr>
            <a:xfrm>
              <a:off x="12757282" y="432552"/>
              <a:ext cx="3363590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fbeelding door deze te selecteren en op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ictogram om een nieuwe afbeelding in t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31" name="Rechte verbindingslijn 130">
              <a:extLst>
                <a:ext uri="{FF2B5EF4-FFF2-40B4-BE49-F238E27FC236}">
                  <a16:creationId xmlns:a16="http://schemas.microsoft.com/office/drawing/2014/main" id="{082273A7-ED5D-4991-A72A-C5441D109DC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4327957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32" name="Ovaal 131">
              <a:extLst>
                <a:ext uri="{FF2B5EF4-FFF2-40B4-BE49-F238E27FC236}">
                  <a16:creationId xmlns:a16="http://schemas.microsoft.com/office/drawing/2014/main" id="{94EACF4D-16DD-43B4-882D-BCC4562D3C4A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33" name="Rechthoek 132">
              <a:extLst>
                <a:ext uri="{FF2B5EF4-FFF2-40B4-BE49-F238E27FC236}">
                  <a16:creationId xmlns:a16="http://schemas.microsoft.com/office/drawing/2014/main" id="{52E983BF-9DB1-45B1-BBBA-68D13631872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34" name="Groep 133">
              <a:extLst>
                <a:ext uri="{FF2B5EF4-FFF2-40B4-BE49-F238E27FC236}">
                  <a16:creationId xmlns:a16="http://schemas.microsoft.com/office/drawing/2014/main" id="{4BC194DD-F272-4A9F-85B8-19F8EB253E35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3" name="Rechthoek 212">
                <a:extLst>
                  <a:ext uri="{FF2B5EF4-FFF2-40B4-BE49-F238E27FC236}">
                    <a16:creationId xmlns:a16="http://schemas.microsoft.com/office/drawing/2014/main" id="{B93BB912-913D-4163-9DE4-63D8F07A76B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214" name="Rechte verbindingslijn 213">
                <a:extLst>
                  <a:ext uri="{FF2B5EF4-FFF2-40B4-BE49-F238E27FC236}">
                    <a16:creationId xmlns:a16="http://schemas.microsoft.com/office/drawing/2014/main" id="{95B8D08F-6C30-4203-B92A-7B1ED0A5F37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5" name="Gelijkbenige driehoek 214">
                <a:extLst>
                  <a:ext uri="{FF2B5EF4-FFF2-40B4-BE49-F238E27FC236}">
                    <a16:creationId xmlns:a16="http://schemas.microsoft.com/office/drawing/2014/main" id="{EF00DF5B-908A-45CC-B8FC-93658BFB6F53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35" name="Groep 134">
              <a:extLst>
                <a:ext uri="{FF2B5EF4-FFF2-40B4-BE49-F238E27FC236}">
                  <a16:creationId xmlns:a16="http://schemas.microsoft.com/office/drawing/2014/main" id="{59988593-9727-44C7-89AE-CAE331A61E23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163" name="Rechthoek 162">
                <a:extLst>
                  <a:ext uri="{FF2B5EF4-FFF2-40B4-BE49-F238E27FC236}">
                    <a16:creationId xmlns:a16="http://schemas.microsoft.com/office/drawing/2014/main" id="{9EB71EED-B216-47A2-B153-CD9CFBCCC03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64" name="Ovaal 163">
                <a:extLst>
                  <a:ext uri="{FF2B5EF4-FFF2-40B4-BE49-F238E27FC236}">
                    <a16:creationId xmlns:a16="http://schemas.microsoft.com/office/drawing/2014/main" id="{8A7EB0B9-A016-45DE-AB96-CE87C5555E87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Vrije vorm: vorm 208">
                <a:extLst>
                  <a:ext uri="{FF2B5EF4-FFF2-40B4-BE49-F238E27FC236}">
                    <a16:creationId xmlns:a16="http://schemas.microsoft.com/office/drawing/2014/main" id="{A4FAEEEE-ED9C-43D6-8A17-897A2409434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0" name="Rechthoek: afgeronde hoeken 209">
                <a:extLst>
                  <a:ext uri="{FF2B5EF4-FFF2-40B4-BE49-F238E27FC236}">
                    <a16:creationId xmlns:a16="http://schemas.microsoft.com/office/drawing/2014/main" id="{FE471931-879F-45E5-B6A7-3C11496A5B4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211" name="Rechte verbindingslijn 210">
                <a:extLst>
                  <a:ext uri="{FF2B5EF4-FFF2-40B4-BE49-F238E27FC236}">
                    <a16:creationId xmlns:a16="http://schemas.microsoft.com/office/drawing/2014/main" id="{CB18C8E0-F9D8-4AFA-ACFF-FBB610AF96C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12" name="Rechte verbindingslijn 211">
                <a:extLst>
                  <a:ext uri="{FF2B5EF4-FFF2-40B4-BE49-F238E27FC236}">
                    <a16:creationId xmlns:a16="http://schemas.microsoft.com/office/drawing/2014/main" id="{37348C0B-D0FC-4A1D-ABCE-CA0CE67AF76A}"/>
                  </a:ext>
                </a:extLst>
              </p:cNvPr>
              <p:cNvCxnSpPr>
                <a:cxnSpLocks/>
                <a:stCxn id="210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36" name="Ovaal 135">
              <a:extLst>
                <a:ext uri="{FF2B5EF4-FFF2-40B4-BE49-F238E27FC236}">
                  <a16:creationId xmlns:a16="http://schemas.microsoft.com/office/drawing/2014/main" id="{1597AB0A-7C93-4C42-AE97-D5AC8B7FF940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7" name="Rechthoek 136">
              <a:extLst>
                <a:ext uri="{FF2B5EF4-FFF2-40B4-BE49-F238E27FC236}">
                  <a16:creationId xmlns:a16="http://schemas.microsoft.com/office/drawing/2014/main" id="{ADCE3908-9FF0-47CD-9F76-6442D5E69568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43320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aan de linker kant van het scherm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38" name="Rechte verbindingslijn 137">
              <a:extLst>
                <a:ext uri="{FF2B5EF4-FFF2-40B4-BE49-F238E27FC236}">
                  <a16:creationId xmlns:a16="http://schemas.microsoft.com/office/drawing/2014/main" id="{217B14F2-FA89-4438-9777-A070DA3B798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39" name="Rechthoek 138">
              <a:extLst>
                <a:ext uri="{FF2B5EF4-FFF2-40B4-BE49-F238E27FC236}">
                  <a16:creationId xmlns:a16="http://schemas.microsoft.com/office/drawing/2014/main" id="{90B6B336-8BB4-4E04-8A30-873C5456AA9B}"/>
                </a:ext>
              </a:extLst>
            </p:cNvPr>
            <p:cNvSpPr/>
            <p:nvPr userDrawn="1"/>
          </p:nvSpPr>
          <p:spPr>
            <a:xfrm>
              <a:off x="12654153" y="3238910"/>
              <a:ext cx="1624926" cy="805220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3509" b="0" i="1" noProof="0">
                <a:solidFill>
                  <a:schemeClr val="tx1"/>
                </a:solidFill>
              </a:endParaRPr>
            </a:p>
          </p:txBody>
        </p:sp>
        <p:grpSp>
          <p:nvGrpSpPr>
            <p:cNvPr id="140" name="Groep 139">
              <a:extLst>
                <a:ext uri="{FF2B5EF4-FFF2-40B4-BE49-F238E27FC236}">
                  <a16:creationId xmlns:a16="http://schemas.microsoft.com/office/drawing/2014/main" id="{5A3313DA-A832-464F-B037-A7050F7D6240}"/>
                </a:ext>
              </a:extLst>
            </p:cNvPr>
            <p:cNvGrpSpPr/>
            <p:nvPr userDrawn="1"/>
          </p:nvGrpSpPr>
          <p:grpSpPr>
            <a:xfrm>
              <a:off x="13614067" y="3535184"/>
              <a:ext cx="1195438" cy="678267"/>
              <a:chOff x="12757284" y="3224292"/>
              <a:chExt cx="1195438" cy="678267"/>
            </a:xfrm>
          </p:grpSpPr>
          <p:sp>
            <p:nvSpPr>
              <p:cNvPr id="141" name="Rechthoek 140">
                <a:extLst>
                  <a:ext uri="{FF2B5EF4-FFF2-40B4-BE49-F238E27FC236}">
                    <a16:creationId xmlns:a16="http://schemas.microsoft.com/office/drawing/2014/main" id="{A1E3542D-5AE9-4E27-8C04-EA4C7162432A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2" name="Rechthoek 141">
                <a:extLst>
                  <a:ext uri="{FF2B5EF4-FFF2-40B4-BE49-F238E27FC236}">
                    <a16:creationId xmlns:a16="http://schemas.microsoft.com/office/drawing/2014/main" id="{A72F7DF5-C58D-4879-8C7F-B5CF9481B218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43" name="Groep 142">
                <a:extLst>
                  <a:ext uri="{FF2B5EF4-FFF2-40B4-BE49-F238E27FC236}">
                    <a16:creationId xmlns:a16="http://schemas.microsoft.com/office/drawing/2014/main" id="{13A570A6-9346-4889-A953-B2439A791DB0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57" name="Rechthoek: afgeronde hoeken 156">
                  <a:extLst>
                    <a:ext uri="{FF2B5EF4-FFF2-40B4-BE49-F238E27FC236}">
                      <a16:creationId xmlns:a16="http://schemas.microsoft.com/office/drawing/2014/main" id="{4993A129-673B-47CF-A74E-CA2BD8F91D82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endPara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8" name="Rechthoek 157">
                  <a:extLst>
                    <a:ext uri="{FF2B5EF4-FFF2-40B4-BE49-F238E27FC236}">
                      <a16:creationId xmlns:a16="http://schemas.microsoft.com/office/drawing/2014/main" id="{B7EAA5DA-7CFD-49FA-91D5-5038AAFFFD60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9" name="Rechthoek 158">
                  <a:extLst>
                    <a:ext uri="{FF2B5EF4-FFF2-40B4-BE49-F238E27FC236}">
                      <a16:creationId xmlns:a16="http://schemas.microsoft.com/office/drawing/2014/main" id="{BA2673FB-2F64-46BB-86D7-518DC6E6516B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0" name="Rechthoek 159">
                  <a:extLst>
                    <a:ext uri="{FF2B5EF4-FFF2-40B4-BE49-F238E27FC236}">
                      <a16:creationId xmlns:a16="http://schemas.microsoft.com/office/drawing/2014/main" id="{99FC5D7C-59CA-44AF-8546-AB239B3882D3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1" name="Rechthoek 160">
                  <a:extLst>
                    <a:ext uri="{FF2B5EF4-FFF2-40B4-BE49-F238E27FC236}">
                      <a16:creationId xmlns:a16="http://schemas.microsoft.com/office/drawing/2014/main" id="{DAA8396A-FAEC-4A1E-A848-20F43496F72B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2" name="Rechthoek 161">
                  <a:extLst>
                    <a:ext uri="{FF2B5EF4-FFF2-40B4-BE49-F238E27FC236}">
                      <a16:creationId xmlns:a16="http://schemas.microsoft.com/office/drawing/2014/main" id="{7EC26D0D-9B1F-411E-907A-F8E916079E09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44" name="Groep 143">
                <a:extLst>
                  <a:ext uri="{FF2B5EF4-FFF2-40B4-BE49-F238E27FC236}">
                    <a16:creationId xmlns:a16="http://schemas.microsoft.com/office/drawing/2014/main" id="{0C3A5C85-9087-42F8-8B29-DFFA60657E69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49" name="Groep 148">
                  <a:extLst>
                    <a:ext uri="{FF2B5EF4-FFF2-40B4-BE49-F238E27FC236}">
                      <a16:creationId xmlns:a16="http://schemas.microsoft.com/office/drawing/2014/main" id="{4EDB1857-AA39-4D2D-8DE8-EF48B83444D5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51" name="Rechthoek: afgeronde hoeken 150">
                    <a:extLst>
                      <a:ext uri="{FF2B5EF4-FFF2-40B4-BE49-F238E27FC236}">
                        <a16:creationId xmlns:a16="http://schemas.microsoft.com/office/drawing/2014/main" id="{9C8735E9-C8E5-4574-9324-84E0176BB9B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2105"/>
                      </a:spcBef>
                      <a:spcAft>
                        <a:spcPts val="2105"/>
                      </a:spcAft>
                    </a:pPr>
                    <a:endParaRPr lang="nl-NL" sz="280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52" name="Rechthoek 151">
                    <a:extLst>
                      <a:ext uri="{FF2B5EF4-FFF2-40B4-BE49-F238E27FC236}">
                        <a16:creationId xmlns:a16="http://schemas.microsoft.com/office/drawing/2014/main" id="{73C6832B-FEA3-463A-9CD1-8ADB75B7AD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53" name="Rechthoek 152">
                    <a:extLst>
                      <a:ext uri="{FF2B5EF4-FFF2-40B4-BE49-F238E27FC236}">
                        <a16:creationId xmlns:a16="http://schemas.microsoft.com/office/drawing/2014/main" id="{0A9DB9F8-7C11-4F03-8051-8501C15B57E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54" name="Rechthoek 153">
                    <a:extLst>
                      <a:ext uri="{FF2B5EF4-FFF2-40B4-BE49-F238E27FC236}">
                        <a16:creationId xmlns:a16="http://schemas.microsoft.com/office/drawing/2014/main" id="{E6FB0339-C99B-43AA-9D03-84A94950BCC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55" name="Rechthoek 154">
                    <a:extLst>
                      <a:ext uri="{FF2B5EF4-FFF2-40B4-BE49-F238E27FC236}">
                        <a16:creationId xmlns:a16="http://schemas.microsoft.com/office/drawing/2014/main" id="{2CE38CCC-473B-4D91-9B1C-6775BF0B659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56" name="Rechthoek 155">
                    <a:extLst>
                      <a:ext uri="{FF2B5EF4-FFF2-40B4-BE49-F238E27FC236}">
                        <a16:creationId xmlns:a16="http://schemas.microsoft.com/office/drawing/2014/main" id="{633BA9F4-D1A5-40B6-9D8D-074314E86371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150" name="Boog 149">
                  <a:extLst>
                    <a:ext uri="{FF2B5EF4-FFF2-40B4-BE49-F238E27FC236}">
                      <a16:creationId xmlns:a16="http://schemas.microsoft.com/office/drawing/2014/main" id="{025103BD-8A11-4D38-ADED-FBB1689F859C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</p:grpSp>
          <p:sp>
            <p:nvSpPr>
              <p:cNvPr id="146" name="Tekstvak 145">
                <a:extLst>
                  <a:ext uri="{FF2B5EF4-FFF2-40B4-BE49-F238E27FC236}">
                    <a16:creationId xmlns:a16="http://schemas.microsoft.com/office/drawing/2014/main" id="{E187F113-A1A3-4C37-B3D0-200B6FE12299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47" name="Tekstvak 146">
                <a:extLst>
                  <a:ext uri="{FF2B5EF4-FFF2-40B4-BE49-F238E27FC236}">
                    <a16:creationId xmlns:a16="http://schemas.microsoft.com/office/drawing/2014/main" id="{4A72C297-1416-48B8-AEFB-7F5B40A4E713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48" name="Picture 3">
                <a:extLst>
                  <a:ext uri="{FF2B5EF4-FFF2-40B4-BE49-F238E27FC236}">
                    <a16:creationId xmlns:a16="http://schemas.microsoft.com/office/drawing/2014/main" id="{48E9B399-5E03-4347-ABE1-9D7D02B61F5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810206" y="3671228"/>
                <a:ext cx="14251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grpSp>
        <p:nvGrpSpPr>
          <p:cNvPr id="165" name="Groep 101">
            <a:extLst>
              <a:ext uri="{FF2B5EF4-FFF2-40B4-BE49-F238E27FC236}">
                <a16:creationId xmlns:a16="http://schemas.microsoft.com/office/drawing/2014/main" id="{F9ECD4A6-0A37-49D8-843D-3894BB26030E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166" name="Rechthoek 102">
              <a:extLst>
                <a:ext uri="{FF2B5EF4-FFF2-40B4-BE49-F238E27FC236}">
                  <a16:creationId xmlns:a16="http://schemas.microsoft.com/office/drawing/2014/main" id="{B2D02ACB-A212-4F6E-A563-653CBAD8B71E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167" name="Ovaal 103">
              <a:extLst>
                <a:ext uri="{FF2B5EF4-FFF2-40B4-BE49-F238E27FC236}">
                  <a16:creationId xmlns:a16="http://schemas.microsoft.com/office/drawing/2014/main" id="{8A3D5FF1-9E86-48A4-87EE-0FC05C78E866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68" name="Rechte verbindingslijn 104">
              <a:extLst>
                <a:ext uri="{FF2B5EF4-FFF2-40B4-BE49-F238E27FC236}">
                  <a16:creationId xmlns:a16="http://schemas.microsoft.com/office/drawing/2014/main" id="{A05F631B-6768-464D-8878-71965C006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69" name="Groep 105">
              <a:extLst>
                <a:ext uri="{FF2B5EF4-FFF2-40B4-BE49-F238E27FC236}">
                  <a16:creationId xmlns:a16="http://schemas.microsoft.com/office/drawing/2014/main" id="{79D8BCBE-AB9E-479F-A514-B2DABE8BA10C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94" name="Rechthoek 130">
                <a:extLst>
                  <a:ext uri="{FF2B5EF4-FFF2-40B4-BE49-F238E27FC236}">
                    <a16:creationId xmlns:a16="http://schemas.microsoft.com/office/drawing/2014/main" id="{D783573A-B61F-4B8A-8538-B8CF83C34005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195" name="Rechte verbindingslijn 131">
                <a:extLst>
                  <a:ext uri="{FF2B5EF4-FFF2-40B4-BE49-F238E27FC236}">
                    <a16:creationId xmlns:a16="http://schemas.microsoft.com/office/drawing/2014/main" id="{4936BC54-A12C-4A5C-9411-64347F211F5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" name="Rechte verbindingslijn 132">
                <a:extLst>
                  <a:ext uri="{FF2B5EF4-FFF2-40B4-BE49-F238E27FC236}">
                    <a16:creationId xmlns:a16="http://schemas.microsoft.com/office/drawing/2014/main" id="{C7B2E183-2334-459F-8280-8541C808371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7" name="Rechthoek 133">
                <a:extLst>
                  <a:ext uri="{FF2B5EF4-FFF2-40B4-BE49-F238E27FC236}">
                    <a16:creationId xmlns:a16="http://schemas.microsoft.com/office/drawing/2014/main" id="{892F2A31-82E1-4223-896D-69850D53646B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98" name="Groep 134">
                <a:extLst>
                  <a:ext uri="{FF2B5EF4-FFF2-40B4-BE49-F238E27FC236}">
                    <a16:creationId xmlns:a16="http://schemas.microsoft.com/office/drawing/2014/main" id="{E2E6CF8F-D1EC-44A2-AA6D-804297A5A047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47" name="Groep 175">
                  <a:extLst>
                    <a:ext uri="{FF2B5EF4-FFF2-40B4-BE49-F238E27FC236}">
                      <a16:creationId xmlns:a16="http://schemas.microsoft.com/office/drawing/2014/main" id="{EDB62064-463D-4FBD-AAED-E6920D8EFB71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51" name="Rechte verbindingslijn 179">
                    <a:extLst>
                      <a:ext uri="{FF2B5EF4-FFF2-40B4-BE49-F238E27FC236}">
                        <a16:creationId xmlns:a16="http://schemas.microsoft.com/office/drawing/2014/main" id="{4E189D6E-E3F9-40B7-87E8-EA4A6589F98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2" name="Rechte verbindingslijn 180">
                    <a:extLst>
                      <a:ext uri="{FF2B5EF4-FFF2-40B4-BE49-F238E27FC236}">
                        <a16:creationId xmlns:a16="http://schemas.microsoft.com/office/drawing/2014/main" id="{1393A148-7A0F-4C9F-8114-F0AB8DA31C0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3" name="Rechte verbindingslijn 181">
                    <a:extLst>
                      <a:ext uri="{FF2B5EF4-FFF2-40B4-BE49-F238E27FC236}">
                        <a16:creationId xmlns:a16="http://schemas.microsoft.com/office/drawing/2014/main" id="{67049322-2BDA-4D74-9490-4FC311CBAB8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4" name="Rechte verbindingslijn 182">
                    <a:extLst>
                      <a:ext uri="{FF2B5EF4-FFF2-40B4-BE49-F238E27FC236}">
                        <a16:creationId xmlns:a16="http://schemas.microsoft.com/office/drawing/2014/main" id="{23C9BB9A-2FF1-42CD-A72A-F1C73FEE16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5" name="Rechte verbindingslijn 183">
                    <a:extLst>
                      <a:ext uri="{FF2B5EF4-FFF2-40B4-BE49-F238E27FC236}">
                        <a16:creationId xmlns:a16="http://schemas.microsoft.com/office/drawing/2014/main" id="{BF77AA8E-7F2E-47D2-AB88-E6E70CEAD4F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8" name="Groep 176">
                  <a:extLst>
                    <a:ext uri="{FF2B5EF4-FFF2-40B4-BE49-F238E27FC236}">
                      <a16:creationId xmlns:a16="http://schemas.microsoft.com/office/drawing/2014/main" id="{2BF2DFEC-86D0-4F65-9C44-07BB096C670B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49" name="Rechthoek 177">
                    <a:extLst>
                      <a:ext uri="{FF2B5EF4-FFF2-40B4-BE49-F238E27FC236}">
                        <a16:creationId xmlns:a16="http://schemas.microsoft.com/office/drawing/2014/main" id="{7B3472E2-0C32-494A-AC9A-3B8866F7F38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50" name="Pijl: punthaak 178">
                    <a:extLst>
                      <a:ext uri="{FF2B5EF4-FFF2-40B4-BE49-F238E27FC236}">
                        <a16:creationId xmlns:a16="http://schemas.microsoft.com/office/drawing/2014/main" id="{0947D013-7E6D-4145-9F37-5C01EA64170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99" name="Groep 135">
                <a:extLst>
                  <a:ext uri="{FF2B5EF4-FFF2-40B4-BE49-F238E27FC236}">
                    <a16:creationId xmlns:a16="http://schemas.microsoft.com/office/drawing/2014/main" id="{4B015EFC-BE7D-4100-A6C9-0D7EC060FAD5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38" name="Groep 166">
                  <a:extLst>
                    <a:ext uri="{FF2B5EF4-FFF2-40B4-BE49-F238E27FC236}">
                      <a16:creationId xmlns:a16="http://schemas.microsoft.com/office/drawing/2014/main" id="{B460E8E7-7BD8-4217-BC2B-8DF5F2DD1828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42" name="Rechte verbindingslijn 170">
                    <a:extLst>
                      <a:ext uri="{FF2B5EF4-FFF2-40B4-BE49-F238E27FC236}">
                        <a16:creationId xmlns:a16="http://schemas.microsoft.com/office/drawing/2014/main" id="{B6A575FA-39B7-47D6-A93C-B44AAE05CF8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3" name="Rechte verbindingslijn 171">
                    <a:extLst>
                      <a:ext uri="{FF2B5EF4-FFF2-40B4-BE49-F238E27FC236}">
                        <a16:creationId xmlns:a16="http://schemas.microsoft.com/office/drawing/2014/main" id="{D20DF913-3213-41B3-926A-7D0ADD54EC0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4" name="Rechte verbindingslijn 172">
                    <a:extLst>
                      <a:ext uri="{FF2B5EF4-FFF2-40B4-BE49-F238E27FC236}">
                        <a16:creationId xmlns:a16="http://schemas.microsoft.com/office/drawing/2014/main" id="{4F50A8F7-AC55-4661-8111-D4417F7BE52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5" name="Rechte verbindingslijn 173">
                    <a:extLst>
                      <a:ext uri="{FF2B5EF4-FFF2-40B4-BE49-F238E27FC236}">
                        <a16:creationId xmlns:a16="http://schemas.microsoft.com/office/drawing/2014/main" id="{D284C25D-9D83-4D16-B35F-3513589AE53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6" name="Rechte verbindingslijn 174">
                    <a:extLst>
                      <a:ext uri="{FF2B5EF4-FFF2-40B4-BE49-F238E27FC236}">
                        <a16:creationId xmlns:a16="http://schemas.microsoft.com/office/drawing/2014/main" id="{DF2F0267-6346-4788-AA9A-F0B5D4919D0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39" name="Groep 167">
                  <a:extLst>
                    <a:ext uri="{FF2B5EF4-FFF2-40B4-BE49-F238E27FC236}">
                      <a16:creationId xmlns:a16="http://schemas.microsoft.com/office/drawing/2014/main" id="{1FA6F108-F8CF-4EE3-9FAC-A76D74192E05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40" name="Rechthoek 168">
                    <a:extLst>
                      <a:ext uri="{FF2B5EF4-FFF2-40B4-BE49-F238E27FC236}">
                        <a16:creationId xmlns:a16="http://schemas.microsoft.com/office/drawing/2014/main" id="{0CA52176-B5A0-4673-AC71-7A1AE9D4EC1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41" name="Pijl: punthaak 169">
                    <a:extLst>
                      <a:ext uri="{FF2B5EF4-FFF2-40B4-BE49-F238E27FC236}">
                        <a16:creationId xmlns:a16="http://schemas.microsoft.com/office/drawing/2014/main" id="{F9A7E74D-27FB-4685-B7F0-D613D106CAB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00" name="Rechte verbindingslijn 136">
                <a:extLst>
                  <a:ext uri="{FF2B5EF4-FFF2-40B4-BE49-F238E27FC236}">
                    <a16:creationId xmlns:a16="http://schemas.microsoft.com/office/drawing/2014/main" id="{713CBDBF-45E9-4129-A785-86AD5B6DDFF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01" name="Rechte verbindingslijn 137">
                <a:extLst>
                  <a:ext uri="{FF2B5EF4-FFF2-40B4-BE49-F238E27FC236}">
                    <a16:creationId xmlns:a16="http://schemas.microsoft.com/office/drawing/2014/main" id="{76AAA43F-76E2-4B0E-839C-A6BA79CED9D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02" name="Groep 138">
                <a:extLst>
                  <a:ext uri="{FF2B5EF4-FFF2-40B4-BE49-F238E27FC236}">
                    <a16:creationId xmlns:a16="http://schemas.microsoft.com/office/drawing/2014/main" id="{7E731776-22DD-40CE-851F-3F18853D3252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27" name="Rechthoek 155">
                  <a:extLst>
                    <a:ext uri="{FF2B5EF4-FFF2-40B4-BE49-F238E27FC236}">
                      <a16:creationId xmlns:a16="http://schemas.microsoft.com/office/drawing/2014/main" id="{E16CAED0-DF5E-4BD1-9A1D-66D6CC44E213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28" name="Groep 156">
                  <a:extLst>
                    <a:ext uri="{FF2B5EF4-FFF2-40B4-BE49-F238E27FC236}">
                      <a16:creationId xmlns:a16="http://schemas.microsoft.com/office/drawing/2014/main" id="{FE14CFB6-2DDD-4B95-BC61-09515188F297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29" name="Groep 157">
                    <a:extLst>
                      <a:ext uri="{FF2B5EF4-FFF2-40B4-BE49-F238E27FC236}">
                        <a16:creationId xmlns:a16="http://schemas.microsoft.com/office/drawing/2014/main" id="{18E5EFD2-6935-49D4-AB32-70D6C3B1D8F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33" name="Rechte verbindingslijn 161">
                      <a:extLst>
                        <a:ext uri="{FF2B5EF4-FFF2-40B4-BE49-F238E27FC236}">
                          <a16:creationId xmlns:a16="http://schemas.microsoft.com/office/drawing/2014/main" id="{FFFEE55F-C0B9-4408-AAB2-DB777FBBEED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4" name="Rechte verbindingslijn 162">
                      <a:extLst>
                        <a:ext uri="{FF2B5EF4-FFF2-40B4-BE49-F238E27FC236}">
                          <a16:creationId xmlns:a16="http://schemas.microsoft.com/office/drawing/2014/main" id="{20C8E876-1B9F-4526-9F83-2C7C2041F65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5" name="Rechte verbindingslijn 163">
                      <a:extLst>
                        <a:ext uri="{FF2B5EF4-FFF2-40B4-BE49-F238E27FC236}">
                          <a16:creationId xmlns:a16="http://schemas.microsoft.com/office/drawing/2014/main" id="{72F2E03A-F42B-4A2D-9F8A-BA674206C7C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6" name="Rechte verbindingslijn 164">
                      <a:extLst>
                        <a:ext uri="{FF2B5EF4-FFF2-40B4-BE49-F238E27FC236}">
                          <a16:creationId xmlns:a16="http://schemas.microsoft.com/office/drawing/2014/main" id="{7B8E03BF-F579-4F2B-8B86-4F31A93E37C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7" name="Rechte verbindingslijn 165">
                      <a:extLst>
                        <a:ext uri="{FF2B5EF4-FFF2-40B4-BE49-F238E27FC236}">
                          <a16:creationId xmlns:a16="http://schemas.microsoft.com/office/drawing/2014/main" id="{37C60834-E219-4E53-8C67-CA5D5DB8A9C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30" name="Groep 158">
                    <a:extLst>
                      <a:ext uri="{FF2B5EF4-FFF2-40B4-BE49-F238E27FC236}">
                        <a16:creationId xmlns:a16="http://schemas.microsoft.com/office/drawing/2014/main" id="{818F9B71-2356-4863-A90F-068189AF64F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31" name="Rechthoek 159">
                      <a:extLst>
                        <a:ext uri="{FF2B5EF4-FFF2-40B4-BE49-F238E27FC236}">
                          <a16:creationId xmlns:a16="http://schemas.microsoft.com/office/drawing/2014/main" id="{1395A027-B603-4896-8FCB-8CE1DFABDBD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32" name="Pijl: punthaak 160">
                      <a:extLst>
                        <a:ext uri="{FF2B5EF4-FFF2-40B4-BE49-F238E27FC236}">
                          <a16:creationId xmlns:a16="http://schemas.microsoft.com/office/drawing/2014/main" id="{A69781C0-C5B8-4008-BBBF-0CAE4628934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03" name="Groep 139">
                <a:extLst>
                  <a:ext uri="{FF2B5EF4-FFF2-40B4-BE49-F238E27FC236}">
                    <a16:creationId xmlns:a16="http://schemas.microsoft.com/office/drawing/2014/main" id="{0FC94D04-F1D1-4E55-8B53-8B6D40C1DACA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06" name="Rechthoek 142">
                  <a:extLst>
                    <a:ext uri="{FF2B5EF4-FFF2-40B4-BE49-F238E27FC236}">
                      <a16:creationId xmlns:a16="http://schemas.microsoft.com/office/drawing/2014/main" id="{B94CF787-2424-4D81-A0D8-420FB067D4A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7" name="Groep 143">
                  <a:extLst>
                    <a:ext uri="{FF2B5EF4-FFF2-40B4-BE49-F238E27FC236}">
                      <a16:creationId xmlns:a16="http://schemas.microsoft.com/office/drawing/2014/main" id="{A0ACBC95-770F-44DE-9695-A08696634646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08" name="Groep 144">
                    <a:extLst>
                      <a:ext uri="{FF2B5EF4-FFF2-40B4-BE49-F238E27FC236}">
                        <a16:creationId xmlns:a16="http://schemas.microsoft.com/office/drawing/2014/main" id="{5D591872-8042-49D1-9DDE-8AA8155C867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22" name="Rechte verbindingslijn 150">
                      <a:extLst>
                        <a:ext uri="{FF2B5EF4-FFF2-40B4-BE49-F238E27FC236}">
                          <a16:creationId xmlns:a16="http://schemas.microsoft.com/office/drawing/2014/main" id="{8067C99C-E11F-4FB7-97E3-616F878F8DE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3" name="Rechte verbindingslijn 151">
                      <a:extLst>
                        <a:ext uri="{FF2B5EF4-FFF2-40B4-BE49-F238E27FC236}">
                          <a16:creationId xmlns:a16="http://schemas.microsoft.com/office/drawing/2014/main" id="{05345F06-0ABB-43ED-A295-465D650E7BC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4" name="Rechte verbindingslijn 152">
                      <a:extLst>
                        <a:ext uri="{FF2B5EF4-FFF2-40B4-BE49-F238E27FC236}">
                          <a16:creationId xmlns:a16="http://schemas.microsoft.com/office/drawing/2014/main" id="{59BE8C5C-2DFD-48EB-B0E0-D0963C6FD8A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5" name="Rechte verbindingslijn 153">
                      <a:extLst>
                        <a:ext uri="{FF2B5EF4-FFF2-40B4-BE49-F238E27FC236}">
                          <a16:creationId xmlns:a16="http://schemas.microsoft.com/office/drawing/2014/main" id="{9414D88F-8EED-4A19-8CFC-FF3C7D91381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6" name="Rechte verbindingslijn 154">
                      <a:extLst>
                        <a:ext uri="{FF2B5EF4-FFF2-40B4-BE49-F238E27FC236}">
                          <a16:creationId xmlns:a16="http://schemas.microsoft.com/office/drawing/2014/main" id="{1DC76651-C7EA-4FDD-98CF-6C643D089C6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9" name="Groep 147">
                    <a:extLst>
                      <a:ext uri="{FF2B5EF4-FFF2-40B4-BE49-F238E27FC236}">
                        <a16:creationId xmlns:a16="http://schemas.microsoft.com/office/drawing/2014/main" id="{AE9B4F12-C1E7-4F81-8684-1F7927F72E99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20" name="Rechthoek 148">
                      <a:extLst>
                        <a:ext uri="{FF2B5EF4-FFF2-40B4-BE49-F238E27FC236}">
                          <a16:creationId xmlns:a16="http://schemas.microsoft.com/office/drawing/2014/main" id="{E881A11D-B889-4E04-A903-A3D076C4377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21" name="Pijl: punthaak 149">
                      <a:extLst>
                        <a:ext uri="{FF2B5EF4-FFF2-40B4-BE49-F238E27FC236}">
                          <a16:creationId xmlns:a16="http://schemas.microsoft.com/office/drawing/2014/main" id="{D63CDC6C-A0F0-4D4D-8AD9-CAAADD75EA00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04" name="Rechthoek 140">
                <a:extLst>
                  <a:ext uri="{FF2B5EF4-FFF2-40B4-BE49-F238E27FC236}">
                    <a16:creationId xmlns:a16="http://schemas.microsoft.com/office/drawing/2014/main" id="{D3F533FE-5BC6-4A62-8E18-FCECACD7525D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205" name="Rechthoek 141">
                <a:extLst>
                  <a:ext uri="{FF2B5EF4-FFF2-40B4-BE49-F238E27FC236}">
                    <a16:creationId xmlns:a16="http://schemas.microsoft.com/office/drawing/2014/main" id="{FCE37D86-E777-4454-8248-657B3403A8EA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170" name="Rechte verbindingslijn 106">
              <a:extLst>
                <a:ext uri="{FF2B5EF4-FFF2-40B4-BE49-F238E27FC236}">
                  <a16:creationId xmlns:a16="http://schemas.microsoft.com/office/drawing/2014/main" id="{E90C6994-8D4A-4ED7-AC25-D300093DE51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1" name="Rechthoek 107">
              <a:extLst>
                <a:ext uri="{FF2B5EF4-FFF2-40B4-BE49-F238E27FC236}">
                  <a16:creationId xmlns:a16="http://schemas.microsoft.com/office/drawing/2014/main" id="{58B9825E-BE05-4DC1-9C5B-9B15E154A93A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172" name="Ovaal 108">
              <a:extLst>
                <a:ext uri="{FF2B5EF4-FFF2-40B4-BE49-F238E27FC236}">
                  <a16:creationId xmlns:a16="http://schemas.microsoft.com/office/drawing/2014/main" id="{76CD06BD-D823-4A1C-9FE3-7A41FE1B1139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3" name="Rechthoek 109">
              <a:extLst>
                <a:ext uri="{FF2B5EF4-FFF2-40B4-BE49-F238E27FC236}">
                  <a16:creationId xmlns:a16="http://schemas.microsoft.com/office/drawing/2014/main" id="{71D3578A-E167-4CD9-85B5-4DAC4B510263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174" name="Ovaal 110">
              <a:extLst>
                <a:ext uri="{FF2B5EF4-FFF2-40B4-BE49-F238E27FC236}">
                  <a16:creationId xmlns:a16="http://schemas.microsoft.com/office/drawing/2014/main" id="{6BA67B2A-E067-4065-86BB-796AEB404E16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5" name="Rechthoek 111">
              <a:extLst>
                <a:ext uri="{FF2B5EF4-FFF2-40B4-BE49-F238E27FC236}">
                  <a16:creationId xmlns:a16="http://schemas.microsoft.com/office/drawing/2014/main" id="{AE163EBF-1964-4AF6-8483-E7770AE4F22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76" name="Ovaal 112">
              <a:extLst>
                <a:ext uri="{FF2B5EF4-FFF2-40B4-BE49-F238E27FC236}">
                  <a16:creationId xmlns:a16="http://schemas.microsoft.com/office/drawing/2014/main" id="{76007322-A747-43E9-A7ED-9C65C4EC6F30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7" name="Rechthoek 113">
              <a:extLst>
                <a:ext uri="{FF2B5EF4-FFF2-40B4-BE49-F238E27FC236}">
                  <a16:creationId xmlns:a16="http://schemas.microsoft.com/office/drawing/2014/main" id="{80912AC0-4017-401F-9F31-622F1C5FCD2C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178" name="Ovaal 114">
              <a:extLst>
                <a:ext uri="{FF2B5EF4-FFF2-40B4-BE49-F238E27FC236}">
                  <a16:creationId xmlns:a16="http://schemas.microsoft.com/office/drawing/2014/main" id="{7CC4F57D-1F48-4949-9CD9-1844FEB9E4D8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79" name="Rechthoek 115">
              <a:extLst>
                <a:ext uri="{FF2B5EF4-FFF2-40B4-BE49-F238E27FC236}">
                  <a16:creationId xmlns:a16="http://schemas.microsoft.com/office/drawing/2014/main" id="{37398F1F-65D5-4DE5-9182-137DA58F37FD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180" name="Rechte verbindingslijn 116">
              <a:extLst>
                <a:ext uri="{FF2B5EF4-FFF2-40B4-BE49-F238E27FC236}">
                  <a16:creationId xmlns:a16="http://schemas.microsoft.com/office/drawing/2014/main" id="{93C13042-F204-42A8-8A50-483B70D3ED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81" name="Meer informatie">
              <a:extLst>
                <a:ext uri="{FF2B5EF4-FFF2-40B4-BE49-F238E27FC236}">
                  <a16:creationId xmlns:a16="http://schemas.microsoft.com/office/drawing/2014/main" id="{22FD3E15-36BB-4C15-9B26-D30B2D57D5FA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191" name="Freeform 101">
                <a:extLst>
                  <a:ext uri="{FF2B5EF4-FFF2-40B4-BE49-F238E27FC236}">
                    <a16:creationId xmlns:a16="http://schemas.microsoft.com/office/drawing/2014/main" id="{2569138D-D439-480C-970E-35329EF4A63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192" name="Rechthoek 128">
                <a:extLst>
                  <a:ext uri="{FF2B5EF4-FFF2-40B4-BE49-F238E27FC236}">
                    <a16:creationId xmlns:a16="http://schemas.microsoft.com/office/drawing/2014/main" id="{13443DFE-622F-433D-90BD-52E7CE88569C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93" name="Rechte verbindingslijn 129">
                <a:extLst>
                  <a:ext uri="{FF2B5EF4-FFF2-40B4-BE49-F238E27FC236}">
                    <a16:creationId xmlns:a16="http://schemas.microsoft.com/office/drawing/2014/main" id="{1001C1F7-B8E2-4542-9441-F96D9E2E2FA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82" name="Rechthoek 118">
              <a:extLst>
                <a:ext uri="{FF2B5EF4-FFF2-40B4-BE49-F238E27FC236}">
                  <a16:creationId xmlns:a16="http://schemas.microsoft.com/office/drawing/2014/main" id="{46EF52B7-1D82-4475-9BAC-C53939CE631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183" name="Ovaal 119">
              <a:extLst>
                <a:ext uri="{FF2B5EF4-FFF2-40B4-BE49-F238E27FC236}">
                  <a16:creationId xmlns:a16="http://schemas.microsoft.com/office/drawing/2014/main" id="{8C34CEE4-E64D-4B27-B4FF-772874297C0E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84" name="Rechthoek 120">
              <a:extLst>
                <a:ext uri="{FF2B5EF4-FFF2-40B4-BE49-F238E27FC236}">
                  <a16:creationId xmlns:a16="http://schemas.microsoft.com/office/drawing/2014/main" id="{A534DAF2-1F48-4E70-AC05-CCC727FE659E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85" name="Ovaal 121">
              <a:extLst>
                <a:ext uri="{FF2B5EF4-FFF2-40B4-BE49-F238E27FC236}">
                  <a16:creationId xmlns:a16="http://schemas.microsoft.com/office/drawing/2014/main" id="{34F45EA7-0894-41A9-8919-EF78D6E6824C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86" name="Rechthoek 122">
              <a:extLst>
                <a:ext uri="{FF2B5EF4-FFF2-40B4-BE49-F238E27FC236}">
                  <a16:creationId xmlns:a16="http://schemas.microsoft.com/office/drawing/2014/main" id="{AC5E3F93-F66D-4811-A9B9-4B5886154DC5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187" name="Ovaal 123">
              <a:extLst>
                <a:ext uri="{FF2B5EF4-FFF2-40B4-BE49-F238E27FC236}">
                  <a16:creationId xmlns:a16="http://schemas.microsoft.com/office/drawing/2014/main" id="{77DA8BF5-F680-4404-9EC0-48A5535767B7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88" name="Rechthoek 124">
              <a:extLst>
                <a:ext uri="{FF2B5EF4-FFF2-40B4-BE49-F238E27FC236}">
                  <a16:creationId xmlns:a16="http://schemas.microsoft.com/office/drawing/2014/main" id="{39A67F82-7300-4A42-8870-ADC3D52590ED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89" name="Rechthoek 125">
              <a:extLst>
                <a:ext uri="{FF2B5EF4-FFF2-40B4-BE49-F238E27FC236}">
                  <a16:creationId xmlns:a16="http://schemas.microsoft.com/office/drawing/2014/main" id="{8FF48D29-3354-40D7-99B1-18635C83E12A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190" name="Ovaal 126">
              <a:extLst>
                <a:ext uri="{FF2B5EF4-FFF2-40B4-BE49-F238E27FC236}">
                  <a16:creationId xmlns:a16="http://schemas.microsoft.com/office/drawing/2014/main" id="{61338291-80D6-4B7E-B592-61ECE966A928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  <p:sp>
        <p:nvSpPr>
          <p:cNvPr id="256" name="Tijdelijke aanduiding voor tekst 3">
            <a:extLst>
              <a:ext uri="{FF2B5EF4-FFF2-40B4-BE49-F238E27FC236}">
                <a16:creationId xmlns:a16="http://schemas.microsoft.com/office/drawing/2014/main" id="{3CE98F57-4E31-4AA0-A992-55245B424F3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504415" y="1449454"/>
            <a:ext cx="6635238" cy="3534585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51"/>
            </a:lvl1pPr>
          </a:lstStyle>
          <a:p>
            <a:pPr lvl="0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23811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6" presetClass="emp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4250" fill="hold"/>
                                        <p:tgtEl>
                                          <p:spTgt spid="10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4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5" grpId="0" uiExpand="1" build="p">
        <p:tmplLst>
          <p:tmpl lvl="1">
            <p:tnLst>
              <p:par>
                <p:cTn presetID="2" presetClass="entr" presetSubtype="8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2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3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4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5">
            <p:tnLst>
              <p:par>
                <p:cTn presetID="2" presetClass="entr" presetSubtype="2" decel="100000" fill="hold" nodeType="withEffect" nodePh="1">
                  <p:stCondLst>
                    <p:cond delay="5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4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ofdstu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jdelijke aanduiding voor afbeelding 17">
            <a:extLst>
              <a:ext uri="{FF2B5EF4-FFF2-40B4-BE49-F238E27FC236}">
                <a16:creationId xmlns:a16="http://schemas.microsoft.com/office/drawing/2014/main" id="{FCE83ED8-1632-45C0-9776-66D7AE22C04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" y="-31537"/>
            <a:ext cx="29224288" cy="3030675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1116000" anchor="ctr">
            <a:noAutofit/>
          </a:bodyPr>
          <a:lstStyle>
            <a:lvl1pPr marL="801872" indent="-801872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801872" lvl="0" indent="-801872" algn="ctr"/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6" name="Tijdelijke aanduiding voor verticale tekst 2">
            <a:extLst>
              <a:ext uri="{FF2B5EF4-FFF2-40B4-BE49-F238E27FC236}">
                <a16:creationId xmlns:a16="http://schemas.microsoft.com/office/drawing/2014/main" id="{5A35BD7A-B3CF-4DC4-9F54-201CE6D20B37}"/>
              </a:ext>
            </a:extLst>
          </p:cNvPr>
          <p:cNvSpPr>
            <a:spLocks noGrp="1"/>
          </p:cNvSpPr>
          <p:nvPr>
            <p:ph type="body" orient="vert" idx="27" hasCustomPrompt="1"/>
          </p:nvPr>
        </p:nvSpPr>
        <p:spPr>
          <a:xfrm>
            <a:off x="31332216" y="18091585"/>
            <a:ext cx="8494785" cy="5513364"/>
          </a:xfrm>
        </p:spPr>
        <p:txBody>
          <a:bodyPr vert="horz" anchor="t"/>
          <a:lstStyle>
            <a:lvl1pPr marL="0" indent="0" algn="r">
              <a:buFontTx/>
              <a:buNone/>
              <a:defRPr sz="5612" b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  <a:lvl6pPr marL="0" indent="0" algn="r">
              <a:buFontTx/>
              <a:buNone/>
              <a:defRPr>
                <a:latin typeface="+mj-lt"/>
              </a:defRPr>
            </a:lvl6pPr>
          </a:lstStyle>
          <a:p>
            <a:pPr lvl="0"/>
            <a:r>
              <a:rPr lang="nl-NL" noProof="0"/>
              <a:t>Platte tekst</a:t>
            </a:r>
          </a:p>
        </p:txBody>
      </p:sp>
      <p:sp>
        <p:nvSpPr>
          <p:cNvPr id="30" name="Tijdelijke aanduiding voor voettekst 4">
            <a:extLst>
              <a:ext uri="{FF2B5EF4-FFF2-40B4-BE49-F238E27FC236}">
                <a16:creationId xmlns:a16="http://schemas.microsoft.com/office/drawing/2014/main" id="{88E1252C-995D-4324-9AF2-1F90A93410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22298DC-FFF2-4203-A156-2D5C52D8F1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8"/>
            <a:ext cx="707315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6" name="Tijdelijke aanduiding voor verticale tekst 2">
            <a:extLst>
              <a:ext uri="{FF2B5EF4-FFF2-40B4-BE49-F238E27FC236}">
                <a16:creationId xmlns:a16="http://schemas.microsoft.com/office/drawing/2014/main" id="{0C2BFF95-BE2F-4339-9C65-620ECC5A9CA8}"/>
              </a:ext>
            </a:extLst>
          </p:cNvPr>
          <p:cNvSpPr>
            <a:spLocks noGrp="1"/>
          </p:cNvSpPr>
          <p:nvPr>
            <p:ph type="body" orient="vert" idx="29" hasCustomPrompt="1"/>
          </p:nvPr>
        </p:nvSpPr>
        <p:spPr>
          <a:xfrm>
            <a:off x="31332216" y="12578224"/>
            <a:ext cx="8494785" cy="5513364"/>
          </a:xfrm>
        </p:spPr>
        <p:txBody>
          <a:bodyPr vert="horz" anchor="b"/>
          <a:lstStyle>
            <a:lvl1pPr marL="0" indent="0" algn="r">
              <a:lnSpc>
                <a:spcPct val="100000"/>
              </a:lnSpc>
              <a:buFontTx/>
              <a:buNone/>
              <a:defRPr sz="16838" b="0" baseline="0">
                <a:solidFill>
                  <a:schemeClr val="tx2"/>
                </a:solidFill>
                <a:latin typeface="+mj-lt"/>
              </a:defRPr>
            </a:lvl1pPr>
            <a:lvl2pPr algn="r">
              <a:lnSpc>
                <a:spcPct val="100000"/>
              </a:lnSpc>
              <a:defRPr>
                <a:latin typeface="+mj-lt"/>
              </a:defRPr>
            </a:lvl2pPr>
            <a:lvl3pPr algn="r">
              <a:lnSpc>
                <a:spcPct val="100000"/>
              </a:lnSpc>
              <a:defRPr>
                <a:latin typeface="+mj-lt"/>
              </a:defRPr>
            </a:lvl3pPr>
            <a:lvl4pPr algn="r">
              <a:lnSpc>
                <a:spcPct val="100000"/>
              </a:lnSpc>
              <a:defRPr sz="16838">
                <a:solidFill>
                  <a:schemeClr val="tx2"/>
                </a:solidFill>
                <a:latin typeface="+mj-lt"/>
              </a:defRPr>
            </a:lvl4pPr>
            <a:lvl5pPr algn="r">
              <a:lnSpc>
                <a:spcPct val="100000"/>
              </a:lnSpc>
              <a:defRPr>
                <a:latin typeface="+mj-lt"/>
              </a:defRPr>
            </a:lvl5pPr>
          </a:lstStyle>
          <a:p>
            <a:pPr lvl="0"/>
            <a:r>
              <a:rPr lang="nl-NL" noProof="0"/>
              <a:t>Typ titel</a:t>
            </a:r>
          </a:p>
        </p:txBody>
      </p:sp>
      <p:sp>
        <p:nvSpPr>
          <p:cNvPr id="28" name="Tijdelijke aanduiding voor tekst 2">
            <a:extLst>
              <a:ext uri="{FF2B5EF4-FFF2-40B4-BE49-F238E27FC236}">
                <a16:creationId xmlns:a16="http://schemas.microsoft.com/office/drawing/2014/main" id="{96BEB92E-F202-471F-B7E9-FE333D4C057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399513" y="17837431"/>
            <a:ext cx="15877931" cy="8554531"/>
          </a:xfrm>
          <a:custGeom>
            <a:avLst/>
            <a:gdLst>
              <a:gd name="connsiteX0" fmla="*/ 0 w 4524067"/>
              <a:gd name="connsiteY0" fmla="*/ 42969 h 1602140"/>
              <a:gd name="connsiteX1" fmla="*/ 42969 w 4524067"/>
              <a:gd name="connsiteY1" fmla="*/ 0 h 1602140"/>
              <a:gd name="connsiteX2" fmla="*/ 4481098 w 4524067"/>
              <a:gd name="connsiteY2" fmla="*/ 0 h 1602140"/>
              <a:gd name="connsiteX3" fmla="*/ 4524067 w 4524067"/>
              <a:gd name="connsiteY3" fmla="*/ 42969 h 1602140"/>
              <a:gd name="connsiteX4" fmla="*/ 4524067 w 4524067"/>
              <a:gd name="connsiteY4" fmla="*/ 1559171 h 1602140"/>
              <a:gd name="connsiteX5" fmla="*/ 4481098 w 4524067"/>
              <a:gd name="connsiteY5" fmla="*/ 1602140 h 1602140"/>
              <a:gd name="connsiteX6" fmla="*/ 42969 w 4524067"/>
              <a:gd name="connsiteY6" fmla="*/ 1602140 h 1602140"/>
              <a:gd name="connsiteX7" fmla="*/ 0 w 4524067"/>
              <a:gd name="connsiteY7" fmla="*/ 1559171 h 1602140"/>
              <a:gd name="connsiteX8" fmla="*/ 0 w 4524067"/>
              <a:gd name="connsiteY8" fmla="*/ 42969 h 1602140"/>
              <a:gd name="connsiteX0" fmla="*/ 0 w 4524067"/>
              <a:gd name="connsiteY0" fmla="*/ 43141 h 1602312"/>
              <a:gd name="connsiteX1" fmla="*/ 42969 w 4524067"/>
              <a:gd name="connsiteY1" fmla="*/ 172 h 1602312"/>
              <a:gd name="connsiteX2" fmla="*/ 4136478 w 4524067"/>
              <a:gd name="connsiteY2" fmla="*/ 0 h 1602312"/>
              <a:gd name="connsiteX3" fmla="*/ 4481098 w 4524067"/>
              <a:gd name="connsiteY3" fmla="*/ 172 h 1602312"/>
              <a:gd name="connsiteX4" fmla="*/ 4524067 w 4524067"/>
              <a:gd name="connsiteY4" fmla="*/ 43141 h 1602312"/>
              <a:gd name="connsiteX5" fmla="*/ 4524067 w 4524067"/>
              <a:gd name="connsiteY5" fmla="*/ 1559343 h 1602312"/>
              <a:gd name="connsiteX6" fmla="*/ 4481098 w 4524067"/>
              <a:gd name="connsiteY6" fmla="*/ 1602312 h 1602312"/>
              <a:gd name="connsiteX7" fmla="*/ 42969 w 4524067"/>
              <a:gd name="connsiteY7" fmla="*/ 1602312 h 1602312"/>
              <a:gd name="connsiteX8" fmla="*/ 0 w 4524067"/>
              <a:gd name="connsiteY8" fmla="*/ 1559343 h 1602312"/>
              <a:gd name="connsiteX9" fmla="*/ 0 w 4524067"/>
              <a:gd name="connsiteY9" fmla="*/ 43141 h 1602312"/>
              <a:gd name="connsiteX0" fmla="*/ 0 w 4524067"/>
              <a:gd name="connsiteY0" fmla="*/ 43141 h 1602312"/>
              <a:gd name="connsiteX1" fmla="*/ 42969 w 4524067"/>
              <a:gd name="connsiteY1" fmla="*/ 172 h 1602312"/>
              <a:gd name="connsiteX2" fmla="*/ 4136478 w 4524067"/>
              <a:gd name="connsiteY2" fmla="*/ 0 h 1602312"/>
              <a:gd name="connsiteX3" fmla="*/ 4524067 w 4524067"/>
              <a:gd name="connsiteY3" fmla="*/ 43141 h 1602312"/>
              <a:gd name="connsiteX4" fmla="*/ 4524067 w 4524067"/>
              <a:gd name="connsiteY4" fmla="*/ 1559343 h 1602312"/>
              <a:gd name="connsiteX5" fmla="*/ 4481098 w 4524067"/>
              <a:gd name="connsiteY5" fmla="*/ 1602312 h 1602312"/>
              <a:gd name="connsiteX6" fmla="*/ 42969 w 4524067"/>
              <a:gd name="connsiteY6" fmla="*/ 1602312 h 1602312"/>
              <a:gd name="connsiteX7" fmla="*/ 0 w 4524067"/>
              <a:gd name="connsiteY7" fmla="*/ 1559343 h 1602312"/>
              <a:gd name="connsiteX8" fmla="*/ 0 w 4524067"/>
              <a:gd name="connsiteY8" fmla="*/ 43141 h 1602312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680"/>
              <a:gd name="connsiteY0" fmla="*/ 376237 h 1935408"/>
              <a:gd name="connsiteX1" fmla="*/ 42969 w 4526680"/>
              <a:gd name="connsiteY1" fmla="*/ 333268 h 1935408"/>
              <a:gd name="connsiteX2" fmla="*/ 4136478 w 4526680"/>
              <a:gd name="connsiteY2" fmla="*/ 333096 h 1935408"/>
              <a:gd name="connsiteX3" fmla="*/ 4526448 w 4526680"/>
              <a:gd name="connsiteY3" fmla="*/ 0 h 1935408"/>
              <a:gd name="connsiteX4" fmla="*/ 4524067 w 4526680"/>
              <a:gd name="connsiteY4" fmla="*/ 1892439 h 1935408"/>
              <a:gd name="connsiteX5" fmla="*/ 4481098 w 4526680"/>
              <a:gd name="connsiteY5" fmla="*/ 1935408 h 1935408"/>
              <a:gd name="connsiteX6" fmla="*/ 42969 w 4526680"/>
              <a:gd name="connsiteY6" fmla="*/ 1935408 h 1935408"/>
              <a:gd name="connsiteX7" fmla="*/ 0 w 4526680"/>
              <a:gd name="connsiteY7" fmla="*/ 1892439 h 1935408"/>
              <a:gd name="connsiteX8" fmla="*/ 0 w 4526680"/>
              <a:gd name="connsiteY8" fmla="*/ 376237 h 1935408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448"/>
              <a:gd name="connsiteY0" fmla="*/ 376237 h 1935408"/>
              <a:gd name="connsiteX1" fmla="*/ 42969 w 4526448"/>
              <a:gd name="connsiteY1" fmla="*/ 333268 h 1935408"/>
              <a:gd name="connsiteX2" fmla="*/ 4136478 w 4526448"/>
              <a:gd name="connsiteY2" fmla="*/ 333096 h 1935408"/>
              <a:gd name="connsiteX3" fmla="*/ 4526448 w 4526448"/>
              <a:gd name="connsiteY3" fmla="*/ 0 h 1935408"/>
              <a:gd name="connsiteX4" fmla="*/ 4524067 w 4526448"/>
              <a:gd name="connsiteY4" fmla="*/ 1892439 h 1935408"/>
              <a:gd name="connsiteX5" fmla="*/ 4481098 w 4526448"/>
              <a:gd name="connsiteY5" fmla="*/ 1935408 h 1935408"/>
              <a:gd name="connsiteX6" fmla="*/ 42969 w 4526448"/>
              <a:gd name="connsiteY6" fmla="*/ 1935408 h 1935408"/>
              <a:gd name="connsiteX7" fmla="*/ 0 w 4526448"/>
              <a:gd name="connsiteY7" fmla="*/ 1892439 h 1935408"/>
              <a:gd name="connsiteX8" fmla="*/ 0 w 4526448"/>
              <a:gd name="connsiteY8" fmla="*/ 376237 h 1935408"/>
              <a:gd name="connsiteX0" fmla="*/ 0 w 4526448"/>
              <a:gd name="connsiteY0" fmla="*/ 378618 h 1937789"/>
              <a:gd name="connsiteX1" fmla="*/ 42969 w 4526448"/>
              <a:gd name="connsiteY1" fmla="*/ 335649 h 1937789"/>
              <a:gd name="connsiteX2" fmla="*/ 4136478 w 4526448"/>
              <a:gd name="connsiteY2" fmla="*/ 335477 h 1937789"/>
              <a:gd name="connsiteX3" fmla="*/ 4526448 w 4526448"/>
              <a:gd name="connsiteY3" fmla="*/ 0 h 1937789"/>
              <a:gd name="connsiteX4" fmla="*/ 4524067 w 4526448"/>
              <a:gd name="connsiteY4" fmla="*/ 1894820 h 1937789"/>
              <a:gd name="connsiteX5" fmla="*/ 4481098 w 4526448"/>
              <a:gd name="connsiteY5" fmla="*/ 1937789 h 1937789"/>
              <a:gd name="connsiteX6" fmla="*/ 42969 w 4526448"/>
              <a:gd name="connsiteY6" fmla="*/ 1937789 h 1937789"/>
              <a:gd name="connsiteX7" fmla="*/ 0 w 4526448"/>
              <a:gd name="connsiteY7" fmla="*/ 1894820 h 1937789"/>
              <a:gd name="connsiteX8" fmla="*/ 0 w 4526448"/>
              <a:gd name="connsiteY8" fmla="*/ 378618 h 1937789"/>
              <a:gd name="connsiteX0" fmla="*/ 0 w 4526448"/>
              <a:gd name="connsiteY0" fmla="*/ 378618 h 1937789"/>
              <a:gd name="connsiteX1" fmla="*/ 42969 w 4526448"/>
              <a:gd name="connsiteY1" fmla="*/ 335649 h 1937789"/>
              <a:gd name="connsiteX2" fmla="*/ 4136478 w 4526448"/>
              <a:gd name="connsiteY2" fmla="*/ 335477 h 1937789"/>
              <a:gd name="connsiteX3" fmla="*/ 4526448 w 4526448"/>
              <a:gd name="connsiteY3" fmla="*/ 0 h 1937789"/>
              <a:gd name="connsiteX4" fmla="*/ 4524067 w 4526448"/>
              <a:gd name="connsiteY4" fmla="*/ 1894820 h 1937789"/>
              <a:gd name="connsiteX5" fmla="*/ 4481098 w 4526448"/>
              <a:gd name="connsiteY5" fmla="*/ 1937789 h 1937789"/>
              <a:gd name="connsiteX6" fmla="*/ 42969 w 4526448"/>
              <a:gd name="connsiteY6" fmla="*/ 1937789 h 1937789"/>
              <a:gd name="connsiteX7" fmla="*/ 0 w 4526448"/>
              <a:gd name="connsiteY7" fmla="*/ 1894820 h 1937789"/>
              <a:gd name="connsiteX8" fmla="*/ 0 w 4526448"/>
              <a:gd name="connsiteY8" fmla="*/ 378618 h 1937789"/>
              <a:gd name="connsiteX0" fmla="*/ 0 w 4526448"/>
              <a:gd name="connsiteY0" fmla="*/ 378618 h 1937789"/>
              <a:gd name="connsiteX1" fmla="*/ 42969 w 4526448"/>
              <a:gd name="connsiteY1" fmla="*/ 335649 h 1937789"/>
              <a:gd name="connsiteX2" fmla="*/ 4136478 w 4526448"/>
              <a:gd name="connsiteY2" fmla="*/ 335477 h 1937789"/>
              <a:gd name="connsiteX3" fmla="*/ 4526448 w 4526448"/>
              <a:gd name="connsiteY3" fmla="*/ 0 h 1937789"/>
              <a:gd name="connsiteX4" fmla="*/ 4524067 w 4526448"/>
              <a:gd name="connsiteY4" fmla="*/ 1894820 h 1937789"/>
              <a:gd name="connsiteX5" fmla="*/ 4481098 w 4526448"/>
              <a:gd name="connsiteY5" fmla="*/ 1937789 h 1937789"/>
              <a:gd name="connsiteX6" fmla="*/ 42969 w 4526448"/>
              <a:gd name="connsiteY6" fmla="*/ 1937789 h 1937789"/>
              <a:gd name="connsiteX7" fmla="*/ 0 w 4526448"/>
              <a:gd name="connsiteY7" fmla="*/ 1894820 h 1937789"/>
              <a:gd name="connsiteX8" fmla="*/ 0 w 4526448"/>
              <a:gd name="connsiteY8" fmla="*/ 378618 h 1937789"/>
              <a:gd name="connsiteX0" fmla="*/ 0 w 4526448"/>
              <a:gd name="connsiteY0" fmla="*/ 378618 h 1937789"/>
              <a:gd name="connsiteX1" fmla="*/ 42969 w 4526448"/>
              <a:gd name="connsiteY1" fmla="*/ 335649 h 1937789"/>
              <a:gd name="connsiteX2" fmla="*/ 4136478 w 4526448"/>
              <a:gd name="connsiteY2" fmla="*/ 335477 h 1937789"/>
              <a:gd name="connsiteX3" fmla="*/ 4526448 w 4526448"/>
              <a:gd name="connsiteY3" fmla="*/ 0 h 1937789"/>
              <a:gd name="connsiteX4" fmla="*/ 4524067 w 4526448"/>
              <a:gd name="connsiteY4" fmla="*/ 1894820 h 1937789"/>
              <a:gd name="connsiteX5" fmla="*/ 4481098 w 4526448"/>
              <a:gd name="connsiteY5" fmla="*/ 1937789 h 1937789"/>
              <a:gd name="connsiteX6" fmla="*/ 42969 w 4526448"/>
              <a:gd name="connsiteY6" fmla="*/ 1937789 h 1937789"/>
              <a:gd name="connsiteX7" fmla="*/ 0 w 4526448"/>
              <a:gd name="connsiteY7" fmla="*/ 1894820 h 1937789"/>
              <a:gd name="connsiteX8" fmla="*/ 0 w 4526448"/>
              <a:gd name="connsiteY8" fmla="*/ 378618 h 1937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26448" h="1937789">
                <a:moveTo>
                  <a:pt x="0" y="378618"/>
                </a:moveTo>
                <a:cubicBezTo>
                  <a:pt x="0" y="354887"/>
                  <a:pt x="19238" y="335649"/>
                  <a:pt x="42969" y="335649"/>
                </a:cubicBezTo>
                <a:lnTo>
                  <a:pt x="4136478" y="335477"/>
                </a:lnTo>
                <a:cubicBezTo>
                  <a:pt x="4337111" y="333983"/>
                  <a:pt x="4486946" y="218189"/>
                  <a:pt x="4526448" y="0"/>
                </a:cubicBezTo>
                <a:cubicBezTo>
                  <a:pt x="4525654" y="630813"/>
                  <a:pt x="4524861" y="1264007"/>
                  <a:pt x="4524067" y="1894820"/>
                </a:cubicBezTo>
                <a:cubicBezTo>
                  <a:pt x="4524067" y="1918551"/>
                  <a:pt x="4504829" y="1937789"/>
                  <a:pt x="4481098" y="1937789"/>
                </a:cubicBezTo>
                <a:lnTo>
                  <a:pt x="42969" y="1937789"/>
                </a:lnTo>
                <a:cubicBezTo>
                  <a:pt x="19238" y="1937789"/>
                  <a:pt x="0" y="1918551"/>
                  <a:pt x="0" y="1894820"/>
                </a:cubicBezTo>
                <a:lnTo>
                  <a:pt x="0" y="378618"/>
                </a:lnTo>
                <a:close/>
              </a:path>
            </a:pathLst>
          </a:custGeom>
          <a:solidFill>
            <a:schemeClr val="bg2">
              <a:alpha val="85000"/>
            </a:schemeClr>
          </a:solidFill>
        </p:spPr>
        <p:txBody>
          <a:bodyPr vert="horz" wrap="square" lIns="360000" tIns="576000" rIns="576000" bIns="180000" rtlCol="0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lang="nl-NL" sz="8419" b="0" dirty="0">
                <a:solidFill>
                  <a:schemeClr val="bg1"/>
                </a:solidFill>
                <a:latin typeface="+mj-lt"/>
              </a:defRPr>
            </a:lvl1pPr>
            <a:lvl2pPr>
              <a:defRPr lang="nl-NL" dirty="0">
                <a:solidFill>
                  <a:schemeClr val="bg1"/>
                </a:solidFill>
                <a:latin typeface="+mj-lt"/>
              </a:defRPr>
            </a:lvl2pPr>
            <a:lvl3pPr>
              <a:defRPr lang="nl-NL" dirty="0">
                <a:solidFill>
                  <a:schemeClr val="bg1"/>
                </a:solidFill>
                <a:latin typeface="+mj-lt"/>
              </a:defRPr>
            </a:lvl3pPr>
            <a:lvl4pPr>
              <a:defRPr lang="nl-NL" dirty="0">
                <a:solidFill>
                  <a:schemeClr val="bg1"/>
                </a:solidFill>
                <a:latin typeface="+mj-lt"/>
              </a:defRPr>
            </a:lvl4pPr>
            <a:lvl5pPr>
              <a:lnSpc>
                <a:spcPct val="100000"/>
              </a:lnSpc>
              <a:defRPr lang="nl-NL" sz="8419" b="0" dirty="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nl-NL" noProof="0"/>
              <a:t>Klik om tekst in te voegen</a:t>
            </a:r>
          </a:p>
        </p:txBody>
      </p:sp>
      <p:sp>
        <p:nvSpPr>
          <p:cNvPr id="29" name="Tijdelijke aanduiding voor datum 3">
            <a:extLst>
              <a:ext uri="{FF2B5EF4-FFF2-40B4-BE49-F238E27FC236}">
                <a16:creationId xmlns:a16="http://schemas.microsoft.com/office/drawing/2014/main" id="{0C185B4F-039F-4078-960F-6ACF6F50FA8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845E9234-8709-4007-9880-8F50EB01A15C}" type="datetime1">
              <a:rPr lang="nl-NL" noProof="0" smtClean="0"/>
              <a:t>26-6-2023</a:t>
            </a:fld>
            <a:endParaRPr lang="nl-NL" noProof="0"/>
          </a:p>
        </p:txBody>
      </p:sp>
      <p:grpSp>
        <p:nvGrpSpPr>
          <p:cNvPr id="179" name="Groep 178">
            <a:extLst>
              <a:ext uri="{FF2B5EF4-FFF2-40B4-BE49-F238E27FC236}">
                <a16:creationId xmlns:a16="http://schemas.microsoft.com/office/drawing/2014/main" id="{4C84DCD6-D7D8-4BD9-844C-58B8FB7FD3AF}"/>
              </a:ext>
            </a:extLst>
          </p:cNvPr>
          <p:cNvGrpSpPr/>
          <p:nvPr userDrawn="1"/>
        </p:nvGrpSpPr>
        <p:grpSpPr>
          <a:xfrm>
            <a:off x="43467416" y="5"/>
            <a:ext cx="11167745" cy="23084356"/>
            <a:chOff x="12391601" y="0"/>
            <a:chExt cx="3183678" cy="5229113"/>
          </a:xfrm>
        </p:grpSpPr>
        <p:grpSp>
          <p:nvGrpSpPr>
            <p:cNvPr id="180" name="Meer informatie">
              <a:extLst>
                <a:ext uri="{FF2B5EF4-FFF2-40B4-BE49-F238E27FC236}">
                  <a16:creationId xmlns:a16="http://schemas.microsoft.com/office/drawing/2014/main" id="{0845994B-CE25-425B-861D-B5FF1BC60294}"/>
                </a:ext>
              </a:extLst>
            </p:cNvPr>
            <p:cNvGrpSpPr/>
            <p:nvPr userDrawn="1"/>
          </p:nvGrpSpPr>
          <p:grpSpPr>
            <a:xfrm>
              <a:off x="12396764" y="4445840"/>
              <a:ext cx="3178515" cy="783273"/>
              <a:chOff x="-3741486" y="3386444"/>
              <a:chExt cx="3178515" cy="783273"/>
            </a:xfrm>
          </p:grpSpPr>
          <p:sp>
            <p:nvSpPr>
              <p:cNvPr id="226" name="Freeform 101">
                <a:extLst>
                  <a:ext uri="{FF2B5EF4-FFF2-40B4-BE49-F238E27FC236}">
                    <a16:creationId xmlns:a16="http://schemas.microsoft.com/office/drawing/2014/main" id="{70E022F7-05C1-482F-9FB7-2182A4771D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227" name="Rechthoek 226">
                <a:extLst>
                  <a:ext uri="{FF2B5EF4-FFF2-40B4-BE49-F238E27FC236}">
                    <a16:creationId xmlns:a16="http://schemas.microsoft.com/office/drawing/2014/main" id="{F78E0E1E-942D-4098-A407-2DA73DDEE38E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28" name="Rechte verbindingslijn 227">
                <a:extLst>
                  <a:ext uri="{FF2B5EF4-FFF2-40B4-BE49-F238E27FC236}">
                    <a16:creationId xmlns:a16="http://schemas.microsoft.com/office/drawing/2014/main" id="{72E1ADE3-A525-46A3-9A81-B0C76C87D99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81" name="Rechthoek 180">
              <a:extLst>
                <a:ext uri="{FF2B5EF4-FFF2-40B4-BE49-F238E27FC236}">
                  <a16:creationId xmlns:a16="http://schemas.microsoft.com/office/drawing/2014/main" id="{80C2EE33-F91D-49BD-8C44-39C35453934F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182" name="Ovaal 181">
              <a:extLst>
                <a:ext uri="{FF2B5EF4-FFF2-40B4-BE49-F238E27FC236}">
                  <a16:creationId xmlns:a16="http://schemas.microsoft.com/office/drawing/2014/main" id="{29BD6E08-F7C1-4810-9325-66F12A1B5F5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83" name="Rechte verbindingslijn 182">
              <a:extLst>
                <a:ext uri="{FF2B5EF4-FFF2-40B4-BE49-F238E27FC236}">
                  <a16:creationId xmlns:a16="http://schemas.microsoft.com/office/drawing/2014/main" id="{7BA7F20B-014A-4E8D-A865-372FF1FBA4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4" name="Rechte verbindingslijn 183">
              <a:extLst>
                <a:ext uri="{FF2B5EF4-FFF2-40B4-BE49-F238E27FC236}">
                  <a16:creationId xmlns:a16="http://schemas.microsoft.com/office/drawing/2014/main" id="{1B80EB81-08CB-4055-8E85-F9C1C5C55EE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85" name="Rechthoek 184">
              <a:extLst>
                <a:ext uri="{FF2B5EF4-FFF2-40B4-BE49-F238E27FC236}">
                  <a16:creationId xmlns:a16="http://schemas.microsoft.com/office/drawing/2014/main" id="{7E1734DD-84F1-4E45-B5E4-3BD7330F8A11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oor deze te selecteren en op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om een nieuwe afbeelding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86" name="Rechte verbindingslijn 185">
              <a:extLst>
                <a:ext uri="{FF2B5EF4-FFF2-40B4-BE49-F238E27FC236}">
                  <a16:creationId xmlns:a16="http://schemas.microsoft.com/office/drawing/2014/main" id="{7278A0BC-9971-431A-8AC5-E0164CC708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4327957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87" name="Ovaal 186">
              <a:extLst>
                <a:ext uri="{FF2B5EF4-FFF2-40B4-BE49-F238E27FC236}">
                  <a16:creationId xmlns:a16="http://schemas.microsoft.com/office/drawing/2014/main" id="{810CCD7B-5058-4658-87F0-480667672180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88" name="Rechthoek 187">
              <a:extLst>
                <a:ext uri="{FF2B5EF4-FFF2-40B4-BE49-F238E27FC236}">
                  <a16:creationId xmlns:a16="http://schemas.microsoft.com/office/drawing/2014/main" id="{A4AB1E73-7EA0-4761-8460-B897E887CF7C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89" name="Groep 188">
              <a:extLst>
                <a:ext uri="{FF2B5EF4-FFF2-40B4-BE49-F238E27FC236}">
                  <a16:creationId xmlns:a16="http://schemas.microsoft.com/office/drawing/2014/main" id="{A509014B-153C-450F-B420-7655B8CCBD10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23" name="Rechthoek 222">
                <a:extLst>
                  <a:ext uri="{FF2B5EF4-FFF2-40B4-BE49-F238E27FC236}">
                    <a16:creationId xmlns:a16="http://schemas.microsoft.com/office/drawing/2014/main" id="{06257FC4-6EE4-40FC-AC7F-53CCCD2BD0CC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224" name="Rechte verbindingslijn 223">
                <a:extLst>
                  <a:ext uri="{FF2B5EF4-FFF2-40B4-BE49-F238E27FC236}">
                    <a16:creationId xmlns:a16="http://schemas.microsoft.com/office/drawing/2014/main" id="{9D67D5A9-C6F9-412E-A94D-F641625DB3BF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25" name="Gelijkbenige driehoek 224">
                <a:extLst>
                  <a:ext uri="{FF2B5EF4-FFF2-40B4-BE49-F238E27FC236}">
                    <a16:creationId xmlns:a16="http://schemas.microsoft.com/office/drawing/2014/main" id="{90BF8A41-FF83-450B-98D0-D44DC6F51FA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90" name="Groep 189">
              <a:extLst>
                <a:ext uri="{FF2B5EF4-FFF2-40B4-BE49-F238E27FC236}">
                  <a16:creationId xmlns:a16="http://schemas.microsoft.com/office/drawing/2014/main" id="{41FD0AD3-759F-48C3-BE92-301441F09AE6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DD34B8C6-1242-442B-B30E-ED63B22EA371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18" name="Ovaal 217">
                <a:extLst>
                  <a:ext uri="{FF2B5EF4-FFF2-40B4-BE49-F238E27FC236}">
                    <a16:creationId xmlns:a16="http://schemas.microsoft.com/office/drawing/2014/main" id="{D4699030-8B5F-449D-835C-1E3CC13D387B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9" name="Vrije vorm: vorm 218">
                <a:extLst>
                  <a:ext uri="{FF2B5EF4-FFF2-40B4-BE49-F238E27FC236}">
                    <a16:creationId xmlns:a16="http://schemas.microsoft.com/office/drawing/2014/main" id="{B7101B8A-52AD-4458-9465-353BC69320E3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Rechthoek: afgeronde hoeken 219">
                <a:extLst>
                  <a:ext uri="{FF2B5EF4-FFF2-40B4-BE49-F238E27FC236}">
                    <a16:creationId xmlns:a16="http://schemas.microsoft.com/office/drawing/2014/main" id="{AB4F5B23-4BFF-4677-80BA-C8E56D51EAF3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221" name="Rechte verbindingslijn 220">
                <a:extLst>
                  <a:ext uri="{FF2B5EF4-FFF2-40B4-BE49-F238E27FC236}">
                    <a16:creationId xmlns:a16="http://schemas.microsoft.com/office/drawing/2014/main" id="{8275ADBD-878C-426B-A061-7F57A9F6ED5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22" name="Rechte verbindingslijn 221">
                <a:extLst>
                  <a:ext uri="{FF2B5EF4-FFF2-40B4-BE49-F238E27FC236}">
                    <a16:creationId xmlns:a16="http://schemas.microsoft.com/office/drawing/2014/main" id="{B4060D02-3695-4FD7-B27A-0FD97EFC4EC9}"/>
                  </a:ext>
                </a:extLst>
              </p:cNvPr>
              <p:cNvCxnSpPr>
                <a:cxnSpLocks/>
                <a:stCxn id="220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91" name="Ovaal 190">
              <a:extLst>
                <a:ext uri="{FF2B5EF4-FFF2-40B4-BE49-F238E27FC236}">
                  <a16:creationId xmlns:a16="http://schemas.microsoft.com/office/drawing/2014/main" id="{A97D7BB5-0924-4ED3-B7B2-15DDAE122E32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92" name="Rechthoek 191">
              <a:extLst>
                <a:ext uri="{FF2B5EF4-FFF2-40B4-BE49-F238E27FC236}">
                  <a16:creationId xmlns:a16="http://schemas.microsoft.com/office/drawing/2014/main" id="{28C11ED3-010D-4097-ABD7-0006E1C08F72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43320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aan de linker kant van het scherm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93" name="Rechte verbindingslijn 192">
              <a:extLst>
                <a:ext uri="{FF2B5EF4-FFF2-40B4-BE49-F238E27FC236}">
                  <a16:creationId xmlns:a16="http://schemas.microsoft.com/office/drawing/2014/main" id="{2A82C1DB-8D25-4099-AA48-25AB31AF13C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94" name="Rechthoek 193">
              <a:extLst>
                <a:ext uri="{FF2B5EF4-FFF2-40B4-BE49-F238E27FC236}">
                  <a16:creationId xmlns:a16="http://schemas.microsoft.com/office/drawing/2014/main" id="{3F89EFC8-6560-43EC-A9E7-129B8972C487}"/>
                </a:ext>
              </a:extLst>
            </p:cNvPr>
            <p:cNvSpPr/>
            <p:nvPr userDrawn="1"/>
          </p:nvSpPr>
          <p:spPr>
            <a:xfrm>
              <a:off x="12654153" y="3238910"/>
              <a:ext cx="1624926" cy="805220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3509" b="0" i="1" noProof="0">
                <a:solidFill>
                  <a:schemeClr val="tx1"/>
                </a:solidFill>
              </a:endParaRPr>
            </a:p>
          </p:txBody>
        </p:sp>
        <p:grpSp>
          <p:nvGrpSpPr>
            <p:cNvPr id="195" name="Groep 194">
              <a:extLst>
                <a:ext uri="{FF2B5EF4-FFF2-40B4-BE49-F238E27FC236}">
                  <a16:creationId xmlns:a16="http://schemas.microsoft.com/office/drawing/2014/main" id="{B8C3F4DA-83ED-4222-B28C-49AB1FEC439B}"/>
                </a:ext>
              </a:extLst>
            </p:cNvPr>
            <p:cNvGrpSpPr/>
            <p:nvPr userDrawn="1"/>
          </p:nvGrpSpPr>
          <p:grpSpPr>
            <a:xfrm>
              <a:off x="13614067" y="3535184"/>
              <a:ext cx="1195438" cy="678267"/>
              <a:chOff x="12757284" y="3224292"/>
              <a:chExt cx="1195438" cy="678267"/>
            </a:xfrm>
          </p:grpSpPr>
          <p:sp>
            <p:nvSpPr>
              <p:cNvPr id="196" name="Rechthoek 195">
                <a:extLst>
                  <a:ext uri="{FF2B5EF4-FFF2-40B4-BE49-F238E27FC236}">
                    <a16:creationId xmlns:a16="http://schemas.microsoft.com/office/drawing/2014/main" id="{A517EB42-BAF4-4590-8F9B-4AF47E8264B1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7" name="Rechthoek 196">
                <a:extLst>
                  <a:ext uri="{FF2B5EF4-FFF2-40B4-BE49-F238E27FC236}">
                    <a16:creationId xmlns:a16="http://schemas.microsoft.com/office/drawing/2014/main" id="{84F16C7D-9B7C-47A5-B5D8-A5C0BC057B06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98" name="Groep 197">
                <a:extLst>
                  <a:ext uri="{FF2B5EF4-FFF2-40B4-BE49-F238E27FC236}">
                    <a16:creationId xmlns:a16="http://schemas.microsoft.com/office/drawing/2014/main" id="{20B81935-14B4-4A33-B4B6-6A4CDDDEB4C3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211" name="Rechthoek: afgeronde hoeken 210">
                  <a:extLst>
                    <a:ext uri="{FF2B5EF4-FFF2-40B4-BE49-F238E27FC236}">
                      <a16:creationId xmlns:a16="http://schemas.microsoft.com/office/drawing/2014/main" id="{C126A634-CBD5-45A8-BE07-2676D4D7562E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endPara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2" name="Rechthoek 211">
                  <a:extLst>
                    <a:ext uri="{FF2B5EF4-FFF2-40B4-BE49-F238E27FC236}">
                      <a16:creationId xmlns:a16="http://schemas.microsoft.com/office/drawing/2014/main" id="{A082A3E8-2FC2-4797-B58B-46ACA1E14EE7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3" name="Rechthoek 212">
                  <a:extLst>
                    <a:ext uri="{FF2B5EF4-FFF2-40B4-BE49-F238E27FC236}">
                      <a16:creationId xmlns:a16="http://schemas.microsoft.com/office/drawing/2014/main" id="{FBB5233F-C1F9-446A-AB00-E827B6494B6D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4" name="Rechthoek 213">
                  <a:extLst>
                    <a:ext uri="{FF2B5EF4-FFF2-40B4-BE49-F238E27FC236}">
                      <a16:creationId xmlns:a16="http://schemas.microsoft.com/office/drawing/2014/main" id="{CC071C0B-99B0-42DB-A036-5F77FD074DAD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5" name="Rechthoek 214">
                  <a:extLst>
                    <a:ext uri="{FF2B5EF4-FFF2-40B4-BE49-F238E27FC236}">
                      <a16:creationId xmlns:a16="http://schemas.microsoft.com/office/drawing/2014/main" id="{56681D84-A4CA-46A5-B823-1489E648F95F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6" name="Rechthoek 215">
                  <a:extLst>
                    <a:ext uri="{FF2B5EF4-FFF2-40B4-BE49-F238E27FC236}">
                      <a16:creationId xmlns:a16="http://schemas.microsoft.com/office/drawing/2014/main" id="{6C7FCCFF-B398-4FC4-AAB4-1911AA15CDFB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99" name="Groep 198">
                <a:extLst>
                  <a:ext uri="{FF2B5EF4-FFF2-40B4-BE49-F238E27FC236}">
                    <a16:creationId xmlns:a16="http://schemas.microsoft.com/office/drawing/2014/main" id="{3FF9FE26-B621-4F9F-A282-B772B38C0285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203" name="Groep 202">
                  <a:extLst>
                    <a:ext uri="{FF2B5EF4-FFF2-40B4-BE49-F238E27FC236}">
                      <a16:creationId xmlns:a16="http://schemas.microsoft.com/office/drawing/2014/main" id="{A49F2D2A-EB1F-4B11-8460-EAE9B5C9D7F4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205" name="Rechthoek: afgeronde hoeken 204">
                    <a:extLst>
                      <a:ext uri="{FF2B5EF4-FFF2-40B4-BE49-F238E27FC236}">
                        <a16:creationId xmlns:a16="http://schemas.microsoft.com/office/drawing/2014/main" id="{664D50EE-4504-4C1D-96B5-FBED388CB20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2105"/>
                      </a:spcBef>
                      <a:spcAft>
                        <a:spcPts val="2105"/>
                      </a:spcAft>
                    </a:pPr>
                    <a:endParaRPr lang="nl-NL" sz="280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06" name="Rechthoek 205">
                    <a:extLst>
                      <a:ext uri="{FF2B5EF4-FFF2-40B4-BE49-F238E27FC236}">
                        <a16:creationId xmlns:a16="http://schemas.microsoft.com/office/drawing/2014/main" id="{3DD754A7-A0DE-4942-95BD-7B462C19A83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7" name="Rechthoek 206">
                    <a:extLst>
                      <a:ext uri="{FF2B5EF4-FFF2-40B4-BE49-F238E27FC236}">
                        <a16:creationId xmlns:a16="http://schemas.microsoft.com/office/drawing/2014/main" id="{66FC2A77-50B1-49F4-967E-588DC8AB6FF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8" name="Rechthoek 207">
                    <a:extLst>
                      <a:ext uri="{FF2B5EF4-FFF2-40B4-BE49-F238E27FC236}">
                        <a16:creationId xmlns:a16="http://schemas.microsoft.com/office/drawing/2014/main" id="{AFFA62CC-0F50-4149-A82E-70778FEC3F4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9" name="Rechthoek 208">
                    <a:extLst>
                      <a:ext uri="{FF2B5EF4-FFF2-40B4-BE49-F238E27FC236}">
                        <a16:creationId xmlns:a16="http://schemas.microsoft.com/office/drawing/2014/main" id="{EBB99AC0-6B6D-469D-8091-FCC19CC2994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0" name="Rechthoek 209">
                    <a:extLst>
                      <a:ext uri="{FF2B5EF4-FFF2-40B4-BE49-F238E27FC236}">
                        <a16:creationId xmlns:a16="http://schemas.microsoft.com/office/drawing/2014/main" id="{E0A341F6-3386-4623-A8CC-C5035A34F53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204" name="Boog 203">
                  <a:extLst>
                    <a:ext uri="{FF2B5EF4-FFF2-40B4-BE49-F238E27FC236}">
                      <a16:creationId xmlns:a16="http://schemas.microsoft.com/office/drawing/2014/main" id="{A87041D2-BC28-4448-BD70-2A54101035B4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</p:grpSp>
          <p:sp>
            <p:nvSpPr>
              <p:cNvPr id="200" name="Tekstvak 199">
                <a:extLst>
                  <a:ext uri="{FF2B5EF4-FFF2-40B4-BE49-F238E27FC236}">
                    <a16:creationId xmlns:a16="http://schemas.microsoft.com/office/drawing/2014/main" id="{F448D96F-29C2-4F72-B7BB-F2FAF451A6FB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201" name="Tekstvak 200">
                <a:extLst>
                  <a:ext uri="{FF2B5EF4-FFF2-40B4-BE49-F238E27FC236}">
                    <a16:creationId xmlns:a16="http://schemas.microsoft.com/office/drawing/2014/main" id="{29503B0A-6BD4-4DD0-AA22-DF71968C73E6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202" name="Picture 3">
                <a:extLst>
                  <a:ext uri="{FF2B5EF4-FFF2-40B4-BE49-F238E27FC236}">
                    <a16:creationId xmlns:a16="http://schemas.microsoft.com/office/drawing/2014/main" id="{3C056423-79E0-4EBE-837E-160C9CADC0C8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810206" y="3671228"/>
                <a:ext cx="14251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grpSp>
        <p:nvGrpSpPr>
          <p:cNvPr id="76" name="Instructie">
            <a:extLst>
              <a:ext uri="{FF2B5EF4-FFF2-40B4-BE49-F238E27FC236}">
                <a16:creationId xmlns:a16="http://schemas.microsoft.com/office/drawing/2014/main" id="{87BB9FB2-8C0C-4F10-A48E-5CA59B460F35}"/>
              </a:ext>
            </a:extLst>
          </p:cNvPr>
          <p:cNvGrpSpPr/>
          <p:nvPr userDrawn="1"/>
        </p:nvGrpSpPr>
        <p:grpSpPr>
          <a:xfrm>
            <a:off x="-11761540" y="0"/>
            <a:ext cx="11164508" cy="11743958"/>
            <a:chOff x="-3426088" y="4512342"/>
            <a:chExt cx="3182755" cy="2660264"/>
          </a:xfrm>
        </p:grpSpPr>
        <p:sp>
          <p:nvSpPr>
            <p:cNvPr id="77" name="Rechthoek 127">
              <a:extLst>
                <a:ext uri="{FF2B5EF4-FFF2-40B4-BE49-F238E27FC236}">
                  <a16:creationId xmlns:a16="http://schemas.microsoft.com/office/drawing/2014/main" id="{6C7900BF-A70D-4DEE-A754-1D58ABEBEE88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78" name="Rechte verbindingslijn 128">
              <a:extLst>
                <a:ext uri="{FF2B5EF4-FFF2-40B4-BE49-F238E27FC236}">
                  <a16:creationId xmlns:a16="http://schemas.microsoft.com/office/drawing/2014/main" id="{E93E0665-4654-469D-ABF5-8929B8496CB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79" name="Rechthoek 130">
              <a:extLst>
                <a:ext uri="{FF2B5EF4-FFF2-40B4-BE49-F238E27FC236}">
                  <a16:creationId xmlns:a16="http://schemas.microsoft.com/office/drawing/2014/main" id="{24B54986-FE87-4F9E-8682-14CCBF3B9289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80" name="Rechthoek 133">
              <a:extLst>
                <a:ext uri="{FF2B5EF4-FFF2-40B4-BE49-F238E27FC236}">
                  <a16:creationId xmlns:a16="http://schemas.microsoft.com/office/drawing/2014/main" id="{D4B0A9D8-B085-4B6E-A133-2D706A5A538A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1" name="Rechthoek 136">
              <a:extLst>
                <a:ext uri="{FF2B5EF4-FFF2-40B4-BE49-F238E27FC236}">
                  <a16:creationId xmlns:a16="http://schemas.microsoft.com/office/drawing/2014/main" id="{386DDFBE-0074-43D6-AC5C-1D0331C3E901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2" name="Rechthoek 139">
              <a:extLst>
                <a:ext uri="{FF2B5EF4-FFF2-40B4-BE49-F238E27FC236}">
                  <a16:creationId xmlns:a16="http://schemas.microsoft.com/office/drawing/2014/main" id="{CF33AE50-8FFD-4484-870D-7E177C3F78C4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83" name="Rechte verbindingslijn 140">
              <a:extLst>
                <a:ext uri="{FF2B5EF4-FFF2-40B4-BE49-F238E27FC236}">
                  <a16:creationId xmlns:a16="http://schemas.microsoft.com/office/drawing/2014/main" id="{D9CC6865-0DAB-4EA6-BB67-3324ACC9F9A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69" name="Afbeelding 68">
            <a:extLst>
              <a:ext uri="{FF2B5EF4-FFF2-40B4-BE49-F238E27FC236}">
                <a16:creationId xmlns:a16="http://schemas.microsoft.com/office/drawing/2014/main" id="{01F347DF-1A12-48D1-89CE-4FB17CBFE6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108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uiExpand="1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2"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3"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4">
            <p:tnLst>
              <p:par>
                <p:cTn presetID="2" presetClass="entr" presetSubtype="2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5">
            <p:tnLst>
              <p:par>
                <p:cTn presetID="2" presetClass="entr" presetSubtype="2" decel="100000" fill="hold" nodeType="withEffect" nodePh="1">
                  <p:stCondLst>
                    <p:cond delay="10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6" grpId="0" uiExpand="1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2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3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4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5">
            <p:tnLst>
              <p:par>
                <p:cTn presetID="2" presetClass="entr" presetSubtype="2" decel="100000" fill="hold" nodeType="withEffect" nodePh="1">
                  <p:stCondLst>
                    <p:cond delay="5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8" grpId="0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2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2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100%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1742374" y="6476677"/>
            <a:ext cx="39282480" cy="19046186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 marL="1269631" indent="-634816">
              <a:buFont typeface="Arial" panose="020B0604020202020204" pitchFamily="34" charset="0"/>
              <a:buChar char="•"/>
              <a:defRPr sz="4911" baseline="0">
                <a:latin typeface="+mj-lt"/>
              </a:defRPr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D493E421-713B-4AD0-8E5B-41C84D6EBA53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2" y="27329718"/>
            <a:ext cx="857527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grpSp>
        <p:nvGrpSpPr>
          <p:cNvPr id="90" name="Groep 101">
            <a:extLst>
              <a:ext uri="{FF2B5EF4-FFF2-40B4-BE49-F238E27FC236}">
                <a16:creationId xmlns:a16="http://schemas.microsoft.com/office/drawing/2014/main" id="{7D9D6E6F-BF3A-44DC-88FE-CF4E8F628DDE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91" name="Rechthoek 102">
              <a:extLst>
                <a:ext uri="{FF2B5EF4-FFF2-40B4-BE49-F238E27FC236}">
                  <a16:creationId xmlns:a16="http://schemas.microsoft.com/office/drawing/2014/main" id="{37CA0D0F-12A5-4201-976F-06942DBCFFFA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92" name="Ovaal 103">
              <a:extLst>
                <a:ext uri="{FF2B5EF4-FFF2-40B4-BE49-F238E27FC236}">
                  <a16:creationId xmlns:a16="http://schemas.microsoft.com/office/drawing/2014/main" id="{0646EDFD-6373-4F6F-8E31-14F73E60EA1E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3" name="Rechte verbindingslijn 104">
              <a:extLst>
                <a:ext uri="{FF2B5EF4-FFF2-40B4-BE49-F238E27FC236}">
                  <a16:creationId xmlns:a16="http://schemas.microsoft.com/office/drawing/2014/main" id="{0E087D4F-B08D-4F9A-B39E-332FC4922B1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94" name="Groep 105">
              <a:extLst>
                <a:ext uri="{FF2B5EF4-FFF2-40B4-BE49-F238E27FC236}">
                  <a16:creationId xmlns:a16="http://schemas.microsoft.com/office/drawing/2014/main" id="{7F6F8995-7C86-430C-BD63-9B055553949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00" name="Rechthoek 130">
                <a:extLst>
                  <a:ext uri="{FF2B5EF4-FFF2-40B4-BE49-F238E27FC236}">
                    <a16:creationId xmlns:a16="http://schemas.microsoft.com/office/drawing/2014/main" id="{4B74CFD1-5C3C-4C56-A9B9-94F691BF4391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201" name="Rechte verbindingslijn 131">
                <a:extLst>
                  <a:ext uri="{FF2B5EF4-FFF2-40B4-BE49-F238E27FC236}">
                    <a16:creationId xmlns:a16="http://schemas.microsoft.com/office/drawing/2014/main" id="{76DEC1FA-47A6-47A9-B779-81092037771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2" name="Rechte verbindingslijn 132">
                <a:extLst>
                  <a:ext uri="{FF2B5EF4-FFF2-40B4-BE49-F238E27FC236}">
                    <a16:creationId xmlns:a16="http://schemas.microsoft.com/office/drawing/2014/main" id="{85D77F55-989B-4AC7-B452-73FC8199E20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03" name="Rechthoek 133">
                <a:extLst>
                  <a:ext uri="{FF2B5EF4-FFF2-40B4-BE49-F238E27FC236}">
                    <a16:creationId xmlns:a16="http://schemas.microsoft.com/office/drawing/2014/main" id="{A39CBC68-AB8A-4992-A0D2-E9BC4FF7109D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04" name="Groep 134">
                <a:extLst>
                  <a:ext uri="{FF2B5EF4-FFF2-40B4-BE49-F238E27FC236}">
                    <a16:creationId xmlns:a16="http://schemas.microsoft.com/office/drawing/2014/main" id="{7BB51017-C6F1-44ED-96D2-951EBF69CADD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43" name="Groep 175">
                  <a:extLst>
                    <a:ext uri="{FF2B5EF4-FFF2-40B4-BE49-F238E27FC236}">
                      <a16:creationId xmlns:a16="http://schemas.microsoft.com/office/drawing/2014/main" id="{1953400F-9E56-491B-B43A-09778411514B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47" name="Rechte verbindingslijn 179">
                    <a:extLst>
                      <a:ext uri="{FF2B5EF4-FFF2-40B4-BE49-F238E27FC236}">
                        <a16:creationId xmlns:a16="http://schemas.microsoft.com/office/drawing/2014/main" id="{D0810279-FF56-4F22-95BF-5E9E9B896F6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8" name="Rechte verbindingslijn 180">
                    <a:extLst>
                      <a:ext uri="{FF2B5EF4-FFF2-40B4-BE49-F238E27FC236}">
                        <a16:creationId xmlns:a16="http://schemas.microsoft.com/office/drawing/2014/main" id="{14CB314A-88CC-4861-8B93-1E3B2B3DEDA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9" name="Rechte verbindingslijn 181">
                    <a:extLst>
                      <a:ext uri="{FF2B5EF4-FFF2-40B4-BE49-F238E27FC236}">
                        <a16:creationId xmlns:a16="http://schemas.microsoft.com/office/drawing/2014/main" id="{B7E55AE2-3AFA-40F5-AFBB-D5547CF731B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0" name="Rechte verbindingslijn 182">
                    <a:extLst>
                      <a:ext uri="{FF2B5EF4-FFF2-40B4-BE49-F238E27FC236}">
                        <a16:creationId xmlns:a16="http://schemas.microsoft.com/office/drawing/2014/main" id="{5B11E2AD-0A4F-4F26-82F1-27B9EF0EF11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1" name="Rechte verbindingslijn 183">
                    <a:extLst>
                      <a:ext uri="{FF2B5EF4-FFF2-40B4-BE49-F238E27FC236}">
                        <a16:creationId xmlns:a16="http://schemas.microsoft.com/office/drawing/2014/main" id="{4303D616-939B-4FE8-BF77-0D97FD15CB0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4" name="Groep 176">
                  <a:extLst>
                    <a:ext uri="{FF2B5EF4-FFF2-40B4-BE49-F238E27FC236}">
                      <a16:creationId xmlns:a16="http://schemas.microsoft.com/office/drawing/2014/main" id="{1ADDFCFD-6575-449A-A687-DCDC5E86E65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45" name="Rechthoek 177">
                    <a:extLst>
                      <a:ext uri="{FF2B5EF4-FFF2-40B4-BE49-F238E27FC236}">
                        <a16:creationId xmlns:a16="http://schemas.microsoft.com/office/drawing/2014/main" id="{3BDF6D58-83EC-4BB0-BEB8-C430AAEF44A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46" name="Pijl: punthaak 178">
                    <a:extLst>
                      <a:ext uri="{FF2B5EF4-FFF2-40B4-BE49-F238E27FC236}">
                        <a16:creationId xmlns:a16="http://schemas.microsoft.com/office/drawing/2014/main" id="{68141BD0-EC99-4FE3-A1B7-69F1A2DCC6F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05" name="Groep 135">
                <a:extLst>
                  <a:ext uri="{FF2B5EF4-FFF2-40B4-BE49-F238E27FC236}">
                    <a16:creationId xmlns:a16="http://schemas.microsoft.com/office/drawing/2014/main" id="{8706C9C8-B566-483E-8002-435BEACCE63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34" name="Groep 166">
                  <a:extLst>
                    <a:ext uri="{FF2B5EF4-FFF2-40B4-BE49-F238E27FC236}">
                      <a16:creationId xmlns:a16="http://schemas.microsoft.com/office/drawing/2014/main" id="{9297A6C5-5392-4349-A2E4-C0C563C91354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38" name="Rechte verbindingslijn 170">
                    <a:extLst>
                      <a:ext uri="{FF2B5EF4-FFF2-40B4-BE49-F238E27FC236}">
                        <a16:creationId xmlns:a16="http://schemas.microsoft.com/office/drawing/2014/main" id="{ADB6CEB5-72F6-4771-BA16-322D2E559E8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9" name="Rechte verbindingslijn 171">
                    <a:extLst>
                      <a:ext uri="{FF2B5EF4-FFF2-40B4-BE49-F238E27FC236}">
                        <a16:creationId xmlns:a16="http://schemas.microsoft.com/office/drawing/2014/main" id="{0D11CCD3-62E7-4777-9F29-563AA2BE268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0" name="Rechte verbindingslijn 172">
                    <a:extLst>
                      <a:ext uri="{FF2B5EF4-FFF2-40B4-BE49-F238E27FC236}">
                        <a16:creationId xmlns:a16="http://schemas.microsoft.com/office/drawing/2014/main" id="{DE0A8448-2EB9-43E1-9726-9F3C33A0734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1" name="Rechte verbindingslijn 173">
                    <a:extLst>
                      <a:ext uri="{FF2B5EF4-FFF2-40B4-BE49-F238E27FC236}">
                        <a16:creationId xmlns:a16="http://schemas.microsoft.com/office/drawing/2014/main" id="{4D0C8DE6-6462-49C9-9BF6-60F1DA0518E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2" name="Rechte verbindingslijn 174">
                    <a:extLst>
                      <a:ext uri="{FF2B5EF4-FFF2-40B4-BE49-F238E27FC236}">
                        <a16:creationId xmlns:a16="http://schemas.microsoft.com/office/drawing/2014/main" id="{C9706186-5410-47AB-9DA4-388F29E96E2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35" name="Groep 167">
                  <a:extLst>
                    <a:ext uri="{FF2B5EF4-FFF2-40B4-BE49-F238E27FC236}">
                      <a16:creationId xmlns:a16="http://schemas.microsoft.com/office/drawing/2014/main" id="{B60952FD-B219-4DF7-AF41-1C75876F83BF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36" name="Rechthoek 168">
                    <a:extLst>
                      <a:ext uri="{FF2B5EF4-FFF2-40B4-BE49-F238E27FC236}">
                        <a16:creationId xmlns:a16="http://schemas.microsoft.com/office/drawing/2014/main" id="{08019ECC-11EB-43DC-AFCD-DF3199F0D4E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7" name="Pijl: punthaak 169">
                    <a:extLst>
                      <a:ext uri="{FF2B5EF4-FFF2-40B4-BE49-F238E27FC236}">
                        <a16:creationId xmlns:a16="http://schemas.microsoft.com/office/drawing/2014/main" id="{02328CFC-DD90-403D-BC10-5270E3C2230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06" name="Rechte verbindingslijn 136">
                <a:extLst>
                  <a:ext uri="{FF2B5EF4-FFF2-40B4-BE49-F238E27FC236}">
                    <a16:creationId xmlns:a16="http://schemas.microsoft.com/office/drawing/2014/main" id="{A7B7677D-36AA-4199-AF03-12CBF827734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07" name="Rechte verbindingslijn 137">
                <a:extLst>
                  <a:ext uri="{FF2B5EF4-FFF2-40B4-BE49-F238E27FC236}">
                    <a16:creationId xmlns:a16="http://schemas.microsoft.com/office/drawing/2014/main" id="{03F1E014-F753-4665-BC0E-C427E567ED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08" name="Groep 138">
                <a:extLst>
                  <a:ext uri="{FF2B5EF4-FFF2-40B4-BE49-F238E27FC236}">
                    <a16:creationId xmlns:a16="http://schemas.microsoft.com/office/drawing/2014/main" id="{37C75C16-9D37-4E0A-9D4E-21533047CC79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23" name="Rechthoek 155">
                  <a:extLst>
                    <a:ext uri="{FF2B5EF4-FFF2-40B4-BE49-F238E27FC236}">
                      <a16:creationId xmlns:a16="http://schemas.microsoft.com/office/drawing/2014/main" id="{52C858E4-FE31-4CD4-ADDA-136162DD82F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24" name="Groep 156">
                  <a:extLst>
                    <a:ext uri="{FF2B5EF4-FFF2-40B4-BE49-F238E27FC236}">
                      <a16:creationId xmlns:a16="http://schemas.microsoft.com/office/drawing/2014/main" id="{035E6949-6E16-4EF3-B780-EBD4E4BE9AB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25" name="Groep 157">
                    <a:extLst>
                      <a:ext uri="{FF2B5EF4-FFF2-40B4-BE49-F238E27FC236}">
                        <a16:creationId xmlns:a16="http://schemas.microsoft.com/office/drawing/2014/main" id="{1FE1CF85-D831-4AC9-ABF0-34F2DD8731F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29" name="Rechte verbindingslijn 161">
                      <a:extLst>
                        <a:ext uri="{FF2B5EF4-FFF2-40B4-BE49-F238E27FC236}">
                          <a16:creationId xmlns:a16="http://schemas.microsoft.com/office/drawing/2014/main" id="{B1B3F67C-30BE-403B-9B24-5B41CE1A4AA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0" name="Rechte verbindingslijn 162">
                      <a:extLst>
                        <a:ext uri="{FF2B5EF4-FFF2-40B4-BE49-F238E27FC236}">
                          <a16:creationId xmlns:a16="http://schemas.microsoft.com/office/drawing/2014/main" id="{0DE943F8-99ED-4D38-A644-354A5460941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1" name="Rechte verbindingslijn 163">
                      <a:extLst>
                        <a:ext uri="{FF2B5EF4-FFF2-40B4-BE49-F238E27FC236}">
                          <a16:creationId xmlns:a16="http://schemas.microsoft.com/office/drawing/2014/main" id="{9AB9DF86-CAE4-4DF1-B828-A7297CE082E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2" name="Rechte verbindingslijn 164">
                      <a:extLst>
                        <a:ext uri="{FF2B5EF4-FFF2-40B4-BE49-F238E27FC236}">
                          <a16:creationId xmlns:a16="http://schemas.microsoft.com/office/drawing/2014/main" id="{561AF589-D0BA-4A9B-B5ED-ABD1D97E67A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3" name="Rechte verbindingslijn 165">
                      <a:extLst>
                        <a:ext uri="{FF2B5EF4-FFF2-40B4-BE49-F238E27FC236}">
                          <a16:creationId xmlns:a16="http://schemas.microsoft.com/office/drawing/2014/main" id="{6BB8F131-26BF-4F0C-952D-C8A88BA140A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26" name="Groep 158">
                    <a:extLst>
                      <a:ext uri="{FF2B5EF4-FFF2-40B4-BE49-F238E27FC236}">
                        <a16:creationId xmlns:a16="http://schemas.microsoft.com/office/drawing/2014/main" id="{9E47C545-2484-454B-8A96-9662D4C7369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27" name="Rechthoek 159">
                      <a:extLst>
                        <a:ext uri="{FF2B5EF4-FFF2-40B4-BE49-F238E27FC236}">
                          <a16:creationId xmlns:a16="http://schemas.microsoft.com/office/drawing/2014/main" id="{9EF16859-1D76-45EA-95D5-1C84EE80F69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28" name="Pijl: punthaak 160">
                      <a:extLst>
                        <a:ext uri="{FF2B5EF4-FFF2-40B4-BE49-F238E27FC236}">
                          <a16:creationId xmlns:a16="http://schemas.microsoft.com/office/drawing/2014/main" id="{7799C6AF-48D4-4D2D-8EB0-99D9E282F8D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09" name="Groep 139">
                <a:extLst>
                  <a:ext uri="{FF2B5EF4-FFF2-40B4-BE49-F238E27FC236}">
                    <a16:creationId xmlns:a16="http://schemas.microsoft.com/office/drawing/2014/main" id="{57FFFA81-2EC7-43ED-81BD-20CC83FDD94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12" name="Rechthoek 142">
                  <a:extLst>
                    <a:ext uri="{FF2B5EF4-FFF2-40B4-BE49-F238E27FC236}">
                      <a16:creationId xmlns:a16="http://schemas.microsoft.com/office/drawing/2014/main" id="{38C31DCD-60DE-4271-B7F6-40150A353702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13" name="Groep 143">
                  <a:extLst>
                    <a:ext uri="{FF2B5EF4-FFF2-40B4-BE49-F238E27FC236}">
                      <a16:creationId xmlns:a16="http://schemas.microsoft.com/office/drawing/2014/main" id="{EB5D3051-FFA7-4B9A-AAB2-C9107AD33F7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14" name="Groep 144">
                    <a:extLst>
                      <a:ext uri="{FF2B5EF4-FFF2-40B4-BE49-F238E27FC236}">
                        <a16:creationId xmlns:a16="http://schemas.microsoft.com/office/drawing/2014/main" id="{D7C30D4B-9D74-474A-B9E5-3A3CB6098E1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18" name="Rechte verbindingslijn 150">
                      <a:extLst>
                        <a:ext uri="{FF2B5EF4-FFF2-40B4-BE49-F238E27FC236}">
                          <a16:creationId xmlns:a16="http://schemas.microsoft.com/office/drawing/2014/main" id="{5201577B-759A-49DB-9B95-9176C0FA2F9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9" name="Rechte verbindingslijn 151">
                      <a:extLst>
                        <a:ext uri="{FF2B5EF4-FFF2-40B4-BE49-F238E27FC236}">
                          <a16:creationId xmlns:a16="http://schemas.microsoft.com/office/drawing/2014/main" id="{A22F2502-D9F9-4F1C-8F3D-F42C1AF5532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0" name="Rechte verbindingslijn 152">
                      <a:extLst>
                        <a:ext uri="{FF2B5EF4-FFF2-40B4-BE49-F238E27FC236}">
                          <a16:creationId xmlns:a16="http://schemas.microsoft.com/office/drawing/2014/main" id="{2129D23D-5963-4821-86A0-9CF0D9CB0D7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1" name="Rechte verbindingslijn 153">
                      <a:extLst>
                        <a:ext uri="{FF2B5EF4-FFF2-40B4-BE49-F238E27FC236}">
                          <a16:creationId xmlns:a16="http://schemas.microsoft.com/office/drawing/2014/main" id="{A20AA3D3-04E8-492A-B6D8-8BE729286AC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2" name="Rechte verbindingslijn 154">
                      <a:extLst>
                        <a:ext uri="{FF2B5EF4-FFF2-40B4-BE49-F238E27FC236}">
                          <a16:creationId xmlns:a16="http://schemas.microsoft.com/office/drawing/2014/main" id="{E20EBDDC-D8AA-460A-85F4-5817E445CBC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5" name="Groep 147">
                    <a:extLst>
                      <a:ext uri="{FF2B5EF4-FFF2-40B4-BE49-F238E27FC236}">
                        <a16:creationId xmlns:a16="http://schemas.microsoft.com/office/drawing/2014/main" id="{A8D2A786-C025-4816-B13F-7A73A1161D98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6" name="Rechthoek 148">
                      <a:extLst>
                        <a:ext uri="{FF2B5EF4-FFF2-40B4-BE49-F238E27FC236}">
                          <a16:creationId xmlns:a16="http://schemas.microsoft.com/office/drawing/2014/main" id="{EB018AC6-7E0F-478B-9049-05A4AB1CCE1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17" name="Pijl: punthaak 149">
                      <a:extLst>
                        <a:ext uri="{FF2B5EF4-FFF2-40B4-BE49-F238E27FC236}">
                          <a16:creationId xmlns:a16="http://schemas.microsoft.com/office/drawing/2014/main" id="{FBB6F124-B31B-444C-A6B9-55BDD7C6B60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10" name="Rechthoek 140">
                <a:extLst>
                  <a:ext uri="{FF2B5EF4-FFF2-40B4-BE49-F238E27FC236}">
                    <a16:creationId xmlns:a16="http://schemas.microsoft.com/office/drawing/2014/main" id="{C253A169-87E9-4E85-833C-4DA4CC89A103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211" name="Rechthoek 141">
                <a:extLst>
                  <a:ext uri="{FF2B5EF4-FFF2-40B4-BE49-F238E27FC236}">
                    <a16:creationId xmlns:a16="http://schemas.microsoft.com/office/drawing/2014/main" id="{B58B4BB1-2A82-4A05-AAA8-F7CDE955FBCC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95" name="Rechte verbindingslijn 106">
              <a:extLst>
                <a:ext uri="{FF2B5EF4-FFF2-40B4-BE49-F238E27FC236}">
                  <a16:creationId xmlns:a16="http://schemas.microsoft.com/office/drawing/2014/main" id="{CFFBA893-7635-4373-8FE1-1E4FFA41D88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6" name="Rechthoek 107">
              <a:extLst>
                <a:ext uri="{FF2B5EF4-FFF2-40B4-BE49-F238E27FC236}">
                  <a16:creationId xmlns:a16="http://schemas.microsoft.com/office/drawing/2014/main" id="{3C2E566F-715E-46C0-B6EC-4591D7FC1F80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97" name="Ovaal 108">
              <a:extLst>
                <a:ext uri="{FF2B5EF4-FFF2-40B4-BE49-F238E27FC236}">
                  <a16:creationId xmlns:a16="http://schemas.microsoft.com/office/drawing/2014/main" id="{7F707FFA-F730-458D-B71B-1D92EC1DDEF1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98" name="Rechthoek 109">
              <a:extLst>
                <a:ext uri="{FF2B5EF4-FFF2-40B4-BE49-F238E27FC236}">
                  <a16:creationId xmlns:a16="http://schemas.microsoft.com/office/drawing/2014/main" id="{21A190AA-481C-447D-A4CA-9FF7079BAFA1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99" name="Ovaal 110">
              <a:extLst>
                <a:ext uri="{FF2B5EF4-FFF2-40B4-BE49-F238E27FC236}">
                  <a16:creationId xmlns:a16="http://schemas.microsoft.com/office/drawing/2014/main" id="{89FDB587-7218-4128-ADA6-D0B10655E3CD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0" name="Rechthoek 111">
              <a:extLst>
                <a:ext uri="{FF2B5EF4-FFF2-40B4-BE49-F238E27FC236}">
                  <a16:creationId xmlns:a16="http://schemas.microsoft.com/office/drawing/2014/main" id="{40F1166A-B49F-4EEA-8405-7244D5C3AEB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1" name="Ovaal 112">
              <a:extLst>
                <a:ext uri="{FF2B5EF4-FFF2-40B4-BE49-F238E27FC236}">
                  <a16:creationId xmlns:a16="http://schemas.microsoft.com/office/drawing/2014/main" id="{0548718A-613A-4319-948B-72344DB6EA6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113">
              <a:extLst>
                <a:ext uri="{FF2B5EF4-FFF2-40B4-BE49-F238E27FC236}">
                  <a16:creationId xmlns:a16="http://schemas.microsoft.com/office/drawing/2014/main" id="{828F1095-7690-43DE-9F4E-6E30B3C174A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147" name="Ovaal 114">
              <a:extLst>
                <a:ext uri="{FF2B5EF4-FFF2-40B4-BE49-F238E27FC236}">
                  <a16:creationId xmlns:a16="http://schemas.microsoft.com/office/drawing/2014/main" id="{E9ACD3E2-0EEA-4F06-8DF2-2EDF08322D0C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5" name="Rechthoek 115">
              <a:extLst>
                <a:ext uri="{FF2B5EF4-FFF2-40B4-BE49-F238E27FC236}">
                  <a16:creationId xmlns:a16="http://schemas.microsoft.com/office/drawing/2014/main" id="{AC41B43D-08F1-4304-BD38-C8343E5AD754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186" name="Rechte verbindingslijn 116">
              <a:extLst>
                <a:ext uri="{FF2B5EF4-FFF2-40B4-BE49-F238E27FC236}">
                  <a16:creationId xmlns:a16="http://schemas.microsoft.com/office/drawing/2014/main" id="{E5DDCEC0-8EED-4BAC-8B9E-352EEB83970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87" name="Meer informatie">
              <a:extLst>
                <a:ext uri="{FF2B5EF4-FFF2-40B4-BE49-F238E27FC236}">
                  <a16:creationId xmlns:a16="http://schemas.microsoft.com/office/drawing/2014/main" id="{758C865C-C19A-4EFD-893A-027B25014C39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197" name="Freeform 101">
                <a:extLst>
                  <a:ext uri="{FF2B5EF4-FFF2-40B4-BE49-F238E27FC236}">
                    <a16:creationId xmlns:a16="http://schemas.microsoft.com/office/drawing/2014/main" id="{7858FFFD-E549-4B3D-812A-5D7DFD8CB26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198" name="Rechthoek 128">
                <a:extLst>
                  <a:ext uri="{FF2B5EF4-FFF2-40B4-BE49-F238E27FC236}">
                    <a16:creationId xmlns:a16="http://schemas.microsoft.com/office/drawing/2014/main" id="{B0FD782D-F60C-4F03-AC89-7906BFAE3D05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99" name="Rechte verbindingslijn 129">
                <a:extLst>
                  <a:ext uri="{FF2B5EF4-FFF2-40B4-BE49-F238E27FC236}">
                    <a16:creationId xmlns:a16="http://schemas.microsoft.com/office/drawing/2014/main" id="{D0EA2925-AC2F-4560-921B-B62DFF70FBC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88" name="Rechthoek 118">
              <a:extLst>
                <a:ext uri="{FF2B5EF4-FFF2-40B4-BE49-F238E27FC236}">
                  <a16:creationId xmlns:a16="http://schemas.microsoft.com/office/drawing/2014/main" id="{D78844F8-83C2-46CF-96EA-53630A7C6CE3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189" name="Ovaal 119">
              <a:extLst>
                <a:ext uri="{FF2B5EF4-FFF2-40B4-BE49-F238E27FC236}">
                  <a16:creationId xmlns:a16="http://schemas.microsoft.com/office/drawing/2014/main" id="{6822EA46-03B6-432E-99DA-AC78FD55D026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90" name="Rechthoek 120">
              <a:extLst>
                <a:ext uri="{FF2B5EF4-FFF2-40B4-BE49-F238E27FC236}">
                  <a16:creationId xmlns:a16="http://schemas.microsoft.com/office/drawing/2014/main" id="{E52BFE46-0522-4503-8782-CF4ACFB81D20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91" name="Ovaal 121">
              <a:extLst>
                <a:ext uri="{FF2B5EF4-FFF2-40B4-BE49-F238E27FC236}">
                  <a16:creationId xmlns:a16="http://schemas.microsoft.com/office/drawing/2014/main" id="{16194C3D-32D0-4012-BE6F-F6A86344525D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92" name="Rechthoek 122">
              <a:extLst>
                <a:ext uri="{FF2B5EF4-FFF2-40B4-BE49-F238E27FC236}">
                  <a16:creationId xmlns:a16="http://schemas.microsoft.com/office/drawing/2014/main" id="{8F07DAB8-6EB9-488A-A442-F71E57DCFE1A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193" name="Ovaal 123">
              <a:extLst>
                <a:ext uri="{FF2B5EF4-FFF2-40B4-BE49-F238E27FC236}">
                  <a16:creationId xmlns:a16="http://schemas.microsoft.com/office/drawing/2014/main" id="{16D7BF4A-5B99-4627-9634-FC27EE9F0BFD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94" name="Rechthoek 124">
              <a:extLst>
                <a:ext uri="{FF2B5EF4-FFF2-40B4-BE49-F238E27FC236}">
                  <a16:creationId xmlns:a16="http://schemas.microsoft.com/office/drawing/2014/main" id="{8DEE18EE-0F6F-41E2-BC47-3856B49496C7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95" name="Rechthoek 125">
              <a:extLst>
                <a:ext uri="{FF2B5EF4-FFF2-40B4-BE49-F238E27FC236}">
                  <a16:creationId xmlns:a16="http://schemas.microsoft.com/office/drawing/2014/main" id="{8A7506A1-81B2-4033-95DC-64483E8E9EC8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196" name="Ovaal 126">
              <a:extLst>
                <a:ext uri="{FF2B5EF4-FFF2-40B4-BE49-F238E27FC236}">
                  <a16:creationId xmlns:a16="http://schemas.microsoft.com/office/drawing/2014/main" id="{ADE05DBE-5B97-472C-8812-37EA03C7CD71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  <p:pic>
        <p:nvPicPr>
          <p:cNvPr id="103" name="Afbeelding 102">
            <a:extLst>
              <a:ext uri="{FF2B5EF4-FFF2-40B4-BE49-F238E27FC236}">
                <a16:creationId xmlns:a16="http://schemas.microsoft.com/office/drawing/2014/main" id="{8E048147-F86F-41C9-80AF-EAB545EEC3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8111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Foto 75%/25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30018943" y="5"/>
            <a:ext cx="12746953" cy="30306750"/>
          </a:xfrm>
          <a:solidFill>
            <a:schemeClr val="bg1">
              <a:lumMod val="95000"/>
            </a:schemeClr>
          </a:solidFill>
        </p:spPr>
        <p:txBody>
          <a:bodyPr tIns="1260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256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C8A40B12-7E26-4E64-9A7F-C7BE7CAB1C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78" y="1766065"/>
            <a:ext cx="32281087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3" name="Tijdelijke aanduiding voor tekst 14">
            <a:extLst>
              <a:ext uri="{FF2B5EF4-FFF2-40B4-BE49-F238E27FC236}">
                <a16:creationId xmlns:a16="http://schemas.microsoft.com/office/drawing/2014/main" id="{6083995C-1A50-4491-9307-7E1B659A0B1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78" y="3469430"/>
            <a:ext cx="32281087" cy="1195424"/>
          </a:xfrm>
        </p:spPr>
        <p:txBody>
          <a:bodyPr>
            <a:noAutofit/>
          </a:bodyPr>
          <a:lstStyle>
            <a:lvl1pPr marL="0" indent="0">
              <a:buNone/>
              <a:defRPr sz="2794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45" name="Tijdelijke aanduiding voor voettekst 4">
            <a:extLst>
              <a:ext uri="{FF2B5EF4-FFF2-40B4-BE49-F238E27FC236}">
                <a16:creationId xmlns:a16="http://schemas.microsoft.com/office/drawing/2014/main" id="{080EFE03-7FB1-4D06-B653-B56500F8A1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7" y="27345278"/>
            <a:ext cx="18027561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46" name="Tijdelijke aanduiding voor dianummer 5">
            <a:extLst>
              <a:ext uri="{FF2B5EF4-FFF2-40B4-BE49-F238E27FC236}">
                <a16:creationId xmlns:a16="http://schemas.microsoft.com/office/drawing/2014/main" id="{56817633-365A-489C-84DC-22C53FE3A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7"/>
            <a:ext cx="857529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18" name="Tijdelijke aanduiding voor datum 3">
            <a:extLst>
              <a:ext uri="{FF2B5EF4-FFF2-40B4-BE49-F238E27FC236}">
                <a16:creationId xmlns:a16="http://schemas.microsoft.com/office/drawing/2014/main" id="{1660DECE-1BF4-424A-8565-9FDCA21100F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50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49184B4-41E6-4217-B4F7-E23A450628D2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142" name="Tijdelijke aanduiding voor tekst 4">
            <a:extLst>
              <a:ext uri="{FF2B5EF4-FFF2-40B4-BE49-F238E27FC236}">
                <a16:creationId xmlns:a16="http://schemas.microsoft.com/office/drawing/2014/main" id="{29CC1D89-6112-4688-A910-6E85CEC383E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742383" y="6476685"/>
            <a:ext cx="25012161" cy="1907433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sp>
        <p:nvSpPr>
          <p:cNvPr id="227" name="Tijdelijke aanduiding voor tekst 3">
            <a:extLst>
              <a:ext uri="{FF2B5EF4-FFF2-40B4-BE49-F238E27FC236}">
                <a16:creationId xmlns:a16="http://schemas.microsoft.com/office/drawing/2014/main" id="{56BE9A8B-2E1D-4B70-9784-41189D5E3CE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504420" y="1449454"/>
            <a:ext cx="6635240" cy="3534584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248"/>
            </a:lvl1pPr>
          </a:lstStyle>
          <a:p>
            <a:pPr lvl="0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76777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100% Kolomm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">
            <a:extLst>
              <a:ext uri="{FF2B5EF4-FFF2-40B4-BE49-F238E27FC236}">
                <a16:creationId xmlns:a16="http://schemas.microsoft.com/office/drawing/2014/main" id="{1C9A417D-54A5-4A71-8B81-7526013FD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B97E484-7855-4B8D-9492-641CD9CF34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32" name="Tijdelijke aanduiding voor datum 3">
            <a:extLst>
              <a:ext uri="{FF2B5EF4-FFF2-40B4-BE49-F238E27FC236}">
                <a16:creationId xmlns:a16="http://schemas.microsoft.com/office/drawing/2014/main" id="{6354BF0C-BC33-44FF-BF92-624A7D6DA1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1EB8EFDF-A3EC-46A8-9B15-FE22A84EA0AA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33" name="Tijdelijke aanduiding voor voettekst 4">
            <a:extLst>
              <a:ext uri="{FF2B5EF4-FFF2-40B4-BE49-F238E27FC236}">
                <a16:creationId xmlns:a16="http://schemas.microsoft.com/office/drawing/2014/main" id="{20812B2F-B80B-4623-8A5A-F50D2B9A2D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4" name="Tijdelijke aanduiding voor dianummer 5">
            <a:extLst>
              <a:ext uri="{FF2B5EF4-FFF2-40B4-BE49-F238E27FC236}">
                <a16:creationId xmlns:a16="http://schemas.microsoft.com/office/drawing/2014/main" id="{DF970716-837B-4314-A35A-D69EAD1B74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9" y="27329718"/>
            <a:ext cx="899256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grpSp>
        <p:nvGrpSpPr>
          <p:cNvPr id="95" name="Groep 101">
            <a:extLst>
              <a:ext uri="{FF2B5EF4-FFF2-40B4-BE49-F238E27FC236}">
                <a16:creationId xmlns:a16="http://schemas.microsoft.com/office/drawing/2014/main" id="{25FA3359-1475-43BD-82F1-B0022B09053A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96" name="Rechthoek 102">
              <a:extLst>
                <a:ext uri="{FF2B5EF4-FFF2-40B4-BE49-F238E27FC236}">
                  <a16:creationId xmlns:a16="http://schemas.microsoft.com/office/drawing/2014/main" id="{FF1C0D48-82B7-483A-A757-142584CF0D6E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97" name="Ovaal 103">
              <a:extLst>
                <a:ext uri="{FF2B5EF4-FFF2-40B4-BE49-F238E27FC236}">
                  <a16:creationId xmlns:a16="http://schemas.microsoft.com/office/drawing/2014/main" id="{9435A61C-0FE3-4FE9-ACA9-3443B26E8DA5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104">
              <a:extLst>
                <a:ext uri="{FF2B5EF4-FFF2-40B4-BE49-F238E27FC236}">
                  <a16:creationId xmlns:a16="http://schemas.microsoft.com/office/drawing/2014/main" id="{6DB50E51-89F5-4258-AF41-82B4025CF7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99" name="Groep 105">
              <a:extLst>
                <a:ext uri="{FF2B5EF4-FFF2-40B4-BE49-F238E27FC236}">
                  <a16:creationId xmlns:a16="http://schemas.microsoft.com/office/drawing/2014/main" id="{C5963FBC-B98F-4462-A610-6E3F0A55E63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24" name="Rechthoek 130">
                <a:extLst>
                  <a:ext uri="{FF2B5EF4-FFF2-40B4-BE49-F238E27FC236}">
                    <a16:creationId xmlns:a16="http://schemas.microsoft.com/office/drawing/2014/main" id="{72664264-D5B6-4A0F-83A3-CD3B59E4079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125" name="Rechte verbindingslijn 131">
                <a:extLst>
                  <a:ext uri="{FF2B5EF4-FFF2-40B4-BE49-F238E27FC236}">
                    <a16:creationId xmlns:a16="http://schemas.microsoft.com/office/drawing/2014/main" id="{4DBF7CB1-D920-4084-BBC0-9CA96DBB5FF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Rechte verbindingslijn 132">
                <a:extLst>
                  <a:ext uri="{FF2B5EF4-FFF2-40B4-BE49-F238E27FC236}">
                    <a16:creationId xmlns:a16="http://schemas.microsoft.com/office/drawing/2014/main" id="{AD0FFB3D-E62E-4A65-89DE-E6BF07E0D46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7" name="Rechthoek 133">
                <a:extLst>
                  <a:ext uri="{FF2B5EF4-FFF2-40B4-BE49-F238E27FC236}">
                    <a16:creationId xmlns:a16="http://schemas.microsoft.com/office/drawing/2014/main" id="{898A7F02-A273-40EB-8661-528D06298DCD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8" name="Groep 134">
                <a:extLst>
                  <a:ext uri="{FF2B5EF4-FFF2-40B4-BE49-F238E27FC236}">
                    <a16:creationId xmlns:a16="http://schemas.microsoft.com/office/drawing/2014/main" id="{F88FF70A-4D0E-4882-992E-B87A47696573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67" name="Groep 175">
                  <a:extLst>
                    <a:ext uri="{FF2B5EF4-FFF2-40B4-BE49-F238E27FC236}">
                      <a16:creationId xmlns:a16="http://schemas.microsoft.com/office/drawing/2014/main" id="{054E4156-8B32-40CB-A0BA-8D4D395DBD8E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71" name="Rechte verbindingslijn 179">
                    <a:extLst>
                      <a:ext uri="{FF2B5EF4-FFF2-40B4-BE49-F238E27FC236}">
                        <a16:creationId xmlns:a16="http://schemas.microsoft.com/office/drawing/2014/main" id="{92FEA4B1-7DC4-46F2-933F-C21523AD574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2" name="Rechte verbindingslijn 180">
                    <a:extLst>
                      <a:ext uri="{FF2B5EF4-FFF2-40B4-BE49-F238E27FC236}">
                        <a16:creationId xmlns:a16="http://schemas.microsoft.com/office/drawing/2014/main" id="{4848CF09-3191-4E0B-9C82-B5EC873DD79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3" name="Rechte verbindingslijn 181">
                    <a:extLst>
                      <a:ext uri="{FF2B5EF4-FFF2-40B4-BE49-F238E27FC236}">
                        <a16:creationId xmlns:a16="http://schemas.microsoft.com/office/drawing/2014/main" id="{25DF4ABD-64DA-41AC-993B-65B1D13BD75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4" name="Rechte verbindingslijn 182">
                    <a:extLst>
                      <a:ext uri="{FF2B5EF4-FFF2-40B4-BE49-F238E27FC236}">
                        <a16:creationId xmlns:a16="http://schemas.microsoft.com/office/drawing/2014/main" id="{91464B69-BD3F-475A-8709-80CAD8CDB53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5" name="Rechte verbindingslijn 183">
                    <a:extLst>
                      <a:ext uri="{FF2B5EF4-FFF2-40B4-BE49-F238E27FC236}">
                        <a16:creationId xmlns:a16="http://schemas.microsoft.com/office/drawing/2014/main" id="{4EC84034-3082-4C5C-9459-F01C0B00189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68" name="Groep 176">
                  <a:extLst>
                    <a:ext uri="{FF2B5EF4-FFF2-40B4-BE49-F238E27FC236}">
                      <a16:creationId xmlns:a16="http://schemas.microsoft.com/office/drawing/2014/main" id="{316D08EA-4E38-4C8C-ABA1-1B77EFFACE5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9" name="Rechthoek 177">
                    <a:extLst>
                      <a:ext uri="{FF2B5EF4-FFF2-40B4-BE49-F238E27FC236}">
                        <a16:creationId xmlns:a16="http://schemas.microsoft.com/office/drawing/2014/main" id="{9A6FD9D3-AF5A-403C-BE27-8EBA4E86CB1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70" name="Pijl: punthaak 178">
                    <a:extLst>
                      <a:ext uri="{FF2B5EF4-FFF2-40B4-BE49-F238E27FC236}">
                        <a16:creationId xmlns:a16="http://schemas.microsoft.com/office/drawing/2014/main" id="{B5C38837-555F-421F-A359-F4733C2B9A8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29" name="Groep 135">
                <a:extLst>
                  <a:ext uri="{FF2B5EF4-FFF2-40B4-BE49-F238E27FC236}">
                    <a16:creationId xmlns:a16="http://schemas.microsoft.com/office/drawing/2014/main" id="{B314DAA2-6F97-439F-BC32-C0C86220DEB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58" name="Groep 166">
                  <a:extLst>
                    <a:ext uri="{FF2B5EF4-FFF2-40B4-BE49-F238E27FC236}">
                      <a16:creationId xmlns:a16="http://schemas.microsoft.com/office/drawing/2014/main" id="{5414A868-79C4-4702-A9EF-1DA1458A6B19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62" name="Rechte verbindingslijn 170">
                    <a:extLst>
                      <a:ext uri="{FF2B5EF4-FFF2-40B4-BE49-F238E27FC236}">
                        <a16:creationId xmlns:a16="http://schemas.microsoft.com/office/drawing/2014/main" id="{B876D009-BFB9-4E04-8B71-5315926AD7D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3" name="Rechte verbindingslijn 171">
                    <a:extLst>
                      <a:ext uri="{FF2B5EF4-FFF2-40B4-BE49-F238E27FC236}">
                        <a16:creationId xmlns:a16="http://schemas.microsoft.com/office/drawing/2014/main" id="{06B1F264-F895-42CA-BF2A-03AE63B911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4" name="Rechte verbindingslijn 172">
                    <a:extLst>
                      <a:ext uri="{FF2B5EF4-FFF2-40B4-BE49-F238E27FC236}">
                        <a16:creationId xmlns:a16="http://schemas.microsoft.com/office/drawing/2014/main" id="{325C6925-F009-4C29-8305-83B3E1F98AF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5" name="Rechte verbindingslijn 173">
                    <a:extLst>
                      <a:ext uri="{FF2B5EF4-FFF2-40B4-BE49-F238E27FC236}">
                        <a16:creationId xmlns:a16="http://schemas.microsoft.com/office/drawing/2014/main" id="{A72589D3-090C-4564-9D36-B96B8E66E52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6" name="Rechte verbindingslijn 174">
                    <a:extLst>
                      <a:ext uri="{FF2B5EF4-FFF2-40B4-BE49-F238E27FC236}">
                        <a16:creationId xmlns:a16="http://schemas.microsoft.com/office/drawing/2014/main" id="{41D4C1C1-1BFE-427A-94BD-EB0576D6936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59" name="Groep 167">
                  <a:extLst>
                    <a:ext uri="{FF2B5EF4-FFF2-40B4-BE49-F238E27FC236}">
                      <a16:creationId xmlns:a16="http://schemas.microsoft.com/office/drawing/2014/main" id="{D666937F-C483-44B7-BB75-14BCB8BAACD3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0" name="Rechthoek 168">
                    <a:extLst>
                      <a:ext uri="{FF2B5EF4-FFF2-40B4-BE49-F238E27FC236}">
                        <a16:creationId xmlns:a16="http://schemas.microsoft.com/office/drawing/2014/main" id="{02FA0E87-767E-41E2-80F0-55BBCB52C70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1" name="Pijl: punthaak 169">
                    <a:extLst>
                      <a:ext uri="{FF2B5EF4-FFF2-40B4-BE49-F238E27FC236}">
                        <a16:creationId xmlns:a16="http://schemas.microsoft.com/office/drawing/2014/main" id="{24727E74-B9E2-4452-8447-A51D5FC9701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30" name="Rechte verbindingslijn 136">
                <a:extLst>
                  <a:ext uri="{FF2B5EF4-FFF2-40B4-BE49-F238E27FC236}">
                    <a16:creationId xmlns:a16="http://schemas.microsoft.com/office/drawing/2014/main" id="{B065D754-812F-4A3A-9463-21D5B9B0565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31" name="Rechte verbindingslijn 137">
                <a:extLst>
                  <a:ext uri="{FF2B5EF4-FFF2-40B4-BE49-F238E27FC236}">
                    <a16:creationId xmlns:a16="http://schemas.microsoft.com/office/drawing/2014/main" id="{6A978F65-0AFD-4708-82D1-5AAA514C4F2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32" name="Groep 138">
                <a:extLst>
                  <a:ext uri="{FF2B5EF4-FFF2-40B4-BE49-F238E27FC236}">
                    <a16:creationId xmlns:a16="http://schemas.microsoft.com/office/drawing/2014/main" id="{179E4300-E869-4F3C-9373-3A6C4D088AE3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47" name="Rechthoek 155">
                  <a:extLst>
                    <a:ext uri="{FF2B5EF4-FFF2-40B4-BE49-F238E27FC236}">
                      <a16:creationId xmlns:a16="http://schemas.microsoft.com/office/drawing/2014/main" id="{D7100BF0-DF9A-42BB-B73B-69C7E8F42A22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48" name="Groep 156">
                  <a:extLst>
                    <a:ext uri="{FF2B5EF4-FFF2-40B4-BE49-F238E27FC236}">
                      <a16:creationId xmlns:a16="http://schemas.microsoft.com/office/drawing/2014/main" id="{2ABEDBFB-00FF-4B63-9361-CB7CDD423F21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49" name="Groep 157">
                    <a:extLst>
                      <a:ext uri="{FF2B5EF4-FFF2-40B4-BE49-F238E27FC236}">
                        <a16:creationId xmlns:a16="http://schemas.microsoft.com/office/drawing/2014/main" id="{EB8BCA74-A720-4390-A56A-FCAEE9F8A6F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53" name="Rechte verbindingslijn 161">
                      <a:extLst>
                        <a:ext uri="{FF2B5EF4-FFF2-40B4-BE49-F238E27FC236}">
                          <a16:creationId xmlns:a16="http://schemas.microsoft.com/office/drawing/2014/main" id="{5111F5D0-8C20-4E5A-B846-6E18D14A90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4" name="Rechte verbindingslijn 162">
                      <a:extLst>
                        <a:ext uri="{FF2B5EF4-FFF2-40B4-BE49-F238E27FC236}">
                          <a16:creationId xmlns:a16="http://schemas.microsoft.com/office/drawing/2014/main" id="{68E4990D-D55F-4917-8553-E1F3727312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5" name="Rechte verbindingslijn 163">
                      <a:extLst>
                        <a:ext uri="{FF2B5EF4-FFF2-40B4-BE49-F238E27FC236}">
                          <a16:creationId xmlns:a16="http://schemas.microsoft.com/office/drawing/2014/main" id="{20A3C2DC-45F6-48DD-AEFD-0145456027F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6" name="Rechte verbindingslijn 164">
                      <a:extLst>
                        <a:ext uri="{FF2B5EF4-FFF2-40B4-BE49-F238E27FC236}">
                          <a16:creationId xmlns:a16="http://schemas.microsoft.com/office/drawing/2014/main" id="{76D81C65-0586-42F9-8694-2593C20A22F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7" name="Rechte verbindingslijn 165">
                      <a:extLst>
                        <a:ext uri="{FF2B5EF4-FFF2-40B4-BE49-F238E27FC236}">
                          <a16:creationId xmlns:a16="http://schemas.microsoft.com/office/drawing/2014/main" id="{B68F5959-1407-4DAC-B406-2E63D39F294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50" name="Groep 158">
                    <a:extLst>
                      <a:ext uri="{FF2B5EF4-FFF2-40B4-BE49-F238E27FC236}">
                        <a16:creationId xmlns:a16="http://schemas.microsoft.com/office/drawing/2014/main" id="{C58235CE-61E8-4AB9-8EB2-0495E5EA7F4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51" name="Rechthoek 159">
                      <a:extLst>
                        <a:ext uri="{FF2B5EF4-FFF2-40B4-BE49-F238E27FC236}">
                          <a16:creationId xmlns:a16="http://schemas.microsoft.com/office/drawing/2014/main" id="{A4154A95-515C-4523-8450-1FC3E537B56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2" name="Pijl: punthaak 160">
                      <a:extLst>
                        <a:ext uri="{FF2B5EF4-FFF2-40B4-BE49-F238E27FC236}">
                          <a16:creationId xmlns:a16="http://schemas.microsoft.com/office/drawing/2014/main" id="{0E037ECF-ECF4-4C7F-A7C7-8158902E1A7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33" name="Groep 139">
                <a:extLst>
                  <a:ext uri="{FF2B5EF4-FFF2-40B4-BE49-F238E27FC236}">
                    <a16:creationId xmlns:a16="http://schemas.microsoft.com/office/drawing/2014/main" id="{45E17705-4D09-465E-950D-F31DCB79FE7A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36" name="Rechthoek 142">
                  <a:extLst>
                    <a:ext uri="{FF2B5EF4-FFF2-40B4-BE49-F238E27FC236}">
                      <a16:creationId xmlns:a16="http://schemas.microsoft.com/office/drawing/2014/main" id="{FA840D81-92AB-44A0-AE74-5DA1CC5D94D2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37" name="Groep 143">
                  <a:extLst>
                    <a:ext uri="{FF2B5EF4-FFF2-40B4-BE49-F238E27FC236}">
                      <a16:creationId xmlns:a16="http://schemas.microsoft.com/office/drawing/2014/main" id="{2C700782-113B-4FD8-88E4-9B6510384631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38" name="Groep 144">
                    <a:extLst>
                      <a:ext uri="{FF2B5EF4-FFF2-40B4-BE49-F238E27FC236}">
                        <a16:creationId xmlns:a16="http://schemas.microsoft.com/office/drawing/2014/main" id="{37AC3045-99F3-46E0-9021-79B4815A172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42" name="Rechte verbindingslijn 150">
                      <a:extLst>
                        <a:ext uri="{FF2B5EF4-FFF2-40B4-BE49-F238E27FC236}">
                          <a16:creationId xmlns:a16="http://schemas.microsoft.com/office/drawing/2014/main" id="{780D46D0-F946-4641-A5F7-FFDC8BCFB85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3" name="Rechte verbindingslijn 151">
                      <a:extLst>
                        <a:ext uri="{FF2B5EF4-FFF2-40B4-BE49-F238E27FC236}">
                          <a16:creationId xmlns:a16="http://schemas.microsoft.com/office/drawing/2014/main" id="{CAE80844-B5F0-4D86-95E2-FAE6D0A446A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4" name="Rechte verbindingslijn 152">
                      <a:extLst>
                        <a:ext uri="{FF2B5EF4-FFF2-40B4-BE49-F238E27FC236}">
                          <a16:creationId xmlns:a16="http://schemas.microsoft.com/office/drawing/2014/main" id="{04A02A86-A877-4E49-B879-3A908F4B866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5" name="Rechte verbindingslijn 153">
                      <a:extLst>
                        <a:ext uri="{FF2B5EF4-FFF2-40B4-BE49-F238E27FC236}">
                          <a16:creationId xmlns:a16="http://schemas.microsoft.com/office/drawing/2014/main" id="{F040B603-192E-45FC-9521-08FDEDE21D5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6" name="Rechte verbindingslijn 154">
                      <a:extLst>
                        <a:ext uri="{FF2B5EF4-FFF2-40B4-BE49-F238E27FC236}">
                          <a16:creationId xmlns:a16="http://schemas.microsoft.com/office/drawing/2014/main" id="{82B14A51-95C1-4DCB-8BFC-01DB8B01581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39" name="Groep 147">
                    <a:extLst>
                      <a:ext uri="{FF2B5EF4-FFF2-40B4-BE49-F238E27FC236}">
                        <a16:creationId xmlns:a16="http://schemas.microsoft.com/office/drawing/2014/main" id="{9E5768C7-0682-4CAB-89A8-68CAAC548F5A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40" name="Rechthoek 148">
                      <a:extLst>
                        <a:ext uri="{FF2B5EF4-FFF2-40B4-BE49-F238E27FC236}">
                          <a16:creationId xmlns:a16="http://schemas.microsoft.com/office/drawing/2014/main" id="{C0298C35-72E4-46B8-B2DE-3529D8AA29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41" name="Pijl: punthaak 149">
                      <a:extLst>
                        <a:ext uri="{FF2B5EF4-FFF2-40B4-BE49-F238E27FC236}">
                          <a16:creationId xmlns:a16="http://schemas.microsoft.com/office/drawing/2014/main" id="{C6E0EB1D-01AA-48EB-83EF-72A9DDE5418B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34" name="Rechthoek 140">
                <a:extLst>
                  <a:ext uri="{FF2B5EF4-FFF2-40B4-BE49-F238E27FC236}">
                    <a16:creationId xmlns:a16="http://schemas.microsoft.com/office/drawing/2014/main" id="{457DBA53-C4EA-41E6-BF32-1277C19B8824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135" name="Rechthoek 141">
                <a:extLst>
                  <a:ext uri="{FF2B5EF4-FFF2-40B4-BE49-F238E27FC236}">
                    <a16:creationId xmlns:a16="http://schemas.microsoft.com/office/drawing/2014/main" id="{30FB3E1A-3D27-4EE7-9F60-54BF22BC0ED5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100" name="Rechte verbindingslijn 106">
              <a:extLst>
                <a:ext uri="{FF2B5EF4-FFF2-40B4-BE49-F238E27FC236}">
                  <a16:creationId xmlns:a16="http://schemas.microsoft.com/office/drawing/2014/main" id="{6551E164-CE15-483E-916C-FB6A6DA2338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1" name="Rechthoek 107">
              <a:extLst>
                <a:ext uri="{FF2B5EF4-FFF2-40B4-BE49-F238E27FC236}">
                  <a16:creationId xmlns:a16="http://schemas.microsoft.com/office/drawing/2014/main" id="{718257E2-FB19-487D-A6A0-293C780B5779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102" name="Ovaal 108">
              <a:extLst>
                <a:ext uri="{FF2B5EF4-FFF2-40B4-BE49-F238E27FC236}">
                  <a16:creationId xmlns:a16="http://schemas.microsoft.com/office/drawing/2014/main" id="{C7125CDC-47FA-4F4E-9562-9FC7D654B0E9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9">
              <a:extLst>
                <a:ext uri="{FF2B5EF4-FFF2-40B4-BE49-F238E27FC236}">
                  <a16:creationId xmlns:a16="http://schemas.microsoft.com/office/drawing/2014/main" id="{C94582B4-1D28-47D1-89A3-9D2ED99DF5F3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104" name="Ovaal 110">
              <a:extLst>
                <a:ext uri="{FF2B5EF4-FFF2-40B4-BE49-F238E27FC236}">
                  <a16:creationId xmlns:a16="http://schemas.microsoft.com/office/drawing/2014/main" id="{0005EFCB-853A-44A5-8220-163CCEF4904A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5" name="Rechthoek 111">
              <a:extLst>
                <a:ext uri="{FF2B5EF4-FFF2-40B4-BE49-F238E27FC236}">
                  <a16:creationId xmlns:a16="http://schemas.microsoft.com/office/drawing/2014/main" id="{6430FEE2-B4AD-4D2D-B284-D74C0121299E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6" name="Ovaal 112">
              <a:extLst>
                <a:ext uri="{FF2B5EF4-FFF2-40B4-BE49-F238E27FC236}">
                  <a16:creationId xmlns:a16="http://schemas.microsoft.com/office/drawing/2014/main" id="{46A02CA7-AB6C-4ED5-9403-8CE27DD5B5BB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07" name="Rechthoek 113">
              <a:extLst>
                <a:ext uri="{FF2B5EF4-FFF2-40B4-BE49-F238E27FC236}">
                  <a16:creationId xmlns:a16="http://schemas.microsoft.com/office/drawing/2014/main" id="{485FF167-E60D-4806-981A-41E3B4D13D1A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108" name="Ovaal 114">
              <a:extLst>
                <a:ext uri="{FF2B5EF4-FFF2-40B4-BE49-F238E27FC236}">
                  <a16:creationId xmlns:a16="http://schemas.microsoft.com/office/drawing/2014/main" id="{6B7D75B0-0AC7-455C-8E88-6A62EB873757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09" name="Rechthoek 115">
              <a:extLst>
                <a:ext uri="{FF2B5EF4-FFF2-40B4-BE49-F238E27FC236}">
                  <a16:creationId xmlns:a16="http://schemas.microsoft.com/office/drawing/2014/main" id="{4EFC6EAB-EBE4-4D4D-9865-346778A4C78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110" name="Rechte verbindingslijn 116">
              <a:extLst>
                <a:ext uri="{FF2B5EF4-FFF2-40B4-BE49-F238E27FC236}">
                  <a16:creationId xmlns:a16="http://schemas.microsoft.com/office/drawing/2014/main" id="{BB5E66A4-1362-4C44-8513-6F054E51A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11" name="Meer informatie">
              <a:extLst>
                <a:ext uri="{FF2B5EF4-FFF2-40B4-BE49-F238E27FC236}">
                  <a16:creationId xmlns:a16="http://schemas.microsoft.com/office/drawing/2014/main" id="{3E3BB4BC-B0D2-4D47-93CD-A7B24F5C24C5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121" name="Freeform 101">
                <a:extLst>
                  <a:ext uri="{FF2B5EF4-FFF2-40B4-BE49-F238E27FC236}">
                    <a16:creationId xmlns:a16="http://schemas.microsoft.com/office/drawing/2014/main" id="{DFD340A5-2AA1-4639-AC15-CEF17C4952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122" name="Rechthoek 128">
                <a:extLst>
                  <a:ext uri="{FF2B5EF4-FFF2-40B4-BE49-F238E27FC236}">
                    <a16:creationId xmlns:a16="http://schemas.microsoft.com/office/drawing/2014/main" id="{8AF2751A-52FB-4EC1-A23E-8F9D35D74A9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3" name="Rechte verbindingslijn 129">
                <a:extLst>
                  <a:ext uri="{FF2B5EF4-FFF2-40B4-BE49-F238E27FC236}">
                    <a16:creationId xmlns:a16="http://schemas.microsoft.com/office/drawing/2014/main" id="{C6949D13-4FE4-430E-BA70-C1F7795A3AD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12" name="Rechthoek 118">
              <a:extLst>
                <a:ext uri="{FF2B5EF4-FFF2-40B4-BE49-F238E27FC236}">
                  <a16:creationId xmlns:a16="http://schemas.microsoft.com/office/drawing/2014/main" id="{998B6FB4-8697-4D4C-8378-D30EF48B226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113" name="Ovaal 119">
              <a:extLst>
                <a:ext uri="{FF2B5EF4-FFF2-40B4-BE49-F238E27FC236}">
                  <a16:creationId xmlns:a16="http://schemas.microsoft.com/office/drawing/2014/main" id="{1CCF17F4-62D2-42A3-BE46-FBFE2B96CDB5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14" name="Rechthoek 120">
              <a:extLst>
                <a:ext uri="{FF2B5EF4-FFF2-40B4-BE49-F238E27FC236}">
                  <a16:creationId xmlns:a16="http://schemas.microsoft.com/office/drawing/2014/main" id="{83D59E2F-ABDC-47F5-A608-E3BEB5F0D83F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15" name="Ovaal 121">
              <a:extLst>
                <a:ext uri="{FF2B5EF4-FFF2-40B4-BE49-F238E27FC236}">
                  <a16:creationId xmlns:a16="http://schemas.microsoft.com/office/drawing/2014/main" id="{D8849116-73ED-4C5D-BBEF-20DECB877225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16" name="Rechthoek 122">
              <a:extLst>
                <a:ext uri="{FF2B5EF4-FFF2-40B4-BE49-F238E27FC236}">
                  <a16:creationId xmlns:a16="http://schemas.microsoft.com/office/drawing/2014/main" id="{B3D481FD-5666-4CB5-83C0-C566CB463678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117" name="Ovaal 123">
              <a:extLst>
                <a:ext uri="{FF2B5EF4-FFF2-40B4-BE49-F238E27FC236}">
                  <a16:creationId xmlns:a16="http://schemas.microsoft.com/office/drawing/2014/main" id="{08CB1EA8-EE9D-485D-8B6E-9AE1CD4D13A5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18" name="Rechthoek 124">
              <a:extLst>
                <a:ext uri="{FF2B5EF4-FFF2-40B4-BE49-F238E27FC236}">
                  <a16:creationId xmlns:a16="http://schemas.microsoft.com/office/drawing/2014/main" id="{A8E8EC8E-14FF-4299-9E20-5925C2674DDF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19" name="Rechthoek 125">
              <a:extLst>
                <a:ext uri="{FF2B5EF4-FFF2-40B4-BE49-F238E27FC236}">
                  <a16:creationId xmlns:a16="http://schemas.microsoft.com/office/drawing/2014/main" id="{8090592C-6129-4557-90D7-4A6262B8C795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120" name="Ovaal 126">
              <a:extLst>
                <a:ext uri="{FF2B5EF4-FFF2-40B4-BE49-F238E27FC236}">
                  <a16:creationId xmlns:a16="http://schemas.microsoft.com/office/drawing/2014/main" id="{F06906F1-FF2B-42B0-94E4-BB5AE41D9C0A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  <p:sp>
        <p:nvSpPr>
          <p:cNvPr id="90" name="Tijdelijke aanduiding voor verticale tekst 2">
            <a:extLst>
              <a:ext uri="{FF2B5EF4-FFF2-40B4-BE49-F238E27FC236}">
                <a16:creationId xmlns:a16="http://schemas.microsoft.com/office/drawing/2014/main" id="{BDC964F3-713E-4B53-BB28-52B5ACE9F960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742374" y="6476677"/>
            <a:ext cx="39282480" cy="19046186"/>
          </a:xfrm>
        </p:spPr>
        <p:txBody>
          <a:bodyPr vert="horz" numCol="2" spcCol="576000"/>
          <a:lstStyle>
            <a:lvl1pPr>
              <a:defRPr sz="5612"/>
            </a:lvl1pPr>
            <a:lvl2pPr>
              <a:defRPr sz="4911"/>
            </a:lvl2pPr>
            <a:lvl3pPr>
              <a:defRPr sz="4911"/>
            </a:lvl3pPr>
            <a:lvl4pPr>
              <a:defRPr sz="4911"/>
            </a:lvl4pPr>
            <a:lvl5pPr>
              <a:defRPr sz="4911"/>
            </a:lvl5pPr>
            <a:lvl6pPr marL="1269631" indent="-634816">
              <a:buFont typeface="Arial" panose="020B0604020202020204" pitchFamily="34" charset="0"/>
              <a:buChar char="•"/>
              <a:defRPr sz="4209" baseline="0">
                <a:latin typeface="+mj-lt"/>
              </a:defRPr>
            </a:lvl6pPr>
            <a:lvl7pPr>
              <a:defRPr sz="4911"/>
            </a:lvl7pPr>
            <a:lvl8pPr>
              <a:defRPr sz="4209"/>
            </a:lvl8pPr>
            <a:lvl9pPr>
              <a:defRPr sz="8419"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pic>
        <p:nvPicPr>
          <p:cNvPr id="91" name="Afbeelding 90">
            <a:extLst>
              <a:ext uri="{FF2B5EF4-FFF2-40B4-BE49-F238E27FC236}">
                <a16:creationId xmlns:a16="http://schemas.microsoft.com/office/drawing/2014/main" id="{2BBB23CB-7F4B-419B-AEE2-1E578FE5BA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7524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0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9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100% Kolommen + F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">
            <a:extLst>
              <a:ext uri="{FF2B5EF4-FFF2-40B4-BE49-F238E27FC236}">
                <a16:creationId xmlns:a16="http://schemas.microsoft.com/office/drawing/2014/main" id="{1C9A417D-54A5-4A71-8B81-7526013FD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B97E484-7855-4B8D-9492-641CD9CF34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32" name="Tijdelijke aanduiding voor datum 3">
            <a:extLst>
              <a:ext uri="{FF2B5EF4-FFF2-40B4-BE49-F238E27FC236}">
                <a16:creationId xmlns:a16="http://schemas.microsoft.com/office/drawing/2014/main" id="{6354BF0C-BC33-44FF-BF92-624A7D6DA1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F7D9B3A1-AD20-4AC8-A938-A3B5CD41AC74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33" name="Tijdelijke aanduiding voor voettekst 4">
            <a:extLst>
              <a:ext uri="{FF2B5EF4-FFF2-40B4-BE49-F238E27FC236}">
                <a16:creationId xmlns:a16="http://schemas.microsoft.com/office/drawing/2014/main" id="{20812B2F-B80B-4623-8A5A-F50D2B9A2D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4" name="Tijdelijke aanduiding voor dianummer 5">
            <a:extLst>
              <a:ext uri="{FF2B5EF4-FFF2-40B4-BE49-F238E27FC236}">
                <a16:creationId xmlns:a16="http://schemas.microsoft.com/office/drawing/2014/main" id="{DF970716-837B-4314-A35A-D69EAD1B74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9" y="27329718"/>
            <a:ext cx="966080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5" name="Tijdelijke aanduiding voor afbeelding 4">
            <a:extLst>
              <a:ext uri="{FF2B5EF4-FFF2-40B4-BE49-F238E27FC236}">
                <a16:creationId xmlns:a16="http://schemas.microsoft.com/office/drawing/2014/main" id="{4F177409-F5CC-48CA-85EE-1118845B542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2420194" y="16336005"/>
            <a:ext cx="18604073" cy="9215717"/>
          </a:xfrm>
          <a:solidFill>
            <a:schemeClr val="bg1">
              <a:lumMod val="95000"/>
            </a:schemeClr>
          </a:solidFill>
        </p:spPr>
        <p:txBody>
          <a:bodyPr vert="horz" lIns="0" tIns="1260000" rIns="0" bIns="0" rtlCol="0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lang="nl-NL" sz="4209" b="0" i="1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23677" lvl="0" indent="-623677" algn="ctr"/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grpSp>
        <p:nvGrpSpPr>
          <p:cNvPr id="259" name="Groep 258">
            <a:extLst>
              <a:ext uri="{FF2B5EF4-FFF2-40B4-BE49-F238E27FC236}">
                <a16:creationId xmlns:a16="http://schemas.microsoft.com/office/drawing/2014/main" id="{24CEAA6A-AC17-46F9-9B7D-941BA60EBEA3}"/>
              </a:ext>
            </a:extLst>
          </p:cNvPr>
          <p:cNvGrpSpPr/>
          <p:nvPr userDrawn="1"/>
        </p:nvGrpSpPr>
        <p:grpSpPr>
          <a:xfrm>
            <a:off x="43467416" y="5"/>
            <a:ext cx="11167745" cy="23084356"/>
            <a:chOff x="12391601" y="0"/>
            <a:chExt cx="3183678" cy="5229113"/>
          </a:xfrm>
        </p:grpSpPr>
        <p:grpSp>
          <p:nvGrpSpPr>
            <p:cNvPr id="260" name="Meer informatie">
              <a:extLst>
                <a:ext uri="{FF2B5EF4-FFF2-40B4-BE49-F238E27FC236}">
                  <a16:creationId xmlns:a16="http://schemas.microsoft.com/office/drawing/2014/main" id="{9BEC62F2-BD85-43C9-B603-D862489AF3FF}"/>
                </a:ext>
              </a:extLst>
            </p:cNvPr>
            <p:cNvGrpSpPr/>
            <p:nvPr userDrawn="1"/>
          </p:nvGrpSpPr>
          <p:grpSpPr>
            <a:xfrm>
              <a:off x="12396764" y="4445840"/>
              <a:ext cx="3178515" cy="783273"/>
              <a:chOff x="-3741486" y="3386444"/>
              <a:chExt cx="3178515" cy="783273"/>
            </a:xfrm>
          </p:grpSpPr>
          <p:sp>
            <p:nvSpPr>
              <p:cNvPr id="306" name="Freeform 101">
                <a:extLst>
                  <a:ext uri="{FF2B5EF4-FFF2-40B4-BE49-F238E27FC236}">
                    <a16:creationId xmlns:a16="http://schemas.microsoft.com/office/drawing/2014/main" id="{E875B604-4BEB-4955-9379-B5EAE9EB7D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307" name="Rechthoek 306">
                <a:extLst>
                  <a:ext uri="{FF2B5EF4-FFF2-40B4-BE49-F238E27FC236}">
                    <a16:creationId xmlns:a16="http://schemas.microsoft.com/office/drawing/2014/main" id="{B57B25F4-3895-4F3E-9C7E-8F1E9CB36B9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08" name="Rechte verbindingslijn 307">
                <a:extLst>
                  <a:ext uri="{FF2B5EF4-FFF2-40B4-BE49-F238E27FC236}">
                    <a16:creationId xmlns:a16="http://schemas.microsoft.com/office/drawing/2014/main" id="{5F7D4643-B1E9-4798-B3F0-83596585C41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61" name="Rechthoek 260">
              <a:extLst>
                <a:ext uri="{FF2B5EF4-FFF2-40B4-BE49-F238E27FC236}">
                  <a16:creationId xmlns:a16="http://schemas.microsoft.com/office/drawing/2014/main" id="{19ECF3CE-DB2E-4980-92F4-B8E83570DDB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262" name="Ovaal 261">
              <a:extLst>
                <a:ext uri="{FF2B5EF4-FFF2-40B4-BE49-F238E27FC236}">
                  <a16:creationId xmlns:a16="http://schemas.microsoft.com/office/drawing/2014/main" id="{31418D3D-56EC-4F9B-83AD-273AA2D078C9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63" name="Rechte verbindingslijn 262">
              <a:extLst>
                <a:ext uri="{FF2B5EF4-FFF2-40B4-BE49-F238E27FC236}">
                  <a16:creationId xmlns:a16="http://schemas.microsoft.com/office/drawing/2014/main" id="{796501FC-2296-4EBF-98DB-19627B55E40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64" name="Rechte verbindingslijn 263">
              <a:extLst>
                <a:ext uri="{FF2B5EF4-FFF2-40B4-BE49-F238E27FC236}">
                  <a16:creationId xmlns:a16="http://schemas.microsoft.com/office/drawing/2014/main" id="{4FB92C36-439C-4632-A214-58B510AFD96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65" name="Rechthoek 264">
              <a:extLst>
                <a:ext uri="{FF2B5EF4-FFF2-40B4-BE49-F238E27FC236}">
                  <a16:creationId xmlns:a16="http://schemas.microsoft.com/office/drawing/2014/main" id="{5AC634FD-A6CE-4AD8-B4F8-D35EC9B371CB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oor deze te selecteren en op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om een nieuwe afbeelding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266" name="Rechte verbindingslijn 265">
              <a:extLst>
                <a:ext uri="{FF2B5EF4-FFF2-40B4-BE49-F238E27FC236}">
                  <a16:creationId xmlns:a16="http://schemas.microsoft.com/office/drawing/2014/main" id="{43620546-4EFA-422F-9618-01F94F9DF38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4327957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67" name="Ovaal 266">
              <a:extLst>
                <a:ext uri="{FF2B5EF4-FFF2-40B4-BE49-F238E27FC236}">
                  <a16:creationId xmlns:a16="http://schemas.microsoft.com/office/drawing/2014/main" id="{5A5F9744-7F80-4768-959D-B407260D8065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68" name="Rechthoek 267">
              <a:extLst>
                <a:ext uri="{FF2B5EF4-FFF2-40B4-BE49-F238E27FC236}">
                  <a16:creationId xmlns:a16="http://schemas.microsoft.com/office/drawing/2014/main" id="{47EFE198-DF9F-43A4-84A2-6FC84634B6F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69" name="Groep 268">
              <a:extLst>
                <a:ext uri="{FF2B5EF4-FFF2-40B4-BE49-F238E27FC236}">
                  <a16:creationId xmlns:a16="http://schemas.microsoft.com/office/drawing/2014/main" id="{073E9E18-1FE0-4839-AA07-CE173FFE82C8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03" name="Rechthoek 302">
                <a:extLst>
                  <a:ext uri="{FF2B5EF4-FFF2-40B4-BE49-F238E27FC236}">
                    <a16:creationId xmlns:a16="http://schemas.microsoft.com/office/drawing/2014/main" id="{B3CFFD62-46F2-4EF5-AB24-E88B5DA3B62D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304" name="Rechte verbindingslijn 303">
                <a:extLst>
                  <a:ext uri="{FF2B5EF4-FFF2-40B4-BE49-F238E27FC236}">
                    <a16:creationId xmlns:a16="http://schemas.microsoft.com/office/drawing/2014/main" id="{F4180D7B-8530-47B3-9E0D-4528A5C248A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05" name="Gelijkbenige driehoek 304">
                <a:extLst>
                  <a:ext uri="{FF2B5EF4-FFF2-40B4-BE49-F238E27FC236}">
                    <a16:creationId xmlns:a16="http://schemas.microsoft.com/office/drawing/2014/main" id="{9C8F2ABC-2245-45E9-A7D5-334009573BD3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270" name="Groep 269">
              <a:extLst>
                <a:ext uri="{FF2B5EF4-FFF2-40B4-BE49-F238E27FC236}">
                  <a16:creationId xmlns:a16="http://schemas.microsoft.com/office/drawing/2014/main" id="{41D200C0-EEBE-4000-A6FE-F329AE7B686F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297" name="Rechthoek 296">
                <a:extLst>
                  <a:ext uri="{FF2B5EF4-FFF2-40B4-BE49-F238E27FC236}">
                    <a16:creationId xmlns:a16="http://schemas.microsoft.com/office/drawing/2014/main" id="{17F0887B-86A3-45BF-963C-72A51514C1D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98" name="Ovaal 297">
                <a:extLst>
                  <a:ext uri="{FF2B5EF4-FFF2-40B4-BE49-F238E27FC236}">
                    <a16:creationId xmlns:a16="http://schemas.microsoft.com/office/drawing/2014/main" id="{29751E0D-FD67-4DA1-95F3-F3CF5FD01499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99" name="Vrije vorm: vorm 298">
                <a:extLst>
                  <a:ext uri="{FF2B5EF4-FFF2-40B4-BE49-F238E27FC236}">
                    <a16:creationId xmlns:a16="http://schemas.microsoft.com/office/drawing/2014/main" id="{D1969F72-78E8-499B-B208-CB34B89E1AD0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00" name="Rechthoek: afgeronde hoeken 299">
                <a:extLst>
                  <a:ext uri="{FF2B5EF4-FFF2-40B4-BE49-F238E27FC236}">
                    <a16:creationId xmlns:a16="http://schemas.microsoft.com/office/drawing/2014/main" id="{8515B999-B3B3-4A82-B38F-D968E2B0BDDE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01" name="Rechte verbindingslijn 300">
                <a:extLst>
                  <a:ext uri="{FF2B5EF4-FFF2-40B4-BE49-F238E27FC236}">
                    <a16:creationId xmlns:a16="http://schemas.microsoft.com/office/drawing/2014/main" id="{298F767E-5B77-45CD-B84A-258B60DE0EE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02" name="Rechte verbindingslijn 301">
                <a:extLst>
                  <a:ext uri="{FF2B5EF4-FFF2-40B4-BE49-F238E27FC236}">
                    <a16:creationId xmlns:a16="http://schemas.microsoft.com/office/drawing/2014/main" id="{4449D89A-BD73-4B2D-993C-FB9A7D4465C9}"/>
                  </a:ext>
                </a:extLst>
              </p:cNvPr>
              <p:cNvCxnSpPr>
                <a:cxnSpLocks/>
                <a:stCxn id="300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271" name="Ovaal 270">
              <a:extLst>
                <a:ext uri="{FF2B5EF4-FFF2-40B4-BE49-F238E27FC236}">
                  <a16:creationId xmlns:a16="http://schemas.microsoft.com/office/drawing/2014/main" id="{E435A36C-DC61-418C-9945-22190A1E6FB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72" name="Rechthoek 271">
              <a:extLst>
                <a:ext uri="{FF2B5EF4-FFF2-40B4-BE49-F238E27FC236}">
                  <a16:creationId xmlns:a16="http://schemas.microsoft.com/office/drawing/2014/main" id="{287C5D22-2FEB-4C9B-B39A-8B334E24B521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43320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aan de linker kant van het scherm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273" name="Rechte verbindingslijn 272">
              <a:extLst>
                <a:ext uri="{FF2B5EF4-FFF2-40B4-BE49-F238E27FC236}">
                  <a16:creationId xmlns:a16="http://schemas.microsoft.com/office/drawing/2014/main" id="{305D57F4-BC26-462B-A5DA-79FD233E4DF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74" name="Rechthoek 273">
              <a:extLst>
                <a:ext uri="{FF2B5EF4-FFF2-40B4-BE49-F238E27FC236}">
                  <a16:creationId xmlns:a16="http://schemas.microsoft.com/office/drawing/2014/main" id="{C9F6289A-6E11-4783-A15B-128CAA42C229}"/>
                </a:ext>
              </a:extLst>
            </p:cNvPr>
            <p:cNvSpPr/>
            <p:nvPr userDrawn="1"/>
          </p:nvSpPr>
          <p:spPr>
            <a:xfrm>
              <a:off x="12654153" y="3238910"/>
              <a:ext cx="1624926" cy="805220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3509" b="0" i="1" noProof="0">
                <a:solidFill>
                  <a:schemeClr val="tx1"/>
                </a:solidFill>
              </a:endParaRPr>
            </a:p>
          </p:txBody>
        </p:sp>
        <p:grpSp>
          <p:nvGrpSpPr>
            <p:cNvPr id="275" name="Groep 274">
              <a:extLst>
                <a:ext uri="{FF2B5EF4-FFF2-40B4-BE49-F238E27FC236}">
                  <a16:creationId xmlns:a16="http://schemas.microsoft.com/office/drawing/2014/main" id="{CA3E48C5-F472-481E-9E47-1802602A6098}"/>
                </a:ext>
              </a:extLst>
            </p:cNvPr>
            <p:cNvGrpSpPr/>
            <p:nvPr userDrawn="1"/>
          </p:nvGrpSpPr>
          <p:grpSpPr>
            <a:xfrm>
              <a:off x="13614067" y="3535184"/>
              <a:ext cx="1195438" cy="678267"/>
              <a:chOff x="12757284" y="3224292"/>
              <a:chExt cx="1195438" cy="678267"/>
            </a:xfrm>
          </p:grpSpPr>
          <p:sp>
            <p:nvSpPr>
              <p:cNvPr id="276" name="Rechthoek 275">
                <a:extLst>
                  <a:ext uri="{FF2B5EF4-FFF2-40B4-BE49-F238E27FC236}">
                    <a16:creationId xmlns:a16="http://schemas.microsoft.com/office/drawing/2014/main" id="{91D4D78B-84CC-475C-90A7-61533114A9C9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7" name="Rechthoek 276">
                <a:extLst>
                  <a:ext uri="{FF2B5EF4-FFF2-40B4-BE49-F238E27FC236}">
                    <a16:creationId xmlns:a16="http://schemas.microsoft.com/office/drawing/2014/main" id="{37518400-E72D-423B-B691-629F0F31882D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78" name="Groep 277">
                <a:extLst>
                  <a:ext uri="{FF2B5EF4-FFF2-40B4-BE49-F238E27FC236}">
                    <a16:creationId xmlns:a16="http://schemas.microsoft.com/office/drawing/2014/main" id="{160E53B6-BCF2-42AD-9D86-06D37BCBA38F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291" name="Rechthoek: afgeronde hoeken 290">
                  <a:extLst>
                    <a:ext uri="{FF2B5EF4-FFF2-40B4-BE49-F238E27FC236}">
                      <a16:creationId xmlns:a16="http://schemas.microsoft.com/office/drawing/2014/main" id="{514480A2-6A97-4754-B75B-F5367117A142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endPara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92" name="Rechthoek 291">
                  <a:extLst>
                    <a:ext uri="{FF2B5EF4-FFF2-40B4-BE49-F238E27FC236}">
                      <a16:creationId xmlns:a16="http://schemas.microsoft.com/office/drawing/2014/main" id="{3E97B4F0-F481-4713-AEBF-6918E0C41494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93" name="Rechthoek 292">
                  <a:extLst>
                    <a:ext uri="{FF2B5EF4-FFF2-40B4-BE49-F238E27FC236}">
                      <a16:creationId xmlns:a16="http://schemas.microsoft.com/office/drawing/2014/main" id="{0C49D39D-719D-43BD-8066-83A013735528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94" name="Rechthoek 293">
                  <a:extLst>
                    <a:ext uri="{FF2B5EF4-FFF2-40B4-BE49-F238E27FC236}">
                      <a16:creationId xmlns:a16="http://schemas.microsoft.com/office/drawing/2014/main" id="{5BDCFF6A-5D01-4064-B01D-CFB161242EC2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95" name="Rechthoek 294">
                  <a:extLst>
                    <a:ext uri="{FF2B5EF4-FFF2-40B4-BE49-F238E27FC236}">
                      <a16:creationId xmlns:a16="http://schemas.microsoft.com/office/drawing/2014/main" id="{FCE5477B-C83F-4120-BB0C-151A89E3B0F8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96" name="Rechthoek 295">
                  <a:extLst>
                    <a:ext uri="{FF2B5EF4-FFF2-40B4-BE49-F238E27FC236}">
                      <a16:creationId xmlns:a16="http://schemas.microsoft.com/office/drawing/2014/main" id="{485D96BD-71F3-4E65-BB1F-5AD3F59EA2D8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279" name="Groep 278">
                <a:extLst>
                  <a:ext uri="{FF2B5EF4-FFF2-40B4-BE49-F238E27FC236}">
                    <a16:creationId xmlns:a16="http://schemas.microsoft.com/office/drawing/2014/main" id="{8358A8C5-A603-4E8D-9D8D-154A33305049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283" name="Groep 282">
                  <a:extLst>
                    <a:ext uri="{FF2B5EF4-FFF2-40B4-BE49-F238E27FC236}">
                      <a16:creationId xmlns:a16="http://schemas.microsoft.com/office/drawing/2014/main" id="{36E1B45E-5076-4CED-A0D3-A640BADA978D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285" name="Rechthoek: afgeronde hoeken 284">
                    <a:extLst>
                      <a:ext uri="{FF2B5EF4-FFF2-40B4-BE49-F238E27FC236}">
                        <a16:creationId xmlns:a16="http://schemas.microsoft.com/office/drawing/2014/main" id="{9222C949-77BF-4216-BE7C-DA0355A2ED4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2105"/>
                      </a:spcBef>
                      <a:spcAft>
                        <a:spcPts val="2105"/>
                      </a:spcAft>
                    </a:pPr>
                    <a:endParaRPr lang="nl-NL" sz="280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86" name="Rechthoek 285">
                    <a:extLst>
                      <a:ext uri="{FF2B5EF4-FFF2-40B4-BE49-F238E27FC236}">
                        <a16:creationId xmlns:a16="http://schemas.microsoft.com/office/drawing/2014/main" id="{8EE8088F-7690-43B8-B3FB-AA1BF2645C3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87" name="Rechthoek 286">
                    <a:extLst>
                      <a:ext uri="{FF2B5EF4-FFF2-40B4-BE49-F238E27FC236}">
                        <a16:creationId xmlns:a16="http://schemas.microsoft.com/office/drawing/2014/main" id="{941095D5-750F-41F4-B92C-1C607D6D40E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88" name="Rechthoek 287">
                    <a:extLst>
                      <a:ext uri="{FF2B5EF4-FFF2-40B4-BE49-F238E27FC236}">
                        <a16:creationId xmlns:a16="http://schemas.microsoft.com/office/drawing/2014/main" id="{B35DC799-8973-49D9-BF29-EDA32AB6420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89" name="Rechthoek 288">
                    <a:extLst>
                      <a:ext uri="{FF2B5EF4-FFF2-40B4-BE49-F238E27FC236}">
                        <a16:creationId xmlns:a16="http://schemas.microsoft.com/office/drawing/2014/main" id="{1B92DAD1-7A28-4D34-9657-E0DE000CE51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90" name="Rechthoek 289">
                    <a:extLst>
                      <a:ext uri="{FF2B5EF4-FFF2-40B4-BE49-F238E27FC236}">
                        <a16:creationId xmlns:a16="http://schemas.microsoft.com/office/drawing/2014/main" id="{B89E9682-F0E6-49AF-B47D-1E35350B384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284" name="Boog 283">
                  <a:extLst>
                    <a:ext uri="{FF2B5EF4-FFF2-40B4-BE49-F238E27FC236}">
                      <a16:creationId xmlns:a16="http://schemas.microsoft.com/office/drawing/2014/main" id="{D2AEA0F5-2323-4E15-8A8C-327281CA5F2A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</p:grpSp>
          <p:sp>
            <p:nvSpPr>
              <p:cNvPr id="280" name="Tekstvak 279">
                <a:extLst>
                  <a:ext uri="{FF2B5EF4-FFF2-40B4-BE49-F238E27FC236}">
                    <a16:creationId xmlns:a16="http://schemas.microsoft.com/office/drawing/2014/main" id="{BDC038D4-365A-4726-BE20-5356CBFCAB09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281" name="Tekstvak 280">
                <a:extLst>
                  <a:ext uri="{FF2B5EF4-FFF2-40B4-BE49-F238E27FC236}">
                    <a16:creationId xmlns:a16="http://schemas.microsoft.com/office/drawing/2014/main" id="{AD39A8F7-12D3-4E59-BF59-6DE8A98C3940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282" name="Picture 3">
                <a:extLst>
                  <a:ext uri="{FF2B5EF4-FFF2-40B4-BE49-F238E27FC236}">
                    <a16:creationId xmlns:a16="http://schemas.microsoft.com/office/drawing/2014/main" id="{5554E45F-BCD2-499C-A38B-043CBC7A2230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810206" y="3671228"/>
                <a:ext cx="14251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sp>
        <p:nvSpPr>
          <p:cNvPr id="178" name="Tijdelijke aanduiding voor verticale tekst 2">
            <a:extLst>
              <a:ext uri="{FF2B5EF4-FFF2-40B4-BE49-F238E27FC236}">
                <a16:creationId xmlns:a16="http://schemas.microsoft.com/office/drawing/2014/main" id="{D950F2B1-1C5A-4CAD-9B69-36EF3FB38C5C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742374" y="6476677"/>
            <a:ext cx="39282480" cy="19046186"/>
          </a:xfrm>
        </p:spPr>
        <p:txBody>
          <a:bodyPr vert="horz" numCol="2" spcCol="57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 marL="1269631" indent="-634816">
              <a:buFont typeface="Arial" panose="020B0604020202020204" pitchFamily="34" charset="0"/>
              <a:buChar char="•"/>
              <a:defRPr sz="4911" baseline="0">
                <a:latin typeface="+mj-lt"/>
              </a:defRPr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grpSp>
        <p:nvGrpSpPr>
          <p:cNvPr id="179" name="Groep 101">
            <a:extLst>
              <a:ext uri="{FF2B5EF4-FFF2-40B4-BE49-F238E27FC236}">
                <a16:creationId xmlns:a16="http://schemas.microsoft.com/office/drawing/2014/main" id="{4663D63D-CB8F-4B27-8162-B9CCC204155A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180" name="Rechthoek 102">
              <a:extLst>
                <a:ext uri="{FF2B5EF4-FFF2-40B4-BE49-F238E27FC236}">
                  <a16:creationId xmlns:a16="http://schemas.microsoft.com/office/drawing/2014/main" id="{A8B028EA-E65D-4D9C-8AC6-8A377567C623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181" name="Ovaal 103">
              <a:extLst>
                <a:ext uri="{FF2B5EF4-FFF2-40B4-BE49-F238E27FC236}">
                  <a16:creationId xmlns:a16="http://schemas.microsoft.com/office/drawing/2014/main" id="{8EADCB7B-07B4-47CF-99AB-3ECAF5B74BA2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82" name="Rechte verbindingslijn 104">
              <a:extLst>
                <a:ext uri="{FF2B5EF4-FFF2-40B4-BE49-F238E27FC236}">
                  <a16:creationId xmlns:a16="http://schemas.microsoft.com/office/drawing/2014/main" id="{0053344A-F4C3-4722-9B70-4FA7E4C97F5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83" name="Groep 105">
              <a:extLst>
                <a:ext uri="{FF2B5EF4-FFF2-40B4-BE49-F238E27FC236}">
                  <a16:creationId xmlns:a16="http://schemas.microsoft.com/office/drawing/2014/main" id="{B613C32E-0CFE-4E11-8C7E-6EA15444125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08" name="Rechthoek 130">
                <a:extLst>
                  <a:ext uri="{FF2B5EF4-FFF2-40B4-BE49-F238E27FC236}">
                    <a16:creationId xmlns:a16="http://schemas.microsoft.com/office/drawing/2014/main" id="{9B4C4993-67E3-4ABE-975C-B1B3EE8D99B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209" name="Rechte verbindingslijn 131">
                <a:extLst>
                  <a:ext uri="{FF2B5EF4-FFF2-40B4-BE49-F238E27FC236}">
                    <a16:creationId xmlns:a16="http://schemas.microsoft.com/office/drawing/2014/main" id="{1950ED6C-134B-4B67-A4A4-DCABAF050EB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0" name="Rechte verbindingslijn 132">
                <a:extLst>
                  <a:ext uri="{FF2B5EF4-FFF2-40B4-BE49-F238E27FC236}">
                    <a16:creationId xmlns:a16="http://schemas.microsoft.com/office/drawing/2014/main" id="{3DB39A28-79AE-45FF-990A-070C819A9E9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1" name="Rechthoek 133">
                <a:extLst>
                  <a:ext uri="{FF2B5EF4-FFF2-40B4-BE49-F238E27FC236}">
                    <a16:creationId xmlns:a16="http://schemas.microsoft.com/office/drawing/2014/main" id="{E364E132-09C9-417C-8009-79258FCCD0B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12" name="Groep 134">
                <a:extLst>
                  <a:ext uri="{FF2B5EF4-FFF2-40B4-BE49-F238E27FC236}">
                    <a16:creationId xmlns:a16="http://schemas.microsoft.com/office/drawing/2014/main" id="{54A4D77A-4686-474B-860F-F5F8B36ED41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51" name="Groep 175">
                  <a:extLst>
                    <a:ext uri="{FF2B5EF4-FFF2-40B4-BE49-F238E27FC236}">
                      <a16:creationId xmlns:a16="http://schemas.microsoft.com/office/drawing/2014/main" id="{E69A1ED0-19AF-46C3-A5FD-E50C066C4C58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55" name="Rechte verbindingslijn 179">
                    <a:extLst>
                      <a:ext uri="{FF2B5EF4-FFF2-40B4-BE49-F238E27FC236}">
                        <a16:creationId xmlns:a16="http://schemas.microsoft.com/office/drawing/2014/main" id="{AD82EBB2-AE2C-46A1-BB54-F661FCF3E36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6" name="Rechte verbindingslijn 180">
                    <a:extLst>
                      <a:ext uri="{FF2B5EF4-FFF2-40B4-BE49-F238E27FC236}">
                        <a16:creationId xmlns:a16="http://schemas.microsoft.com/office/drawing/2014/main" id="{BAA9E4E3-6246-4AD1-B0E1-A5BF16046E4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7" name="Rechte verbindingslijn 181">
                    <a:extLst>
                      <a:ext uri="{FF2B5EF4-FFF2-40B4-BE49-F238E27FC236}">
                        <a16:creationId xmlns:a16="http://schemas.microsoft.com/office/drawing/2014/main" id="{A752DC75-030A-45F9-B6B2-C3D6132A902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8" name="Rechte verbindingslijn 182">
                    <a:extLst>
                      <a:ext uri="{FF2B5EF4-FFF2-40B4-BE49-F238E27FC236}">
                        <a16:creationId xmlns:a16="http://schemas.microsoft.com/office/drawing/2014/main" id="{4EB040DB-4988-4BA6-B2F5-0561201515A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3" name="Rechte verbindingslijn 183">
                    <a:extLst>
                      <a:ext uri="{FF2B5EF4-FFF2-40B4-BE49-F238E27FC236}">
                        <a16:creationId xmlns:a16="http://schemas.microsoft.com/office/drawing/2014/main" id="{CE3D14E8-716A-41ED-AC29-F23DD81B182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52" name="Groep 176">
                  <a:extLst>
                    <a:ext uri="{FF2B5EF4-FFF2-40B4-BE49-F238E27FC236}">
                      <a16:creationId xmlns:a16="http://schemas.microsoft.com/office/drawing/2014/main" id="{ABE62B7F-E4F6-43B3-AD3F-0D3A63EBBED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3" name="Rechthoek 177">
                    <a:extLst>
                      <a:ext uri="{FF2B5EF4-FFF2-40B4-BE49-F238E27FC236}">
                        <a16:creationId xmlns:a16="http://schemas.microsoft.com/office/drawing/2014/main" id="{733C9D2D-7D86-4F6A-9569-60EC95C5E63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54" name="Pijl: punthaak 178">
                    <a:extLst>
                      <a:ext uri="{FF2B5EF4-FFF2-40B4-BE49-F238E27FC236}">
                        <a16:creationId xmlns:a16="http://schemas.microsoft.com/office/drawing/2014/main" id="{E749600B-05FE-43FA-83BC-E46D8399D3EA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13" name="Groep 135">
                <a:extLst>
                  <a:ext uri="{FF2B5EF4-FFF2-40B4-BE49-F238E27FC236}">
                    <a16:creationId xmlns:a16="http://schemas.microsoft.com/office/drawing/2014/main" id="{8715EB90-0DC8-445B-BEB3-DC9611A865E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42" name="Groep 166">
                  <a:extLst>
                    <a:ext uri="{FF2B5EF4-FFF2-40B4-BE49-F238E27FC236}">
                      <a16:creationId xmlns:a16="http://schemas.microsoft.com/office/drawing/2014/main" id="{EAC6273E-F6D8-4E60-8C5F-FBFBC8E048CA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46" name="Rechte verbindingslijn 170">
                    <a:extLst>
                      <a:ext uri="{FF2B5EF4-FFF2-40B4-BE49-F238E27FC236}">
                        <a16:creationId xmlns:a16="http://schemas.microsoft.com/office/drawing/2014/main" id="{E116EFDF-7844-4BA1-B1B0-E2B9058D2F9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7" name="Rechte verbindingslijn 171">
                    <a:extLst>
                      <a:ext uri="{FF2B5EF4-FFF2-40B4-BE49-F238E27FC236}">
                        <a16:creationId xmlns:a16="http://schemas.microsoft.com/office/drawing/2014/main" id="{9EE0A1AC-F03C-457F-9B4D-427F6B07057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8" name="Rechte verbindingslijn 172">
                    <a:extLst>
                      <a:ext uri="{FF2B5EF4-FFF2-40B4-BE49-F238E27FC236}">
                        <a16:creationId xmlns:a16="http://schemas.microsoft.com/office/drawing/2014/main" id="{49CA15A8-AB45-4A8F-8946-2A89CEF7AEF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9" name="Rechte verbindingslijn 173">
                    <a:extLst>
                      <a:ext uri="{FF2B5EF4-FFF2-40B4-BE49-F238E27FC236}">
                        <a16:creationId xmlns:a16="http://schemas.microsoft.com/office/drawing/2014/main" id="{2585D7EA-C908-4C1A-9D63-D5AC05E4CE7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0" name="Rechte verbindingslijn 174">
                    <a:extLst>
                      <a:ext uri="{FF2B5EF4-FFF2-40B4-BE49-F238E27FC236}">
                        <a16:creationId xmlns:a16="http://schemas.microsoft.com/office/drawing/2014/main" id="{CC242951-FFE8-4677-A4AC-74C0263F5FF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3" name="Groep 167">
                  <a:extLst>
                    <a:ext uri="{FF2B5EF4-FFF2-40B4-BE49-F238E27FC236}">
                      <a16:creationId xmlns:a16="http://schemas.microsoft.com/office/drawing/2014/main" id="{F2CA1497-B0FB-428D-9B56-97C7CFA55334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44" name="Rechthoek 168">
                    <a:extLst>
                      <a:ext uri="{FF2B5EF4-FFF2-40B4-BE49-F238E27FC236}">
                        <a16:creationId xmlns:a16="http://schemas.microsoft.com/office/drawing/2014/main" id="{2FE7C336-A1C6-42FD-9504-BE9206C1CCF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45" name="Pijl: punthaak 169">
                    <a:extLst>
                      <a:ext uri="{FF2B5EF4-FFF2-40B4-BE49-F238E27FC236}">
                        <a16:creationId xmlns:a16="http://schemas.microsoft.com/office/drawing/2014/main" id="{151DBEB7-B2F1-458C-BD4B-F94CE1116039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14" name="Rechte verbindingslijn 136">
                <a:extLst>
                  <a:ext uri="{FF2B5EF4-FFF2-40B4-BE49-F238E27FC236}">
                    <a16:creationId xmlns:a16="http://schemas.microsoft.com/office/drawing/2014/main" id="{E25D8572-4DB0-405B-B680-FB17DEA37C5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15" name="Rechte verbindingslijn 137">
                <a:extLst>
                  <a:ext uri="{FF2B5EF4-FFF2-40B4-BE49-F238E27FC236}">
                    <a16:creationId xmlns:a16="http://schemas.microsoft.com/office/drawing/2014/main" id="{2A2D24B6-5CBC-442A-9B75-361559CABD2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16" name="Groep 138">
                <a:extLst>
                  <a:ext uri="{FF2B5EF4-FFF2-40B4-BE49-F238E27FC236}">
                    <a16:creationId xmlns:a16="http://schemas.microsoft.com/office/drawing/2014/main" id="{08D56E1F-8901-4A9D-9567-7D9D84C5D14D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31" name="Rechthoek 155">
                  <a:extLst>
                    <a:ext uri="{FF2B5EF4-FFF2-40B4-BE49-F238E27FC236}">
                      <a16:creationId xmlns:a16="http://schemas.microsoft.com/office/drawing/2014/main" id="{CE7189BE-B69B-45FD-B6BF-7C75BFFB0347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32" name="Groep 156">
                  <a:extLst>
                    <a:ext uri="{FF2B5EF4-FFF2-40B4-BE49-F238E27FC236}">
                      <a16:creationId xmlns:a16="http://schemas.microsoft.com/office/drawing/2014/main" id="{5B666E5A-82BF-449F-AE8E-A8503612D1F7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33" name="Groep 157">
                    <a:extLst>
                      <a:ext uri="{FF2B5EF4-FFF2-40B4-BE49-F238E27FC236}">
                        <a16:creationId xmlns:a16="http://schemas.microsoft.com/office/drawing/2014/main" id="{B4D3A472-3A75-4669-BFF5-4F4A9E4480D0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37" name="Rechte verbindingslijn 161">
                      <a:extLst>
                        <a:ext uri="{FF2B5EF4-FFF2-40B4-BE49-F238E27FC236}">
                          <a16:creationId xmlns:a16="http://schemas.microsoft.com/office/drawing/2014/main" id="{EDF85249-18DD-47D4-AACC-9529D999228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8" name="Rechte verbindingslijn 162">
                      <a:extLst>
                        <a:ext uri="{FF2B5EF4-FFF2-40B4-BE49-F238E27FC236}">
                          <a16:creationId xmlns:a16="http://schemas.microsoft.com/office/drawing/2014/main" id="{7C817057-2D69-4434-8BDF-A1D0B47AAA4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9" name="Rechte verbindingslijn 163">
                      <a:extLst>
                        <a:ext uri="{FF2B5EF4-FFF2-40B4-BE49-F238E27FC236}">
                          <a16:creationId xmlns:a16="http://schemas.microsoft.com/office/drawing/2014/main" id="{17AC1347-BB3F-4C20-9A0C-D9527B98194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0" name="Rechte verbindingslijn 164">
                      <a:extLst>
                        <a:ext uri="{FF2B5EF4-FFF2-40B4-BE49-F238E27FC236}">
                          <a16:creationId xmlns:a16="http://schemas.microsoft.com/office/drawing/2014/main" id="{8E237A8A-5640-47F9-8FC1-2663E07F181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1" name="Rechte verbindingslijn 165">
                      <a:extLst>
                        <a:ext uri="{FF2B5EF4-FFF2-40B4-BE49-F238E27FC236}">
                          <a16:creationId xmlns:a16="http://schemas.microsoft.com/office/drawing/2014/main" id="{E87E63E9-1FAC-456B-9450-9498D92E971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34" name="Groep 158">
                    <a:extLst>
                      <a:ext uri="{FF2B5EF4-FFF2-40B4-BE49-F238E27FC236}">
                        <a16:creationId xmlns:a16="http://schemas.microsoft.com/office/drawing/2014/main" id="{DA3C5C36-FC89-4BE1-8084-86AA3EE479D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35" name="Rechthoek 159">
                      <a:extLst>
                        <a:ext uri="{FF2B5EF4-FFF2-40B4-BE49-F238E27FC236}">
                          <a16:creationId xmlns:a16="http://schemas.microsoft.com/office/drawing/2014/main" id="{54D56849-19BF-4A5F-87AF-A66608CDF33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36" name="Pijl: punthaak 160">
                      <a:extLst>
                        <a:ext uri="{FF2B5EF4-FFF2-40B4-BE49-F238E27FC236}">
                          <a16:creationId xmlns:a16="http://schemas.microsoft.com/office/drawing/2014/main" id="{3311B7D4-A7B8-4EEE-8AD9-C11F0C24479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17" name="Groep 139">
                <a:extLst>
                  <a:ext uri="{FF2B5EF4-FFF2-40B4-BE49-F238E27FC236}">
                    <a16:creationId xmlns:a16="http://schemas.microsoft.com/office/drawing/2014/main" id="{8306EB8B-9F3C-4D01-845F-7EA95EB72FF5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20" name="Rechthoek 142">
                  <a:extLst>
                    <a:ext uri="{FF2B5EF4-FFF2-40B4-BE49-F238E27FC236}">
                      <a16:creationId xmlns:a16="http://schemas.microsoft.com/office/drawing/2014/main" id="{E54376D7-B951-4CE2-9FEE-4E828A856DD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21" name="Groep 143">
                  <a:extLst>
                    <a:ext uri="{FF2B5EF4-FFF2-40B4-BE49-F238E27FC236}">
                      <a16:creationId xmlns:a16="http://schemas.microsoft.com/office/drawing/2014/main" id="{578F1212-573A-4D3F-8FA0-47C1DACD492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22" name="Groep 144">
                    <a:extLst>
                      <a:ext uri="{FF2B5EF4-FFF2-40B4-BE49-F238E27FC236}">
                        <a16:creationId xmlns:a16="http://schemas.microsoft.com/office/drawing/2014/main" id="{CA61AF81-5C91-4C58-AC4A-47B589A98C5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26" name="Rechte verbindingslijn 150">
                      <a:extLst>
                        <a:ext uri="{FF2B5EF4-FFF2-40B4-BE49-F238E27FC236}">
                          <a16:creationId xmlns:a16="http://schemas.microsoft.com/office/drawing/2014/main" id="{DED0CD1D-A63D-4F4F-A222-6234DA670B2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7" name="Rechte verbindingslijn 151">
                      <a:extLst>
                        <a:ext uri="{FF2B5EF4-FFF2-40B4-BE49-F238E27FC236}">
                          <a16:creationId xmlns:a16="http://schemas.microsoft.com/office/drawing/2014/main" id="{3667FDE1-DCBE-4B55-B49E-A97764B3F13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8" name="Rechte verbindingslijn 152">
                      <a:extLst>
                        <a:ext uri="{FF2B5EF4-FFF2-40B4-BE49-F238E27FC236}">
                          <a16:creationId xmlns:a16="http://schemas.microsoft.com/office/drawing/2014/main" id="{3AE8651B-89D4-4DB9-92D4-5BA71747ABF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9" name="Rechte verbindingslijn 153">
                      <a:extLst>
                        <a:ext uri="{FF2B5EF4-FFF2-40B4-BE49-F238E27FC236}">
                          <a16:creationId xmlns:a16="http://schemas.microsoft.com/office/drawing/2014/main" id="{BC9437C4-010D-40D5-AC90-9674DB20DEF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0" name="Rechte verbindingslijn 154">
                      <a:extLst>
                        <a:ext uri="{FF2B5EF4-FFF2-40B4-BE49-F238E27FC236}">
                          <a16:creationId xmlns:a16="http://schemas.microsoft.com/office/drawing/2014/main" id="{89606B84-1A95-4A17-8A76-780F3176661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23" name="Groep 147">
                    <a:extLst>
                      <a:ext uri="{FF2B5EF4-FFF2-40B4-BE49-F238E27FC236}">
                        <a16:creationId xmlns:a16="http://schemas.microsoft.com/office/drawing/2014/main" id="{993F8D9C-1CB1-4CA4-965A-6EB87F316716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24" name="Rechthoek 148">
                      <a:extLst>
                        <a:ext uri="{FF2B5EF4-FFF2-40B4-BE49-F238E27FC236}">
                          <a16:creationId xmlns:a16="http://schemas.microsoft.com/office/drawing/2014/main" id="{DEE790FB-97B5-4AB2-9BCB-3C15009E585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25" name="Pijl: punthaak 149">
                      <a:extLst>
                        <a:ext uri="{FF2B5EF4-FFF2-40B4-BE49-F238E27FC236}">
                          <a16:creationId xmlns:a16="http://schemas.microsoft.com/office/drawing/2014/main" id="{B84749A9-9173-428F-8E96-84BFCB5E5182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18" name="Rechthoek 140">
                <a:extLst>
                  <a:ext uri="{FF2B5EF4-FFF2-40B4-BE49-F238E27FC236}">
                    <a16:creationId xmlns:a16="http://schemas.microsoft.com/office/drawing/2014/main" id="{BF544B05-3F02-4C9A-B0A6-D7A1731F616A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219" name="Rechthoek 141">
                <a:extLst>
                  <a:ext uri="{FF2B5EF4-FFF2-40B4-BE49-F238E27FC236}">
                    <a16:creationId xmlns:a16="http://schemas.microsoft.com/office/drawing/2014/main" id="{7909C0BF-7C8A-4F39-9AFE-5D60668CCDC2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184" name="Rechte verbindingslijn 106">
              <a:extLst>
                <a:ext uri="{FF2B5EF4-FFF2-40B4-BE49-F238E27FC236}">
                  <a16:creationId xmlns:a16="http://schemas.microsoft.com/office/drawing/2014/main" id="{C6A0E1EE-AFCD-4693-9D13-70BD8651A74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85" name="Rechthoek 107">
              <a:extLst>
                <a:ext uri="{FF2B5EF4-FFF2-40B4-BE49-F238E27FC236}">
                  <a16:creationId xmlns:a16="http://schemas.microsoft.com/office/drawing/2014/main" id="{A86571E3-24B5-443F-9A64-2783B432568F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186" name="Ovaal 108">
              <a:extLst>
                <a:ext uri="{FF2B5EF4-FFF2-40B4-BE49-F238E27FC236}">
                  <a16:creationId xmlns:a16="http://schemas.microsoft.com/office/drawing/2014/main" id="{5406A62F-969B-4173-94E0-2B957F81E3B1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87" name="Rechthoek 109">
              <a:extLst>
                <a:ext uri="{FF2B5EF4-FFF2-40B4-BE49-F238E27FC236}">
                  <a16:creationId xmlns:a16="http://schemas.microsoft.com/office/drawing/2014/main" id="{CD303BDD-084B-4CD2-9697-9C823762392C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188" name="Ovaal 110">
              <a:extLst>
                <a:ext uri="{FF2B5EF4-FFF2-40B4-BE49-F238E27FC236}">
                  <a16:creationId xmlns:a16="http://schemas.microsoft.com/office/drawing/2014/main" id="{FD4FD5F2-080B-43D5-8BE5-6B29BF4AEC71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89" name="Rechthoek 111">
              <a:extLst>
                <a:ext uri="{FF2B5EF4-FFF2-40B4-BE49-F238E27FC236}">
                  <a16:creationId xmlns:a16="http://schemas.microsoft.com/office/drawing/2014/main" id="{4B45314D-57FB-4455-9B7C-01184008A9AB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90" name="Ovaal 112">
              <a:extLst>
                <a:ext uri="{FF2B5EF4-FFF2-40B4-BE49-F238E27FC236}">
                  <a16:creationId xmlns:a16="http://schemas.microsoft.com/office/drawing/2014/main" id="{057C2D33-B857-485D-A71C-A2F1CA6E7F78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91" name="Rechthoek 113">
              <a:extLst>
                <a:ext uri="{FF2B5EF4-FFF2-40B4-BE49-F238E27FC236}">
                  <a16:creationId xmlns:a16="http://schemas.microsoft.com/office/drawing/2014/main" id="{0DCDCE85-4260-42D8-9D12-0E5FE313A5D4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192" name="Ovaal 114">
              <a:extLst>
                <a:ext uri="{FF2B5EF4-FFF2-40B4-BE49-F238E27FC236}">
                  <a16:creationId xmlns:a16="http://schemas.microsoft.com/office/drawing/2014/main" id="{5EB02ACF-40B9-4577-984A-7FA664169E18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93" name="Rechthoek 115">
              <a:extLst>
                <a:ext uri="{FF2B5EF4-FFF2-40B4-BE49-F238E27FC236}">
                  <a16:creationId xmlns:a16="http://schemas.microsoft.com/office/drawing/2014/main" id="{F8DD725C-B4A4-4861-A520-0FD18C737A25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194" name="Rechte verbindingslijn 116">
              <a:extLst>
                <a:ext uri="{FF2B5EF4-FFF2-40B4-BE49-F238E27FC236}">
                  <a16:creationId xmlns:a16="http://schemas.microsoft.com/office/drawing/2014/main" id="{4AA19624-C7C9-47EC-8EDB-93E6EE349CB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95" name="Meer informatie">
              <a:extLst>
                <a:ext uri="{FF2B5EF4-FFF2-40B4-BE49-F238E27FC236}">
                  <a16:creationId xmlns:a16="http://schemas.microsoft.com/office/drawing/2014/main" id="{27BC0280-85AF-49C7-9D07-48E18C4F2A23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205" name="Freeform 101">
                <a:extLst>
                  <a:ext uri="{FF2B5EF4-FFF2-40B4-BE49-F238E27FC236}">
                    <a16:creationId xmlns:a16="http://schemas.microsoft.com/office/drawing/2014/main" id="{2A5ABD04-E31B-4CD1-B017-28FCF356B71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206" name="Rechthoek 128">
                <a:extLst>
                  <a:ext uri="{FF2B5EF4-FFF2-40B4-BE49-F238E27FC236}">
                    <a16:creationId xmlns:a16="http://schemas.microsoft.com/office/drawing/2014/main" id="{CE67077D-E80B-4BD9-BF73-690951FC0800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07" name="Rechte verbindingslijn 129">
                <a:extLst>
                  <a:ext uri="{FF2B5EF4-FFF2-40B4-BE49-F238E27FC236}">
                    <a16:creationId xmlns:a16="http://schemas.microsoft.com/office/drawing/2014/main" id="{F41EFF9B-FA4F-474C-AE62-8557B6B7621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96" name="Rechthoek 118">
              <a:extLst>
                <a:ext uri="{FF2B5EF4-FFF2-40B4-BE49-F238E27FC236}">
                  <a16:creationId xmlns:a16="http://schemas.microsoft.com/office/drawing/2014/main" id="{A709724C-C00F-4445-929F-2BDE5095FF91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197" name="Ovaal 119">
              <a:extLst>
                <a:ext uri="{FF2B5EF4-FFF2-40B4-BE49-F238E27FC236}">
                  <a16:creationId xmlns:a16="http://schemas.microsoft.com/office/drawing/2014/main" id="{2EC6C6B0-D8A3-47C0-BA76-0211A2B180C0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98" name="Rechthoek 120">
              <a:extLst>
                <a:ext uri="{FF2B5EF4-FFF2-40B4-BE49-F238E27FC236}">
                  <a16:creationId xmlns:a16="http://schemas.microsoft.com/office/drawing/2014/main" id="{7446CA2E-BBC7-45EC-83DC-8564C73C8E22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99" name="Ovaal 121">
              <a:extLst>
                <a:ext uri="{FF2B5EF4-FFF2-40B4-BE49-F238E27FC236}">
                  <a16:creationId xmlns:a16="http://schemas.microsoft.com/office/drawing/2014/main" id="{9C3E4377-B78C-4B12-8BC2-E9BAF7057B06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00" name="Rechthoek 122">
              <a:extLst>
                <a:ext uri="{FF2B5EF4-FFF2-40B4-BE49-F238E27FC236}">
                  <a16:creationId xmlns:a16="http://schemas.microsoft.com/office/drawing/2014/main" id="{FC1B63D5-989B-40AC-905E-CEE0BC1F1953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201" name="Ovaal 123">
              <a:extLst>
                <a:ext uri="{FF2B5EF4-FFF2-40B4-BE49-F238E27FC236}">
                  <a16:creationId xmlns:a16="http://schemas.microsoft.com/office/drawing/2014/main" id="{51A54FE4-761B-4C2A-BB9C-488845FA705D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02" name="Rechthoek 124">
              <a:extLst>
                <a:ext uri="{FF2B5EF4-FFF2-40B4-BE49-F238E27FC236}">
                  <a16:creationId xmlns:a16="http://schemas.microsoft.com/office/drawing/2014/main" id="{5A72AF79-10BF-4D4D-8AAD-57AD6FD9DB06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203" name="Rechthoek 125">
              <a:extLst>
                <a:ext uri="{FF2B5EF4-FFF2-40B4-BE49-F238E27FC236}">
                  <a16:creationId xmlns:a16="http://schemas.microsoft.com/office/drawing/2014/main" id="{592EAD23-F8B3-464B-86DF-DCD674ABC04B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204" name="Ovaal 126">
              <a:extLst>
                <a:ext uri="{FF2B5EF4-FFF2-40B4-BE49-F238E27FC236}">
                  <a16:creationId xmlns:a16="http://schemas.microsoft.com/office/drawing/2014/main" id="{880E9E42-0173-4F01-A395-4E21A530D6FE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  <p:pic>
        <p:nvPicPr>
          <p:cNvPr id="354" name="Afbeelding 353">
            <a:extLst>
              <a:ext uri="{FF2B5EF4-FFF2-40B4-BE49-F238E27FC236}">
                <a16:creationId xmlns:a16="http://schemas.microsoft.com/office/drawing/2014/main" id="{C3DC9CDB-7D02-40BA-8347-E5436758DB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6837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1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78" grpId="0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17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Foto 75%/25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30018937" y="7"/>
            <a:ext cx="12746956" cy="30306751"/>
          </a:xfrm>
          <a:solidFill>
            <a:schemeClr val="bg1">
              <a:lumMod val="95000"/>
            </a:schemeClr>
          </a:solidFill>
        </p:spPr>
        <p:txBody>
          <a:bodyPr tIns="1260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3158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C8A40B12-7E26-4E64-9A7F-C7BE7CAB1C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3" name="Tijdelijke aanduiding voor tekst 14">
            <a:extLst>
              <a:ext uri="{FF2B5EF4-FFF2-40B4-BE49-F238E27FC236}">
                <a16:creationId xmlns:a16="http://schemas.microsoft.com/office/drawing/2014/main" id="{6083995C-1A50-4491-9307-7E1B659A0B1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45" name="Tijdelijke aanduiding voor voettekst 4">
            <a:extLst>
              <a:ext uri="{FF2B5EF4-FFF2-40B4-BE49-F238E27FC236}">
                <a16:creationId xmlns:a16="http://schemas.microsoft.com/office/drawing/2014/main" id="{080EFE03-7FB1-4D06-B653-B56500F8A1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46" name="Tijdelijke aanduiding voor dianummer 5">
            <a:extLst>
              <a:ext uri="{FF2B5EF4-FFF2-40B4-BE49-F238E27FC236}">
                <a16:creationId xmlns:a16="http://schemas.microsoft.com/office/drawing/2014/main" id="{56817633-365A-489C-84DC-22C53FE3A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2" y="27329718"/>
            <a:ext cx="857527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18" name="Tijdelijke aanduiding voor datum 3">
            <a:extLst>
              <a:ext uri="{FF2B5EF4-FFF2-40B4-BE49-F238E27FC236}">
                <a16:creationId xmlns:a16="http://schemas.microsoft.com/office/drawing/2014/main" id="{1660DECE-1BF4-424A-8565-9FDCA21100F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49184B4-41E6-4217-B4F7-E23A450628D2}" type="datetime1">
              <a:rPr lang="nl-NL" noProof="0" smtClean="0"/>
              <a:t>26-6-2023</a:t>
            </a:fld>
            <a:endParaRPr lang="nl-NL" noProof="0"/>
          </a:p>
        </p:txBody>
      </p:sp>
      <p:grpSp>
        <p:nvGrpSpPr>
          <p:cNvPr id="191" name="Groep 258">
            <a:extLst>
              <a:ext uri="{FF2B5EF4-FFF2-40B4-BE49-F238E27FC236}">
                <a16:creationId xmlns:a16="http://schemas.microsoft.com/office/drawing/2014/main" id="{1C9278D4-8C4D-42B3-9B54-A02855EB2408}"/>
              </a:ext>
            </a:extLst>
          </p:cNvPr>
          <p:cNvGrpSpPr/>
          <p:nvPr userDrawn="1"/>
        </p:nvGrpSpPr>
        <p:grpSpPr>
          <a:xfrm>
            <a:off x="43467416" y="5"/>
            <a:ext cx="11167745" cy="23084356"/>
            <a:chOff x="12391601" y="0"/>
            <a:chExt cx="3183678" cy="5229113"/>
          </a:xfrm>
        </p:grpSpPr>
        <p:grpSp>
          <p:nvGrpSpPr>
            <p:cNvPr id="192" name="Meer informatie">
              <a:extLst>
                <a:ext uri="{FF2B5EF4-FFF2-40B4-BE49-F238E27FC236}">
                  <a16:creationId xmlns:a16="http://schemas.microsoft.com/office/drawing/2014/main" id="{F603D93A-66CC-4CC0-95B8-0CC883453AED}"/>
                </a:ext>
              </a:extLst>
            </p:cNvPr>
            <p:cNvGrpSpPr/>
            <p:nvPr userDrawn="1"/>
          </p:nvGrpSpPr>
          <p:grpSpPr>
            <a:xfrm>
              <a:off x="12396764" y="4445840"/>
              <a:ext cx="3178515" cy="783273"/>
              <a:chOff x="-3741486" y="3386444"/>
              <a:chExt cx="3178515" cy="783273"/>
            </a:xfrm>
          </p:grpSpPr>
          <p:sp>
            <p:nvSpPr>
              <p:cNvPr id="369" name="Freeform 101">
                <a:extLst>
                  <a:ext uri="{FF2B5EF4-FFF2-40B4-BE49-F238E27FC236}">
                    <a16:creationId xmlns:a16="http://schemas.microsoft.com/office/drawing/2014/main" id="{F4DDCDCF-5F47-4A4C-B96C-FFC10BC733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370" name="Rechthoek 306">
                <a:extLst>
                  <a:ext uri="{FF2B5EF4-FFF2-40B4-BE49-F238E27FC236}">
                    <a16:creationId xmlns:a16="http://schemas.microsoft.com/office/drawing/2014/main" id="{6256DCC5-8730-4051-849B-62E7C3BB195D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71" name="Rechte verbindingslijn 307">
                <a:extLst>
                  <a:ext uri="{FF2B5EF4-FFF2-40B4-BE49-F238E27FC236}">
                    <a16:creationId xmlns:a16="http://schemas.microsoft.com/office/drawing/2014/main" id="{1DDD24F7-3AAB-4F23-BA56-69A3D2F5542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93" name="Rechthoek 260">
              <a:extLst>
                <a:ext uri="{FF2B5EF4-FFF2-40B4-BE49-F238E27FC236}">
                  <a16:creationId xmlns:a16="http://schemas.microsoft.com/office/drawing/2014/main" id="{F63B76FD-012A-4B59-AD07-5F1D1C5DA297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275" name="Ovaal 261">
              <a:extLst>
                <a:ext uri="{FF2B5EF4-FFF2-40B4-BE49-F238E27FC236}">
                  <a16:creationId xmlns:a16="http://schemas.microsoft.com/office/drawing/2014/main" id="{3C12249D-B7F4-4405-8D36-108CD23E6566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76" name="Rechte verbindingslijn 262">
              <a:extLst>
                <a:ext uri="{FF2B5EF4-FFF2-40B4-BE49-F238E27FC236}">
                  <a16:creationId xmlns:a16="http://schemas.microsoft.com/office/drawing/2014/main" id="{4A37143E-75F8-4960-98E3-FECA33DCCD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77" name="Rechte verbindingslijn 263">
              <a:extLst>
                <a:ext uri="{FF2B5EF4-FFF2-40B4-BE49-F238E27FC236}">
                  <a16:creationId xmlns:a16="http://schemas.microsoft.com/office/drawing/2014/main" id="{910099D0-7766-4D9E-A583-DEB74F91E74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78" name="Rechthoek 264">
              <a:extLst>
                <a:ext uri="{FF2B5EF4-FFF2-40B4-BE49-F238E27FC236}">
                  <a16:creationId xmlns:a16="http://schemas.microsoft.com/office/drawing/2014/main" id="{5F0554AC-AEB4-4C64-9991-B4F008E37A31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oor deze te selecteren en op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om een nieuwe afbeelding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279" name="Rechte verbindingslijn 265">
              <a:extLst>
                <a:ext uri="{FF2B5EF4-FFF2-40B4-BE49-F238E27FC236}">
                  <a16:creationId xmlns:a16="http://schemas.microsoft.com/office/drawing/2014/main" id="{554E9705-CB6D-4C5F-82EC-B9C2094FF8F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4327957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80" name="Ovaal 266">
              <a:extLst>
                <a:ext uri="{FF2B5EF4-FFF2-40B4-BE49-F238E27FC236}">
                  <a16:creationId xmlns:a16="http://schemas.microsoft.com/office/drawing/2014/main" id="{5D74F17A-F1A0-44C7-A707-F7F97C653B3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81" name="Rechthoek 267">
              <a:extLst>
                <a:ext uri="{FF2B5EF4-FFF2-40B4-BE49-F238E27FC236}">
                  <a16:creationId xmlns:a16="http://schemas.microsoft.com/office/drawing/2014/main" id="{ACCAA0DA-4949-44DE-92F3-42EA89A2D26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82" name="Groep 268">
              <a:extLst>
                <a:ext uri="{FF2B5EF4-FFF2-40B4-BE49-F238E27FC236}">
                  <a16:creationId xmlns:a16="http://schemas.microsoft.com/office/drawing/2014/main" id="{2ED0CAE0-7E98-497E-8C78-9C53FE4D89C1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6" name="Rechthoek 302">
                <a:extLst>
                  <a:ext uri="{FF2B5EF4-FFF2-40B4-BE49-F238E27FC236}">
                    <a16:creationId xmlns:a16="http://schemas.microsoft.com/office/drawing/2014/main" id="{842E98B7-85FC-4357-8A7B-1597D029FE6D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367" name="Rechte verbindingslijn 303">
                <a:extLst>
                  <a:ext uri="{FF2B5EF4-FFF2-40B4-BE49-F238E27FC236}">
                    <a16:creationId xmlns:a16="http://schemas.microsoft.com/office/drawing/2014/main" id="{EDB867C8-197C-46AB-AEEA-210BDB7F37AB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8" name="Gelijkbenige driehoek 304">
                <a:extLst>
                  <a:ext uri="{FF2B5EF4-FFF2-40B4-BE49-F238E27FC236}">
                    <a16:creationId xmlns:a16="http://schemas.microsoft.com/office/drawing/2014/main" id="{5530965F-C5FC-416C-8D4F-504341761367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283" name="Groep 269">
              <a:extLst>
                <a:ext uri="{FF2B5EF4-FFF2-40B4-BE49-F238E27FC236}">
                  <a16:creationId xmlns:a16="http://schemas.microsoft.com/office/drawing/2014/main" id="{23875387-E39A-4E2A-B3CE-EA466B42D190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310" name="Rechthoek 296">
                <a:extLst>
                  <a:ext uri="{FF2B5EF4-FFF2-40B4-BE49-F238E27FC236}">
                    <a16:creationId xmlns:a16="http://schemas.microsoft.com/office/drawing/2014/main" id="{4FDBC578-D005-4948-BF60-E9AE4D01554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1" name="Ovaal 297">
                <a:extLst>
                  <a:ext uri="{FF2B5EF4-FFF2-40B4-BE49-F238E27FC236}">
                    <a16:creationId xmlns:a16="http://schemas.microsoft.com/office/drawing/2014/main" id="{E936711E-01B9-4314-AAD9-55EC3286FD9B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2" name="Vrije vorm: vorm 298">
                <a:extLst>
                  <a:ext uri="{FF2B5EF4-FFF2-40B4-BE49-F238E27FC236}">
                    <a16:creationId xmlns:a16="http://schemas.microsoft.com/office/drawing/2014/main" id="{417F7A09-5498-477D-813E-816009BFCA44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Rechthoek: afgeronde hoeken 299">
                <a:extLst>
                  <a:ext uri="{FF2B5EF4-FFF2-40B4-BE49-F238E27FC236}">
                    <a16:creationId xmlns:a16="http://schemas.microsoft.com/office/drawing/2014/main" id="{6B91653D-6A79-4F3F-9558-91704B15E5EB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4" name="Rechte verbindingslijn 300">
                <a:extLst>
                  <a:ext uri="{FF2B5EF4-FFF2-40B4-BE49-F238E27FC236}">
                    <a16:creationId xmlns:a16="http://schemas.microsoft.com/office/drawing/2014/main" id="{C9F72042-A73D-45CC-968D-49C1A6270EA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5" name="Rechte verbindingslijn 301">
                <a:extLst>
                  <a:ext uri="{FF2B5EF4-FFF2-40B4-BE49-F238E27FC236}">
                    <a16:creationId xmlns:a16="http://schemas.microsoft.com/office/drawing/2014/main" id="{B6E109AD-83D6-4DE8-B6CD-5F29E6600A35}"/>
                  </a:ext>
                </a:extLst>
              </p:cNvPr>
              <p:cNvCxnSpPr>
                <a:cxnSpLocks/>
                <a:stCxn id="363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284" name="Ovaal 270">
              <a:extLst>
                <a:ext uri="{FF2B5EF4-FFF2-40B4-BE49-F238E27FC236}">
                  <a16:creationId xmlns:a16="http://schemas.microsoft.com/office/drawing/2014/main" id="{A517D13B-DEF5-4AFF-800E-5D91A52940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85" name="Rechthoek 271">
              <a:extLst>
                <a:ext uri="{FF2B5EF4-FFF2-40B4-BE49-F238E27FC236}">
                  <a16:creationId xmlns:a16="http://schemas.microsoft.com/office/drawing/2014/main" id="{9E07530E-E0CD-4F65-BD41-E536187E267E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43320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aan de linker kant van het scherm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286" name="Rechte verbindingslijn 272">
              <a:extLst>
                <a:ext uri="{FF2B5EF4-FFF2-40B4-BE49-F238E27FC236}">
                  <a16:creationId xmlns:a16="http://schemas.microsoft.com/office/drawing/2014/main" id="{6C53DEF6-7437-453B-AC36-E0E313E646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87" name="Rechthoek 273">
              <a:extLst>
                <a:ext uri="{FF2B5EF4-FFF2-40B4-BE49-F238E27FC236}">
                  <a16:creationId xmlns:a16="http://schemas.microsoft.com/office/drawing/2014/main" id="{10663B49-F833-494E-AC68-D6E492BE381C}"/>
                </a:ext>
              </a:extLst>
            </p:cNvPr>
            <p:cNvSpPr/>
            <p:nvPr userDrawn="1"/>
          </p:nvSpPr>
          <p:spPr>
            <a:xfrm>
              <a:off x="12654153" y="3238910"/>
              <a:ext cx="1624926" cy="805220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3509" b="0" i="1" noProof="0">
                <a:solidFill>
                  <a:schemeClr val="tx1"/>
                </a:solidFill>
              </a:endParaRPr>
            </a:p>
          </p:txBody>
        </p:sp>
        <p:grpSp>
          <p:nvGrpSpPr>
            <p:cNvPr id="288" name="Groep 274">
              <a:extLst>
                <a:ext uri="{FF2B5EF4-FFF2-40B4-BE49-F238E27FC236}">
                  <a16:creationId xmlns:a16="http://schemas.microsoft.com/office/drawing/2014/main" id="{FCD6E60C-D80D-415D-80FA-98219FB39335}"/>
                </a:ext>
              </a:extLst>
            </p:cNvPr>
            <p:cNvGrpSpPr/>
            <p:nvPr userDrawn="1"/>
          </p:nvGrpSpPr>
          <p:grpSpPr>
            <a:xfrm>
              <a:off x="13614067" y="3535184"/>
              <a:ext cx="1195438" cy="678267"/>
              <a:chOff x="12757284" y="3224292"/>
              <a:chExt cx="1195438" cy="678267"/>
            </a:xfrm>
          </p:grpSpPr>
          <p:sp>
            <p:nvSpPr>
              <p:cNvPr id="289" name="Rechthoek 275">
                <a:extLst>
                  <a:ext uri="{FF2B5EF4-FFF2-40B4-BE49-F238E27FC236}">
                    <a16:creationId xmlns:a16="http://schemas.microsoft.com/office/drawing/2014/main" id="{E0442997-2EE5-4B3D-A666-335FF6FE5D30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90" name="Rechthoek 276">
                <a:extLst>
                  <a:ext uri="{FF2B5EF4-FFF2-40B4-BE49-F238E27FC236}">
                    <a16:creationId xmlns:a16="http://schemas.microsoft.com/office/drawing/2014/main" id="{F68E0D8A-00DA-4156-9AF9-05608F4D2318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91" name="Groep 277">
                <a:extLst>
                  <a:ext uri="{FF2B5EF4-FFF2-40B4-BE49-F238E27FC236}">
                    <a16:creationId xmlns:a16="http://schemas.microsoft.com/office/drawing/2014/main" id="{B15F0A56-C558-4AC5-99FA-D483E7898D24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304" name="Rechthoek: afgeronde hoeken 290">
                  <a:extLst>
                    <a:ext uri="{FF2B5EF4-FFF2-40B4-BE49-F238E27FC236}">
                      <a16:creationId xmlns:a16="http://schemas.microsoft.com/office/drawing/2014/main" id="{149E6D31-BCEF-4267-8F0B-25F4379B66B6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endPara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05" name="Rechthoek 291">
                  <a:extLst>
                    <a:ext uri="{FF2B5EF4-FFF2-40B4-BE49-F238E27FC236}">
                      <a16:creationId xmlns:a16="http://schemas.microsoft.com/office/drawing/2014/main" id="{18FE77DE-7C2D-4664-8200-29535729B4D6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6" name="Rechthoek 292">
                  <a:extLst>
                    <a:ext uri="{FF2B5EF4-FFF2-40B4-BE49-F238E27FC236}">
                      <a16:creationId xmlns:a16="http://schemas.microsoft.com/office/drawing/2014/main" id="{CC87E0D4-4E39-4330-8D2F-8C99D51D753E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7" name="Rechthoek 293">
                  <a:extLst>
                    <a:ext uri="{FF2B5EF4-FFF2-40B4-BE49-F238E27FC236}">
                      <a16:creationId xmlns:a16="http://schemas.microsoft.com/office/drawing/2014/main" id="{87D6CCB5-B211-44CC-BD93-A4315E71E358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8" name="Rechthoek 294">
                  <a:extLst>
                    <a:ext uri="{FF2B5EF4-FFF2-40B4-BE49-F238E27FC236}">
                      <a16:creationId xmlns:a16="http://schemas.microsoft.com/office/drawing/2014/main" id="{7381B617-C088-46A9-838D-02A49C3ADB91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9" name="Rechthoek 295">
                  <a:extLst>
                    <a:ext uri="{FF2B5EF4-FFF2-40B4-BE49-F238E27FC236}">
                      <a16:creationId xmlns:a16="http://schemas.microsoft.com/office/drawing/2014/main" id="{B66B3DCF-1B33-4E7F-9AA2-9E83D302FA6A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292" name="Groep 278">
                <a:extLst>
                  <a:ext uri="{FF2B5EF4-FFF2-40B4-BE49-F238E27FC236}">
                    <a16:creationId xmlns:a16="http://schemas.microsoft.com/office/drawing/2014/main" id="{5772217E-BFBD-4ABF-98F6-F21FED78404E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296" name="Groep 282">
                  <a:extLst>
                    <a:ext uri="{FF2B5EF4-FFF2-40B4-BE49-F238E27FC236}">
                      <a16:creationId xmlns:a16="http://schemas.microsoft.com/office/drawing/2014/main" id="{FA01380B-7786-4B3C-9F65-F8910E2FD96C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298" name="Rechthoek: afgeronde hoeken 284">
                    <a:extLst>
                      <a:ext uri="{FF2B5EF4-FFF2-40B4-BE49-F238E27FC236}">
                        <a16:creationId xmlns:a16="http://schemas.microsoft.com/office/drawing/2014/main" id="{BD08EA9B-496E-4F93-AB29-5DE859E94D61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2105"/>
                      </a:spcBef>
                      <a:spcAft>
                        <a:spcPts val="2105"/>
                      </a:spcAft>
                    </a:pPr>
                    <a:endParaRPr lang="nl-NL" sz="280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99" name="Rechthoek 285">
                    <a:extLst>
                      <a:ext uri="{FF2B5EF4-FFF2-40B4-BE49-F238E27FC236}">
                        <a16:creationId xmlns:a16="http://schemas.microsoft.com/office/drawing/2014/main" id="{31B965AE-5DF0-47D8-BD8E-1B0A061023A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0" name="Rechthoek 286">
                    <a:extLst>
                      <a:ext uri="{FF2B5EF4-FFF2-40B4-BE49-F238E27FC236}">
                        <a16:creationId xmlns:a16="http://schemas.microsoft.com/office/drawing/2014/main" id="{112974EA-3276-4798-9928-CB6637443AF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1" name="Rechthoek 287">
                    <a:extLst>
                      <a:ext uri="{FF2B5EF4-FFF2-40B4-BE49-F238E27FC236}">
                        <a16:creationId xmlns:a16="http://schemas.microsoft.com/office/drawing/2014/main" id="{68E96641-5BE4-4D45-9D74-F626189FBDE1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2" name="Rechthoek 288">
                    <a:extLst>
                      <a:ext uri="{FF2B5EF4-FFF2-40B4-BE49-F238E27FC236}">
                        <a16:creationId xmlns:a16="http://schemas.microsoft.com/office/drawing/2014/main" id="{39F5693E-6CD5-49D4-B4C6-3BCF96CFA9B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3" name="Rechthoek 289">
                    <a:extLst>
                      <a:ext uri="{FF2B5EF4-FFF2-40B4-BE49-F238E27FC236}">
                        <a16:creationId xmlns:a16="http://schemas.microsoft.com/office/drawing/2014/main" id="{EE1A2EB6-BE6B-49C8-8DFE-96599E56C4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297" name="Boog 283">
                  <a:extLst>
                    <a:ext uri="{FF2B5EF4-FFF2-40B4-BE49-F238E27FC236}">
                      <a16:creationId xmlns:a16="http://schemas.microsoft.com/office/drawing/2014/main" id="{C8CBAE0C-D286-40E1-AA6D-5EFEB045DA62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</p:grpSp>
          <p:sp>
            <p:nvSpPr>
              <p:cNvPr id="293" name="Tekstvak 279">
                <a:extLst>
                  <a:ext uri="{FF2B5EF4-FFF2-40B4-BE49-F238E27FC236}">
                    <a16:creationId xmlns:a16="http://schemas.microsoft.com/office/drawing/2014/main" id="{AD36B1E0-761D-42B4-A4BF-E8E9E4B1004E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294" name="Tekstvak 280">
                <a:extLst>
                  <a:ext uri="{FF2B5EF4-FFF2-40B4-BE49-F238E27FC236}">
                    <a16:creationId xmlns:a16="http://schemas.microsoft.com/office/drawing/2014/main" id="{35688FCD-3F80-4C13-8DE0-55148E168ACE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295" name="Picture 3">
                <a:extLst>
                  <a:ext uri="{FF2B5EF4-FFF2-40B4-BE49-F238E27FC236}">
                    <a16:creationId xmlns:a16="http://schemas.microsoft.com/office/drawing/2014/main" id="{BCEAF84A-C20F-48EC-98A8-08265F701FA3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810206" y="3671228"/>
                <a:ext cx="14251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sp>
        <p:nvSpPr>
          <p:cNvPr id="142" name="Tijdelijke aanduiding voor tekst 4">
            <a:extLst>
              <a:ext uri="{FF2B5EF4-FFF2-40B4-BE49-F238E27FC236}">
                <a16:creationId xmlns:a16="http://schemas.microsoft.com/office/drawing/2014/main" id="{29CC1D89-6112-4688-A910-6E85CEC383E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742374" y="6476685"/>
            <a:ext cx="25012162" cy="1907433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grpSp>
        <p:nvGrpSpPr>
          <p:cNvPr id="143" name="Groep 101">
            <a:extLst>
              <a:ext uri="{FF2B5EF4-FFF2-40B4-BE49-F238E27FC236}">
                <a16:creationId xmlns:a16="http://schemas.microsoft.com/office/drawing/2014/main" id="{12A72E4A-6CF7-42B3-8555-7E87489ED0CF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144" name="Rechthoek 102">
              <a:extLst>
                <a:ext uri="{FF2B5EF4-FFF2-40B4-BE49-F238E27FC236}">
                  <a16:creationId xmlns:a16="http://schemas.microsoft.com/office/drawing/2014/main" id="{5BE092AD-0DF5-4B2D-8A61-10786024D64A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145" name="Ovaal 103">
              <a:extLst>
                <a:ext uri="{FF2B5EF4-FFF2-40B4-BE49-F238E27FC236}">
                  <a16:creationId xmlns:a16="http://schemas.microsoft.com/office/drawing/2014/main" id="{B79B17D9-A377-4058-A1EF-2846892B35B6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6" name="Rechte verbindingslijn 104">
              <a:extLst>
                <a:ext uri="{FF2B5EF4-FFF2-40B4-BE49-F238E27FC236}">
                  <a16:creationId xmlns:a16="http://schemas.microsoft.com/office/drawing/2014/main" id="{0317B9B3-852E-467F-A16B-AB615F5CFDB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47" name="Groep 105">
              <a:extLst>
                <a:ext uri="{FF2B5EF4-FFF2-40B4-BE49-F238E27FC236}">
                  <a16:creationId xmlns:a16="http://schemas.microsoft.com/office/drawing/2014/main" id="{D732052E-94DC-4F13-9760-736F360FBB49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72" name="Rechthoek 130">
                <a:extLst>
                  <a:ext uri="{FF2B5EF4-FFF2-40B4-BE49-F238E27FC236}">
                    <a16:creationId xmlns:a16="http://schemas.microsoft.com/office/drawing/2014/main" id="{4C9B1721-F96C-4D4D-A440-EF4D9688DC89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173" name="Rechte verbindingslijn 131">
                <a:extLst>
                  <a:ext uri="{FF2B5EF4-FFF2-40B4-BE49-F238E27FC236}">
                    <a16:creationId xmlns:a16="http://schemas.microsoft.com/office/drawing/2014/main" id="{AE03C7BE-DB99-473E-8F58-AB9B9509259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Rechte verbindingslijn 132">
                <a:extLst>
                  <a:ext uri="{FF2B5EF4-FFF2-40B4-BE49-F238E27FC236}">
                    <a16:creationId xmlns:a16="http://schemas.microsoft.com/office/drawing/2014/main" id="{BAB7B4D6-E44C-44D9-9AB6-5837E888664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5" name="Rechthoek 133">
                <a:extLst>
                  <a:ext uri="{FF2B5EF4-FFF2-40B4-BE49-F238E27FC236}">
                    <a16:creationId xmlns:a16="http://schemas.microsoft.com/office/drawing/2014/main" id="{F6BC44AD-C790-40DB-BC18-9360E4ACFEFC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6" name="Groep 134">
                <a:extLst>
                  <a:ext uri="{FF2B5EF4-FFF2-40B4-BE49-F238E27FC236}">
                    <a16:creationId xmlns:a16="http://schemas.microsoft.com/office/drawing/2014/main" id="{DE946025-9964-4691-8D8D-C8B408A214A9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18" name="Groep 175">
                  <a:extLst>
                    <a:ext uri="{FF2B5EF4-FFF2-40B4-BE49-F238E27FC236}">
                      <a16:creationId xmlns:a16="http://schemas.microsoft.com/office/drawing/2014/main" id="{25282692-712E-47CE-B737-55B5B67E8189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22" name="Rechte verbindingslijn 179">
                    <a:extLst>
                      <a:ext uri="{FF2B5EF4-FFF2-40B4-BE49-F238E27FC236}">
                        <a16:creationId xmlns:a16="http://schemas.microsoft.com/office/drawing/2014/main" id="{D975297F-C363-4A91-B08F-FC702D0DE0F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180">
                    <a:extLst>
                      <a:ext uri="{FF2B5EF4-FFF2-40B4-BE49-F238E27FC236}">
                        <a16:creationId xmlns:a16="http://schemas.microsoft.com/office/drawing/2014/main" id="{5E4689A8-BF87-4D6D-A327-5691237F574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181">
                    <a:extLst>
                      <a:ext uri="{FF2B5EF4-FFF2-40B4-BE49-F238E27FC236}">
                        <a16:creationId xmlns:a16="http://schemas.microsoft.com/office/drawing/2014/main" id="{4481CE40-DE80-41EC-966D-4CF9297584C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182">
                    <a:extLst>
                      <a:ext uri="{FF2B5EF4-FFF2-40B4-BE49-F238E27FC236}">
                        <a16:creationId xmlns:a16="http://schemas.microsoft.com/office/drawing/2014/main" id="{6D2D4CD5-9BBB-4FD2-A3AC-F28417CBE7E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183">
                    <a:extLst>
                      <a:ext uri="{FF2B5EF4-FFF2-40B4-BE49-F238E27FC236}">
                        <a16:creationId xmlns:a16="http://schemas.microsoft.com/office/drawing/2014/main" id="{1541F988-1145-422A-B24C-91713A5AAA8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176">
                  <a:extLst>
                    <a:ext uri="{FF2B5EF4-FFF2-40B4-BE49-F238E27FC236}">
                      <a16:creationId xmlns:a16="http://schemas.microsoft.com/office/drawing/2014/main" id="{2A6F4C5F-49D7-4FF0-A06D-7EB6E795825C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177">
                    <a:extLst>
                      <a:ext uri="{FF2B5EF4-FFF2-40B4-BE49-F238E27FC236}">
                        <a16:creationId xmlns:a16="http://schemas.microsoft.com/office/drawing/2014/main" id="{2D10FA49-F6F2-472A-9B5C-CC4B345509C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1" name="Pijl: punthaak 178">
                    <a:extLst>
                      <a:ext uri="{FF2B5EF4-FFF2-40B4-BE49-F238E27FC236}">
                        <a16:creationId xmlns:a16="http://schemas.microsoft.com/office/drawing/2014/main" id="{7AECEAA0-B21F-484F-9CAB-B3FE4D087BB6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7" name="Groep 135">
                <a:extLst>
                  <a:ext uri="{FF2B5EF4-FFF2-40B4-BE49-F238E27FC236}">
                    <a16:creationId xmlns:a16="http://schemas.microsoft.com/office/drawing/2014/main" id="{5DA97B60-D3E0-4A23-ABC6-C9D48052696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9" name="Groep 166">
                  <a:extLst>
                    <a:ext uri="{FF2B5EF4-FFF2-40B4-BE49-F238E27FC236}">
                      <a16:creationId xmlns:a16="http://schemas.microsoft.com/office/drawing/2014/main" id="{F310B508-521F-483D-9029-1B78B8964DE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13" name="Rechte verbindingslijn 170">
                    <a:extLst>
                      <a:ext uri="{FF2B5EF4-FFF2-40B4-BE49-F238E27FC236}">
                        <a16:creationId xmlns:a16="http://schemas.microsoft.com/office/drawing/2014/main" id="{D4EF374F-E8A3-4586-9A8E-76AE81B7E82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4" name="Rechte verbindingslijn 171">
                    <a:extLst>
                      <a:ext uri="{FF2B5EF4-FFF2-40B4-BE49-F238E27FC236}">
                        <a16:creationId xmlns:a16="http://schemas.microsoft.com/office/drawing/2014/main" id="{52887A5B-607B-4914-B454-BD7F11D21CA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5" name="Rechte verbindingslijn 172">
                    <a:extLst>
                      <a:ext uri="{FF2B5EF4-FFF2-40B4-BE49-F238E27FC236}">
                        <a16:creationId xmlns:a16="http://schemas.microsoft.com/office/drawing/2014/main" id="{DC1EF143-A254-4D3E-9DC2-7C1FDDACE5E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6" name="Rechte verbindingslijn 173">
                    <a:extLst>
                      <a:ext uri="{FF2B5EF4-FFF2-40B4-BE49-F238E27FC236}">
                        <a16:creationId xmlns:a16="http://schemas.microsoft.com/office/drawing/2014/main" id="{FA18A8F4-EB93-4750-BF03-510FFF41531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7" name="Rechte verbindingslijn 174">
                    <a:extLst>
                      <a:ext uri="{FF2B5EF4-FFF2-40B4-BE49-F238E27FC236}">
                        <a16:creationId xmlns:a16="http://schemas.microsoft.com/office/drawing/2014/main" id="{D6EF6D22-CE38-4C8D-AA17-96D86687669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0" name="Groep 167">
                  <a:extLst>
                    <a:ext uri="{FF2B5EF4-FFF2-40B4-BE49-F238E27FC236}">
                      <a16:creationId xmlns:a16="http://schemas.microsoft.com/office/drawing/2014/main" id="{23C3BDDC-0862-4103-A2B8-A7ED34BCB019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11" name="Rechthoek 168">
                    <a:extLst>
                      <a:ext uri="{FF2B5EF4-FFF2-40B4-BE49-F238E27FC236}">
                        <a16:creationId xmlns:a16="http://schemas.microsoft.com/office/drawing/2014/main" id="{151FE795-305D-4137-ABEB-E4984BA5F9B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2" name="Pijl: punthaak 169">
                    <a:extLst>
                      <a:ext uri="{FF2B5EF4-FFF2-40B4-BE49-F238E27FC236}">
                        <a16:creationId xmlns:a16="http://schemas.microsoft.com/office/drawing/2014/main" id="{7CB676B1-DC82-4B48-A8A1-2D057C6EB4F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8" name="Rechte verbindingslijn 136">
                <a:extLst>
                  <a:ext uri="{FF2B5EF4-FFF2-40B4-BE49-F238E27FC236}">
                    <a16:creationId xmlns:a16="http://schemas.microsoft.com/office/drawing/2014/main" id="{6E1CC731-1E2E-4A01-8995-A33E6E229A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9" name="Rechte verbindingslijn 137">
                <a:extLst>
                  <a:ext uri="{FF2B5EF4-FFF2-40B4-BE49-F238E27FC236}">
                    <a16:creationId xmlns:a16="http://schemas.microsoft.com/office/drawing/2014/main" id="{F53B65F7-1332-486F-B4F4-D2044AB65A6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80" name="Groep 138">
                <a:extLst>
                  <a:ext uri="{FF2B5EF4-FFF2-40B4-BE49-F238E27FC236}">
                    <a16:creationId xmlns:a16="http://schemas.microsoft.com/office/drawing/2014/main" id="{251AB20E-4EA8-48ED-B829-615738FBFE6A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8" name="Rechthoek 155">
                  <a:extLst>
                    <a:ext uri="{FF2B5EF4-FFF2-40B4-BE49-F238E27FC236}">
                      <a16:creationId xmlns:a16="http://schemas.microsoft.com/office/drawing/2014/main" id="{2587BC2B-165B-4CC7-BBC6-70BA5BE2783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9" name="Groep 156">
                  <a:extLst>
                    <a:ext uri="{FF2B5EF4-FFF2-40B4-BE49-F238E27FC236}">
                      <a16:creationId xmlns:a16="http://schemas.microsoft.com/office/drawing/2014/main" id="{2E372CF0-B5F3-448D-B0A6-DDCD36543787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0" name="Groep 157">
                    <a:extLst>
                      <a:ext uri="{FF2B5EF4-FFF2-40B4-BE49-F238E27FC236}">
                        <a16:creationId xmlns:a16="http://schemas.microsoft.com/office/drawing/2014/main" id="{C0B964D4-697A-48C3-9AEB-70942A2EBF6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04" name="Rechte verbindingslijn 161">
                      <a:extLst>
                        <a:ext uri="{FF2B5EF4-FFF2-40B4-BE49-F238E27FC236}">
                          <a16:creationId xmlns:a16="http://schemas.microsoft.com/office/drawing/2014/main" id="{BFFC8269-C726-4AD3-AD97-021BDE63A74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162">
                      <a:extLst>
                        <a:ext uri="{FF2B5EF4-FFF2-40B4-BE49-F238E27FC236}">
                          <a16:creationId xmlns:a16="http://schemas.microsoft.com/office/drawing/2014/main" id="{CBE2C915-F716-4323-B1EB-EE8EE2AC9FB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163">
                      <a:extLst>
                        <a:ext uri="{FF2B5EF4-FFF2-40B4-BE49-F238E27FC236}">
                          <a16:creationId xmlns:a16="http://schemas.microsoft.com/office/drawing/2014/main" id="{10E78F17-34D6-4C4E-B628-9723C09E0A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7" name="Rechte verbindingslijn 164">
                      <a:extLst>
                        <a:ext uri="{FF2B5EF4-FFF2-40B4-BE49-F238E27FC236}">
                          <a16:creationId xmlns:a16="http://schemas.microsoft.com/office/drawing/2014/main" id="{809B135C-A031-4075-9AAF-6E20C67121A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8" name="Rechte verbindingslijn 165">
                      <a:extLst>
                        <a:ext uri="{FF2B5EF4-FFF2-40B4-BE49-F238E27FC236}">
                          <a16:creationId xmlns:a16="http://schemas.microsoft.com/office/drawing/2014/main" id="{328F8FD6-328C-4C67-A687-451D65FCD59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01" name="Groep 158">
                    <a:extLst>
                      <a:ext uri="{FF2B5EF4-FFF2-40B4-BE49-F238E27FC236}">
                        <a16:creationId xmlns:a16="http://schemas.microsoft.com/office/drawing/2014/main" id="{B8A10E56-6B6F-4794-8E84-0A2AC89D394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2" name="Rechthoek 159">
                      <a:extLst>
                        <a:ext uri="{FF2B5EF4-FFF2-40B4-BE49-F238E27FC236}">
                          <a16:creationId xmlns:a16="http://schemas.microsoft.com/office/drawing/2014/main" id="{91E2C993-99E2-40BF-99AB-C5DB85F467E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3" name="Pijl: punthaak 160">
                      <a:extLst>
                        <a:ext uri="{FF2B5EF4-FFF2-40B4-BE49-F238E27FC236}">
                          <a16:creationId xmlns:a16="http://schemas.microsoft.com/office/drawing/2014/main" id="{27B3E14A-1A3B-4999-9C80-47C749FC8ACF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81" name="Groep 139">
                <a:extLst>
                  <a:ext uri="{FF2B5EF4-FFF2-40B4-BE49-F238E27FC236}">
                    <a16:creationId xmlns:a16="http://schemas.microsoft.com/office/drawing/2014/main" id="{171BE289-F739-4CC7-8323-891B9AF4D152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84" name="Rechthoek 142">
                  <a:extLst>
                    <a:ext uri="{FF2B5EF4-FFF2-40B4-BE49-F238E27FC236}">
                      <a16:creationId xmlns:a16="http://schemas.microsoft.com/office/drawing/2014/main" id="{7F74BB56-3DA2-44E5-B258-AA3BBA084CED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5" name="Groep 143">
                  <a:extLst>
                    <a:ext uri="{FF2B5EF4-FFF2-40B4-BE49-F238E27FC236}">
                      <a16:creationId xmlns:a16="http://schemas.microsoft.com/office/drawing/2014/main" id="{C120988B-C73E-42F5-8DC3-B857034D6AE4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6" name="Groep 144">
                    <a:extLst>
                      <a:ext uri="{FF2B5EF4-FFF2-40B4-BE49-F238E27FC236}">
                        <a16:creationId xmlns:a16="http://schemas.microsoft.com/office/drawing/2014/main" id="{2032EFDC-8481-4B06-A485-40D4A1303EB4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90" name="Rechte verbindingslijn 150">
                      <a:extLst>
                        <a:ext uri="{FF2B5EF4-FFF2-40B4-BE49-F238E27FC236}">
                          <a16:creationId xmlns:a16="http://schemas.microsoft.com/office/drawing/2014/main" id="{B175E117-FFC0-430C-B0B1-543C8DD8664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4" name="Rechte verbindingslijn 151">
                      <a:extLst>
                        <a:ext uri="{FF2B5EF4-FFF2-40B4-BE49-F238E27FC236}">
                          <a16:creationId xmlns:a16="http://schemas.microsoft.com/office/drawing/2014/main" id="{1CD7EC02-E136-4562-919D-0A47E30E82F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5" name="Rechte verbindingslijn 152">
                      <a:extLst>
                        <a:ext uri="{FF2B5EF4-FFF2-40B4-BE49-F238E27FC236}">
                          <a16:creationId xmlns:a16="http://schemas.microsoft.com/office/drawing/2014/main" id="{759F117B-80E1-4A33-AEAE-C031D2A8162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6" name="Rechte verbindingslijn 153">
                      <a:extLst>
                        <a:ext uri="{FF2B5EF4-FFF2-40B4-BE49-F238E27FC236}">
                          <a16:creationId xmlns:a16="http://schemas.microsoft.com/office/drawing/2014/main" id="{43150B4A-F359-46DE-8195-B16E16087CA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54">
                      <a:extLst>
                        <a:ext uri="{FF2B5EF4-FFF2-40B4-BE49-F238E27FC236}">
                          <a16:creationId xmlns:a16="http://schemas.microsoft.com/office/drawing/2014/main" id="{A8BA1755-2363-40F6-A133-A8E47981331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7" name="Groep 147">
                    <a:extLst>
                      <a:ext uri="{FF2B5EF4-FFF2-40B4-BE49-F238E27FC236}">
                        <a16:creationId xmlns:a16="http://schemas.microsoft.com/office/drawing/2014/main" id="{9F8CAD7A-06FB-4E69-9BB6-D93D844956AF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8" name="Rechthoek 148">
                      <a:extLst>
                        <a:ext uri="{FF2B5EF4-FFF2-40B4-BE49-F238E27FC236}">
                          <a16:creationId xmlns:a16="http://schemas.microsoft.com/office/drawing/2014/main" id="{2FBF036D-6595-4E64-AEC0-9C06B139834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9" name="Pijl: punthaak 149">
                      <a:extLst>
                        <a:ext uri="{FF2B5EF4-FFF2-40B4-BE49-F238E27FC236}">
                          <a16:creationId xmlns:a16="http://schemas.microsoft.com/office/drawing/2014/main" id="{36EDD372-D7D2-43F2-840A-00EAD3EC4CA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82" name="Rechthoek 140">
                <a:extLst>
                  <a:ext uri="{FF2B5EF4-FFF2-40B4-BE49-F238E27FC236}">
                    <a16:creationId xmlns:a16="http://schemas.microsoft.com/office/drawing/2014/main" id="{CDCDCA82-07E0-48B1-9C62-036394666E0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183" name="Rechthoek 141">
                <a:extLst>
                  <a:ext uri="{FF2B5EF4-FFF2-40B4-BE49-F238E27FC236}">
                    <a16:creationId xmlns:a16="http://schemas.microsoft.com/office/drawing/2014/main" id="{579B6D84-257C-420F-8B98-44D221ED428B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148" name="Rechte verbindingslijn 106">
              <a:extLst>
                <a:ext uri="{FF2B5EF4-FFF2-40B4-BE49-F238E27FC236}">
                  <a16:creationId xmlns:a16="http://schemas.microsoft.com/office/drawing/2014/main" id="{53509D9F-9466-4E77-A22E-AAA64289BFB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9" name="Rechthoek 107">
              <a:extLst>
                <a:ext uri="{FF2B5EF4-FFF2-40B4-BE49-F238E27FC236}">
                  <a16:creationId xmlns:a16="http://schemas.microsoft.com/office/drawing/2014/main" id="{813D89E4-6E30-472F-BDCF-CAC391F46997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150" name="Ovaal 108">
              <a:extLst>
                <a:ext uri="{FF2B5EF4-FFF2-40B4-BE49-F238E27FC236}">
                  <a16:creationId xmlns:a16="http://schemas.microsoft.com/office/drawing/2014/main" id="{77AAFE31-BF04-486B-A911-A27DB748D853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1" name="Rechthoek 109">
              <a:extLst>
                <a:ext uri="{FF2B5EF4-FFF2-40B4-BE49-F238E27FC236}">
                  <a16:creationId xmlns:a16="http://schemas.microsoft.com/office/drawing/2014/main" id="{F3DD63C2-8AFD-42D1-AA17-E3C812DF7D4B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152" name="Ovaal 110">
              <a:extLst>
                <a:ext uri="{FF2B5EF4-FFF2-40B4-BE49-F238E27FC236}">
                  <a16:creationId xmlns:a16="http://schemas.microsoft.com/office/drawing/2014/main" id="{D8B3CDF8-3FF7-47B1-BFF9-623DAECD55F4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11">
              <a:extLst>
                <a:ext uri="{FF2B5EF4-FFF2-40B4-BE49-F238E27FC236}">
                  <a16:creationId xmlns:a16="http://schemas.microsoft.com/office/drawing/2014/main" id="{0CDE75C5-3FB6-411A-AA6B-9E05ABA6009C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54" name="Ovaal 112">
              <a:extLst>
                <a:ext uri="{FF2B5EF4-FFF2-40B4-BE49-F238E27FC236}">
                  <a16:creationId xmlns:a16="http://schemas.microsoft.com/office/drawing/2014/main" id="{C36C2D08-DDE6-49DB-B648-C7427CBD0C25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55" name="Rechthoek 113">
              <a:extLst>
                <a:ext uri="{FF2B5EF4-FFF2-40B4-BE49-F238E27FC236}">
                  <a16:creationId xmlns:a16="http://schemas.microsoft.com/office/drawing/2014/main" id="{3651947C-0C02-47FD-8198-6ACA05D625CE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156" name="Ovaal 114">
              <a:extLst>
                <a:ext uri="{FF2B5EF4-FFF2-40B4-BE49-F238E27FC236}">
                  <a16:creationId xmlns:a16="http://schemas.microsoft.com/office/drawing/2014/main" id="{DAC65B97-AD50-4A4B-A52B-91DEED1F5CDB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57" name="Rechthoek 115">
              <a:extLst>
                <a:ext uri="{FF2B5EF4-FFF2-40B4-BE49-F238E27FC236}">
                  <a16:creationId xmlns:a16="http://schemas.microsoft.com/office/drawing/2014/main" id="{DD0EED19-4759-48B0-99D3-F1756C29FD0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158" name="Rechte verbindingslijn 116">
              <a:extLst>
                <a:ext uri="{FF2B5EF4-FFF2-40B4-BE49-F238E27FC236}">
                  <a16:creationId xmlns:a16="http://schemas.microsoft.com/office/drawing/2014/main" id="{B3A404FF-E418-443C-993E-C046EE62637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9" name="Meer informatie">
              <a:extLst>
                <a:ext uri="{FF2B5EF4-FFF2-40B4-BE49-F238E27FC236}">
                  <a16:creationId xmlns:a16="http://schemas.microsoft.com/office/drawing/2014/main" id="{CAF54774-E82D-4C3B-A1C1-62DC6106C4C6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169" name="Freeform 101">
                <a:extLst>
                  <a:ext uri="{FF2B5EF4-FFF2-40B4-BE49-F238E27FC236}">
                    <a16:creationId xmlns:a16="http://schemas.microsoft.com/office/drawing/2014/main" id="{56B082E7-9C4C-429A-A3F1-E85D9557B1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170" name="Rechthoek 128">
                <a:extLst>
                  <a:ext uri="{FF2B5EF4-FFF2-40B4-BE49-F238E27FC236}">
                    <a16:creationId xmlns:a16="http://schemas.microsoft.com/office/drawing/2014/main" id="{B2334392-13F1-41ED-AB5C-3A10FDC849D7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71" name="Rechte verbindingslijn 129">
                <a:extLst>
                  <a:ext uri="{FF2B5EF4-FFF2-40B4-BE49-F238E27FC236}">
                    <a16:creationId xmlns:a16="http://schemas.microsoft.com/office/drawing/2014/main" id="{DE14C397-DDB9-4313-9B99-664106801E0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0" name="Rechthoek 118">
              <a:extLst>
                <a:ext uri="{FF2B5EF4-FFF2-40B4-BE49-F238E27FC236}">
                  <a16:creationId xmlns:a16="http://schemas.microsoft.com/office/drawing/2014/main" id="{3D9BB6C9-57C4-47DA-BAAB-50D3E0AA3607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161" name="Ovaal 119">
              <a:extLst>
                <a:ext uri="{FF2B5EF4-FFF2-40B4-BE49-F238E27FC236}">
                  <a16:creationId xmlns:a16="http://schemas.microsoft.com/office/drawing/2014/main" id="{8A187101-3BAC-4789-BA69-16F45919C18A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2" name="Rechthoek 120">
              <a:extLst>
                <a:ext uri="{FF2B5EF4-FFF2-40B4-BE49-F238E27FC236}">
                  <a16:creationId xmlns:a16="http://schemas.microsoft.com/office/drawing/2014/main" id="{FC8589D7-57DE-4A5C-A674-5CF7510EFF83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63" name="Ovaal 121">
              <a:extLst>
                <a:ext uri="{FF2B5EF4-FFF2-40B4-BE49-F238E27FC236}">
                  <a16:creationId xmlns:a16="http://schemas.microsoft.com/office/drawing/2014/main" id="{522924C4-04FF-497C-90E3-866D1E4C008E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4" name="Rechthoek 122">
              <a:extLst>
                <a:ext uri="{FF2B5EF4-FFF2-40B4-BE49-F238E27FC236}">
                  <a16:creationId xmlns:a16="http://schemas.microsoft.com/office/drawing/2014/main" id="{8825EF7B-BEC0-4E7D-9723-1A01C82AA276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165" name="Ovaal 123">
              <a:extLst>
                <a:ext uri="{FF2B5EF4-FFF2-40B4-BE49-F238E27FC236}">
                  <a16:creationId xmlns:a16="http://schemas.microsoft.com/office/drawing/2014/main" id="{9D37BDA1-8993-4AEF-AEA8-0D82C8D93D16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6" name="Rechthoek 124">
              <a:extLst>
                <a:ext uri="{FF2B5EF4-FFF2-40B4-BE49-F238E27FC236}">
                  <a16:creationId xmlns:a16="http://schemas.microsoft.com/office/drawing/2014/main" id="{4A9C4BFD-E9F9-4501-9B17-D7BBED67B1AD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67" name="Rechthoek 125">
              <a:extLst>
                <a:ext uri="{FF2B5EF4-FFF2-40B4-BE49-F238E27FC236}">
                  <a16:creationId xmlns:a16="http://schemas.microsoft.com/office/drawing/2014/main" id="{50D07889-836F-4702-8605-2C661B2795D7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168" name="Ovaal 126">
              <a:extLst>
                <a:ext uri="{FF2B5EF4-FFF2-40B4-BE49-F238E27FC236}">
                  <a16:creationId xmlns:a16="http://schemas.microsoft.com/office/drawing/2014/main" id="{CAAC0A2F-5137-4156-AFF2-2EA66880CD31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  <p:sp>
        <p:nvSpPr>
          <p:cNvPr id="227" name="Tijdelijke aanduiding voor tekst 3">
            <a:extLst>
              <a:ext uri="{FF2B5EF4-FFF2-40B4-BE49-F238E27FC236}">
                <a16:creationId xmlns:a16="http://schemas.microsoft.com/office/drawing/2014/main" id="{56BE9A8B-2E1D-4B70-9784-41189D5E3CE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504415" y="1449454"/>
            <a:ext cx="6635238" cy="3534585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51"/>
            </a:lvl1pPr>
          </a:lstStyle>
          <a:p>
            <a:pPr lvl="0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68623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Foto 50%/5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jdelijke aanduiding voor afbeelding 9">
            <a:extLst>
              <a:ext uri="{FF2B5EF4-FFF2-40B4-BE49-F238E27FC236}">
                <a16:creationId xmlns:a16="http://schemas.microsoft.com/office/drawing/2014/main" id="{0ED34533-68FE-488A-8073-AE327759215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2852404" y="2"/>
            <a:ext cx="19913490" cy="30275209"/>
          </a:xfrm>
          <a:solidFill>
            <a:schemeClr val="bg1">
              <a:lumMod val="95000"/>
            </a:schemeClr>
          </a:solidFill>
        </p:spPr>
        <p:txBody>
          <a:bodyPr tIns="1260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9" name="Titel 1">
            <a:extLst>
              <a:ext uri="{FF2B5EF4-FFF2-40B4-BE49-F238E27FC236}">
                <a16:creationId xmlns:a16="http://schemas.microsoft.com/office/drawing/2014/main" id="{38F2616F-48F4-4AA7-A397-7CF72985B8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40" name="Tijdelijke aanduiding voor tekst 14">
            <a:extLst>
              <a:ext uri="{FF2B5EF4-FFF2-40B4-BE49-F238E27FC236}">
                <a16:creationId xmlns:a16="http://schemas.microsoft.com/office/drawing/2014/main" id="{628F315F-0014-4BC5-9D55-3D396FBDC96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56" name="Tijdelijke aanduiding voor voettekst 4">
            <a:extLst>
              <a:ext uri="{FF2B5EF4-FFF2-40B4-BE49-F238E27FC236}">
                <a16:creationId xmlns:a16="http://schemas.microsoft.com/office/drawing/2014/main" id="{338749D9-C675-4DFC-AD08-66934C14A8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57" name="Tijdelijke aanduiding voor dianummer 5">
            <a:extLst>
              <a:ext uri="{FF2B5EF4-FFF2-40B4-BE49-F238E27FC236}">
                <a16:creationId xmlns:a16="http://schemas.microsoft.com/office/drawing/2014/main" id="{0D5A18F8-364B-49D8-899A-40A6F3280B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2" y="27329718"/>
            <a:ext cx="857527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20" name="Tijdelijke aanduiding voor datum 3">
            <a:extLst>
              <a:ext uri="{FF2B5EF4-FFF2-40B4-BE49-F238E27FC236}">
                <a16:creationId xmlns:a16="http://schemas.microsoft.com/office/drawing/2014/main" id="{6AE598E2-80CE-413F-9F85-905285A7345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B0EAA18-3AFB-40A5-B0C9-9E669743B750}" type="datetime1">
              <a:rPr lang="nl-NL" noProof="0" smtClean="0"/>
              <a:t>26-6-2023</a:t>
            </a:fld>
            <a:endParaRPr lang="nl-NL" noProof="0"/>
          </a:p>
        </p:txBody>
      </p:sp>
      <p:grpSp>
        <p:nvGrpSpPr>
          <p:cNvPr id="191" name="Groep 258">
            <a:extLst>
              <a:ext uri="{FF2B5EF4-FFF2-40B4-BE49-F238E27FC236}">
                <a16:creationId xmlns:a16="http://schemas.microsoft.com/office/drawing/2014/main" id="{01744769-4E2D-46AD-880A-D58C0A224D24}"/>
              </a:ext>
            </a:extLst>
          </p:cNvPr>
          <p:cNvGrpSpPr/>
          <p:nvPr userDrawn="1"/>
        </p:nvGrpSpPr>
        <p:grpSpPr>
          <a:xfrm>
            <a:off x="43467416" y="5"/>
            <a:ext cx="11167745" cy="23084356"/>
            <a:chOff x="12391601" y="0"/>
            <a:chExt cx="3183678" cy="5229113"/>
          </a:xfrm>
        </p:grpSpPr>
        <p:grpSp>
          <p:nvGrpSpPr>
            <p:cNvPr id="192" name="Meer informatie">
              <a:extLst>
                <a:ext uri="{FF2B5EF4-FFF2-40B4-BE49-F238E27FC236}">
                  <a16:creationId xmlns:a16="http://schemas.microsoft.com/office/drawing/2014/main" id="{A4EC1C1E-98E3-43C7-BD38-24CDFD976AEB}"/>
                </a:ext>
              </a:extLst>
            </p:cNvPr>
            <p:cNvGrpSpPr/>
            <p:nvPr userDrawn="1"/>
          </p:nvGrpSpPr>
          <p:grpSpPr>
            <a:xfrm>
              <a:off x="12396764" y="4445840"/>
              <a:ext cx="3178515" cy="783273"/>
              <a:chOff x="-3741486" y="3386444"/>
              <a:chExt cx="3178515" cy="783273"/>
            </a:xfrm>
          </p:grpSpPr>
          <p:sp>
            <p:nvSpPr>
              <p:cNvPr id="369" name="Freeform 101">
                <a:extLst>
                  <a:ext uri="{FF2B5EF4-FFF2-40B4-BE49-F238E27FC236}">
                    <a16:creationId xmlns:a16="http://schemas.microsoft.com/office/drawing/2014/main" id="{57C8C1FE-50AE-4F77-B1AF-796AA69FE8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370" name="Rechthoek 306">
                <a:extLst>
                  <a:ext uri="{FF2B5EF4-FFF2-40B4-BE49-F238E27FC236}">
                    <a16:creationId xmlns:a16="http://schemas.microsoft.com/office/drawing/2014/main" id="{F797681D-DBCB-4586-8FC4-D1342256679B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71" name="Rechte verbindingslijn 307">
                <a:extLst>
                  <a:ext uri="{FF2B5EF4-FFF2-40B4-BE49-F238E27FC236}">
                    <a16:creationId xmlns:a16="http://schemas.microsoft.com/office/drawing/2014/main" id="{5C8C70F2-195F-4FF4-886A-ED8F818E1DB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93" name="Rechthoek 260">
              <a:extLst>
                <a:ext uri="{FF2B5EF4-FFF2-40B4-BE49-F238E27FC236}">
                  <a16:creationId xmlns:a16="http://schemas.microsoft.com/office/drawing/2014/main" id="{C9193123-F938-4192-A8F2-22041EB5EF3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194" name="Ovaal 261">
              <a:extLst>
                <a:ext uri="{FF2B5EF4-FFF2-40B4-BE49-F238E27FC236}">
                  <a16:creationId xmlns:a16="http://schemas.microsoft.com/office/drawing/2014/main" id="{62A4F9A0-9240-42F3-81FC-D2933CB6DA57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76" name="Rechte verbindingslijn 262">
              <a:extLst>
                <a:ext uri="{FF2B5EF4-FFF2-40B4-BE49-F238E27FC236}">
                  <a16:creationId xmlns:a16="http://schemas.microsoft.com/office/drawing/2014/main" id="{531D6475-86F7-4A3D-B737-133558F3396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77" name="Rechte verbindingslijn 263">
              <a:extLst>
                <a:ext uri="{FF2B5EF4-FFF2-40B4-BE49-F238E27FC236}">
                  <a16:creationId xmlns:a16="http://schemas.microsoft.com/office/drawing/2014/main" id="{D68DC439-1D0B-44F4-9A0F-05D0F0FA81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78" name="Rechthoek 264">
              <a:extLst>
                <a:ext uri="{FF2B5EF4-FFF2-40B4-BE49-F238E27FC236}">
                  <a16:creationId xmlns:a16="http://schemas.microsoft.com/office/drawing/2014/main" id="{09CF9D97-3183-4CAD-ADF9-40C3EE756F22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oor deze te selecteren en op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om een nieuwe afbeelding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279" name="Rechte verbindingslijn 265">
              <a:extLst>
                <a:ext uri="{FF2B5EF4-FFF2-40B4-BE49-F238E27FC236}">
                  <a16:creationId xmlns:a16="http://schemas.microsoft.com/office/drawing/2014/main" id="{E5249709-D847-47AC-9FA8-A6EF0A0233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4327957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80" name="Ovaal 266">
              <a:extLst>
                <a:ext uri="{FF2B5EF4-FFF2-40B4-BE49-F238E27FC236}">
                  <a16:creationId xmlns:a16="http://schemas.microsoft.com/office/drawing/2014/main" id="{B7406051-6D4F-4746-AE87-FEDB1836B94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81" name="Rechthoek 267">
              <a:extLst>
                <a:ext uri="{FF2B5EF4-FFF2-40B4-BE49-F238E27FC236}">
                  <a16:creationId xmlns:a16="http://schemas.microsoft.com/office/drawing/2014/main" id="{6EC3F820-3DA4-4ABB-93F3-3B71B07D992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82" name="Groep 268">
              <a:extLst>
                <a:ext uri="{FF2B5EF4-FFF2-40B4-BE49-F238E27FC236}">
                  <a16:creationId xmlns:a16="http://schemas.microsoft.com/office/drawing/2014/main" id="{1DC0E739-76B4-4E95-9E6A-AF784261650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6" name="Rechthoek 302">
                <a:extLst>
                  <a:ext uri="{FF2B5EF4-FFF2-40B4-BE49-F238E27FC236}">
                    <a16:creationId xmlns:a16="http://schemas.microsoft.com/office/drawing/2014/main" id="{7481E702-57AF-4E58-9060-713127F9E87A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367" name="Rechte verbindingslijn 303">
                <a:extLst>
                  <a:ext uri="{FF2B5EF4-FFF2-40B4-BE49-F238E27FC236}">
                    <a16:creationId xmlns:a16="http://schemas.microsoft.com/office/drawing/2014/main" id="{D47BDE1C-49AC-4334-90BD-925C4D6024A1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8" name="Gelijkbenige driehoek 304">
                <a:extLst>
                  <a:ext uri="{FF2B5EF4-FFF2-40B4-BE49-F238E27FC236}">
                    <a16:creationId xmlns:a16="http://schemas.microsoft.com/office/drawing/2014/main" id="{DB1FFF35-6F1E-461D-923A-0A59349699B3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283" name="Groep 269">
              <a:extLst>
                <a:ext uri="{FF2B5EF4-FFF2-40B4-BE49-F238E27FC236}">
                  <a16:creationId xmlns:a16="http://schemas.microsoft.com/office/drawing/2014/main" id="{14841377-4B9D-4516-A835-391C048398EF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360" name="Rechthoek 296">
                <a:extLst>
                  <a:ext uri="{FF2B5EF4-FFF2-40B4-BE49-F238E27FC236}">
                    <a16:creationId xmlns:a16="http://schemas.microsoft.com/office/drawing/2014/main" id="{1DFBCEA9-0112-4F27-9066-1731831E84C8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1" name="Ovaal 297">
                <a:extLst>
                  <a:ext uri="{FF2B5EF4-FFF2-40B4-BE49-F238E27FC236}">
                    <a16:creationId xmlns:a16="http://schemas.microsoft.com/office/drawing/2014/main" id="{C3908235-AA32-4370-891B-F085400E908D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2" name="Vrije vorm: vorm 298">
                <a:extLst>
                  <a:ext uri="{FF2B5EF4-FFF2-40B4-BE49-F238E27FC236}">
                    <a16:creationId xmlns:a16="http://schemas.microsoft.com/office/drawing/2014/main" id="{DFAB4706-F142-4681-BCF6-58B4E1701136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Rechthoek: afgeronde hoeken 299">
                <a:extLst>
                  <a:ext uri="{FF2B5EF4-FFF2-40B4-BE49-F238E27FC236}">
                    <a16:creationId xmlns:a16="http://schemas.microsoft.com/office/drawing/2014/main" id="{EB66E7C1-7F3A-47D2-A5A4-776089921B8F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4" name="Rechte verbindingslijn 300">
                <a:extLst>
                  <a:ext uri="{FF2B5EF4-FFF2-40B4-BE49-F238E27FC236}">
                    <a16:creationId xmlns:a16="http://schemas.microsoft.com/office/drawing/2014/main" id="{4B1BC4F4-FBBC-454F-B7F2-68C8C4852EE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5" name="Rechte verbindingslijn 301">
                <a:extLst>
                  <a:ext uri="{FF2B5EF4-FFF2-40B4-BE49-F238E27FC236}">
                    <a16:creationId xmlns:a16="http://schemas.microsoft.com/office/drawing/2014/main" id="{9ED010D8-0712-4FC3-A6E7-AE19BCF4757F}"/>
                  </a:ext>
                </a:extLst>
              </p:cNvPr>
              <p:cNvCxnSpPr>
                <a:cxnSpLocks/>
                <a:stCxn id="363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284" name="Ovaal 270">
              <a:extLst>
                <a:ext uri="{FF2B5EF4-FFF2-40B4-BE49-F238E27FC236}">
                  <a16:creationId xmlns:a16="http://schemas.microsoft.com/office/drawing/2014/main" id="{7BBD33CA-385F-4FCA-BA4D-7090DA22F3E4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85" name="Rechthoek 271">
              <a:extLst>
                <a:ext uri="{FF2B5EF4-FFF2-40B4-BE49-F238E27FC236}">
                  <a16:creationId xmlns:a16="http://schemas.microsoft.com/office/drawing/2014/main" id="{ECD4E39E-3298-4FD3-8237-AABEC59542F2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43320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aan de linker kant van het scherm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286" name="Rechte verbindingslijn 272">
              <a:extLst>
                <a:ext uri="{FF2B5EF4-FFF2-40B4-BE49-F238E27FC236}">
                  <a16:creationId xmlns:a16="http://schemas.microsoft.com/office/drawing/2014/main" id="{1AB340ED-04B1-45DA-9E19-BAFB411A683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87" name="Rechthoek 273">
              <a:extLst>
                <a:ext uri="{FF2B5EF4-FFF2-40B4-BE49-F238E27FC236}">
                  <a16:creationId xmlns:a16="http://schemas.microsoft.com/office/drawing/2014/main" id="{B41E9A49-1280-4B99-92BE-BDB9567125BE}"/>
                </a:ext>
              </a:extLst>
            </p:cNvPr>
            <p:cNvSpPr/>
            <p:nvPr userDrawn="1"/>
          </p:nvSpPr>
          <p:spPr>
            <a:xfrm>
              <a:off x="12654153" y="3238910"/>
              <a:ext cx="1624926" cy="805220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3509" b="0" i="1" noProof="0">
                <a:solidFill>
                  <a:schemeClr val="tx1"/>
                </a:solidFill>
              </a:endParaRPr>
            </a:p>
          </p:txBody>
        </p:sp>
        <p:grpSp>
          <p:nvGrpSpPr>
            <p:cNvPr id="288" name="Groep 274">
              <a:extLst>
                <a:ext uri="{FF2B5EF4-FFF2-40B4-BE49-F238E27FC236}">
                  <a16:creationId xmlns:a16="http://schemas.microsoft.com/office/drawing/2014/main" id="{54E223ED-1085-42D6-99EB-914FD6F7E1A0}"/>
                </a:ext>
              </a:extLst>
            </p:cNvPr>
            <p:cNvGrpSpPr/>
            <p:nvPr userDrawn="1"/>
          </p:nvGrpSpPr>
          <p:grpSpPr>
            <a:xfrm>
              <a:off x="13614067" y="3535184"/>
              <a:ext cx="1195438" cy="678267"/>
              <a:chOff x="12757284" y="3224292"/>
              <a:chExt cx="1195438" cy="678267"/>
            </a:xfrm>
          </p:grpSpPr>
          <p:sp>
            <p:nvSpPr>
              <p:cNvPr id="289" name="Rechthoek 275">
                <a:extLst>
                  <a:ext uri="{FF2B5EF4-FFF2-40B4-BE49-F238E27FC236}">
                    <a16:creationId xmlns:a16="http://schemas.microsoft.com/office/drawing/2014/main" id="{CC76C08A-1510-4513-982A-A02C8202BA56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90" name="Rechthoek 276">
                <a:extLst>
                  <a:ext uri="{FF2B5EF4-FFF2-40B4-BE49-F238E27FC236}">
                    <a16:creationId xmlns:a16="http://schemas.microsoft.com/office/drawing/2014/main" id="{C442DCBD-4DE6-4888-B54A-4EF3AE507F1F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91" name="Groep 277">
                <a:extLst>
                  <a:ext uri="{FF2B5EF4-FFF2-40B4-BE49-F238E27FC236}">
                    <a16:creationId xmlns:a16="http://schemas.microsoft.com/office/drawing/2014/main" id="{541957A1-A8CF-4FD5-A9E9-BB9E710FFA62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304" name="Rechthoek: afgeronde hoeken 290">
                  <a:extLst>
                    <a:ext uri="{FF2B5EF4-FFF2-40B4-BE49-F238E27FC236}">
                      <a16:creationId xmlns:a16="http://schemas.microsoft.com/office/drawing/2014/main" id="{5669CA58-73F3-4349-B230-D8D5315E90B5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endPara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05" name="Rechthoek 291">
                  <a:extLst>
                    <a:ext uri="{FF2B5EF4-FFF2-40B4-BE49-F238E27FC236}">
                      <a16:creationId xmlns:a16="http://schemas.microsoft.com/office/drawing/2014/main" id="{93CDF69C-C871-4BA6-A5E2-1800B3D9774A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6" name="Rechthoek 292">
                  <a:extLst>
                    <a:ext uri="{FF2B5EF4-FFF2-40B4-BE49-F238E27FC236}">
                      <a16:creationId xmlns:a16="http://schemas.microsoft.com/office/drawing/2014/main" id="{8041710A-C457-4091-A108-D3F20E9599F8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7" name="Rechthoek 293">
                  <a:extLst>
                    <a:ext uri="{FF2B5EF4-FFF2-40B4-BE49-F238E27FC236}">
                      <a16:creationId xmlns:a16="http://schemas.microsoft.com/office/drawing/2014/main" id="{2180BB12-5DDB-46CF-B7BC-AAF5262B1195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8" name="Rechthoek 294">
                  <a:extLst>
                    <a:ext uri="{FF2B5EF4-FFF2-40B4-BE49-F238E27FC236}">
                      <a16:creationId xmlns:a16="http://schemas.microsoft.com/office/drawing/2014/main" id="{4EE169E8-99BF-40E4-81BA-E13F9EBDB9D2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9" name="Rechthoek 295">
                  <a:extLst>
                    <a:ext uri="{FF2B5EF4-FFF2-40B4-BE49-F238E27FC236}">
                      <a16:creationId xmlns:a16="http://schemas.microsoft.com/office/drawing/2014/main" id="{A6E86F78-2BBD-4B3E-B793-A9AEC014FA9D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292" name="Groep 278">
                <a:extLst>
                  <a:ext uri="{FF2B5EF4-FFF2-40B4-BE49-F238E27FC236}">
                    <a16:creationId xmlns:a16="http://schemas.microsoft.com/office/drawing/2014/main" id="{115C966E-4EE8-4C15-9562-49CB857CB522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296" name="Groep 282">
                  <a:extLst>
                    <a:ext uri="{FF2B5EF4-FFF2-40B4-BE49-F238E27FC236}">
                      <a16:creationId xmlns:a16="http://schemas.microsoft.com/office/drawing/2014/main" id="{7A6EB598-31BE-43DD-9DDE-A54F95EDDDE0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298" name="Rechthoek: afgeronde hoeken 284">
                    <a:extLst>
                      <a:ext uri="{FF2B5EF4-FFF2-40B4-BE49-F238E27FC236}">
                        <a16:creationId xmlns:a16="http://schemas.microsoft.com/office/drawing/2014/main" id="{759736AF-88C8-49DC-A2F6-CD334246352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2105"/>
                      </a:spcBef>
                      <a:spcAft>
                        <a:spcPts val="2105"/>
                      </a:spcAft>
                    </a:pPr>
                    <a:endParaRPr lang="nl-NL" sz="280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99" name="Rechthoek 285">
                    <a:extLst>
                      <a:ext uri="{FF2B5EF4-FFF2-40B4-BE49-F238E27FC236}">
                        <a16:creationId xmlns:a16="http://schemas.microsoft.com/office/drawing/2014/main" id="{279A3EAF-079D-43B1-827D-F8FED7205E3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0" name="Rechthoek 286">
                    <a:extLst>
                      <a:ext uri="{FF2B5EF4-FFF2-40B4-BE49-F238E27FC236}">
                        <a16:creationId xmlns:a16="http://schemas.microsoft.com/office/drawing/2014/main" id="{6FAB19FC-AED1-4616-A001-C03C7D98337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1" name="Rechthoek 287">
                    <a:extLst>
                      <a:ext uri="{FF2B5EF4-FFF2-40B4-BE49-F238E27FC236}">
                        <a16:creationId xmlns:a16="http://schemas.microsoft.com/office/drawing/2014/main" id="{34A7E423-E7CC-426E-BC06-9144592761B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2" name="Rechthoek 288">
                    <a:extLst>
                      <a:ext uri="{FF2B5EF4-FFF2-40B4-BE49-F238E27FC236}">
                        <a16:creationId xmlns:a16="http://schemas.microsoft.com/office/drawing/2014/main" id="{369030A0-90B4-455D-AF64-FE70CCC6D32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3" name="Rechthoek 289">
                    <a:extLst>
                      <a:ext uri="{FF2B5EF4-FFF2-40B4-BE49-F238E27FC236}">
                        <a16:creationId xmlns:a16="http://schemas.microsoft.com/office/drawing/2014/main" id="{B216A8D2-1122-436A-9A99-449167159CE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297" name="Boog 283">
                  <a:extLst>
                    <a:ext uri="{FF2B5EF4-FFF2-40B4-BE49-F238E27FC236}">
                      <a16:creationId xmlns:a16="http://schemas.microsoft.com/office/drawing/2014/main" id="{4C907D9B-DE0B-44F6-806E-7D4D6B53BE19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</p:grpSp>
          <p:sp>
            <p:nvSpPr>
              <p:cNvPr id="293" name="Tekstvak 279">
                <a:extLst>
                  <a:ext uri="{FF2B5EF4-FFF2-40B4-BE49-F238E27FC236}">
                    <a16:creationId xmlns:a16="http://schemas.microsoft.com/office/drawing/2014/main" id="{86A98F2D-E38C-4C4E-A3B4-DC99D4C79E7B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294" name="Tekstvak 280">
                <a:extLst>
                  <a:ext uri="{FF2B5EF4-FFF2-40B4-BE49-F238E27FC236}">
                    <a16:creationId xmlns:a16="http://schemas.microsoft.com/office/drawing/2014/main" id="{353385DF-A0E6-4CE9-9E8D-DA74E4E6348C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295" name="Picture 3">
                <a:extLst>
                  <a:ext uri="{FF2B5EF4-FFF2-40B4-BE49-F238E27FC236}">
                    <a16:creationId xmlns:a16="http://schemas.microsoft.com/office/drawing/2014/main" id="{43B3043F-F730-4FA6-86E7-82F6E4DD53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810206" y="3671228"/>
                <a:ext cx="14251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sp>
        <p:nvSpPr>
          <p:cNvPr id="142" name="Tijdelijke aanduiding voor tekst 4">
            <a:extLst>
              <a:ext uri="{FF2B5EF4-FFF2-40B4-BE49-F238E27FC236}">
                <a16:creationId xmlns:a16="http://schemas.microsoft.com/office/drawing/2014/main" id="{979ACD1D-A6F7-422F-B2AC-978EE21FAD1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742373" y="6476685"/>
            <a:ext cx="18171872" cy="1907433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grpSp>
        <p:nvGrpSpPr>
          <p:cNvPr id="143" name="Groep 101">
            <a:extLst>
              <a:ext uri="{FF2B5EF4-FFF2-40B4-BE49-F238E27FC236}">
                <a16:creationId xmlns:a16="http://schemas.microsoft.com/office/drawing/2014/main" id="{4D286C39-B37F-45E3-9869-B827A1D6AAB4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144" name="Rechthoek 102">
              <a:extLst>
                <a:ext uri="{FF2B5EF4-FFF2-40B4-BE49-F238E27FC236}">
                  <a16:creationId xmlns:a16="http://schemas.microsoft.com/office/drawing/2014/main" id="{944C8894-D377-4264-BA6C-4FDA3A3FE544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145" name="Ovaal 103">
              <a:extLst>
                <a:ext uri="{FF2B5EF4-FFF2-40B4-BE49-F238E27FC236}">
                  <a16:creationId xmlns:a16="http://schemas.microsoft.com/office/drawing/2014/main" id="{F93C350F-6D09-4744-A7F9-7BD9A88224DC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6" name="Rechte verbindingslijn 104">
              <a:extLst>
                <a:ext uri="{FF2B5EF4-FFF2-40B4-BE49-F238E27FC236}">
                  <a16:creationId xmlns:a16="http://schemas.microsoft.com/office/drawing/2014/main" id="{CBCB6014-CD8F-4573-8258-28219123DA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47" name="Groep 105">
              <a:extLst>
                <a:ext uri="{FF2B5EF4-FFF2-40B4-BE49-F238E27FC236}">
                  <a16:creationId xmlns:a16="http://schemas.microsoft.com/office/drawing/2014/main" id="{9065727D-50AD-4506-BD65-911D5DF63924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72" name="Rechthoek 130">
                <a:extLst>
                  <a:ext uri="{FF2B5EF4-FFF2-40B4-BE49-F238E27FC236}">
                    <a16:creationId xmlns:a16="http://schemas.microsoft.com/office/drawing/2014/main" id="{15DD44AF-BE5C-403B-8044-7F8FC7F6087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173" name="Rechte verbindingslijn 131">
                <a:extLst>
                  <a:ext uri="{FF2B5EF4-FFF2-40B4-BE49-F238E27FC236}">
                    <a16:creationId xmlns:a16="http://schemas.microsoft.com/office/drawing/2014/main" id="{C0A4188A-22F6-4D12-82C3-50B0F36B1B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Rechte verbindingslijn 132">
                <a:extLst>
                  <a:ext uri="{FF2B5EF4-FFF2-40B4-BE49-F238E27FC236}">
                    <a16:creationId xmlns:a16="http://schemas.microsoft.com/office/drawing/2014/main" id="{6A1AC77E-1438-4C62-8336-2E4FECE821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5" name="Rechthoek 133">
                <a:extLst>
                  <a:ext uri="{FF2B5EF4-FFF2-40B4-BE49-F238E27FC236}">
                    <a16:creationId xmlns:a16="http://schemas.microsoft.com/office/drawing/2014/main" id="{8A1EF3A2-4DDC-44A0-B251-1304C612F3D3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6" name="Groep 134">
                <a:extLst>
                  <a:ext uri="{FF2B5EF4-FFF2-40B4-BE49-F238E27FC236}">
                    <a16:creationId xmlns:a16="http://schemas.microsoft.com/office/drawing/2014/main" id="{5AE51326-131F-47DB-A72D-7A4868057468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19" name="Groep 175">
                  <a:extLst>
                    <a:ext uri="{FF2B5EF4-FFF2-40B4-BE49-F238E27FC236}">
                      <a16:creationId xmlns:a16="http://schemas.microsoft.com/office/drawing/2014/main" id="{D406BB82-8500-45C3-ADDC-406DAF460842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23" name="Rechte verbindingslijn 179">
                    <a:extLst>
                      <a:ext uri="{FF2B5EF4-FFF2-40B4-BE49-F238E27FC236}">
                        <a16:creationId xmlns:a16="http://schemas.microsoft.com/office/drawing/2014/main" id="{2772C8FB-6F73-4C02-B807-42578E33030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180">
                    <a:extLst>
                      <a:ext uri="{FF2B5EF4-FFF2-40B4-BE49-F238E27FC236}">
                        <a16:creationId xmlns:a16="http://schemas.microsoft.com/office/drawing/2014/main" id="{4FC40D80-A025-40E3-AE18-00AB4C384A1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181">
                    <a:extLst>
                      <a:ext uri="{FF2B5EF4-FFF2-40B4-BE49-F238E27FC236}">
                        <a16:creationId xmlns:a16="http://schemas.microsoft.com/office/drawing/2014/main" id="{298B0897-0970-4461-92EB-52CAB9E4D11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182">
                    <a:extLst>
                      <a:ext uri="{FF2B5EF4-FFF2-40B4-BE49-F238E27FC236}">
                        <a16:creationId xmlns:a16="http://schemas.microsoft.com/office/drawing/2014/main" id="{F41A4FE8-90A3-4651-AB63-5ABED9B32F4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7" name="Rechte verbindingslijn 183">
                    <a:extLst>
                      <a:ext uri="{FF2B5EF4-FFF2-40B4-BE49-F238E27FC236}">
                        <a16:creationId xmlns:a16="http://schemas.microsoft.com/office/drawing/2014/main" id="{9601243A-A3FA-4474-B36E-BFFE34C6B7D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0" name="Groep 176">
                  <a:extLst>
                    <a:ext uri="{FF2B5EF4-FFF2-40B4-BE49-F238E27FC236}">
                      <a16:creationId xmlns:a16="http://schemas.microsoft.com/office/drawing/2014/main" id="{98FA33BA-83B3-40FB-BE24-B4EBAE8CD08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1" name="Rechthoek 177">
                    <a:extLst>
                      <a:ext uri="{FF2B5EF4-FFF2-40B4-BE49-F238E27FC236}">
                        <a16:creationId xmlns:a16="http://schemas.microsoft.com/office/drawing/2014/main" id="{82674E21-F45F-4212-A375-BAD53E8733B1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2" name="Pijl: punthaak 178">
                    <a:extLst>
                      <a:ext uri="{FF2B5EF4-FFF2-40B4-BE49-F238E27FC236}">
                        <a16:creationId xmlns:a16="http://schemas.microsoft.com/office/drawing/2014/main" id="{4EDDA88B-C048-4B01-8366-1D465AC13E81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7" name="Groep 135">
                <a:extLst>
                  <a:ext uri="{FF2B5EF4-FFF2-40B4-BE49-F238E27FC236}">
                    <a16:creationId xmlns:a16="http://schemas.microsoft.com/office/drawing/2014/main" id="{59A13C78-37AF-4994-A28B-A76349C6472C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0" name="Groep 166">
                  <a:extLst>
                    <a:ext uri="{FF2B5EF4-FFF2-40B4-BE49-F238E27FC236}">
                      <a16:creationId xmlns:a16="http://schemas.microsoft.com/office/drawing/2014/main" id="{118B98EB-79D0-49B4-9785-D2A1F21B4CE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14" name="Rechte verbindingslijn 170">
                    <a:extLst>
                      <a:ext uri="{FF2B5EF4-FFF2-40B4-BE49-F238E27FC236}">
                        <a16:creationId xmlns:a16="http://schemas.microsoft.com/office/drawing/2014/main" id="{0D56F576-CD09-4B80-8736-8D67B356397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5" name="Rechte verbindingslijn 171">
                    <a:extLst>
                      <a:ext uri="{FF2B5EF4-FFF2-40B4-BE49-F238E27FC236}">
                        <a16:creationId xmlns:a16="http://schemas.microsoft.com/office/drawing/2014/main" id="{23DBBE4F-33B5-40E8-AD71-F8B0BB8278D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6" name="Rechte verbindingslijn 172">
                    <a:extLst>
                      <a:ext uri="{FF2B5EF4-FFF2-40B4-BE49-F238E27FC236}">
                        <a16:creationId xmlns:a16="http://schemas.microsoft.com/office/drawing/2014/main" id="{8C2D9578-34D2-470D-BCD9-B54B35070B7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7" name="Rechte verbindingslijn 173">
                    <a:extLst>
                      <a:ext uri="{FF2B5EF4-FFF2-40B4-BE49-F238E27FC236}">
                        <a16:creationId xmlns:a16="http://schemas.microsoft.com/office/drawing/2014/main" id="{81D169F8-8C14-497D-976E-38E4EB7BBB4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8" name="Rechte verbindingslijn 174">
                    <a:extLst>
                      <a:ext uri="{FF2B5EF4-FFF2-40B4-BE49-F238E27FC236}">
                        <a16:creationId xmlns:a16="http://schemas.microsoft.com/office/drawing/2014/main" id="{65DBB552-A277-4750-954E-C2CF2A5D6AE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1" name="Groep 167">
                  <a:extLst>
                    <a:ext uri="{FF2B5EF4-FFF2-40B4-BE49-F238E27FC236}">
                      <a16:creationId xmlns:a16="http://schemas.microsoft.com/office/drawing/2014/main" id="{118E80A2-6FDE-44BA-AEB9-2999FD347A2A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12" name="Rechthoek 168">
                    <a:extLst>
                      <a:ext uri="{FF2B5EF4-FFF2-40B4-BE49-F238E27FC236}">
                        <a16:creationId xmlns:a16="http://schemas.microsoft.com/office/drawing/2014/main" id="{AA506F63-2EB2-4ED7-80E6-5B7113DC39E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3" name="Pijl: punthaak 169">
                    <a:extLst>
                      <a:ext uri="{FF2B5EF4-FFF2-40B4-BE49-F238E27FC236}">
                        <a16:creationId xmlns:a16="http://schemas.microsoft.com/office/drawing/2014/main" id="{019E5937-7BD1-42B6-8530-9E5EC39F9C1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8" name="Rechte verbindingslijn 136">
                <a:extLst>
                  <a:ext uri="{FF2B5EF4-FFF2-40B4-BE49-F238E27FC236}">
                    <a16:creationId xmlns:a16="http://schemas.microsoft.com/office/drawing/2014/main" id="{9DB93ED7-7671-4649-806E-D3AB47854AC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9" name="Rechte verbindingslijn 137">
                <a:extLst>
                  <a:ext uri="{FF2B5EF4-FFF2-40B4-BE49-F238E27FC236}">
                    <a16:creationId xmlns:a16="http://schemas.microsoft.com/office/drawing/2014/main" id="{4D13CC20-C9BD-4BC8-8460-C2870CA76B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80" name="Groep 138">
                <a:extLst>
                  <a:ext uri="{FF2B5EF4-FFF2-40B4-BE49-F238E27FC236}">
                    <a16:creationId xmlns:a16="http://schemas.microsoft.com/office/drawing/2014/main" id="{E4DF3DFD-114A-46B3-B260-86063CF5EF4C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9" name="Rechthoek 155">
                  <a:extLst>
                    <a:ext uri="{FF2B5EF4-FFF2-40B4-BE49-F238E27FC236}">
                      <a16:creationId xmlns:a16="http://schemas.microsoft.com/office/drawing/2014/main" id="{006B03D4-B035-44AA-9B4E-F4E0A37C0883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0" name="Groep 156">
                  <a:extLst>
                    <a:ext uri="{FF2B5EF4-FFF2-40B4-BE49-F238E27FC236}">
                      <a16:creationId xmlns:a16="http://schemas.microsoft.com/office/drawing/2014/main" id="{CD2FB3DE-2823-4200-8809-30946597F6E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1" name="Groep 157">
                    <a:extLst>
                      <a:ext uri="{FF2B5EF4-FFF2-40B4-BE49-F238E27FC236}">
                        <a16:creationId xmlns:a16="http://schemas.microsoft.com/office/drawing/2014/main" id="{8A3AA366-0479-40AB-AEBB-C2A5A46D9824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05" name="Rechte verbindingslijn 161">
                      <a:extLst>
                        <a:ext uri="{FF2B5EF4-FFF2-40B4-BE49-F238E27FC236}">
                          <a16:creationId xmlns:a16="http://schemas.microsoft.com/office/drawing/2014/main" id="{32CBD66F-D88C-4DF2-93A2-AE4CF4EFC63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162">
                      <a:extLst>
                        <a:ext uri="{FF2B5EF4-FFF2-40B4-BE49-F238E27FC236}">
                          <a16:creationId xmlns:a16="http://schemas.microsoft.com/office/drawing/2014/main" id="{D52277AA-ED86-4F5B-B317-3BE78AF6082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7" name="Rechte verbindingslijn 163">
                      <a:extLst>
                        <a:ext uri="{FF2B5EF4-FFF2-40B4-BE49-F238E27FC236}">
                          <a16:creationId xmlns:a16="http://schemas.microsoft.com/office/drawing/2014/main" id="{963E4F93-4FDE-4795-A9B9-F43285A8E5D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8" name="Rechte verbindingslijn 164">
                      <a:extLst>
                        <a:ext uri="{FF2B5EF4-FFF2-40B4-BE49-F238E27FC236}">
                          <a16:creationId xmlns:a16="http://schemas.microsoft.com/office/drawing/2014/main" id="{6E2A2BB2-A62A-4F64-82F9-6E2356A21CC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9" name="Rechte verbindingslijn 165">
                      <a:extLst>
                        <a:ext uri="{FF2B5EF4-FFF2-40B4-BE49-F238E27FC236}">
                          <a16:creationId xmlns:a16="http://schemas.microsoft.com/office/drawing/2014/main" id="{FA44C2E0-8775-4851-B46C-1726E5B2CD0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02" name="Groep 158">
                    <a:extLst>
                      <a:ext uri="{FF2B5EF4-FFF2-40B4-BE49-F238E27FC236}">
                        <a16:creationId xmlns:a16="http://schemas.microsoft.com/office/drawing/2014/main" id="{1A993373-9AD6-43C3-BB85-CAED754EA7A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3" name="Rechthoek 159">
                      <a:extLst>
                        <a:ext uri="{FF2B5EF4-FFF2-40B4-BE49-F238E27FC236}">
                          <a16:creationId xmlns:a16="http://schemas.microsoft.com/office/drawing/2014/main" id="{EFBE0133-4B34-4997-9164-0D8957B71FA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4" name="Pijl: punthaak 160">
                      <a:extLst>
                        <a:ext uri="{FF2B5EF4-FFF2-40B4-BE49-F238E27FC236}">
                          <a16:creationId xmlns:a16="http://schemas.microsoft.com/office/drawing/2014/main" id="{F976B86F-DEE4-4D36-ADDA-D303FF19924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81" name="Groep 139">
                <a:extLst>
                  <a:ext uri="{FF2B5EF4-FFF2-40B4-BE49-F238E27FC236}">
                    <a16:creationId xmlns:a16="http://schemas.microsoft.com/office/drawing/2014/main" id="{75CD57CE-4920-4882-B57E-5E118F8DB4B2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84" name="Rechthoek 142">
                  <a:extLst>
                    <a:ext uri="{FF2B5EF4-FFF2-40B4-BE49-F238E27FC236}">
                      <a16:creationId xmlns:a16="http://schemas.microsoft.com/office/drawing/2014/main" id="{159E2C3E-1C31-41D2-BC52-B16CFCD6FED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5" name="Groep 143">
                  <a:extLst>
                    <a:ext uri="{FF2B5EF4-FFF2-40B4-BE49-F238E27FC236}">
                      <a16:creationId xmlns:a16="http://schemas.microsoft.com/office/drawing/2014/main" id="{D70C491B-9249-4A2D-BB5E-6B6DB2BA2AC7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6" name="Groep 144">
                    <a:extLst>
                      <a:ext uri="{FF2B5EF4-FFF2-40B4-BE49-F238E27FC236}">
                        <a16:creationId xmlns:a16="http://schemas.microsoft.com/office/drawing/2014/main" id="{31F41F17-5472-42EB-8EA5-76172877EBE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90" name="Rechte verbindingslijn 150">
                      <a:extLst>
                        <a:ext uri="{FF2B5EF4-FFF2-40B4-BE49-F238E27FC236}">
                          <a16:creationId xmlns:a16="http://schemas.microsoft.com/office/drawing/2014/main" id="{182D5F25-DD9D-40B9-AAF3-B2A207F2490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5" name="Rechte verbindingslijn 151">
                      <a:extLst>
                        <a:ext uri="{FF2B5EF4-FFF2-40B4-BE49-F238E27FC236}">
                          <a16:creationId xmlns:a16="http://schemas.microsoft.com/office/drawing/2014/main" id="{73DC6B8C-9418-4A2D-AEFF-D4D5A088D48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6" name="Rechte verbindingslijn 152">
                      <a:extLst>
                        <a:ext uri="{FF2B5EF4-FFF2-40B4-BE49-F238E27FC236}">
                          <a16:creationId xmlns:a16="http://schemas.microsoft.com/office/drawing/2014/main" id="{2B1677E2-F5CC-4A1B-980A-7D011D3F50B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53">
                      <a:extLst>
                        <a:ext uri="{FF2B5EF4-FFF2-40B4-BE49-F238E27FC236}">
                          <a16:creationId xmlns:a16="http://schemas.microsoft.com/office/drawing/2014/main" id="{58AE262F-9439-4E26-93F8-94FDAF3C6E4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8" name="Rechte verbindingslijn 154">
                      <a:extLst>
                        <a:ext uri="{FF2B5EF4-FFF2-40B4-BE49-F238E27FC236}">
                          <a16:creationId xmlns:a16="http://schemas.microsoft.com/office/drawing/2014/main" id="{04AB2C8B-EC63-4D20-B43D-4B89B4A3453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7" name="Groep 147">
                    <a:extLst>
                      <a:ext uri="{FF2B5EF4-FFF2-40B4-BE49-F238E27FC236}">
                        <a16:creationId xmlns:a16="http://schemas.microsoft.com/office/drawing/2014/main" id="{59FE7491-82A3-44EC-AF88-F1B3B1CAFECC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8" name="Rechthoek 148">
                      <a:extLst>
                        <a:ext uri="{FF2B5EF4-FFF2-40B4-BE49-F238E27FC236}">
                          <a16:creationId xmlns:a16="http://schemas.microsoft.com/office/drawing/2014/main" id="{28EB51A7-6350-46A0-BF67-4D8B05CF85D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9" name="Pijl: punthaak 149">
                      <a:extLst>
                        <a:ext uri="{FF2B5EF4-FFF2-40B4-BE49-F238E27FC236}">
                          <a16:creationId xmlns:a16="http://schemas.microsoft.com/office/drawing/2014/main" id="{7F9952C6-F38C-4F9A-A33C-016F3FD28743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82" name="Rechthoek 140">
                <a:extLst>
                  <a:ext uri="{FF2B5EF4-FFF2-40B4-BE49-F238E27FC236}">
                    <a16:creationId xmlns:a16="http://schemas.microsoft.com/office/drawing/2014/main" id="{C21F0129-707C-4327-AB56-D7F6F14E4F8A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183" name="Rechthoek 141">
                <a:extLst>
                  <a:ext uri="{FF2B5EF4-FFF2-40B4-BE49-F238E27FC236}">
                    <a16:creationId xmlns:a16="http://schemas.microsoft.com/office/drawing/2014/main" id="{D2E5FF6C-90A9-4A07-BCC6-71BA8E8D26C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148" name="Rechte verbindingslijn 106">
              <a:extLst>
                <a:ext uri="{FF2B5EF4-FFF2-40B4-BE49-F238E27FC236}">
                  <a16:creationId xmlns:a16="http://schemas.microsoft.com/office/drawing/2014/main" id="{56F22300-5841-4ABF-806D-0702D027367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9" name="Rechthoek 107">
              <a:extLst>
                <a:ext uri="{FF2B5EF4-FFF2-40B4-BE49-F238E27FC236}">
                  <a16:creationId xmlns:a16="http://schemas.microsoft.com/office/drawing/2014/main" id="{5B354ADB-C797-4674-A998-90F7647C0A94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150" name="Ovaal 108">
              <a:extLst>
                <a:ext uri="{FF2B5EF4-FFF2-40B4-BE49-F238E27FC236}">
                  <a16:creationId xmlns:a16="http://schemas.microsoft.com/office/drawing/2014/main" id="{73FDE349-3061-47AA-A94C-01A160EFB0A9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1" name="Rechthoek 109">
              <a:extLst>
                <a:ext uri="{FF2B5EF4-FFF2-40B4-BE49-F238E27FC236}">
                  <a16:creationId xmlns:a16="http://schemas.microsoft.com/office/drawing/2014/main" id="{811FCDB0-DBB7-4C50-B6E3-260649866912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152" name="Ovaal 110">
              <a:extLst>
                <a:ext uri="{FF2B5EF4-FFF2-40B4-BE49-F238E27FC236}">
                  <a16:creationId xmlns:a16="http://schemas.microsoft.com/office/drawing/2014/main" id="{72B510FD-7BEE-444B-981C-B1963357D222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11">
              <a:extLst>
                <a:ext uri="{FF2B5EF4-FFF2-40B4-BE49-F238E27FC236}">
                  <a16:creationId xmlns:a16="http://schemas.microsoft.com/office/drawing/2014/main" id="{C480475F-8523-40B4-BCD8-1DA2CF65A392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54" name="Ovaal 112">
              <a:extLst>
                <a:ext uri="{FF2B5EF4-FFF2-40B4-BE49-F238E27FC236}">
                  <a16:creationId xmlns:a16="http://schemas.microsoft.com/office/drawing/2014/main" id="{186A1C9F-2458-4645-9C69-54899B38863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55" name="Rechthoek 113">
              <a:extLst>
                <a:ext uri="{FF2B5EF4-FFF2-40B4-BE49-F238E27FC236}">
                  <a16:creationId xmlns:a16="http://schemas.microsoft.com/office/drawing/2014/main" id="{CE4D95FD-5481-4D5C-9A2C-D0F6233EF34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156" name="Ovaal 114">
              <a:extLst>
                <a:ext uri="{FF2B5EF4-FFF2-40B4-BE49-F238E27FC236}">
                  <a16:creationId xmlns:a16="http://schemas.microsoft.com/office/drawing/2014/main" id="{1D4FC37F-0923-4318-B199-CA61F6469B9F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57" name="Rechthoek 115">
              <a:extLst>
                <a:ext uri="{FF2B5EF4-FFF2-40B4-BE49-F238E27FC236}">
                  <a16:creationId xmlns:a16="http://schemas.microsoft.com/office/drawing/2014/main" id="{175215EE-EC19-4229-8E89-2D1D81339CC8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158" name="Rechte verbindingslijn 116">
              <a:extLst>
                <a:ext uri="{FF2B5EF4-FFF2-40B4-BE49-F238E27FC236}">
                  <a16:creationId xmlns:a16="http://schemas.microsoft.com/office/drawing/2014/main" id="{F90625D9-C302-4274-B890-9806D886D9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9" name="Meer informatie">
              <a:extLst>
                <a:ext uri="{FF2B5EF4-FFF2-40B4-BE49-F238E27FC236}">
                  <a16:creationId xmlns:a16="http://schemas.microsoft.com/office/drawing/2014/main" id="{BEFA6189-A44A-4D2B-AD4C-8ED00B890525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169" name="Freeform 101">
                <a:extLst>
                  <a:ext uri="{FF2B5EF4-FFF2-40B4-BE49-F238E27FC236}">
                    <a16:creationId xmlns:a16="http://schemas.microsoft.com/office/drawing/2014/main" id="{BDC98ECD-C1B9-4F03-8B5D-93BA423E99E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170" name="Rechthoek 128">
                <a:extLst>
                  <a:ext uri="{FF2B5EF4-FFF2-40B4-BE49-F238E27FC236}">
                    <a16:creationId xmlns:a16="http://schemas.microsoft.com/office/drawing/2014/main" id="{5899CC6B-9CE8-4E35-982E-2B83CE5CB7B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71" name="Rechte verbindingslijn 129">
                <a:extLst>
                  <a:ext uri="{FF2B5EF4-FFF2-40B4-BE49-F238E27FC236}">
                    <a16:creationId xmlns:a16="http://schemas.microsoft.com/office/drawing/2014/main" id="{C94587DD-4929-430D-B1EE-B1C75908F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0" name="Rechthoek 118">
              <a:extLst>
                <a:ext uri="{FF2B5EF4-FFF2-40B4-BE49-F238E27FC236}">
                  <a16:creationId xmlns:a16="http://schemas.microsoft.com/office/drawing/2014/main" id="{A1017692-AD5D-4A0D-B5BE-BD2B06FDA75B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161" name="Ovaal 119">
              <a:extLst>
                <a:ext uri="{FF2B5EF4-FFF2-40B4-BE49-F238E27FC236}">
                  <a16:creationId xmlns:a16="http://schemas.microsoft.com/office/drawing/2014/main" id="{FB9F9498-6399-46A8-A801-E2ED0F64580C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2" name="Rechthoek 120">
              <a:extLst>
                <a:ext uri="{FF2B5EF4-FFF2-40B4-BE49-F238E27FC236}">
                  <a16:creationId xmlns:a16="http://schemas.microsoft.com/office/drawing/2014/main" id="{14BD74E6-72C0-46B0-9129-DD59FDB72EF9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63" name="Ovaal 121">
              <a:extLst>
                <a:ext uri="{FF2B5EF4-FFF2-40B4-BE49-F238E27FC236}">
                  <a16:creationId xmlns:a16="http://schemas.microsoft.com/office/drawing/2014/main" id="{680686A9-63CD-413D-AFA8-B5ECD88E2371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4" name="Rechthoek 122">
              <a:extLst>
                <a:ext uri="{FF2B5EF4-FFF2-40B4-BE49-F238E27FC236}">
                  <a16:creationId xmlns:a16="http://schemas.microsoft.com/office/drawing/2014/main" id="{DB775F49-602E-4FF4-9FBB-1C97689F3283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165" name="Ovaal 123">
              <a:extLst>
                <a:ext uri="{FF2B5EF4-FFF2-40B4-BE49-F238E27FC236}">
                  <a16:creationId xmlns:a16="http://schemas.microsoft.com/office/drawing/2014/main" id="{6D423C6F-1944-4CE4-866E-F3212E222344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6" name="Rechthoek 124">
              <a:extLst>
                <a:ext uri="{FF2B5EF4-FFF2-40B4-BE49-F238E27FC236}">
                  <a16:creationId xmlns:a16="http://schemas.microsoft.com/office/drawing/2014/main" id="{24504841-3319-4AFB-AB23-DD005B6BA6B6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67" name="Rechthoek 125">
              <a:extLst>
                <a:ext uri="{FF2B5EF4-FFF2-40B4-BE49-F238E27FC236}">
                  <a16:creationId xmlns:a16="http://schemas.microsoft.com/office/drawing/2014/main" id="{6172DF5C-61BF-429B-B8BB-788DBE393306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168" name="Ovaal 126">
              <a:extLst>
                <a:ext uri="{FF2B5EF4-FFF2-40B4-BE49-F238E27FC236}">
                  <a16:creationId xmlns:a16="http://schemas.microsoft.com/office/drawing/2014/main" id="{223D42B2-601C-4C04-A92F-CA571CF47C03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  <p:sp>
        <p:nvSpPr>
          <p:cNvPr id="228" name="Tijdelijke aanduiding voor tekst 3">
            <a:extLst>
              <a:ext uri="{FF2B5EF4-FFF2-40B4-BE49-F238E27FC236}">
                <a16:creationId xmlns:a16="http://schemas.microsoft.com/office/drawing/2014/main" id="{FFC2BDB8-507D-4930-A994-4A50B17D66B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504415" y="1449454"/>
            <a:ext cx="6635238" cy="3534585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51"/>
            </a:lvl1pPr>
          </a:lstStyle>
          <a:p>
            <a:pPr lvl="0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54826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Foto 25%/75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jdelijke aanduiding voor afbeelding 9">
            <a:extLst>
              <a:ext uri="{FF2B5EF4-FFF2-40B4-BE49-F238E27FC236}">
                <a16:creationId xmlns:a16="http://schemas.microsoft.com/office/drawing/2014/main" id="{9A5BC6B5-1D0E-4188-AFCB-6E3ED1DEF1F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7808958" y="7"/>
            <a:ext cx="24956939" cy="30306751"/>
          </a:xfrm>
          <a:solidFill>
            <a:schemeClr val="bg1">
              <a:lumMod val="95000"/>
            </a:schemeClr>
          </a:solidFill>
        </p:spPr>
        <p:txBody>
          <a:bodyPr tIns="1260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66B7AAC1-E359-4778-A0B1-A6417129C9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41" name="Tijdelijke aanduiding voor tekst 14">
            <a:extLst>
              <a:ext uri="{FF2B5EF4-FFF2-40B4-BE49-F238E27FC236}">
                <a16:creationId xmlns:a16="http://schemas.microsoft.com/office/drawing/2014/main" id="{E72B3531-34B4-4628-B8C4-9BDACE48A2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50" name="Tijdelijke aanduiding voor voettekst 4">
            <a:extLst>
              <a:ext uri="{FF2B5EF4-FFF2-40B4-BE49-F238E27FC236}">
                <a16:creationId xmlns:a16="http://schemas.microsoft.com/office/drawing/2014/main" id="{A09270D3-9B17-4316-B7B6-C7B06757C4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51" name="Tijdelijke aanduiding voor dianummer 5">
            <a:extLst>
              <a:ext uri="{FF2B5EF4-FFF2-40B4-BE49-F238E27FC236}">
                <a16:creationId xmlns:a16="http://schemas.microsoft.com/office/drawing/2014/main" id="{29AED214-F757-4754-B7D3-9AC75D03D5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2" y="27329718"/>
            <a:ext cx="857527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19" name="Tijdelijke aanduiding voor datum 3">
            <a:extLst>
              <a:ext uri="{FF2B5EF4-FFF2-40B4-BE49-F238E27FC236}">
                <a16:creationId xmlns:a16="http://schemas.microsoft.com/office/drawing/2014/main" id="{0AEE7348-CAF6-4BB8-9EF6-AA8E5C2958D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4B87A2C-4DDA-4D72-8940-56FC5F8DE267}" type="datetime1">
              <a:rPr lang="nl-NL" noProof="0" smtClean="0"/>
              <a:t>26-6-2023</a:t>
            </a:fld>
            <a:endParaRPr lang="nl-NL" noProof="0"/>
          </a:p>
        </p:txBody>
      </p:sp>
      <p:grpSp>
        <p:nvGrpSpPr>
          <p:cNvPr id="191" name="Groep 258">
            <a:extLst>
              <a:ext uri="{FF2B5EF4-FFF2-40B4-BE49-F238E27FC236}">
                <a16:creationId xmlns:a16="http://schemas.microsoft.com/office/drawing/2014/main" id="{40FB5E3A-1683-4354-B237-BC02ED9919F8}"/>
              </a:ext>
            </a:extLst>
          </p:cNvPr>
          <p:cNvGrpSpPr/>
          <p:nvPr userDrawn="1"/>
        </p:nvGrpSpPr>
        <p:grpSpPr>
          <a:xfrm>
            <a:off x="43467416" y="5"/>
            <a:ext cx="11167745" cy="23084356"/>
            <a:chOff x="12391601" y="0"/>
            <a:chExt cx="3183678" cy="5229113"/>
          </a:xfrm>
        </p:grpSpPr>
        <p:grpSp>
          <p:nvGrpSpPr>
            <p:cNvPr id="192" name="Meer informatie">
              <a:extLst>
                <a:ext uri="{FF2B5EF4-FFF2-40B4-BE49-F238E27FC236}">
                  <a16:creationId xmlns:a16="http://schemas.microsoft.com/office/drawing/2014/main" id="{E2466BC4-A1C5-4257-B659-F376459BEE07}"/>
                </a:ext>
              </a:extLst>
            </p:cNvPr>
            <p:cNvGrpSpPr/>
            <p:nvPr userDrawn="1"/>
          </p:nvGrpSpPr>
          <p:grpSpPr>
            <a:xfrm>
              <a:off x="12396764" y="4445840"/>
              <a:ext cx="3178515" cy="783273"/>
              <a:chOff x="-3741486" y="3386444"/>
              <a:chExt cx="3178515" cy="783273"/>
            </a:xfrm>
          </p:grpSpPr>
          <p:sp>
            <p:nvSpPr>
              <p:cNvPr id="369" name="Freeform 101">
                <a:extLst>
                  <a:ext uri="{FF2B5EF4-FFF2-40B4-BE49-F238E27FC236}">
                    <a16:creationId xmlns:a16="http://schemas.microsoft.com/office/drawing/2014/main" id="{54E5E35F-A86F-440C-9DA8-EDD14FDF86F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370" name="Rechthoek 306">
                <a:extLst>
                  <a:ext uri="{FF2B5EF4-FFF2-40B4-BE49-F238E27FC236}">
                    <a16:creationId xmlns:a16="http://schemas.microsoft.com/office/drawing/2014/main" id="{E3567B7D-D6CE-4F6F-B28E-491B22F93CDD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71" name="Rechte verbindingslijn 307">
                <a:extLst>
                  <a:ext uri="{FF2B5EF4-FFF2-40B4-BE49-F238E27FC236}">
                    <a16:creationId xmlns:a16="http://schemas.microsoft.com/office/drawing/2014/main" id="{FB6105DD-C255-4BC8-95EF-A32284FD39C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93" name="Rechthoek 260">
              <a:extLst>
                <a:ext uri="{FF2B5EF4-FFF2-40B4-BE49-F238E27FC236}">
                  <a16:creationId xmlns:a16="http://schemas.microsoft.com/office/drawing/2014/main" id="{B4D1CE57-C41E-4F0F-AAFF-05BE38B4AEA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194" name="Ovaal 261">
              <a:extLst>
                <a:ext uri="{FF2B5EF4-FFF2-40B4-BE49-F238E27FC236}">
                  <a16:creationId xmlns:a16="http://schemas.microsoft.com/office/drawing/2014/main" id="{9A448CEC-8570-4E0B-900C-F1AFE2788B8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76" name="Rechte verbindingslijn 262">
              <a:extLst>
                <a:ext uri="{FF2B5EF4-FFF2-40B4-BE49-F238E27FC236}">
                  <a16:creationId xmlns:a16="http://schemas.microsoft.com/office/drawing/2014/main" id="{FAFB83D2-2840-4B20-9D47-C8EE2F4978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77" name="Rechte verbindingslijn 263">
              <a:extLst>
                <a:ext uri="{FF2B5EF4-FFF2-40B4-BE49-F238E27FC236}">
                  <a16:creationId xmlns:a16="http://schemas.microsoft.com/office/drawing/2014/main" id="{C63336C0-4614-4139-9F4B-DEAA3B7FFB7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78" name="Rechthoek 264">
              <a:extLst>
                <a:ext uri="{FF2B5EF4-FFF2-40B4-BE49-F238E27FC236}">
                  <a16:creationId xmlns:a16="http://schemas.microsoft.com/office/drawing/2014/main" id="{3A6B0D9B-3BD8-4EB5-98D2-D8D7BBC9C752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oor deze te selecteren en op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om een nieuwe afbeelding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279" name="Rechte verbindingslijn 265">
              <a:extLst>
                <a:ext uri="{FF2B5EF4-FFF2-40B4-BE49-F238E27FC236}">
                  <a16:creationId xmlns:a16="http://schemas.microsoft.com/office/drawing/2014/main" id="{31A6A145-5BF5-4790-9C90-57EC1AD961A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4327957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80" name="Ovaal 266">
              <a:extLst>
                <a:ext uri="{FF2B5EF4-FFF2-40B4-BE49-F238E27FC236}">
                  <a16:creationId xmlns:a16="http://schemas.microsoft.com/office/drawing/2014/main" id="{2999D9ED-9CBF-4414-B005-7521B3BAE7B8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81" name="Rechthoek 267">
              <a:extLst>
                <a:ext uri="{FF2B5EF4-FFF2-40B4-BE49-F238E27FC236}">
                  <a16:creationId xmlns:a16="http://schemas.microsoft.com/office/drawing/2014/main" id="{AFBCFE4F-8468-4E34-9BD3-4F78F21B1B1A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82" name="Groep 268">
              <a:extLst>
                <a:ext uri="{FF2B5EF4-FFF2-40B4-BE49-F238E27FC236}">
                  <a16:creationId xmlns:a16="http://schemas.microsoft.com/office/drawing/2014/main" id="{8EA65BB4-18FF-4CD3-A111-48F58DAB3067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6" name="Rechthoek 302">
                <a:extLst>
                  <a:ext uri="{FF2B5EF4-FFF2-40B4-BE49-F238E27FC236}">
                    <a16:creationId xmlns:a16="http://schemas.microsoft.com/office/drawing/2014/main" id="{DE42ED16-EA6E-491F-9FDF-C217DB0F87B3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367" name="Rechte verbindingslijn 303">
                <a:extLst>
                  <a:ext uri="{FF2B5EF4-FFF2-40B4-BE49-F238E27FC236}">
                    <a16:creationId xmlns:a16="http://schemas.microsoft.com/office/drawing/2014/main" id="{9B528681-8CB4-4038-851F-93689F45977F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8" name="Gelijkbenige driehoek 304">
                <a:extLst>
                  <a:ext uri="{FF2B5EF4-FFF2-40B4-BE49-F238E27FC236}">
                    <a16:creationId xmlns:a16="http://schemas.microsoft.com/office/drawing/2014/main" id="{ACB706CD-267C-4F02-9B2E-D398C339CFA7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283" name="Groep 269">
              <a:extLst>
                <a:ext uri="{FF2B5EF4-FFF2-40B4-BE49-F238E27FC236}">
                  <a16:creationId xmlns:a16="http://schemas.microsoft.com/office/drawing/2014/main" id="{20C36CE3-02FB-485A-ADF5-3228EC9E1CF3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360" name="Rechthoek 296">
                <a:extLst>
                  <a:ext uri="{FF2B5EF4-FFF2-40B4-BE49-F238E27FC236}">
                    <a16:creationId xmlns:a16="http://schemas.microsoft.com/office/drawing/2014/main" id="{2576F5FE-D63E-4391-9E4A-21C1700EEAE4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1" name="Ovaal 297">
                <a:extLst>
                  <a:ext uri="{FF2B5EF4-FFF2-40B4-BE49-F238E27FC236}">
                    <a16:creationId xmlns:a16="http://schemas.microsoft.com/office/drawing/2014/main" id="{1F7C324A-DD50-4C1D-8A67-2090A494114D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2" name="Vrije vorm: vorm 298">
                <a:extLst>
                  <a:ext uri="{FF2B5EF4-FFF2-40B4-BE49-F238E27FC236}">
                    <a16:creationId xmlns:a16="http://schemas.microsoft.com/office/drawing/2014/main" id="{A7F13442-6C8F-4B85-A9EC-920F0334071C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Rechthoek: afgeronde hoeken 299">
                <a:extLst>
                  <a:ext uri="{FF2B5EF4-FFF2-40B4-BE49-F238E27FC236}">
                    <a16:creationId xmlns:a16="http://schemas.microsoft.com/office/drawing/2014/main" id="{ACE54911-B6E3-405E-B570-C1081CEC07A2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4" name="Rechte verbindingslijn 300">
                <a:extLst>
                  <a:ext uri="{FF2B5EF4-FFF2-40B4-BE49-F238E27FC236}">
                    <a16:creationId xmlns:a16="http://schemas.microsoft.com/office/drawing/2014/main" id="{7855BE15-885A-4F48-ACE5-4F0B0B885E7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5" name="Rechte verbindingslijn 301">
                <a:extLst>
                  <a:ext uri="{FF2B5EF4-FFF2-40B4-BE49-F238E27FC236}">
                    <a16:creationId xmlns:a16="http://schemas.microsoft.com/office/drawing/2014/main" id="{B9AE14E8-A1B4-47B1-A306-1E240713AFCA}"/>
                  </a:ext>
                </a:extLst>
              </p:cNvPr>
              <p:cNvCxnSpPr>
                <a:cxnSpLocks/>
                <a:stCxn id="363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284" name="Ovaal 270">
              <a:extLst>
                <a:ext uri="{FF2B5EF4-FFF2-40B4-BE49-F238E27FC236}">
                  <a16:creationId xmlns:a16="http://schemas.microsoft.com/office/drawing/2014/main" id="{29DF477B-AE11-418A-B31D-CD638DF3A1F9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85" name="Rechthoek 271">
              <a:extLst>
                <a:ext uri="{FF2B5EF4-FFF2-40B4-BE49-F238E27FC236}">
                  <a16:creationId xmlns:a16="http://schemas.microsoft.com/office/drawing/2014/main" id="{5564A70B-0928-4F44-A943-9F4780918B27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43320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aan de linker kant van het scherm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286" name="Rechte verbindingslijn 272">
              <a:extLst>
                <a:ext uri="{FF2B5EF4-FFF2-40B4-BE49-F238E27FC236}">
                  <a16:creationId xmlns:a16="http://schemas.microsoft.com/office/drawing/2014/main" id="{F3C3B2AF-1084-49A9-B902-4BFB5B0F679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87" name="Rechthoek 273">
              <a:extLst>
                <a:ext uri="{FF2B5EF4-FFF2-40B4-BE49-F238E27FC236}">
                  <a16:creationId xmlns:a16="http://schemas.microsoft.com/office/drawing/2014/main" id="{A135759B-43B6-43BC-8360-44D2CBAFC9F9}"/>
                </a:ext>
              </a:extLst>
            </p:cNvPr>
            <p:cNvSpPr/>
            <p:nvPr userDrawn="1"/>
          </p:nvSpPr>
          <p:spPr>
            <a:xfrm>
              <a:off x="12654153" y="3238910"/>
              <a:ext cx="1624926" cy="805220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3509" b="0" i="1" noProof="0">
                <a:solidFill>
                  <a:schemeClr val="tx1"/>
                </a:solidFill>
              </a:endParaRPr>
            </a:p>
          </p:txBody>
        </p:sp>
        <p:grpSp>
          <p:nvGrpSpPr>
            <p:cNvPr id="288" name="Groep 274">
              <a:extLst>
                <a:ext uri="{FF2B5EF4-FFF2-40B4-BE49-F238E27FC236}">
                  <a16:creationId xmlns:a16="http://schemas.microsoft.com/office/drawing/2014/main" id="{3D16E314-A00E-4902-9555-C8AF63100C3E}"/>
                </a:ext>
              </a:extLst>
            </p:cNvPr>
            <p:cNvGrpSpPr/>
            <p:nvPr userDrawn="1"/>
          </p:nvGrpSpPr>
          <p:grpSpPr>
            <a:xfrm>
              <a:off x="13614067" y="3535184"/>
              <a:ext cx="1195438" cy="678267"/>
              <a:chOff x="12757284" y="3224292"/>
              <a:chExt cx="1195438" cy="678267"/>
            </a:xfrm>
          </p:grpSpPr>
          <p:sp>
            <p:nvSpPr>
              <p:cNvPr id="289" name="Rechthoek 275">
                <a:extLst>
                  <a:ext uri="{FF2B5EF4-FFF2-40B4-BE49-F238E27FC236}">
                    <a16:creationId xmlns:a16="http://schemas.microsoft.com/office/drawing/2014/main" id="{7132EF36-4882-44B9-9492-FE1C5C88FE21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90" name="Rechthoek 276">
                <a:extLst>
                  <a:ext uri="{FF2B5EF4-FFF2-40B4-BE49-F238E27FC236}">
                    <a16:creationId xmlns:a16="http://schemas.microsoft.com/office/drawing/2014/main" id="{AE67D01D-4F1E-41BC-B54C-50AF2DFA0C32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91" name="Groep 277">
                <a:extLst>
                  <a:ext uri="{FF2B5EF4-FFF2-40B4-BE49-F238E27FC236}">
                    <a16:creationId xmlns:a16="http://schemas.microsoft.com/office/drawing/2014/main" id="{8BCE8B5F-03E8-4C3B-801C-04D5EDECA88F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304" name="Rechthoek: afgeronde hoeken 290">
                  <a:extLst>
                    <a:ext uri="{FF2B5EF4-FFF2-40B4-BE49-F238E27FC236}">
                      <a16:creationId xmlns:a16="http://schemas.microsoft.com/office/drawing/2014/main" id="{C16D2BB7-8C75-4924-A3C0-D604FD06B974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endPara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05" name="Rechthoek 291">
                  <a:extLst>
                    <a:ext uri="{FF2B5EF4-FFF2-40B4-BE49-F238E27FC236}">
                      <a16:creationId xmlns:a16="http://schemas.microsoft.com/office/drawing/2014/main" id="{6A36F7C3-70DB-44AE-A6B4-D3AE4EF131A7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6" name="Rechthoek 292">
                  <a:extLst>
                    <a:ext uri="{FF2B5EF4-FFF2-40B4-BE49-F238E27FC236}">
                      <a16:creationId xmlns:a16="http://schemas.microsoft.com/office/drawing/2014/main" id="{9AF79D50-D1BB-48B3-BC16-315BEA94593A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7" name="Rechthoek 293">
                  <a:extLst>
                    <a:ext uri="{FF2B5EF4-FFF2-40B4-BE49-F238E27FC236}">
                      <a16:creationId xmlns:a16="http://schemas.microsoft.com/office/drawing/2014/main" id="{12DDC76F-82D2-4316-B65F-5AF2B7A42A7F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8" name="Rechthoek 294">
                  <a:extLst>
                    <a:ext uri="{FF2B5EF4-FFF2-40B4-BE49-F238E27FC236}">
                      <a16:creationId xmlns:a16="http://schemas.microsoft.com/office/drawing/2014/main" id="{87BBB889-B708-4370-9D5D-9E4E57CDBAFA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9" name="Rechthoek 295">
                  <a:extLst>
                    <a:ext uri="{FF2B5EF4-FFF2-40B4-BE49-F238E27FC236}">
                      <a16:creationId xmlns:a16="http://schemas.microsoft.com/office/drawing/2014/main" id="{216802CF-5D04-4CC7-9A63-18A991BF5671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292" name="Groep 278">
                <a:extLst>
                  <a:ext uri="{FF2B5EF4-FFF2-40B4-BE49-F238E27FC236}">
                    <a16:creationId xmlns:a16="http://schemas.microsoft.com/office/drawing/2014/main" id="{E9270009-F7F9-45F2-BF21-39F16478D316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296" name="Groep 282">
                  <a:extLst>
                    <a:ext uri="{FF2B5EF4-FFF2-40B4-BE49-F238E27FC236}">
                      <a16:creationId xmlns:a16="http://schemas.microsoft.com/office/drawing/2014/main" id="{CC3384F8-0722-4C52-9C2D-BDA8DDFF7446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298" name="Rechthoek: afgeronde hoeken 284">
                    <a:extLst>
                      <a:ext uri="{FF2B5EF4-FFF2-40B4-BE49-F238E27FC236}">
                        <a16:creationId xmlns:a16="http://schemas.microsoft.com/office/drawing/2014/main" id="{AAA5A4F3-4D5A-4B6A-9384-59DB060FDE4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2105"/>
                      </a:spcBef>
                      <a:spcAft>
                        <a:spcPts val="2105"/>
                      </a:spcAft>
                    </a:pPr>
                    <a:endParaRPr lang="nl-NL" sz="280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99" name="Rechthoek 285">
                    <a:extLst>
                      <a:ext uri="{FF2B5EF4-FFF2-40B4-BE49-F238E27FC236}">
                        <a16:creationId xmlns:a16="http://schemas.microsoft.com/office/drawing/2014/main" id="{86578FCF-5D4A-45DC-BEF5-B6D25F896C2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0" name="Rechthoek 286">
                    <a:extLst>
                      <a:ext uri="{FF2B5EF4-FFF2-40B4-BE49-F238E27FC236}">
                        <a16:creationId xmlns:a16="http://schemas.microsoft.com/office/drawing/2014/main" id="{B24F7570-02BD-4480-95CE-076A7670D89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1" name="Rechthoek 287">
                    <a:extLst>
                      <a:ext uri="{FF2B5EF4-FFF2-40B4-BE49-F238E27FC236}">
                        <a16:creationId xmlns:a16="http://schemas.microsoft.com/office/drawing/2014/main" id="{0E99CD79-BEDE-4750-8F1C-70397E347C4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2" name="Rechthoek 288">
                    <a:extLst>
                      <a:ext uri="{FF2B5EF4-FFF2-40B4-BE49-F238E27FC236}">
                        <a16:creationId xmlns:a16="http://schemas.microsoft.com/office/drawing/2014/main" id="{EE0F2034-5A05-430E-A0EF-6A5D831D83F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3" name="Rechthoek 289">
                    <a:extLst>
                      <a:ext uri="{FF2B5EF4-FFF2-40B4-BE49-F238E27FC236}">
                        <a16:creationId xmlns:a16="http://schemas.microsoft.com/office/drawing/2014/main" id="{ACBAF9FB-59A9-4392-9B47-C5F16933CD5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297" name="Boog 283">
                  <a:extLst>
                    <a:ext uri="{FF2B5EF4-FFF2-40B4-BE49-F238E27FC236}">
                      <a16:creationId xmlns:a16="http://schemas.microsoft.com/office/drawing/2014/main" id="{BBEA7134-418E-45DF-A89A-8F37ABB7C51F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</p:grpSp>
          <p:sp>
            <p:nvSpPr>
              <p:cNvPr id="293" name="Tekstvak 279">
                <a:extLst>
                  <a:ext uri="{FF2B5EF4-FFF2-40B4-BE49-F238E27FC236}">
                    <a16:creationId xmlns:a16="http://schemas.microsoft.com/office/drawing/2014/main" id="{A5164764-6B7C-45B2-9CB7-C9A52F800030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294" name="Tekstvak 280">
                <a:extLst>
                  <a:ext uri="{FF2B5EF4-FFF2-40B4-BE49-F238E27FC236}">
                    <a16:creationId xmlns:a16="http://schemas.microsoft.com/office/drawing/2014/main" id="{5A8F24C6-78EC-425F-842A-63CA3C6D913E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295" name="Picture 3">
                <a:extLst>
                  <a:ext uri="{FF2B5EF4-FFF2-40B4-BE49-F238E27FC236}">
                    <a16:creationId xmlns:a16="http://schemas.microsoft.com/office/drawing/2014/main" id="{E2EF7E99-417D-4201-97E3-622D245B16FA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810206" y="3671228"/>
                <a:ext cx="14251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sp>
        <p:nvSpPr>
          <p:cNvPr id="142" name="Tijdelijke aanduiding voor tekst 4">
            <a:extLst>
              <a:ext uri="{FF2B5EF4-FFF2-40B4-BE49-F238E27FC236}">
                <a16:creationId xmlns:a16="http://schemas.microsoft.com/office/drawing/2014/main" id="{E67291DA-A1B8-4533-97BA-4D19DA14FDC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742374" y="6476685"/>
            <a:ext cx="13885872" cy="1907433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bullet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bullet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grpSp>
        <p:nvGrpSpPr>
          <p:cNvPr id="143" name="Groep 101">
            <a:extLst>
              <a:ext uri="{FF2B5EF4-FFF2-40B4-BE49-F238E27FC236}">
                <a16:creationId xmlns:a16="http://schemas.microsoft.com/office/drawing/2014/main" id="{48D3E1B0-5A07-40B6-BEDF-4151EF7CABAF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144" name="Rechthoek 102">
              <a:extLst>
                <a:ext uri="{FF2B5EF4-FFF2-40B4-BE49-F238E27FC236}">
                  <a16:creationId xmlns:a16="http://schemas.microsoft.com/office/drawing/2014/main" id="{8AFC135A-0D63-4ADB-9385-6F305B2A3536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145" name="Ovaal 103">
              <a:extLst>
                <a:ext uri="{FF2B5EF4-FFF2-40B4-BE49-F238E27FC236}">
                  <a16:creationId xmlns:a16="http://schemas.microsoft.com/office/drawing/2014/main" id="{656F466B-23E7-439A-B094-38733A582A70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6" name="Rechte verbindingslijn 104">
              <a:extLst>
                <a:ext uri="{FF2B5EF4-FFF2-40B4-BE49-F238E27FC236}">
                  <a16:creationId xmlns:a16="http://schemas.microsoft.com/office/drawing/2014/main" id="{CE3B3CE1-72F4-4CA8-AD7E-B414C7F6DF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47" name="Groep 105">
              <a:extLst>
                <a:ext uri="{FF2B5EF4-FFF2-40B4-BE49-F238E27FC236}">
                  <a16:creationId xmlns:a16="http://schemas.microsoft.com/office/drawing/2014/main" id="{4A650C74-6D85-41CC-8425-332C9AB586BC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72" name="Rechthoek 130">
                <a:extLst>
                  <a:ext uri="{FF2B5EF4-FFF2-40B4-BE49-F238E27FC236}">
                    <a16:creationId xmlns:a16="http://schemas.microsoft.com/office/drawing/2014/main" id="{25CF96BC-EEA5-4C75-BE31-458CCC2B4B0C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173" name="Rechte verbindingslijn 131">
                <a:extLst>
                  <a:ext uri="{FF2B5EF4-FFF2-40B4-BE49-F238E27FC236}">
                    <a16:creationId xmlns:a16="http://schemas.microsoft.com/office/drawing/2014/main" id="{DD201BEF-6AD9-4546-BC70-E568D6F982E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Rechte verbindingslijn 132">
                <a:extLst>
                  <a:ext uri="{FF2B5EF4-FFF2-40B4-BE49-F238E27FC236}">
                    <a16:creationId xmlns:a16="http://schemas.microsoft.com/office/drawing/2014/main" id="{00C831D7-3211-4C2E-9A03-1B0D25DC04A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5" name="Rechthoek 133">
                <a:extLst>
                  <a:ext uri="{FF2B5EF4-FFF2-40B4-BE49-F238E27FC236}">
                    <a16:creationId xmlns:a16="http://schemas.microsoft.com/office/drawing/2014/main" id="{80270A7F-603A-4304-AF42-1E0000F4D660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6" name="Groep 134">
                <a:extLst>
                  <a:ext uri="{FF2B5EF4-FFF2-40B4-BE49-F238E27FC236}">
                    <a16:creationId xmlns:a16="http://schemas.microsoft.com/office/drawing/2014/main" id="{D0BFF8E0-6986-497E-975D-6BA26D0E3853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19" name="Groep 175">
                  <a:extLst>
                    <a:ext uri="{FF2B5EF4-FFF2-40B4-BE49-F238E27FC236}">
                      <a16:creationId xmlns:a16="http://schemas.microsoft.com/office/drawing/2014/main" id="{AC0A8EB5-B95C-48F7-BFE8-CD7EFF5A99C3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23" name="Rechte verbindingslijn 179">
                    <a:extLst>
                      <a:ext uri="{FF2B5EF4-FFF2-40B4-BE49-F238E27FC236}">
                        <a16:creationId xmlns:a16="http://schemas.microsoft.com/office/drawing/2014/main" id="{BE0E2265-DD56-4CDB-902D-B44F148483E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180">
                    <a:extLst>
                      <a:ext uri="{FF2B5EF4-FFF2-40B4-BE49-F238E27FC236}">
                        <a16:creationId xmlns:a16="http://schemas.microsoft.com/office/drawing/2014/main" id="{B519EBF8-B28E-44C8-958B-DD1AFDA5926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181">
                    <a:extLst>
                      <a:ext uri="{FF2B5EF4-FFF2-40B4-BE49-F238E27FC236}">
                        <a16:creationId xmlns:a16="http://schemas.microsoft.com/office/drawing/2014/main" id="{C6664D87-D737-4450-B8BA-435D4D451C2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182">
                    <a:extLst>
                      <a:ext uri="{FF2B5EF4-FFF2-40B4-BE49-F238E27FC236}">
                        <a16:creationId xmlns:a16="http://schemas.microsoft.com/office/drawing/2014/main" id="{ACC81043-1808-4AB9-B8EE-377BAC340E9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7" name="Rechte verbindingslijn 183">
                    <a:extLst>
                      <a:ext uri="{FF2B5EF4-FFF2-40B4-BE49-F238E27FC236}">
                        <a16:creationId xmlns:a16="http://schemas.microsoft.com/office/drawing/2014/main" id="{CEEEE8F4-2B4C-48C0-ADF6-7CD0D8486AF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0" name="Groep 176">
                  <a:extLst>
                    <a:ext uri="{FF2B5EF4-FFF2-40B4-BE49-F238E27FC236}">
                      <a16:creationId xmlns:a16="http://schemas.microsoft.com/office/drawing/2014/main" id="{14D27936-067A-467E-AC9C-C1C2CEBDC1A8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1" name="Rechthoek 177">
                    <a:extLst>
                      <a:ext uri="{FF2B5EF4-FFF2-40B4-BE49-F238E27FC236}">
                        <a16:creationId xmlns:a16="http://schemas.microsoft.com/office/drawing/2014/main" id="{674FBCE4-880A-4A18-B25F-B8543F10040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2" name="Pijl: punthaak 178">
                    <a:extLst>
                      <a:ext uri="{FF2B5EF4-FFF2-40B4-BE49-F238E27FC236}">
                        <a16:creationId xmlns:a16="http://schemas.microsoft.com/office/drawing/2014/main" id="{D40BF820-7BF3-45E4-96A7-7785540A6A1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7" name="Groep 135">
                <a:extLst>
                  <a:ext uri="{FF2B5EF4-FFF2-40B4-BE49-F238E27FC236}">
                    <a16:creationId xmlns:a16="http://schemas.microsoft.com/office/drawing/2014/main" id="{18254846-9173-4A25-9B70-D83845297975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0" name="Groep 166">
                  <a:extLst>
                    <a:ext uri="{FF2B5EF4-FFF2-40B4-BE49-F238E27FC236}">
                      <a16:creationId xmlns:a16="http://schemas.microsoft.com/office/drawing/2014/main" id="{738577DD-61F7-497B-8B16-099A5357A8CF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14" name="Rechte verbindingslijn 170">
                    <a:extLst>
                      <a:ext uri="{FF2B5EF4-FFF2-40B4-BE49-F238E27FC236}">
                        <a16:creationId xmlns:a16="http://schemas.microsoft.com/office/drawing/2014/main" id="{49BB2BA4-69B9-404C-AF47-7981EEAADE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5" name="Rechte verbindingslijn 171">
                    <a:extLst>
                      <a:ext uri="{FF2B5EF4-FFF2-40B4-BE49-F238E27FC236}">
                        <a16:creationId xmlns:a16="http://schemas.microsoft.com/office/drawing/2014/main" id="{A8D36574-0E46-4E88-93EC-777EA6921F1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6" name="Rechte verbindingslijn 172">
                    <a:extLst>
                      <a:ext uri="{FF2B5EF4-FFF2-40B4-BE49-F238E27FC236}">
                        <a16:creationId xmlns:a16="http://schemas.microsoft.com/office/drawing/2014/main" id="{8BCCC43B-B871-4007-A379-18FE9889B65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7" name="Rechte verbindingslijn 173">
                    <a:extLst>
                      <a:ext uri="{FF2B5EF4-FFF2-40B4-BE49-F238E27FC236}">
                        <a16:creationId xmlns:a16="http://schemas.microsoft.com/office/drawing/2014/main" id="{872051DC-97C2-42AD-9B94-9E08D65D95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8" name="Rechte verbindingslijn 174">
                    <a:extLst>
                      <a:ext uri="{FF2B5EF4-FFF2-40B4-BE49-F238E27FC236}">
                        <a16:creationId xmlns:a16="http://schemas.microsoft.com/office/drawing/2014/main" id="{C5CFCAD1-86DC-4B90-B571-873C031ADEE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1" name="Groep 167">
                  <a:extLst>
                    <a:ext uri="{FF2B5EF4-FFF2-40B4-BE49-F238E27FC236}">
                      <a16:creationId xmlns:a16="http://schemas.microsoft.com/office/drawing/2014/main" id="{65462723-0FDC-408D-8030-077C2040BC7E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12" name="Rechthoek 168">
                    <a:extLst>
                      <a:ext uri="{FF2B5EF4-FFF2-40B4-BE49-F238E27FC236}">
                        <a16:creationId xmlns:a16="http://schemas.microsoft.com/office/drawing/2014/main" id="{E8DD260F-882D-49E5-A66B-D3A6B779DEC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3" name="Pijl: punthaak 169">
                    <a:extLst>
                      <a:ext uri="{FF2B5EF4-FFF2-40B4-BE49-F238E27FC236}">
                        <a16:creationId xmlns:a16="http://schemas.microsoft.com/office/drawing/2014/main" id="{3694A5C3-9269-40A4-B628-7DA43EEF9BE4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8" name="Rechte verbindingslijn 136">
                <a:extLst>
                  <a:ext uri="{FF2B5EF4-FFF2-40B4-BE49-F238E27FC236}">
                    <a16:creationId xmlns:a16="http://schemas.microsoft.com/office/drawing/2014/main" id="{2A08F50C-0D68-4665-9F79-5CF6658431E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9" name="Rechte verbindingslijn 137">
                <a:extLst>
                  <a:ext uri="{FF2B5EF4-FFF2-40B4-BE49-F238E27FC236}">
                    <a16:creationId xmlns:a16="http://schemas.microsoft.com/office/drawing/2014/main" id="{8BEBFB40-FBF9-46BB-8C67-29E391323BD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80" name="Groep 138">
                <a:extLst>
                  <a:ext uri="{FF2B5EF4-FFF2-40B4-BE49-F238E27FC236}">
                    <a16:creationId xmlns:a16="http://schemas.microsoft.com/office/drawing/2014/main" id="{92A74A92-A270-48D1-B32D-F7AE95355AC8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9" name="Rechthoek 155">
                  <a:extLst>
                    <a:ext uri="{FF2B5EF4-FFF2-40B4-BE49-F238E27FC236}">
                      <a16:creationId xmlns:a16="http://schemas.microsoft.com/office/drawing/2014/main" id="{B95B09FC-C5E4-4CF7-A72B-5D8C2909DBE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0" name="Groep 156">
                  <a:extLst>
                    <a:ext uri="{FF2B5EF4-FFF2-40B4-BE49-F238E27FC236}">
                      <a16:creationId xmlns:a16="http://schemas.microsoft.com/office/drawing/2014/main" id="{27C7D59B-98AD-49F3-8190-78573887F134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1" name="Groep 157">
                    <a:extLst>
                      <a:ext uri="{FF2B5EF4-FFF2-40B4-BE49-F238E27FC236}">
                        <a16:creationId xmlns:a16="http://schemas.microsoft.com/office/drawing/2014/main" id="{19E2C2D9-7066-4DF3-A0B9-32A02D54F10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05" name="Rechte verbindingslijn 161">
                      <a:extLst>
                        <a:ext uri="{FF2B5EF4-FFF2-40B4-BE49-F238E27FC236}">
                          <a16:creationId xmlns:a16="http://schemas.microsoft.com/office/drawing/2014/main" id="{D6C6488F-1FDA-407E-BC8D-5B2333A5FE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162">
                      <a:extLst>
                        <a:ext uri="{FF2B5EF4-FFF2-40B4-BE49-F238E27FC236}">
                          <a16:creationId xmlns:a16="http://schemas.microsoft.com/office/drawing/2014/main" id="{379DFEF3-7D60-4502-A46F-C5478453DF8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7" name="Rechte verbindingslijn 163">
                      <a:extLst>
                        <a:ext uri="{FF2B5EF4-FFF2-40B4-BE49-F238E27FC236}">
                          <a16:creationId xmlns:a16="http://schemas.microsoft.com/office/drawing/2014/main" id="{D7BE6CD4-D6AB-4B79-ACC6-0286542B5B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8" name="Rechte verbindingslijn 164">
                      <a:extLst>
                        <a:ext uri="{FF2B5EF4-FFF2-40B4-BE49-F238E27FC236}">
                          <a16:creationId xmlns:a16="http://schemas.microsoft.com/office/drawing/2014/main" id="{5807F63D-3E33-4902-BFC7-EBB1A0C837A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9" name="Rechte verbindingslijn 165">
                      <a:extLst>
                        <a:ext uri="{FF2B5EF4-FFF2-40B4-BE49-F238E27FC236}">
                          <a16:creationId xmlns:a16="http://schemas.microsoft.com/office/drawing/2014/main" id="{45A0EF4F-42F2-4DBD-84D4-1DC03C91BEA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02" name="Groep 158">
                    <a:extLst>
                      <a:ext uri="{FF2B5EF4-FFF2-40B4-BE49-F238E27FC236}">
                        <a16:creationId xmlns:a16="http://schemas.microsoft.com/office/drawing/2014/main" id="{6649D5CD-CA63-40AD-AB97-C36D93354A9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3" name="Rechthoek 159">
                      <a:extLst>
                        <a:ext uri="{FF2B5EF4-FFF2-40B4-BE49-F238E27FC236}">
                          <a16:creationId xmlns:a16="http://schemas.microsoft.com/office/drawing/2014/main" id="{55ADC91B-3A08-4109-8989-AACEE9CDD8B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4" name="Pijl: punthaak 160">
                      <a:extLst>
                        <a:ext uri="{FF2B5EF4-FFF2-40B4-BE49-F238E27FC236}">
                          <a16:creationId xmlns:a16="http://schemas.microsoft.com/office/drawing/2014/main" id="{F7B1E57F-10E8-4CC6-B214-337108E87700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81" name="Groep 139">
                <a:extLst>
                  <a:ext uri="{FF2B5EF4-FFF2-40B4-BE49-F238E27FC236}">
                    <a16:creationId xmlns:a16="http://schemas.microsoft.com/office/drawing/2014/main" id="{11ACD5CE-BA59-47A1-979F-31C45DCD8F17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84" name="Rechthoek 142">
                  <a:extLst>
                    <a:ext uri="{FF2B5EF4-FFF2-40B4-BE49-F238E27FC236}">
                      <a16:creationId xmlns:a16="http://schemas.microsoft.com/office/drawing/2014/main" id="{BADC8FC8-135E-480A-A134-351D8B60210F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5" name="Groep 143">
                  <a:extLst>
                    <a:ext uri="{FF2B5EF4-FFF2-40B4-BE49-F238E27FC236}">
                      <a16:creationId xmlns:a16="http://schemas.microsoft.com/office/drawing/2014/main" id="{7EBCFB61-8DC9-44EB-B067-1D136F478C5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6" name="Groep 144">
                    <a:extLst>
                      <a:ext uri="{FF2B5EF4-FFF2-40B4-BE49-F238E27FC236}">
                        <a16:creationId xmlns:a16="http://schemas.microsoft.com/office/drawing/2014/main" id="{E5DBDAD9-64F3-4F9B-8960-F7B6C79EF69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90" name="Rechte verbindingslijn 150">
                      <a:extLst>
                        <a:ext uri="{FF2B5EF4-FFF2-40B4-BE49-F238E27FC236}">
                          <a16:creationId xmlns:a16="http://schemas.microsoft.com/office/drawing/2014/main" id="{045B5589-EFE0-4CEA-93B7-DE024F4FE80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5" name="Rechte verbindingslijn 151">
                      <a:extLst>
                        <a:ext uri="{FF2B5EF4-FFF2-40B4-BE49-F238E27FC236}">
                          <a16:creationId xmlns:a16="http://schemas.microsoft.com/office/drawing/2014/main" id="{B1F57D13-6943-4EB2-9F0C-ECAEED859A3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6" name="Rechte verbindingslijn 152">
                      <a:extLst>
                        <a:ext uri="{FF2B5EF4-FFF2-40B4-BE49-F238E27FC236}">
                          <a16:creationId xmlns:a16="http://schemas.microsoft.com/office/drawing/2014/main" id="{9663AB4D-7856-4F43-9D73-1AA2211BBC0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53">
                      <a:extLst>
                        <a:ext uri="{FF2B5EF4-FFF2-40B4-BE49-F238E27FC236}">
                          <a16:creationId xmlns:a16="http://schemas.microsoft.com/office/drawing/2014/main" id="{02A25210-BB3D-4CA0-9FE6-E512FB0ED9A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8" name="Rechte verbindingslijn 154">
                      <a:extLst>
                        <a:ext uri="{FF2B5EF4-FFF2-40B4-BE49-F238E27FC236}">
                          <a16:creationId xmlns:a16="http://schemas.microsoft.com/office/drawing/2014/main" id="{723D88F6-01BF-4A02-B2E7-90D41540033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7" name="Groep 147">
                    <a:extLst>
                      <a:ext uri="{FF2B5EF4-FFF2-40B4-BE49-F238E27FC236}">
                        <a16:creationId xmlns:a16="http://schemas.microsoft.com/office/drawing/2014/main" id="{0C25196E-F77C-41AD-B901-5FD5F85F0638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8" name="Rechthoek 148">
                      <a:extLst>
                        <a:ext uri="{FF2B5EF4-FFF2-40B4-BE49-F238E27FC236}">
                          <a16:creationId xmlns:a16="http://schemas.microsoft.com/office/drawing/2014/main" id="{C3FD91C5-DF52-4C74-A2E6-DE43CD8D977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9" name="Pijl: punthaak 149">
                      <a:extLst>
                        <a:ext uri="{FF2B5EF4-FFF2-40B4-BE49-F238E27FC236}">
                          <a16:creationId xmlns:a16="http://schemas.microsoft.com/office/drawing/2014/main" id="{72EDE694-78CA-45FF-8139-963C8359D982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82" name="Rechthoek 140">
                <a:extLst>
                  <a:ext uri="{FF2B5EF4-FFF2-40B4-BE49-F238E27FC236}">
                    <a16:creationId xmlns:a16="http://schemas.microsoft.com/office/drawing/2014/main" id="{3AA0483E-8221-40D1-8913-6D27537D4C32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183" name="Rechthoek 141">
                <a:extLst>
                  <a:ext uri="{FF2B5EF4-FFF2-40B4-BE49-F238E27FC236}">
                    <a16:creationId xmlns:a16="http://schemas.microsoft.com/office/drawing/2014/main" id="{939D9EE8-4178-435F-991E-48DA8AD1D2E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148" name="Rechte verbindingslijn 106">
              <a:extLst>
                <a:ext uri="{FF2B5EF4-FFF2-40B4-BE49-F238E27FC236}">
                  <a16:creationId xmlns:a16="http://schemas.microsoft.com/office/drawing/2014/main" id="{C1875108-AFEA-4F4A-9FB1-FF33B329D7A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9" name="Rechthoek 107">
              <a:extLst>
                <a:ext uri="{FF2B5EF4-FFF2-40B4-BE49-F238E27FC236}">
                  <a16:creationId xmlns:a16="http://schemas.microsoft.com/office/drawing/2014/main" id="{A179CD03-D19A-429F-A272-21D5FB7C9470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150" name="Ovaal 108">
              <a:extLst>
                <a:ext uri="{FF2B5EF4-FFF2-40B4-BE49-F238E27FC236}">
                  <a16:creationId xmlns:a16="http://schemas.microsoft.com/office/drawing/2014/main" id="{3CA79ACB-1460-444D-B393-38FCE03A25A2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1" name="Rechthoek 109">
              <a:extLst>
                <a:ext uri="{FF2B5EF4-FFF2-40B4-BE49-F238E27FC236}">
                  <a16:creationId xmlns:a16="http://schemas.microsoft.com/office/drawing/2014/main" id="{D648D9F3-B15C-4A45-93E7-E8393C659304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152" name="Ovaal 110">
              <a:extLst>
                <a:ext uri="{FF2B5EF4-FFF2-40B4-BE49-F238E27FC236}">
                  <a16:creationId xmlns:a16="http://schemas.microsoft.com/office/drawing/2014/main" id="{B98572BC-0107-4349-8E80-4E73636B6A22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11">
              <a:extLst>
                <a:ext uri="{FF2B5EF4-FFF2-40B4-BE49-F238E27FC236}">
                  <a16:creationId xmlns:a16="http://schemas.microsoft.com/office/drawing/2014/main" id="{B7238D6F-8670-4A6E-88A0-E35A5B391F2F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54" name="Ovaal 112">
              <a:extLst>
                <a:ext uri="{FF2B5EF4-FFF2-40B4-BE49-F238E27FC236}">
                  <a16:creationId xmlns:a16="http://schemas.microsoft.com/office/drawing/2014/main" id="{BC116ABB-11D9-4934-BD96-ECE3D72A0D4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55" name="Rechthoek 113">
              <a:extLst>
                <a:ext uri="{FF2B5EF4-FFF2-40B4-BE49-F238E27FC236}">
                  <a16:creationId xmlns:a16="http://schemas.microsoft.com/office/drawing/2014/main" id="{77228255-0A9D-4924-B73B-79D0649B791D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156" name="Ovaal 114">
              <a:extLst>
                <a:ext uri="{FF2B5EF4-FFF2-40B4-BE49-F238E27FC236}">
                  <a16:creationId xmlns:a16="http://schemas.microsoft.com/office/drawing/2014/main" id="{1CE99CA4-07B5-455F-8FC1-C030994A72FE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57" name="Rechthoek 115">
              <a:extLst>
                <a:ext uri="{FF2B5EF4-FFF2-40B4-BE49-F238E27FC236}">
                  <a16:creationId xmlns:a16="http://schemas.microsoft.com/office/drawing/2014/main" id="{5DF93B5E-C24C-4A7A-BBF6-647EFB316117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158" name="Rechte verbindingslijn 116">
              <a:extLst>
                <a:ext uri="{FF2B5EF4-FFF2-40B4-BE49-F238E27FC236}">
                  <a16:creationId xmlns:a16="http://schemas.microsoft.com/office/drawing/2014/main" id="{27F996DF-C54C-44A9-BA17-7225C73B26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9" name="Meer informatie">
              <a:extLst>
                <a:ext uri="{FF2B5EF4-FFF2-40B4-BE49-F238E27FC236}">
                  <a16:creationId xmlns:a16="http://schemas.microsoft.com/office/drawing/2014/main" id="{505F7183-52D3-4461-8BBE-BCCF94D16BED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169" name="Freeform 101">
                <a:extLst>
                  <a:ext uri="{FF2B5EF4-FFF2-40B4-BE49-F238E27FC236}">
                    <a16:creationId xmlns:a16="http://schemas.microsoft.com/office/drawing/2014/main" id="{56D6718B-F102-4CBD-818D-FA1345E5F3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170" name="Rechthoek 128">
                <a:extLst>
                  <a:ext uri="{FF2B5EF4-FFF2-40B4-BE49-F238E27FC236}">
                    <a16:creationId xmlns:a16="http://schemas.microsoft.com/office/drawing/2014/main" id="{6ED19956-5242-46FB-88BD-EE6812E798AE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71" name="Rechte verbindingslijn 129">
                <a:extLst>
                  <a:ext uri="{FF2B5EF4-FFF2-40B4-BE49-F238E27FC236}">
                    <a16:creationId xmlns:a16="http://schemas.microsoft.com/office/drawing/2014/main" id="{F2814E00-81CE-4F3B-AC77-909BDAC8DCF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0" name="Rechthoek 118">
              <a:extLst>
                <a:ext uri="{FF2B5EF4-FFF2-40B4-BE49-F238E27FC236}">
                  <a16:creationId xmlns:a16="http://schemas.microsoft.com/office/drawing/2014/main" id="{6913605C-195F-4825-8813-58D1B976A45C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161" name="Ovaal 119">
              <a:extLst>
                <a:ext uri="{FF2B5EF4-FFF2-40B4-BE49-F238E27FC236}">
                  <a16:creationId xmlns:a16="http://schemas.microsoft.com/office/drawing/2014/main" id="{28DF4496-CEAC-4599-8078-4F4253FEF5B0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2" name="Rechthoek 120">
              <a:extLst>
                <a:ext uri="{FF2B5EF4-FFF2-40B4-BE49-F238E27FC236}">
                  <a16:creationId xmlns:a16="http://schemas.microsoft.com/office/drawing/2014/main" id="{91B7A4E5-E9C1-4531-A427-D3075DD3BBE5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63" name="Ovaal 121">
              <a:extLst>
                <a:ext uri="{FF2B5EF4-FFF2-40B4-BE49-F238E27FC236}">
                  <a16:creationId xmlns:a16="http://schemas.microsoft.com/office/drawing/2014/main" id="{E050FCC6-D84A-4D90-8182-3C80E384AF5A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4" name="Rechthoek 122">
              <a:extLst>
                <a:ext uri="{FF2B5EF4-FFF2-40B4-BE49-F238E27FC236}">
                  <a16:creationId xmlns:a16="http://schemas.microsoft.com/office/drawing/2014/main" id="{58F884CF-F3DD-4AE5-9146-035A435D4865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165" name="Ovaal 123">
              <a:extLst>
                <a:ext uri="{FF2B5EF4-FFF2-40B4-BE49-F238E27FC236}">
                  <a16:creationId xmlns:a16="http://schemas.microsoft.com/office/drawing/2014/main" id="{CCED7891-47D1-461A-A868-3757B8A39CC8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6" name="Rechthoek 124">
              <a:extLst>
                <a:ext uri="{FF2B5EF4-FFF2-40B4-BE49-F238E27FC236}">
                  <a16:creationId xmlns:a16="http://schemas.microsoft.com/office/drawing/2014/main" id="{2455E502-0EAC-4445-8536-C61F5244BD1F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67" name="Rechthoek 125">
              <a:extLst>
                <a:ext uri="{FF2B5EF4-FFF2-40B4-BE49-F238E27FC236}">
                  <a16:creationId xmlns:a16="http://schemas.microsoft.com/office/drawing/2014/main" id="{B7F73BF4-9D66-4EC0-ACD1-A2306C034212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168" name="Ovaal 126">
              <a:extLst>
                <a:ext uri="{FF2B5EF4-FFF2-40B4-BE49-F238E27FC236}">
                  <a16:creationId xmlns:a16="http://schemas.microsoft.com/office/drawing/2014/main" id="{922BAE2A-D2D6-43FC-8E69-9A3CCC7160C0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  <p:sp>
        <p:nvSpPr>
          <p:cNvPr id="228" name="Tijdelijke aanduiding voor tekst 3">
            <a:extLst>
              <a:ext uri="{FF2B5EF4-FFF2-40B4-BE49-F238E27FC236}">
                <a16:creationId xmlns:a16="http://schemas.microsoft.com/office/drawing/2014/main" id="{B4F78CBF-9872-475F-8C41-7E5DA6A65BC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504415" y="1449454"/>
            <a:ext cx="6635238" cy="3534585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51"/>
            </a:lvl1pPr>
          </a:lstStyle>
          <a:p>
            <a:pPr lvl="0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89130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hoekje 8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-5567" y="6476684"/>
            <a:ext cx="42767257" cy="23798534"/>
          </a:xfrm>
          <a:solidFill>
            <a:schemeClr val="bg1">
              <a:lumMod val="95000"/>
            </a:schemeClr>
          </a:solidFill>
        </p:spPr>
        <p:txBody>
          <a:bodyPr tIns="1044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0" name="Tijdelijke aanduiding voor voettekst 4">
            <a:extLst>
              <a:ext uri="{FF2B5EF4-FFF2-40B4-BE49-F238E27FC236}">
                <a16:creationId xmlns:a16="http://schemas.microsoft.com/office/drawing/2014/main" id="{1DA20FBD-9D0F-4EAB-B12C-126591D8B7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6644E39-2AF2-4EA0-9C3F-28C89D5A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2" y="27329718"/>
            <a:ext cx="828945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7" name="Tijdelijke aanduiding voor tekst 14">
            <a:extLst>
              <a:ext uri="{FF2B5EF4-FFF2-40B4-BE49-F238E27FC236}">
                <a16:creationId xmlns:a16="http://schemas.microsoft.com/office/drawing/2014/main" id="{A6BF4B27-7FC5-4896-80CE-3BA6119B83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15" name="Tijdelijke aanduiding voor datum 3">
            <a:extLst>
              <a:ext uri="{FF2B5EF4-FFF2-40B4-BE49-F238E27FC236}">
                <a16:creationId xmlns:a16="http://schemas.microsoft.com/office/drawing/2014/main" id="{B4AED1A4-683A-4021-8F91-6EB13C2447C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503FAE-A68E-49CA-B3F3-F3703A2361C4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26" name="Tijdelijke aanduiding voor tekst 3">
            <a:extLst>
              <a:ext uri="{FF2B5EF4-FFF2-40B4-BE49-F238E27FC236}">
                <a16:creationId xmlns:a16="http://schemas.microsoft.com/office/drawing/2014/main" id="{3A586398-8104-4AD7-A024-8ECF8764CDF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926337" y="8948021"/>
            <a:ext cx="1525800" cy="1913241"/>
          </a:xfrm>
          <a:custGeom>
            <a:avLst/>
            <a:gdLst>
              <a:gd name="connsiteX0" fmla="*/ 0 w 1174750"/>
              <a:gd name="connsiteY0" fmla="*/ 0 h 923925"/>
              <a:gd name="connsiteX1" fmla="*/ 1174750 w 1174750"/>
              <a:gd name="connsiteY1" fmla="*/ 0 h 923925"/>
              <a:gd name="connsiteX2" fmla="*/ 1174750 w 1174750"/>
              <a:gd name="connsiteY2" fmla="*/ 923925 h 923925"/>
              <a:gd name="connsiteX3" fmla="*/ 0 w 1174750"/>
              <a:gd name="connsiteY3" fmla="*/ 923925 h 923925"/>
              <a:gd name="connsiteX4" fmla="*/ 0 w 1174750"/>
              <a:gd name="connsiteY4" fmla="*/ 0 h 923925"/>
              <a:gd name="connsiteX0" fmla="*/ 1174750 w 1266190"/>
              <a:gd name="connsiteY0" fmla="*/ 923925 h 1015365"/>
              <a:gd name="connsiteX1" fmla="*/ 0 w 1266190"/>
              <a:gd name="connsiteY1" fmla="*/ 923925 h 1015365"/>
              <a:gd name="connsiteX2" fmla="*/ 0 w 1266190"/>
              <a:gd name="connsiteY2" fmla="*/ 0 h 1015365"/>
              <a:gd name="connsiteX3" fmla="*/ 1174750 w 1266190"/>
              <a:gd name="connsiteY3" fmla="*/ 0 h 1015365"/>
              <a:gd name="connsiteX4" fmla="*/ 1266190 w 1266190"/>
              <a:gd name="connsiteY4" fmla="*/ 1015365 h 1015365"/>
              <a:gd name="connsiteX0" fmla="*/ 1174750 w 1174750"/>
              <a:gd name="connsiteY0" fmla="*/ 923925 h 923925"/>
              <a:gd name="connsiteX1" fmla="*/ 0 w 1174750"/>
              <a:gd name="connsiteY1" fmla="*/ 923925 h 923925"/>
              <a:gd name="connsiteX2" fmla="*/ 0 w 1174750"/>
              <a:gd name="connsiteY2" fmla="*/ 0 h 923925"/>
              <a:gd name="connsiteX3" fmla="*/ 1174750 w 1174750"/>
              <a:gd name="connsiteY3" fmla="*/ 0 h 923925"/>
              <a:gd name="connsiteX0" fmla="*/ 0 w 1174750"/>
              <a:gd name="connsiteY0" fmla="*/ 923925 h 923925"/>
              <a:gd name="connsiteX1" fmla="*/ 0 w 1174750"/>
              <a:gd name="connsiteY1" fmla="*/ 0 h 923925"/>
              <a:gd name="connsiteX2" fmla="*/ 1174750 w 1174750"/>
              <a:gd name="connsiteY2" fmla="*/ 0 h 923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74750" h="923925">
                <a:moveTo>
                  <a:pt x="0" y="923925"/>
                </a:moveTo>
                <a:lnTo>
                  <a:pt x="0" y="0"/>
                </a:lnTo>
                <a:lnTo>
                  <a:pt x="1174750" y="0"/>
                </a:lnTo>
              </a:path>
            </a:pathLst>
          </a:custGeom>
          <a:ln w="1905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  <a:alpha val="0"/>
                  </a:schemeClr>
                </a:solidFill>
              </a:defRPr>
            </a:lvl1pPr>
          </a:lstStyle>
          <a:p>
            <a:pPr lvl="0"/>
            <a:endParaRPr lang="nl-NL" noProof="0"/>
          </a:p>
        </p:txBody>
      </p:sp>
      <p:sp>
        <p:nvSpPr>
          <p:cNvPr id="27" name="Tijdelijke aanduiding voor tekst 4">
            <a:extLst>
              <a:ext uri="{FF2B5EF4-FFF2-40B4-BE49-F238E27FC236}">
                <a16:creationId xmlns:a16="http://schemas.microsoft.com/office/drawing/2014/main" id="{F6F978E4-0108-406E-AB96-5F885709DC6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890136" y="8914373"/>
            <a:ext cx="16488774" cy="7793064"/>
          </a:xfrm>
          <a:noFill/>
        </p:spPr>
        <p:txBody>
          <a:bodyPr lIns="360000" tIns="288000" rIns="360000" bIns="36000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419" b="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/>
              <a:t>Klik om tekst in te voegen</a:t>
            </a:r>
          </a:p>
        </p:txBody>
      </p:sp>
      <p:sp>
        <p:nvSpPr>
          <p:cNvPr id="32" name="Tijdelijke aanduiding voor tekst 5">
            <a:extLst>
              <a:ext uri="{FF2B5EF4-FFF2-40B4-BE49-F238E27FC236}">
                <a16:creationId xmlns:a16="http://schemas.microsoft.com/office/drawing/2014/main" id="{E42E3748-C94C-4A0F-BA64-33E6792422C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7833612" y="14745158"/>
            <a:ext cx="1511892" cy="1948270"/>
          </a:xfrm>
          <a:custGeom>
            <a:avLst/>
            <a:gdLst>
              <a:gd name="connsiteX0" fmla="*/ 0 w 1014412"/>
              <a:gd name="connsiteY0" fmla="*/ 196584 h 908050"/>
              <a:gd name="connsiteX1" fmla="*/ 196584 w 1014412"/>
              <a:gd name="connsiteY1" fmla="*/ 0 h 908050"/>
              <a:gd name="connsiteX2" fmla="*/ 817828 w 1014412"/>
              <a:gd name="connsiteY2" fmla="*/ 0 h 908050"/>
              <a:gd name="connsiteX3" fmla="*/ 1014412 w 1014412"/>
              <a:gd name="connsiteY3" fmla="*/ 196584 h 908050"/>
              <a:gd name="connsiteX4" fmla="*/ 1014412 w 1014412"/>
              <a:gd name="connsiteY4" fmla="*/ 711466 h 908050"/>
              <a:gd name="connsiteX5" fmla="*/ 817828 w 1014412"/>
              <a:gd name="connsiteY5" fmla="*/ 908050 h 908050"/>
              <a:gd name="connsiteX6" fmla="*/ 196584 w 1014412"/>
              <a:gd name="connsiteY6" fmla="*/ 908050 h 908050"/>
              <a:gd name="connsiteX7" fmla="*/ 0 w 1014412"/>
              <a:gd name="connsiteY7" fmla="*/ 711466 h 908050"/>
              <a:gd name="connsiteX8" fmla="*/ 0 w 1014412"/>
              <a:gd name="connsiteY8" fmla="*/ 196584 h 908050"/>
              <a:gd name="connsiteX0" fmla="*/ 1014412 w 1105852"/>
              <a:gd name="connsiteY0" fmla="*/ 196584 h 908050"/>
              <a:gd name="connsiteX1" fmla="*/ 1014412 w 1105852"/>
              <a:gd name="connsiteY1" fmla="*/ 711466 h 908050"/>
              <a:gd name="connsiteX2" fmla="*/ 817828 w 1105852"/>
              <a:gd name="connsiteY2" fmla="*/ 908050 h 908050"/>
              <a:gd name="connsiteX3" fmla="*/ 196584 w 1105852"/>
              <a:gd name="connsiteY3" fmla="*/ 908050 h 908050"/>
              <a:gd name="connsiteX4" fmla="*/ 0 w 1105852"/>
              <a:gd name="connsiteY4" fmla="*/ 711466 h 908050"/>
              <a:gd name="connsiteX5" fmla="*/ 0 w 1105852"/>
              <a:gd name="connsiteY5" fmla="*/ 196584 h 908050"/>
              <a:gd name="connsiteX6" fmla="*/ 196584 w 1105852"/>
              <a:gd name="connsiteY6" fmla="*/ 0 h 908050"/>
              <a:gd name="connsiteX7" fmla="*/ 817828 w 1105852"/>
              <a:gd name="connsiteY7" fmla="*/ 0 h 908050"/>
              <a:gd name="connsiteX8" fmla="*/ 1105852 w 1105852"/>
              <a:gd name="connsiteY8" fmla="*/ 288024 h 908050"/>
              <a:gd name="connsiteX0" fmla="*/ 1014412 w 1014412"/>
              <a:gd name="connsiteY0" fmla="*/ 196584 h 908050"/>
              <a:gd name="connsiteX1" fmla="*/ 1014412 w 1014412"/>
              <a:gd name="connsiteY1" fmla="*/ 711466 h 908050"/>
              <a:gd name="connsiteX2" fmla="*/ 817828 w 1014412"/>
              <a:gd name="connsiteY2" fmla="*/ 908050 h 908050"/>
              <a:gd name="connsiteX3" fmla="*/ 196584 w 1014412"/>
              <a:gd name="connsiteY3" fmla="*/ 908050 h 908050"/>
              <a:gd name="connsiteX4" fmla="*/ 0 w 1014412"/>
              <a:gd name="connsiteY4" fmla="*/ 711466 h 908050"/>
              <a:gd name="connsiteX5" fmla="*/ 0 w 1014412"/>
              <a:gd name="connsiteY5" fmla="*/ 196584 h 908050"/>
              <a:gd name="connsiteX6" fmla="*/ 196584 w 1014412"/>
              <a:gd name="connsiteY6" fmla="*/ 0 h 908050"/>
              <a:gd name="connsiteX7" fmla="*/ 817828 w 1014412"/>
              <a:gd name="connsiteY7" fmla="*/ 0 h 908050"/>
              <a:gd name="connsiteX0" fmla="*/ 1014412 w 1014412"/>
              <a:gd name="connsiteY0" fmla="*/ 196584 h 908050"/>
              <a:gd name="connsiteX1" fmla="*/ 1014412 w 1014412"/>
              <a:gd name="connsiteY1" fmla="*/ 711466 h 908050"/>
              <a:gd name="connsiteX2" fmla="*/ 817828 w 1014412"/>
              <a:gd name="connsiteY2" fmla="*/ 908050 h 908050"/>
              <a:gd name="connsiteX3" fmla="*/ 196584 w 1014412"/>
              <a:gd name="connsiteY3" fmla="*/ 908050 h 908050"/>
              <a:gd name="connsiteX4" fmla="*/ 0 w 1014412"/>
              <a:gd name="connsiteY4" fmla="*/ 711466 h 908050"/>
              <a:gd name="connsiteX5" fmla="*/ 0 w 1014412"/>
              <a:gd name="connsiteY5" fmla="*/ 196584 h 908050"/>
              <a:gd name="connsiteX6" fmla="*/ 196584 w 1014412"/>
              <a:gd name="connsiteY6" fmla="*/ 0 h 908050"/>
              <a:gd name="connsiteX0" fmla="*/ 1014412 w 1014412"/>
              <a:gd name="connsiteY0" fmla="*/ 0 h 711466"/>
              <a:gd name="connsiteX1" fmla="*/ 1014412 w 1014412"/>
              <a:gd name="connsiteY1" fmla="*/ 514882 h 711466"/>
              <a:gd name="connsiteX2" fmla="*/ 817828 w 1014412"/>
              <a:gd name="connsiteY2" fmla="*/ 711466 h 711466"/>
              <a:gd name="connsiteX3" fmla="*/ 196584 w 1014412"/>
              <a:gd name="connsiteY3" fmla="*/ 711466 h 711466"/>
              <a:gd name="connsiteX4" fmla="*/ 0 w 1014412"/>
              <a:gd name="connsiteY4" fmla="*/ 514882 h 711466"/>
              <a:gd name="connsiteX5" fmla="*/ 0 w 1014412"/>
              <a:gd name="connsiteY5" fmla="*/ 0 h 711466"/>
              <a:gd name="connsiteX0" fmla="*/ 1014412 w 1014412"/>
              <a:gd name="connsiteY0" fmla="*/ 0 h 711466"/>
              <a:gd name="connsiteX1" fmla="*/ 1014412 w 1014412"/>
              <a:gd name="connsiteY1" fmla="*/ 514882 h 711466"/>
              <a:gd name="connsiteX2" fmla="*/ 817828 w 1014412"/>
              <a:gd name="connsiteY2" fmla="*/ 711466 h 711466"/>
              <a:gd name="connsiteX3" fmla="*/ 196584 w 1014412"/>
              <a:gd name="connsiteY3" fmla="*/ 711466 h 711466"/>
              <a:gd name="connsiteX4" fmla="*/ 0 w 1014412"/>
              <a:gd name="connsiteY4" fmla="*/ 514882 h 711466"/>
              <a:gd name="connsiteX0" fmla="*/ 817828 w 817828"/>
              <a:gd name="connsiteY0" fmla="*/ 0 h 711466"/>
              <a:gd name="connsiteX1" fmla="*/ 817828 w 817828"/>
              <a:gd name="connsiteY1" fmla="*/ 514882 h 711466"/>
              <a:gd name="connsiteX2" fmla="*/ 621244 w 817828"/>
              <a:gd name="connsiteY2" fmla="*/ 711466 h 711466"/>
              <a:gd name="connsiteX3" fmla="*/ 0 w 817828"/>
              <a:gd name="connsiteY3" fmla="*/ 711466 h 711466"/>
              <a:gd name="connsiteX0" fmla="*/ 817828 w 817828"/>
              <a:gd name="connsiteY0" fmla="*/ 0 h 711466"/>
              <a:gd name="connsiteX1" fmla="*/ 815446 w 817828"/>
              <a:gd name="connsiteY1" fmla="*/ 270140 h 711466"/>
              <a:gd name="connsiteX2" fmla="*/ 817828 w 817828"/>
              <a:gd name="connsiteY2" fmla="*/ 514882 h 711466"/>
              <a:gd name="connsiteX3" fmla="*/ 621244 w 817828"/>
              <a:gd name="connsiteY3" fmla="*/ 711466 h 711466"/>
              <a:gd name="connsiteX4" fmla="*/ 0 w 817828"/>
              <a:gd name="connsiteY4" fmla="*/ 711466 h 711466"/>
              <a:gd name="connsiteX0" fmla="*/ 817828 w 817828"/>
              <a:gd name="connsiteY0" fmla="*/ 0 h 711466"/>
              <a:gd name="connsiteX1" fmla="*/ 815446 w 817828"/>
              <a:gd name="connsiteY1" fmla="*/ 270140 h 711466"/>
              <a:gd name="connsiteX2" fmla="*/ 817828 w 817828"/>
              <a:gd name="connsiteY2" fmla="*/ 514882 h 711466"/>
              <a:gd name="connsiteX3" fmla="*/ 621244 w 817828"/>
              <a:gd name="connsiteY3" fmla="*/ 711466 h 711466"/>
              <a:gd name="connsiteX4" fmla="*/ 386821 w 817828"/>
              <a:gd name="connsiteY4" fmla="*/ 708290 h 711466"/>
              <a:gd name="connsiteX5" fmla="*/ 0 w 817828"/>
              <a:gd name="connsiteY5" fmla="*/ 711466 h 711466"/>
              <a:gd name="connsiteX0" fmla="*/ 431007 w 431007"/>
              <a:gd name="connsiteY0" fmla="*/ 0 h 711466"/>
              <a:gd name="connsiteX1" fmla="*/ 428625 w 431007"/>
              <a:gd name="connsiteY1" fmla="*/ 270140 h 711466"/>
              <a:gd name="connsiteX2" fmla="*/ 431007 w 431007"/>
              <a:gd name="connsiteY2" fmla="*/ 514882 h 711466"/>
              <a:gd name="connsiteX3" fmla="*/ 234423 w 431007"/>
              <a:gd name="connsiteY3" fmla="*/ 711466 h 711466"/>
              <a:gd name="connsiteX4" fmla="*/ 0 w 431007"/>
              <a:gd name="connsiteY4" fmla="*/ 708290 h 711466"/>
              <a:gd name="connsiteX0" fmla="*/ 428625 w 431007"/>
              <a:gd name="connsiteY0" fmla="*/ 0 h 441326"/>
              <a:gd name="connsiteX1" fmla="*/ 431007 w 431007"/>
              <a:gd name="connsiteY1" fmla="*/ 244742 h 441326"/>
              <a:gd name="connsiteX2" fmla="*/ 234423 w 431007"/>
              <a:gd name="connsiteY2" fmla="*/ 441326 h 441326"/>
              <a:gd name="connsiteX3" fmla="*/ 0 w 431007"/>
              <a:gd name="connsiteY3" fmla="*/ 438150 h 441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007" h="441326">
                <a:moveTo>
                  <a:pt x="428625" y="0"/>
                </a:moveTo>
                <a:lnTo>
                  <a:pt x="431007" y="244742"/>
                </a:lnTo>
                <a:cubicBezTo>
                  <a:pt x="431007" y="353312"/>
                  <a:pt x="342993" y="441326"/>
                  <a:pt x="234423" y="441326"/>
                </a:cubicBezTo>
                <a:lnTo>
                  <a:pt x="0" y="438150"/>
                </a:lnTo>
              </a:path>
            </a:pathLst>
          </a:custGeom>
          <a:noFill/>
          <a:ln w="15875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  <a:alpha val="0"/>
                  </a:schemeClr>
                </a:solidFill>
              </a:defRPr>
            </a:lvl1pPr>
          </a:lstStyle>
          <a:p>
            <a:pPr lvl="0"/>
            <a:endParaRPr lang="nl-NL" noProof="0"/>
          </a:p>
        </p:txBody>
      </p:sp>
      <p:grpSp>
        <p:nvGrpSpPr>
          <p:cNvPr id="193" name="Groep 258">
            <a:extLst>
              <a:ext uri="{FF2B5EF4-FFF2-40B4-BE49-F238E27FC236}">
                <a16:creationId xmlns:a16="http://schemas.microsoft.com/office/drawing/2014/main" id="{2971AD4F-366B-4E40-BA05-1CB448D5BAD2}"/>
              </a:ext>
            </a:extLst>
          </p:cNvPr>
          <p:cNvGrpSpPr/>
          <p:nvPr userDrawn="1"/>
        </p:nvGrpSpPr>
        <p:grpSpPr>
          <a:xfrm>
            <a:off x="43467416" y="5"/>
            <a:ext cx="11167745" cy="23084356"/>
            <a:chOff x="12391601" y="0"/>
            <a:chExt cx="3183678" cy="5229113"/>
          </a:xfrm>
        </p:grpSpPr>
        <p:grpSp>
          <p:nvGrpSpPr>
            <p:cNvPr id="194" name="Meer informatie">
              <a:extLst>
                <a:ext uri="{FF2B5EF4-FFF2-40B4-BE49-F238E27FC236}">
                  <a16:creationId xmlns:a16="http://schemas.microsoft.com/office/drawing/2014/main" id="{286982BD-B312-4566-B12B-4B05D60B1164}"/>
                </a:ext>
              </a:extLst>
            </p:cNvPr>
            <p:cNvGrpSpPr/>
            <p:nvPr userDrawn="1"/>
          </p:nvGrpSpPr>
          <p:grpSpPr>
            <a:xfrm>
              <a:off x="12396764" y="4445840"/>
              <a:ext cx="3178515" cy="783273"/>
              <a:chOff x="-3741486" y="3386444"/>
              <a:chExt cx="3178515" cy="783273"/>
            </a:xfrm>
          </p:grpSpPr>
          <p:sp>
            <p:nvSpPr>
              <p:cNvPr id="371" name="Freeform 101">
                <a:extLst>
                  <a:ext uri="{FF2B5EF4-FFF2-40B4-BE49-F238E27FC236}">
                    <a16:creationId xmlns:a16="http://schemas.microsoft.com/office/drawing/2014/main" id="{E03F5211-188C-494D-8C4C-95E416330DB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372" name="Rechthoek 306">
                <a:extLst>
                  <a:ext uri="{FF2B5EF4-FFF2-40B4-BE49-F238E27FC236}">
                    <a16:creationId xmlns:a16="http://schemas.microsoft.com/office/drawing/2014/main" id="{BD649D4E-7FB1-487B-8105-9D807B7DF153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73" name="Rechte verbindingslijn 307">
                <a:extLst>
                  <a:ext uri="{FF2B5EF4-FFF2-40B4-BE49-F238E27FC236}">
                    <a16:creationId xmlns:a16="http://schemas.microsoft.com/office/drawing/2014/main" id="{DCC2BC89-C4EC-444F-93D5-020B9E7B0B3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95" name="Rechthoek 260">
              <a:extLst>
                <a:ext uri="{FF2B5EF4-FFF2-40B4-BE49-F238E27FC236}">
                  <a16:creationId xmlns:a16="http://schemas.microsoft.com/office/drawing/2014/main" id="{50E1DC5C-266F-4743-9170-86B38D99F2E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277" name="Ovaal 261">
              <a:extLst>
                <a:ext uri="{FF2B5EF4-FFF2-40B4-BE49-F238E27FC236}">
                  <a16:creationId xmlns:a16="http://schemas.microsoft.com/office/drawing/2014/main" id="{A01D54F2-DAC8-4816-9D68-887D9FE1AE1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78" name="Rechte verbindingslijn 262">
              <a:extLst>
                <a:ext uri="{FF2B5EF4-FFF2-40B4-BE49-F238E27FC236}">
                  <a16:creationId xmlns:a16="http://schemas.microsoft.com/office/drawing/2014/main" id="{8F418CE3-621E-4ECF-AE67-042214F1EC0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79" name="Rechte verbindingslijn 263">
              <a:extLst>
                <a:ext uri="{FF2B5EF4-FFF2-40B4-BE49-F238E27FC236}">
                  <a16:creationId xmlns:a16="http://schemas.microsoft.com/office/drawing/2014/main" id="{4F2B94E1-BCBB-4F26-B68B-FDC99A3D8F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80" name="Rechthoek 264">
              <a:extLst>
                <a:ext uri="{FF2B5EF4-FFF2-40B4-BE49-F238E27FC236}">
                  <a16:creationId xmlns:a16="http://schemas.microsoft.com/office/drawing/2014/main" id="{5C602C05-284A-457E-8980-51DB058DA74C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oor deze te selecteren en op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om een nieuwe afbeelding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281" name="Rechte verbindingslijn 265">
              <a:extLst>
                <a:ext uri="{FF2B5EF4-FFF2-40B4-BE49-F238E27FC236}">
                  <a16:creationId xmlns:a16="http://schemas.microsoft.com/office/drawing/2014/main" id="{CB2DA5FE-3E02-423D-8E15-CF9E1AB792A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4327957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82" name="Ovaal 266">
              <a:extLst>
                <a:ext uri="{FF2B5EF4-FFF2-40B4-BE49-F238E27FC236}">
                  <a16:creationId xmlns:a16="http://schemas.microsoft.com/office/drawing/2014/main" id="{DD258FEB-69EA-450B-A536-66359AE5247F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83" name="Rechthoek 267">
              <a:extLst>
                <a:ext uri="{FF2B5EF4-FFF2-40B4-BE49-F238E27FC236}">
                  <a16:creationId xmlns:a16="http://schemas.microsoft.com/office/drawing/2014/main" id="{1F0BE5B5-69E3-49A5-8113-C729874E26CF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84" name="Groep 268">
              <a:extLst>
                <a:ext uri="{FF2B5EF4-FFF2-40B4-BE49-F238E27FC236}">
                  <a16:creationId xmlns:a16="http://schemas.microsoft.com/office/drawing/2014/main" id="{F6230B4F-5457-4651-AEE1-F9754FF76FF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8" name="Rechthoek 302">
                <a:extLst>
                  <a:ext uri="{FF2B5EF4-FFF2-40B4-BE49-F238E27FC236}">
                    <a16:creationId xmlns:a16="http://schemas.microsoft.com/office/drawing/2014/main" id="{22B3D1F6-F60F-4EB2-ADF0-38C2A3D0C83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369" name="Rechte verbindingslijn 303">
                <a:extLst>
                  <a:ext uri="{FF2B5EF4-FFF2-40B4-BE49-F238E27FC236}">
                    <a16:creationId xmlns:a16="http://schemas.microsoft.com/office/drawing/2014/main" id="{2840ADCD-96B7-44F3-B757-104951BD229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0" name="Gelijkbenige driehoek 304">
                <a:extLst>
                  <a:ext uri="{FF2B5EF4-FFF2-40B4-BE49-F238E27FC236}">
                    <a16:creationId xmlns:a16="http://schemas.microsoft.com/office/drawing/2014/main" id="{C4D1AE4C-38A2-4780-A253-460B2402CBC9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285" name="Groep 269">
              <a:extLst>
                <a:ext uri="{FF2B5EF4-FFF2-40B4-BE49-F238E27FC236}">
                  <a16:creationId xmlns:a16="http://schemas.microsoft.com/office/drawing/2014/main" id="{EE8F6AE5-0422-43EF-877C-37DE7B8883EB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362" name="Rechthoek 296">
                <a:extLst>
                  <a:ext uri="{FF2B5EF4-FFF2-40B4-BE49-F238E27FC236}">
                    <a16:creationId xmlns:a16="http://schemas.microsoft.com/office/drawing/2014/main" id="{571F1463-BB84-492B-889F-C00776B46D26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3" name="Ovaal 297">
                <a:extLst>
                  <a:ext uri="{FF2B5EF4-FFF2-40B4-BE49-F238E27FC236}">
                    <a16:creationId xmlns:a16="http://schemas.microsoft.com/office/drawing/2014/main" id="{6129ECE2-57A2-435D-A4EE-0EEE354F5426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Vrije vorm: vorm 298">
                <a:extLst>
                  <a:ext uri="{FF2B5EF4-FFF2-40B4-BE49-F238E27FC236}">
                    <a16:creationId xmlns:a16="http://schemas.microsoft.com/office/drawing/2014/main" id="{BB9BEEC9-1D96-4E9A-BE22-AA17726B27E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5" name="Rechthoek: afgeronde hoeken 299">
                <a:extLst>
                  <a:ext uri="{FF2B5EF4-FFF2-40B4-BE49-F238E27FC236}">
                    <a16:creationId xmlns:a16="http://schemas.microsoft.com/office/drawing/2014/main" id="{AD6D05A4-F59F-4D21-883D-EF7056DF02F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6" name="Rechte verbindingslijn 300">
                <a:extLst>
                  <a:ext uri="{FF2B5EF4-FFF2-40B4-BE49-F238E27FC236}">
                    <a16:creationId xmlns:a16="http://schemas.microsoft.com/office/drawing/2014/main" id="{F1C839E8-D756-44F4-B793-0E8FF1C8795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7" name="Rechte verbindingslijn 301">
                <a:extLst>
                  <a:ext uri="{FF2B5EF4-FFF2-40B4-BE49-F238E27FC236}">
                    <a16:creationId xmlns:a16="http://schemas.microsoft.com/office/drawing/2014/main" id="{30FE9343-0C7B-4465-A4DC-DC54D21AD6C2}"/>
                  </a:ext>
                </a:extLst>
              </p:cNvPr>
              <p:cNvCxnSpPr>
                <a:cxnSpLocks/>
                <a:stCxn id="365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286" name="Ovaal 270">
              <a:extLst>
                <a:ext uri="{FF2B5EF4-FFF2-40B4-BE49-F238E27FC236}">
                  <a16:creationId xmlns:a16="http://schemas.microsoft.com/office/drawing/2014/main" id="{7AE386D5-78FB-4B79-8BE7-23312AE41E2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87" name="Rechthoek 271">
              <a:extLst>
                <a:ext uri="{FF2B5EF4-FFF2-40B4-BE49-F238E27FC236}">
                  <a16:creationId xmlns:a16="http://schemas.microsoft.com/office/drawing/2014/main" id="{3038A79B-91FF-4661-911E-D680E9CC8213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43320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aan de linker kant van het scherm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288" name="Rechte verbindingslijn 272">
              <a:extLst>
                <a:ext uri="{FF2B5EF4-FFF2-40B4-BE49-F238E27FC236}">
                  <a16:creationId xmlns:a16="http://schemas.microsoft.com/office/drawing/2014/main" id="{D0B59C2B-E3E3-49E2-BFCA-BB09B27EC74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89" name="Rechthoek 273">
              <a:extLst>
                <a:ext uri="{FF2B5EF4-FFF2-40B4-BE49-F238E27FC236}">
                  <a16:creationId xmlns:a16="http://schemas.microsoft.com/office/drawing/2014/main" id="{C3D70EB3-E91D-448C-8B3A-FFA5FDDA4D06}"/>
                </a:ext>
              </a:extLst>
            </p:cNvPr>
            <p:cNvSpPr/>
            <p:nvPr userDrawn="1"/>
          </p:nvSpPr>
          <p:spPr>
            <a:xfrm>
              <a:off x="12654153" y="3238910"/>
              <a:ext cx="1624926" cy="805220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3509" b="0" i="1" noProof="0">
                <a:solidFill>
                  <a:schemeClr val="tx1"/>
                </a:solidFill>
              </a:endParaRPr>
            </a:p>
          </p:txBody>
        </p:sp>
        <p:grpSp>
          <p:nvGrpSpPr>
            <p:cNvPr id="290" name="Groep 274">
              <a:extLst>
                <a:ext uri="{FF2B5EF4-FFF2-40B4-BE49-F238E27FC236}">
                  <a16:creationId xmlns:a16="http://schemas.microsoft.com/office/drawing/2014/main" id="{B1F56C95-C493-4744-8D1A-DAFF50412708}"/>
                </a:ext>
              </a:extLst>
            </p:cNvPr>
            <p:cNvGrpSpPr/>
            <p:nvPr userDrawn="1"/>
          </p:nvGrpSpPr>
          <p:grpSpPr>
            <a:xfrm>
              <a:off x="13614067" y="3535184"/>
              <a:ext cx="1195438" cy="678267"/>
              <a:chOff x="12757284" y="3224292"/>
              <a:chExt cx="1195438" cy="678267"/>
            </a:xfrm>
          </p:grpSpPr>
          <p:sp>
            <p:nvSpPr>
              <p:cNvPr id="291" name="Rechthoek 275">
                <a:extLst>
                  <a:ext uri="{FF2B5EF4-FFF2-40B4-BE49-F238E27FC236}">
                    <a16:creationId xmlns:a16="http://schemas.microsoft.com/office/drawing/2014/main" id="{4E864FC8-874C-4730-9704-A3AF76325A16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92" name="Rechthoek 276">
                <a:extLst>
                  <a:ext uri="{FF2B5EF4-FFF2-40B4-BE49-F238E27FC236}">
                    <a16:creationId xmlns:a16="http://schemas.microsoft.com/office/drawing/2014/main" id="{C6701BA7-565F-4F08-A268-29BF69F5694E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93" name="Groep 277">
                <a:extLst>
                  <a:ext uri="{FF2B5EF4-FFF2-40B4-BE49-F238E27FC236}">
                    <a16:creationId xmlns:a16="http://schemas.microsoft.com/office/drawing/2014/main" id="{F837D2C2-C090-4859-A59E-617962948D87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306" name="Rechthoek: afgeronde hoeken 290">
                  <a:extLst>
                    <a:ext uri="{FF2B5EF4-FFF2-40B4-BE49-F238E27FC236}">
                      <a16:creationId xmlns:a16="http://schemas.microsoft.com/office/drawing/2014/main" id="{0F9DB7E2-00A2-4A86-BB1F-048032508F6E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endPara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07" name="Rechthoek 291">
                  <a:extLst>
                    <a:ext uri="{FF2B5EF4-FFF2-40B4-BE49-F238E27FC236}">
                      <a16:creationId xmlns:a16="http://schemas.microsoft.com/office/drawing/2014/main" id="{4D0B0408-546F-4C2B-A4BB-C883B2334917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8" name="Rechthoek 292">
                  <a:extLst>
                    <a:ext uri="{FF2B5EF4-FFF2-40B4-BE49-F238E27FC236}">
                      <a16:creationId xmlns:a16="http://schemas.microsoft.com/office/drawing/2014/main" id="{36F539AC-96C5-49A3-B6FE-8A1258D12269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9" name="Rechthoek 293">
                  <a:extLst>
                    <a:ext uri="{FF2B5EF4-FFF2-40B4-BE49-F238E27FC236}">
                      <a16:creationId xmlns:a16="http://schemas.microsoft.com/office/drawing/2014/main" id="{F73F991C-6652-423A-96E4-42F900271BEF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10" name="Rechthoek 294">
                  <a:extLst>
                    <a:ext uri="{FF2B5EF4-FFF2-40B4-BE49-F238E27FC236}">
                      <a16:creationId xmlns:a16="http://schemas.microsoft.com/office/drawing/2014/main" id="{7EA8C298-6998-4F78-BE30-C940D037066C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11" name="Rechthoek 295">
                  <a:extLst>
                    <a:ext uri="{FF2B5EF4-FFF2-40B4-BE49-F238E27FC236}">
                      <a16:creationId xmlns:a16="http://schemas.microsoft.com/office/drawing/2014/main" id="{324B9107-8BE1-47B3-B86A-8023966A2B46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294" name="Groep 278">
                <a:extLst>
                  <a:ext uri="{FF2B5EF4-FFF2-40B4-BE49-F238E27FC236}">
                    <a16:creationId xmlns:a16="http://schemas.microsoft.com/office/drawing/2014/main" id="{7686BF6E-68E7-49C3-B1EA-499D30BC896C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298" name="Groep 282">
                  <a:extLst>
                    <a:ext uri="{FF2B5EF4-FFF2-40B4-BE49-F238E27FC236}">
                      <a16:creationId xmlns:a16="http://schemas.microsoft.com/office/drawing/2014/main" id="{3FC7067E-8D0E-4554-A7C0-E8E8593E9CBB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300" name="Rechthoek: afgeronde hoeken 284">
                    <a:extLst>
                      <a:ext uri="{FF2B5EF4-FFF2-40B4-BE49-F238E27FC236}">
                        <a16:creationId xmlns:a16="http://schemas.microsoft.com/office/drawing/2014/main" id="{2E32EFA6-6837-48D7-AB71-A58701D1D06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2105"/>
                      </a:spcBef>
                      <a:spcAft>
                        <a:spcPts val="2105"/>
                      </a:spcAft>
                    </a:pPr>
                    <a:endParaRPr lang="nl-NL" sz="280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301" name="Rechthoek 285">
                    <a:extLst>
                      <a:ext uri="{FF2B5EF4-FFF2-40B4-BE49-F238E27FC236}">
                        <a16:creationId xmlns:a16="http://schemas.microsoft.com/office/drawing/2014/main" id="{7201A464-F0A0-4EA2-8AA2-0FFF8952362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2" name="Rechthoek 286">
                    <a:extLst>
                      <a:ext uri="{FF2B5EF4-FFF2-40B4-BE49-F238E27FC236}">
                        <a16:creationId xmlns:a16="http://schemas.microsoft.com/office/drawing/2014/main" id="{F998DE25-860D-4486-842F-3CCB9BF46FA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3" name="Rechthoek 287">
                    <a:extLst>
                      <a:ext uri="{FF2B5EF4-FFF2-40B4-BE49-F238E27FC236}">
                        <a16:creationId xmlns:a16="http://schemas.microsoft.com/office/drawing/2014/main" id="{4E557AA1-1712-4FF2-A967-290C22B78C4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4" name="Rechthoek 288">
                    <a:extLst>
                      <a:ext uri="{FF2B5EF4-FFF2-40B4-BE49-F238E27FC236}">
                        <a16:creationId xmlns:a16="http://schemas.microsoft.com/office/drawing/2014/main" id="{D61A6982-10BC-4B01-8394-2B23781F985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05" name="Rechthoek 289">
                    <a:extLst>
                      <a:ext uri="{FF2B5EF4-FFF2-40B4-BE49-F238E27FC236}">
                        <a16:creationId xmlns:a16="http://schemas.microsoft.com/office/drawing/2014/main" id="{8FD3E83F-7748-44E3-A281-C85532C4FB9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299" name="Boog 283">
                  <a:extLst>
                    <a:ext uri="{FF2B5EF4-FFF2-40B4-BE49-F238E27FC236}">
                      <a16:creationId xmlns:a16="http://schemas.microsoft.com/office/drawing/2014/main" id="{A30AAC2F-0F76-42C7-A015-C0DB4F80FBAA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</p:grpSp>
          <p:sp>
            <p:nvSpPr>
              <p:cNvPr id="295" name="Tekstvak 279">
                <a:extLst>
                  <a:ext uri="{FF2B5EF4-FFF2-40B4-BE49-F238E27FC236}">
                    <a16:creationId xmlns:a16="http://schemas.microsoft.com/office/drawing/2014/main" id="{6FFCC4B5-9E92-49E9-9961-E4A1A8AAC380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296" name="Tekstvak 280">
                <a:extLst>
                  <a:ext uri="{FF2B5EF4-FFF2-40B4-BE49-F238E27FC236}">
                    <a16:creationId xmlns:a16="http://schemas.microsoft.com/office/drawing/2014/main" id="{1354E724-79E1-473B-A1AC-31E67C55E4B8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297" name="Picture 3">
                <a:extLst>
                  <a:ext uri="{FF2B5EF4-FFF2-40B4-BE49-F238E27FC236}">
                    <a16:creationId xmlns:a16="http://schemas.microsoft.com/office/drawing/2014/main" id="{67B72367-B811-4518-935A-790E55536DD6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810206" y="3671228"/>
                <a:ext cx="14251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grpSp>
        <p:nvGrpSpPr>
          <p:cNvPr id="143" name="Groep 101">
            <a:extLst>
              <a:ext uri="{FF2B5EF4-FFF2-40B4-BE49-F238E27FC236}">
                <a16:creationId xmlns:a16="http://schemas.microsoft.com/office/drawing/2014/main" id="{47CB4194-5173-468E-A122-789407343460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144" name="Rechthoek 102">
              <a:extLst>
                <a:ext uri="{FF2B5EF4-FFF2-40B4-BE49-F238E27FC236}">
                  <a16:creationId xmlns:a16="http://schemas.microsoft.com/office/drawing/2014/main" id="{7526EC12-1432-4121-8A0A-15C09256EC3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145" name="Ovaal 103">
              <a:extLst>
                <a:ext uri="{FF2B5EF4-FFF2-40B4-BE49-F238E27FC236}">
                  <a16:creationId xmlns:a16="http://schemas.microsoft.com/office/drawing/2014/main" id="{1142519C-4D88-4F7E-B22F-3DB38A9EB6E8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6" name="Rechte verbindingslijn 104">
              <a:extLst>
                <a:ext uri="{FF2B5EF4-FFF2-40B4-BE49-F238E27FC236}">
                  <a16:creationId xmlns:a16="http://schemas.microsoft.com/office/drawing/2014/main" id="{BB90E575-E4F2-49A2-9788-21DEC5F6A18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47" name="Groep 105">
              <a:extLst>
                <a:ext uri="{FF2B5EF4-FFF2-40B4-BE49-F238E27FC236}">
                  <a16:creationId xmlns:a16="http://schemas.microsoft.com/office/drawing/2014/main" id="{8086BD83-065C-4B46-9118-111D75A9CD54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72" name="Rechthoek 130">
                <a:extLst>
                  <a:ext uri="{FF2B5EF4-FFF2-40B4-BE49-F238E27FC236}">
                    <a16:creationId xmlns:a16="http://schemas.microsoft.com/office/drawing/2014/main" id="{2CC40364-CCA8-4909-A89F-AFB068E73802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173" name="Rechte verbindingslijn 131">
                <a:extLst>
                  <a:ext uri="{FF2B5EF4-FFF2-40B4-BE49-F238E27FC236}">
                    <a16:creationId xmlns:a16="http://schemas.microsoft.com/office/drawing/2014/main" id="{58E40CA8-9E34-4258-9E9E-7C5A3497691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Rechte verbindingslijn 132">
                <a:extLst>
                  <a:ext uri="{FF2B5EF4-FFF2-40B4-BE49-F238E27FC236}">
                    <a16:creationId xmlns:a16="http://schemas.microsoft.com/office/drawing/2014/main" id="{91E3B00F-D7FE-4FBD-A2A4-A55A6356596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5" name="Rechthoek 133">
                <a:extLst>
                  <a:ext uri="{FF2B5EF4-FFF2-40B4-BE49-F238E27FC236}">
                    <a16:creationId xmlns:a16="http://schemas.microsoft.com/office/drawing/2014/main" id="{266C5721-EA7A-49E2-8BC3-28586E44FB07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6" name="Groep 134">
                <a:extLst>
                  <a:ext uri="{FF2B5EF4-FFF2-40B4-BE49-F238E27FC236}">
                    <a16:creationId xmlns:a16="http://schemas.microsoft.com/office/drawing/2014/main" id="{8232EF18-7C94-4C65-A6F3-99310ECE4E54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18" name="Groep 175">
                  <a:extLst>
                    <a:ext uri="{FF2B5EF4-FFF2-40B4-BE49-F238E27FC236}">
                      <a16:creationId xmlns:a16="http://schemas.microsoft.com/office/drawing/2014/main" id="{F9F171ED-5786-4227-8780-5ECDB522A521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22" name="Rechte verbindingslijn 179">
                    <a:extLst>
                      <a:ext uri="{FF2B5EF4-FFF2-40B4-BE49-F238E27FC236}">
                        <a16:creationId xmlns:a16="http://schemas.microsoft.com/office/drawing/2014/main" id="{3FCD3111-2C94-474F-86BB-B8E963ADAAC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180">
                    <a:extLst>
                      <a:ext uri="{FF2B5EF4-FFF2-40B4-BE49-F238E27FC236}">
                        <a16:creationId xmlns:a16="http://schemas.microsoft.com/office/drawing/2014/main" id="{6615A7D3-E532-4EA1-9470-4578AF031E3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181">
                    <a:extLst>
                      <a:ext uri="{FF2B5EF4-FFF2-40B4-BE49-F238E27FC236}">
                        <a16:creationId xmlns:a16="http://schemas.microsoft.com/office/drawing/2014/main" id="{3AD09CA9-1F8B-4BBE-9E6B-5B55E2CEDC1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182">
                    <a:extLst>
                      <a:ext uri="{FF2B5EF4-FFF2-40B4-BE49-F238E27FC236}">
                        <a16:creationId xmlns:a16="http://schemas.microsoft.com/office/drawing/2014/main" id="{0B780755-3DBA-415B-A0BA-B5E2F31BAE3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183">
                    <a:extLst>
                      <a:ext uri="{FF2B5EF4-FFF2-40B4-BE49-F238E27FC236}">
                        <a16:creationId xmlns:a16="http://schemas.microsoft.com/office/drawing/2014/main" id="{CB22B8AA-DDF8-43D8-B822-3010C5EAE8C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176">
                  <a:extLst>
                    <a:ext uri="{FF2B5EF4-FFF2-40B4-BE49-F238E27FC236}">
                      <a16:creationId xmlns:a16="http://schemas.microsoft.com/office/drawing/2014/main" id="{26099D74-B28E-487B-8C9E-B5391E5FA5EF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177">
                    <a:extLst>
                      <a:ext uri="{FF2B5EF4-FFF2-40B4-BE49-F238E27FC236}">
                        <a16:creationId xmlns:a16="http://schemas.microsoft.com/office/drawing/2014/main" id="{74045800-A7E4-4800-B832-E38D0FF2BBB1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1" name="Pijl: punthaak 178">
                    <a:extLst>
                      <a:ext uri="{FF2B5EF4-FFF2-40B4-BE49-F238E27FC236}">
                        <a16:creationId xmlns:a16="http://schemas.microsoft.com/office/drawing/2014/main" id="{4C84ED2F-CCA7-4DDA-A192-694035B70E1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7" name="Groep 135">
                <a:extLst>
                  <a:ext uri="{FF2B5EF4-FFF2-40B4-BE49-F238E27FC236}">
                    <a16:creationId xmlns:a16="http://schemas.microsoft.com/office/drawing/2014/main" id="{8E2B5D0D-8AFF-48B9-B4CD-011D8DFE28A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9" name="Groep 166">
                  <a:extLst>
                    <a:ext uri="{FF2B5EF4-FFF2-40B4-BE49-F238E27FC236}">
                      <a16:creationId xmlns:a16="http://schemas.microsoft.com/office/drawing/2014/main" id="{370A416A-4921-40B7-91F1-F83D5C0A8588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13" name="Rechte verbindingslijn 170">
                    <a:extLst>
                      <a:ext uri="{FF2B5EF4-FFF2-40B4-BE49-F238E27FC236}">
                        <a16:creationId xmlns:a16="http://schemas.microsoft.com/office/drawing/2014/main" id="{6F98FE2A-DBA0-4097-87CA-4A709E48D5F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4" name="Rechte verbindingslijn 171">
                    <a:extLst>
                      <a:ext uri="{FF2B5EF4-FFF2-40B4-BE49-F238E27FC236}">
                        <a16:creationId xmlns:a16="http://schemas.microsoft.com/office/drawing/2014/main" id="{DD92E75E-44EA-4554-BC1A-BA1B0E487E9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5" name="Rechte verbindingslijn 172">
                    <a:extLst>
                      <a:ext uri="{FF2B5EF4-FFF2-40B4-BE49-F238E27FC236}">
                        <a16:creationId xmlns:a16="http://schemas.microsoft.com/office/drawing/2014/main" id="{728DEDFB-98D4-496F-8DB5-E116C7F6FA4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6" name="Rechte verbindingslijn 173">
                    <a:extLst>
                      <a:ext uri="{FF2B5EF4-FFF2-40B4-BE49-F238E27FC236}">
                        <a16:creationId xmlns:a16="http://schemas.microsoft.com/office/drawing/2014/main" id="{7F621123-FEB4-4E20-84FF-A3B35D89395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7" name="Rechte verbindingslijn 174">
                    <a:extLst>
                      <a:ext uri="{FF2B5EF4-FFF2-40B4-BE49-F238E27FC236}">
                        <a16:creationId xmlns:a16="http://schemas.microsoft.com/office/drawing/2014/main" id="{B1FE9D5D-BB1D-41A4-B0F4-7C350A8E617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0" name="Groep 167">
                  <a:extLst>
                    <a:ext uri="{FF2B5EF4-FFF2-40B4-BE49-F238E27FC236}">
                      <a16:creationId xmlns:a16="http://schemas.microsoft.com/office/drawing/2014/main" id="{ADA822AE-1A83-4567-822C-D1AB5826C177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11" name="Rechthoek 168">
                    <a:extLst>
                      <a:ext uri="{FF2B5EF4-FFF2-40B4-BE49-F238E27FC236}">
                        <a16:creationId xmlns:a16="http://schemas.microsoft.com/office/drawing/2014/main" id="{E1A1B1F9-B377-4F1A-8482-972BC132C66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2" name="Pijl: punthaak 169">
                    <a:extLst>
                      <a:ext uri="{FF2B5EF4-FFF2-40B4-BE49-F238E27FC236}">
                        <a16:creationId xmlns:a16="http://schemas.microsoft.com/office/drawing/2014/main" id="{BB744F2D-AE1A-4FB1-8534-D14D3121F4F1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8" name="Rechte verbindingslijn 136">
                <a:extLst>
                  <a:ext uri="{FF2B5EF4-FFF2-40B4-BE49-F238E27FC236}">
                    <a16:creationId xmlns:a16="http://schemas.microsoft.com/office/drawing/2014/main" id="{12DA91C2-769F-4D99-939A-8F36BA942D8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9" name="Rechte verbindingslijn 137">
                <a:extLst>
                  <a:ext uri="{FF2B5EF4-FFF2-40B4-BE49-F238E27FC236}">
                    <a16:creationId xmlns:a16="http://schemas.microsoft.com/office/drawing/2014/main" id="{706D3FDB-7ADA-40DF-8174-478847061D8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80" name="Groep 138">
                <a:extLst>
                  <a:ext uri="{FF2B5EF4-FFF2-40B4-BE49-F238E27FC236}">
                    <a16:creationId xmlns:a16="http://schemas.microsoft.com/office/drawing/2014/main" id="{4423A69A-8F35-428F-A283-8FD2652570BB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8" name="Rechthoek 155">
                  <a:extLst>
                    <a:ext uri="{FF2B5EF4-FFF2-40B4-BE49-F238E27FC236}">
                      <a16:creationId xmlns:a16="http://schemas.microsoft.com/office/drawing/2014/main" id="{EE45D136-EF41-4B80-932F-752AF802DEB3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9" name="Groep 156">
                  <a:extLst>
                    <a:ext uri="{FF2B5EF4-FFF2-40B4-BE49-F238E27FC236}">
                      <a16:creationId xmlns:a16="http://schemas.microsoft.com/office/drawing/2014/main" id="{CB97E053-6FAF-4325-A1C4-E10799B8D42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0" name="Groep 157">
                    <a:extLst>
                      <a:ext uri="{FF2B5EF4-FFF2-40B4-BE49-F238E27FC236}">
                        <a16:creationId xmlns:a16="http://schemas.microsoft.com/office/drawing/2014/main" id="{B924C37B-DDF7-45DF-80A4-CCB22B105A5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04" name="Rechte verbindingslijn 161">
                      <a:extLst>
                        <a:ext uri="{FF2B5EF4-FFF2-40B4-BE49-F238E27FC236}">
                          <a16:creationId xmlns:a16="http://schemas.microsoft.com/office/drawing/2014/main" id="{6585FB54-F4A0-41BF-B0CE-E7CC317AC6C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162">
                      <a:extLst>
                        <a:ext uri="{FF2B5EF4-FFF2-40B4-BE49-F238E27FC236}">
                          <a16:creationId xmlns:a16="http://schemas.microsoft.com/office/drawing/2014/main" id="{BC13B9DA-DE40-4745-B878-48FB34BA513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163">
                      <a:extLst>
                        <a:ext uri="{FF2B5EF4-FFF2-40B4-BE49-F238E27FC236}">
                          <a16:creationId xmlns:a16="http://schemas.microsoft.com/office/drawing/2014/main" id="{3CFFA4AA-2B83-4240-82DC-2F59C35D1A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7" name="Rechte verbindingslijn 164">
                      <a:extLst>
                        <a:ext uri="{FF2B5EF4-FFF2-40B4-BE49-F238E27FC236}">
                          <a16:creationId xmlns:a16="http://schemas.microsoft.com/office/drawing/2014/main" id="{D1643326-0AA8-423D-A027-E53A0EC942C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8" name="Rechte verbindingslijn 165">
                      <a:extLst>
                        <a:ext uri="{FF2B5EF4-FFF2-40B4-BE49-F238E27FC236}">
                          <a16:creationId xmlns:a16="http://schemas.microsoft.com/office/drawing/2014/main" id="{A19D1767-3EA8-48FB-B2DD-EB7A7E4376F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01" name="Groep 158">
                    <a:extLst>
                      <a:ext uri="{FF2B5EF4-FFF2-40B4-BE49-F238E27FC236}">
                        <a16:creationId xmlns:a16="http://schemas.microsoft.com/office/drawing/2014/main" id="{6A653AF7-20A6-4F5D-A1CF-7E7889C572D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2" name="Rechthoek 159">
                      <a:extLst>
                        <a:ext uri="{FF2B5EF4-FFF2-40B4-BE49-F238E27FC236}">
                          <a16:creationId xmlns:a16="http://schemas.microsoft.com/office/drawing/2014/main" id="{16E1C486-3B35-4714-8DA3-6E1CA06E5A1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3" name="Pijl: punthaak 160">
                      <a:extLst>
                        <a:ext uri="{FF2B5EF4-FFF2-40B4-BE49-F238E27FC236}">
                          <a16:creationId xmlns:a16="http://schemas.microsoft.com/office/drawing/2014/main" id="{C9A572C7-D8BD-40A9-BD77-C14179F5B46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81" name="Groep 139">
                <a:extLst>
                  <a:ext uri="{FF2B5EF4-FFF2-40B4-BE49-F238E27FC236}">
                    <a16:creationId xmlns:a16="http://schemas.microsoft.com/office/drawing/2014/main" id="{07491E33-4D1A-4825-843B-8C97CC3121A2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84" name="Rechthoek 142">
                  <a:extLst>
                    <a:ext uri="{FF2B5EF4-FFF2-40B4-BE49-F238E27FC236}">
                      <a16:creationId xmlns:a16="http://schemas.microsoft.com/office/drawing/2014/main" id="{0049DFFC-2D58-4E46-A764-184463979C4F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5" name="Groep 143">
                  <a:extLst>
                    <a:ext uri="{FF2B5EF4-FFF2-40B4-BE49-F238E27FC236}">
                      <a16:creationId xmlns:a16="http://schemas.microsoft.com/office/drawing/2014/main" id="{869765FA-7FA6-4A49-9FA3-B506969F1A3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6" name="Groep 144">
                    <a:extLst>
                      <a:ext uri="{FF2B5EF4-FFF2-40B4-BE49-F238E27FC236}">
                        <a16:creationId xmlns:a16="http://schemas.microsoft.com/office/drawing/2014/main" id="{21157C45-5328-43C2-BE64-07AD427B8C6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90" name="Rechte verbindingslijn 150">
                      <a:extLst>
                        <a:ext uri="{FF2B5EF4-FFF2-40B4-BE49-F238E27FC236}">
                          <a16:creationId xmlns:a16="http://schemas.microsoft.com/office/drawing/2014/main" id="{34E10DF4-33FA-4CAC-AF38-E9FE624CE74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1" name="Rechte verbindingslijn 151">
                      <a:extLst>
                        <a:ext uri="{FF2B5EF4-FFF2-40B4-BE49-F238E27FC236}">
                          <a16:creationId xmlns:a16="http://schemas.microsoft.com/office/drawing/2014/main" id="{ACBB9494-C05E-4B07-8047-7527AED9E39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2" name="Rechte verbindingslijn 152">
                      <a:extLst>
                        <a:ext uri="{FF2B5EF4-FFF2-40B4-BE49-F238E27FC236}">
                          <a16:creationId xmlns:a16="http://schemas.microsoft.com/office/drawing/2014/main" id="{F1B2964A-A6F8-474F-98E0-CFC487131C7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6" name="Rechte verbindingslijn 153">
                      <a:extLst>
                        <a:ext uri="{FF2B5EF4-FFF2-40B4-BE49-F238E27FC236}">
                          <a16:creationId xmlns:a16="http://schemas.microsoft.com/office/drawing/2014/main" id="{09EBA0F5-F4D1-4B6D-9554-64E3F7D1175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54">
                      <a:extLst>
                        <a:ext uri="{FF2B5EF4-FFF2-40B4-BE49-F238E27FC236}">
                          <a16:creationId xmlns:a16="http://schemas.microsoft.com/office/drawing/2014/main" id="{2C2926A1-7C8C-4BB6-90FD-433F4B3497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7" name="Groep 147">
                    <a:extLst>
                      <a:ext uri="{FF2B5EF4-FFF2-40B4-BE49-F238E27FC236}">
                        <a16:creationId xmlns:a16="http://schemas.microsoft.com/office/drawing/2014/main" id="{64230569-40E4-4157-B262-1D067D3CBBD6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8" name="Rechthoek 148">
                      <a:extLst>
                        <a:ext uri="{FF2B5EF4-FFF2-40B4-BE49-F238E27FC236}">
                          <a16:creationId xmlns:a16="http://schemas.microsoft.com/office/drawing/2014/main" id="{14513BC9-6C6D-4AFB-A408-7519FF4140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9" name="Pijl: punthaak 149">
                      <a:extLst>
                        <a:ext uri="{FF2B5EF4-FFF2-40B4-BE49-F238E27FC236}">
                          <a16:creationId xmlns:a16="http://schemas.microsoft.com/office/drawing/2014/main" id="{10C28501-2868-4383-BFBE-FD7CBBDC3820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82" name="Rechthoek 140">
                <a:extLst>
                  <a:ext uri="{FF2B5EF4-FFF2-40B4-BE49-F238E27FC236}">
                    <a16:creationId xmlns:a16="http://schemas.microsoft.com/office/drawing/2014/main" id="{21365C5A-0F97-40FA-BB38-95DDC6EF6A76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183" name="Rechthoek 141">
                <a:extLst>
                  <a:ext uri="{FF2B5EF4-FFF2-40B4-BE49-F238E27FC236}">
                    <a16:creationId xmlns:a16="http://schemas.microsoft.com/office/drawing/2014/main" id="{37837E00-DD2E-4AA0-A2CB-74BBA2A57F3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148" name="Rechte verbindingslijn 106">
              <a:extLst>
                <a:ext uri="{FF2B5EF4-FFF2-40B4-BE49-F238E27FC236}">
                  <a16:creationId xmlns:a16="http://schemas.microsoft.com/office/drawing/2014/main" id="{34E29B9B-7652-4990-83F8-4473D9C65AA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9" name="Rechthoek 107">
              <a:extLst>
                <a:ext uri="{FF2B5EF4-FFF2-40B4-BE49-F238E27FC236}">
                  <a16:creationId xmlns:a16="http://schemas.microsoft.com/office/drawing/2014/main" id="{89398ACB-B8C9-4D2A-A364-A80B12B157DF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150" name="Ovaal 108">
              <a:extLst>
                <a:ext uri="{FF2B5EF4-FFF2-40B4-BE49-F238E27FC236}">
                  <a16:creationId xmlns:a16="http://schemas.microsoft.com/office/drawing/2014/main" id="{BDE9CF40-3969-40F5-BB61-2CFFFB24C8A6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1" name="Rechthoek 109">
              <a:extLst>
                <a:ext uri="{FF2B5EF4-FFF2-40B4-BE49-F238E27FC236}">
                  <a16:creationId xmlns:a16="http://schemas.microsoft.com/office/drawing/2014/main" id="{10BCBFBD-DD59-4297-A87A-B3E73640C0B5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152" name="Ovaal 110">
              <a:extLst>
                <a:ext uri="{FF2B5EF4-FFF2-40B4-BE49-F238E27FC236}">
                  <a16:creationId xmlns:a16="http://schemas.microsoft.com/office/drawing/2014/main" id="{073BFF21-0359-4606-B732-D9C5945CFEE6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11">
              <a:extLst>
                <a:ext uri="{FF2B5EF4-FFF2-40B4-BE49-F238E27FC236}">
                  <a16:creationId xmlns:a16="http://schemas.microsoft.com/office/drawing/2014/main" id="{20B7250B-6593-4731-9E21-4829ACA97F6F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54" name="Ovaal 112">
              <a:extLst>
                <a:ext uri="{FF2B5EF4-FFF2-40B4-BE49-F238E27FC236}">
                  <a16:creationId xmlns:a16="http://schemas.microsoft.com/office/drawing/2014/main" id="{39129DF6-F3FB-4899-A7D4-5740B57D6D60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55" name="Rechthoek 113">
              <a:extLst>
                <a:ext uri="{FF2B5EF4-FFF2-40B4-BE49-F238E27FC236}">
                  <a16:creationId xmlns:a16="http://schemas.microsoft.com/office/drawing/2014/main" id="{3EDE12DB-AF9D-4A48-9115-641838745370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156" name="Ovaal 114">
              <a:extLst>
                <a:ext uri="{FF2B5EF4-FFF2-40B4-BE49-F238E27FC236}">
                  <a16:creationId xmlns:a16="http://schemas.microsoft.com/office/drawing/2014/main" id="{CA3E41B2-CBB5-4E61-994B-1655477F4792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57" name="Rechthoek 115">
              <a:extLst>
                <a:ext uri="{FF2B5EF4-FFF2-40B4-BE49-F238E27FC236}">
                  <a16:creationId xmlns:a16="http://schemas.microsoft.com/office/drawing/2014/main" id="{C243CA18-696C-4E9D-9415-E118247A3EFD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158" name="Rechte verbindingslijn 116">
              <a:extLst>
                <a:ext uri="{FF2B5EF4-FFF2-40B4-BE49-F238E27FC236}">
                  <a16:creationId xmlns:a16="http://schemas.microsoft.com/office/drawing/2014/main" id="{CCAF0C87-FF42-4E5E-B537-87ACB54C2A7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9" name="Meer informatie">
              <a:extLst>
                <a:ext uri="{FF2B5EF4-FFF2-40B4-BE49-F238E27FC236}">
                  <a16:creationId xmlns:a16="http://schemas.microsoft.com/office/drawing/2014/main" id="{D24260ED-0E94-42F9-B7B1-580768F08BF1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169" name="Freeform 101">
                <a:extLst>
                  <a:ext uri="{FF2B5EF4-FFF2-40B4-BE49-F238E27FC236}">
                    <a16:creationId xmlns:a16="http://schemas.microsoft.com/office/drawing/2014/main" id="{FD5154E9-FFA9-43E8-977E-51019192FEB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170" name="Rechthoek 128">
                <a:extLst>
                  <a:ext uri="{FF2B5EF4-FFF2-40B4-BE49-F238E27FC236}">
                    <a16:creationId xmlns:a16="http://schemas.microsoft.com/office/drawing/2014/main" id="{61AB07E5-3658-45F5-8C37-78EFA4D5C2F4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71" name="Rechte verbindingslijn 129">
                <a:extLst>
                  <a:ext uri="{FF2B5EF4-FFF2-40B4-BE49-F238E27FC236}">
                    <a16:creationId xmlns:a16="http://schemas.microsoft.com/office/drawing/2014/main" id="{1D7D7F5F-1FCC-4E83-92F8-C85353D6541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0" name="Rechthoek 118">
              <a:extLst>
                <a:ext uri="{FF2B5EF4-FFF2-40B4-BE49-F238E27FC236}">
                  <a16:creationId xmlns:a16="http://schemas.microsoft.com/office/drawing/2014/main" id="{CA33DCEA-B4B6-4802-8B31-DD18ACC8DA7B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161" name="Ovaal 119">
              <a:extLst>
                <a:ext uri="{FF2B5EF4-FFF2-40B4-BE49-F238E27FC236}">
                  <a16:creationId xmlns:a16="http://schemas.microsoft.com/office/drawing/2014/main" id="{930C8539-5B35-4905-82D8-44323D79DDBD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2" name="Rechthoek 120">
              <a:extLst>
                <a:ext uri="{FF2B5EF4-FFF2-40B4-BE49-F238E27FC236}">
                  <a16:creationId xmlns:a16="http://schemas.microsoft.com/office/drawing/2014/main" id="{628F65A6-C775-4FA0-8A88-6C1A45E476A2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63" name="Ovaal 121">
              <a:extLst>
                <a:ext uri="{FF2B5EF4-FFF2-40B4-BE49-F238E27FC236}">
                  <a16:creationId xmlns:a16="http://schemas.microsoft.com/office/drawing/2014/main" id="{60258EC1-FF6B-48F3-ABB0-8F6BDB4FF067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4" name="Rechthoek 122">
              <a:extLst>
                <a:ext uri="{FF2B5EF4-FFF2-40B4-BE49-F238E27FC236}">
                  <a16:creationId xmlns:a16="http://schemas.microsoft.com/office/drawing/2014/main" id="{A6FED3C7-8F3F-413F-8431-9D846CFB4E7E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165" name="Ovaal 123">
              <a:extLst>
                <a:ext uri="{FF2B5EF4-FFF2-40B4-BE49-F238E27FC236}">
                  <a16:creationId xmlns:a16="http://schemas.microsoft.com/office/drawing/2014/main" id="{5F2FC2CF-452C-4AA3-B06A-62C0671D625F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6" name="Rechthoek 124">
              <a:extLst>
                <a:ext uri="{FF2B5EF4-FFF2-40B4-BE49-F238E27FC236}">
                  <a16:creationId xmlns:a16="http://schemas.microsoft.com/office/drawing/2014/main" id="{27280BE1-45CF-401A-B8D3-0E8FCB828B85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67" name="Rechthoek 125">
              <a:extLst>
                <a:ext uri="{FF2B5EF4-FFF2-40B4-BE49-F238E27FC236}">
                  <a16:creationId xmlns:a16="http://schemas.microsoft.com/office/drawing/2014/main" id="{2A10BF97-CCA1-4BBA-8718-37635ACAF9A0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168" name="Ovaal 126">
              <a:extLst>
                <a:ext uri="{FF2B5EF4-FFF2-40B4-BE49-F238E27FC236}">
                  <a16:creationId xmlns:a16="http://schemas.microsoft.com/office/drawing/2014/main" id="{2E20D8F4-98C5-46DB-90AC-E5439F1606C1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  <p:pic>
        <p:nvPicPr>
          <p:cNvPr id="228" name="Afbeelding 227">
            <a:extLst>
              <a:ext uri="{FF2B5EF4-FFF2-40B4-BE49-F238E27FC236}">
                <a16:creationId xmlns:a16="http://schemas.microsoft.com/office/drawing/2014/main" id="{424325DF-F4FE-41DA-8233-E1C830FB8F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154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Tekst horizontaal 50%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136292"/>
            <a:ext cx="42767250" cy="15138926"/>
          </a:xfrm>
          <a:solidFill>
            <a:schemeClr val="bg1">
              <a:lumMod val="95000"/>
            </a:schemeClr>
          </a:solidFill>
        </p:spPr>
        <p:txBody>
          <a:bodyPr tIns="1008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0" name="Tijdelijke aanduiding voor verticale tekst 2">
            <a:extLst>
              <a:ext uri="{FF2B5EF4-FFF2-40B4-BE49-F238E27FC236}">
                <a16:creationId xmlns:a16="http://schemas.microsoft.com/office/drawing/2014/main" id="{F8646127-FAA8-40B9-BA27-B65B55E1D214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731100" y="6455413"/>
            <a:ext cx="19652523" cy="6270810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 marL="623677" indent="-623677">
              <a:buFont typeface="Arial" panose="020B0604020202020204" pitchFamily="34" charset="0"/>
              <a:buChar char="•"/>
              <a:defRPr sz="5612">
                <a:latin typeface="+mj-lt"/>
              </a:defRPr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bullet #2</a:t>
            </a:r>
          </a:p>
          <a:p>
            <a:pPr lvl="3"/>
            <a:r>
              <a:rPr lang="nl-NL" noProof="0"/>
              <a:t>Platte tekst1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D9B5C8AD-E451-4910-BCD7-D1E346AA05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0" name="Tijdelijke aanduiding voor tekst 14">
            <a:extLst>
              <a:ext uri="{FF2B5EF4-FFF2-40B4-BE49-F238E27FC236}">
                <a16:creationId xmlns:a16="http://schemas.microsoft.com/office/drawing/2014/main" id="{9A64BF12-7DFA-4BAF-9073-5EB142A323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47" name="Tijdelijke aanduiding voor voettekst 4">
            <a:extLst>
              <a:ext uri="{FF2B5EF4-FFF2-40B4-BE49-F238E27FC236}">
                <a16:creationId xmlns:a16="http://schemas.microsoft.com/office/drawing/2014/main" id="{58C156A9-63A9-476C-A14C-D38512258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48" name="Tijdelijke aanduiding voor dianummer 5">
            <a:extLst>
              <a:ext uri="{FF2B5EF4-FFF2-40B4-BE49-F238E27FC236}">
                <a16:creationId xmlns:a16="http://schemas.microsoft.com/office/drawing/2014/main" id="{4873E8A5-4959-4902-84E2-A62C718138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7" y="27329718"/>
            <a:ext cx="857530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7" name="Tijdelijke aanduiding voor datum 3">
            <a:extLst>
              <a:ext uri="{FF2B5EF4-FFF2-40B4-BE49-F238E27FC236}">
                <a16:creationId xmlns:a16="http://schemas.microsoft.com/office/drawing/2014/main" id="{35B3F705-7563-46B4-AC7E-1ADE5F14C8B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9541AB-70E6-4E41-922C-2B951D28D1F5}" type="datetime1">
              <a:rPr lang="nl-NL" noProof="0" smtClean="0"/>
              <a:t>26-6-2023</a:t>
            </a:fld>
            <a:endParaRPr lang="nl-NL" noProof="0"/>
          </a:p>
        </p:txBody>
      </p:sp>
      <p:grpSp>
        <p:nvGrpSpPr>
          <p:cNvPr id="316" name="Groep 258">
            <a:extLst>
              <a:ext uri="{FF2B5EF4-FFF2-40B4-BE49-F238E27FC236}">
                <a16:creationId xmlns:a16="http://schemas.microsoft.com/office/drawing/2014/main" id="{36D1E311-8D84-4CAC-90BA-2D5A3B87AEDF}"/>
              </a:ext>
            </a:extLst>
          </p:cNvPr>
          <p:cNvGrpSpPr/>
          <p:nvPr userDrawn="1"/>
        </p:nvGrpSpPr>
        <p:grpSpPr>
          <a:xfrm>
            <a:off x="43467416" y="5"/>
            <a:ext cx="11167745" cy="23084356"/>
            <a:chOff x="12391601" y="0"/>
            <a:chExt cx="3183678" cy="5229113"/>
          </a:xfrm>
        </p:grpSpPr>
        <p:grpSp>
          <p:nvGrpSpPr>
            <p:cNvPr id="317" name="Meer informatie">
              <a:extLst>
                <a:ext uri="{FF2B5EF4-FFF2-40B4-BE49-F238E27FC236}">
                  <a16:creationId xmlns:a16="http://schemas.microsoft.com/office/drawing/2014/main" id="{F247902E-2F32-467F-831D-B3867F4015B2}"/>
                </a:ext>
              </a:extLst>
            </p:cNvPr>
            <p:cNvGrpSpPr/>
            <p:nvPr userDrawn="1"/>
          </p:nvGrpSpPr>
          <p:grpSpPr>
            <a:xfrm>
              <a:off x="12396764" y="4445840"/>
              <a:ext cx="3178515" cy="783273"/>
              <a:chOff x="-3741486" y="3386444"/>
              <a:chExt cx="3178515" cy="783273"/>
            </a:xfrm>
          </p:grpSpPr>
          <p:sp>
            <p:nvSpPr>
              <p:cNvPr id="363" name="Freeform 101">
                <a:extLst>
                  <a:ext uri="{FF2B5EF4-FFF2-40B4-BE49-F238E27FC236}">
                    <a16:creationId xmlns:a16="http://schemas.microsoft.com/office/drawing/2014/main" id="{B5E8F268-F552-4075-961E-C623F2BD71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364" name="Rechthoek 306">
                <a:extLst>
                  <a:ext uri="{FF2B5EF4-FFF2-40B4-BE49-F238E27FC236}">
                    <a16:creationId xmlns:a16="http://schemas.microsoft.com/office/drawing/2014/main" id="{579E171F-FBD9-4E2A-8058-8D3D2556DFCF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65" name="Rechte verbindingslijn 307">
                <a:extLst>
                  <a:ext uri="{FF2B5EF4-FFF2-40B4-BE49-F238E27FC236}">
                    <a16:creationId xmlns:a16="http://schemas.microsoft.com/office/drawing/2014/main" id="{3CE04F83-6BC5-49E8-B74F-8E37B1B115C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18" name="Rechthoek 260">
              <a:extLst>
                <a:ext uri="{FF2B5EF4-FFF2-40B4-BE49-F238E27FC236}">
                  <a16:creationId xmlns:a16="http://schemas.microsoft.com/office/drawing/2014/main" id="{9DEA071A-65DE-4416-907A-CAD853D3C9C7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319" name="Ovaal 261">
              <a:extLst>
                <a:ext uri="{FF2B5EF4-FFF2-40B4-BE49-F238E27FC236}">
                  <a16:creationId xmlns:a16="http://schemas.microsoft.com/office/drawing/2014/main" id="{8CA01E0A-E885-4E74-9735-525DBACDE80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20" name="Rechte verbindingslijn 262">
              <a:extLst>
                <a:ext uri="{FF2B5EF4-FFF2-40B4-BE49-F238E27FC236}">
                  <a16:creationId xmlns:a16="http://schemas.microsoft.com/office/drawing/2014/main" id="{FBFFED2D-04EA-4601-9F77-20335A17181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21" name="Rechte verbindingslijn 263">
              <a:extLst>
                <a:ext uri="{FF2B5EF4-FFF2-40B4-BE49-F238E27FC236}">
                  <a16:creationId xmlns:a16="http://schemas.microsoft.com/office/drawing/2014/main" id="{A6204301-5815-40D9-8339-235B499DCA2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22" name="Rechthoek 264">
              <a:extLst>
                <a:ext uri="{FF2B5EF4-FFF2-40B4-BE49-F238E27FC236}">
                  <a16:creationId xmlns:a16="http://schemas.microsoft.com/office/drawing/2014/main" id="{474AECF9-5584-41BC-BB53-539C9CD6945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oor deze te selecteren en op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om een nieuwe afbeelding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23" name="Rechte verbindingslijn 265">
              <a:extLst>
                <a:ext uri="{FF2B5EF4-FFF2-40B4-BE49-F238E27FC236}">
                  <a16:creationId xmlns:a16="http://schemas.microsoft.com/office/drawing/2014/main" id="{E2E9C9A3-7EA1-4CB4-BE0B-3BFD20A669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4327957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24" name="Ovaal 266">
              <a:extLst>
                <a:ext uri="{FF2B5EF4-FFF2-40B4-BE49-F238E27FC236}">
                  <a16:creationId xmlns:a16="http://schemas.microsoft.com/office/drawing/2014/main" id="{DC97E41A-8AB2-4D00-A818-50F2DBCD702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25" name="Rechthoek 267">
              <a:extLst>
                <a:ext uri="{FF2B5EF4-FFF2-40B4-BE49-F238E27FC236}">
                  <a16:creationId xmlns:a16="http://schemas.microsoft.com/office/drawing/2014/main" id="{CDB87134-79CA-43C7-BE52-FBDCE655B907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26" name="Groep 268">
              <a:extLst>
                <a:ext uri="{FF2B5EF4-FFF2-40B4-BE49-F238E27FC236}">
                  <a16:creationId xmlns:a16="http://schemas.microsoft.com/office/drawing/2014/main" id="{4316D768-2ECD-478E-9B0C-EFFFE89C661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0" name="Rechthoek 302">
                <a:extLst>
                  <a:ext uri="{FF2B5EF4-FFF2-40B4-BE49-F238E27FC236}">
                    <a16:creationId xmlns:a16="http://schemas.microsoft.com/office/drawing/2014/main" id="{E6C8724B-930C-4249-87DE-FBEA86630750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361" name="Rechte verbindingslijn 303">
                <a:extLst>
                  <a:ext uri="{FF2B5EF4-FFF2-40B4-BE49-F238E27FC236}">
                    <a16:creationId xmlns:a16="http://schemas.microsoft.com/office/drawing/2014/main" id="{BA5CEE17-E7CF-413F-B94A-70F065A7458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2" name="Gelijkbenige driehoek 304">
                <a:extLst>
                  <a:ext uri="{FF2B5EF4-FFF2-40B4-BE49-F238E27FC236}">
                    <a16:creationId xmlns:a16="http://schemas.microsoft.com/office/drawing/2014/main" id="{835ADAE6-D3D7-4BA4-B429-BD8B1F4A415E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27" name="Groep 269">
              <a:extLst>
                <a:ext uri="{FF2B5EF4-FFF2-40B4-BE49-F238E27FC236}">
                  <a16:creationId xmlns:a16="http://schemas.microsoft.com/office/drawing/2014/main" id="{88245547-2CB6-4EA5-AA7D-D9318CC5DE38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354" name="Rechthoek 296">
                <a:extLst>
                  <a:ext uri="{FF2B5EF4-FFF2-40B4-BE49-F238E27FC236}">
                    <a16:creationId xmlns:a16="http://schemas.microsoft.com/office/drawing/2014/main" id="{F0857272-19EB-49AA-93EF-10DED9064E85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55" name="Ovaal 297">
                <a:extLst>
                  <a:ext uri="{FF2B5EF4-FFF2-40B4-BE49-F238E27FC236}">
                    <a16:creationId xmlns:a16="http://schemas.microsoft.com/office/drawing/2014/main" id="{2498E560-5C87-4882-A1C6-4C4CAD08A39D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56" name="Vrije vorm: vorm 298">
                <a:extLst>
                  <a:ext uri="{FF2B5EF4-FFF2-40B4-BE49-F238E27FC236}">
                    <a16:creationId xmlns:a16="http://schemas.microsoft.com/office/drawing/2014/main" id="{291A8D1E-5609-465B-A7D6-31B4403635CE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57" name="Rechthoek: afgeronde hoeken 299">
                <a:extLst>
                  <a:ext uri="{FF2B5EF4-FFF2-40B4-BE49-F238E27FC236}">
                    <a16:creationId xmlns:a16="http://schemas.microsoft.com/office/drawing/2014/main" id="{6896E2FD-E642-42E5-900E-D97DAE4D4415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58" name="Rechte verbindingslijn 300">
                <a:extLst>
                  <a:ext uri="{FF2B5EF4-FFF2-40B4-BE49-F238E27FC236}">
                    <a16:creationId xmlns:a16="http://schemas.microsoft.com/office/drawing/2014/main" id="{0C7F6D9A-4123-4E61-B449-32DEC7D55B2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59" name="Rechte verbindingslijn 301">
                <a:extLst>
                  <a:ext uri="{FF2B5EF4-FFF2-40B4-BE49-F238E27FC236}">
                    <a16:creationId xmlns:a16="http://schemas.microsoft.com/office/drawing/2014/main" id="{39470C20-F42A-421F-AD86-6A7275F8F832}"/>
                  </a:ext>
                </a:extLst>
              </p:cNvPr>
              <p:cNvCxnSpPr>
                <a:cxnSpLocks/>
                <a:stCxn id="35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28" name="Ovaal 270">
              <a:extLst>
                <a:ext uri="{FF2B5EF4-FFF2-40B4-BE49-F238E27FC236}">
                  <a16:creationId xmlns:a16="http://schemas.microsoft.com/office/drawing/2014/main" id="{556F0622-7777-4EA3-915C-9BDF6980D118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29" name="Rechthoek 271">
              <a:extLst>
                <a:ext uri="{FF2B5EF4-FFF2-40B4-BE49-F238E27FC236}">
                  <a16:creationId xmlns:a16="http://schemas.microsoft.com/office/drawing/2014/main" id="{3230BBC0-9B33-4F5C-B1F9-A65620C0EB0C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43320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aan de linker kant van het scherm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30" name="Rechte verbindingslijn 272">
              <a:extLst>
                <a:ext uri="{FF2B5EF4-FFF2-40B4-BE49-F238E27FC236}">
                  <a16:creationId xmlns:a16="http://schemas.microsoft.com/office/drawing/2014/main" id="{4A1507E3-D3B4-40FD-90E1-E1D092B966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31" name="Rechthoek 273">
              <a:extLst>
                <a:ext uri="{FF2B5EF4-FFF2-40B4-BE49-F238E27FC236}">
                  <a16:creationId xmlns:a16="http://schemas.microsoft.com/office/drawing/2014/main" id="{3001FB9C-B5D0-40F3-A0A3-A6B48F046D2D}"/>
                </a:ext>
              </a:extLst>
            </p:cNvPr>
            <p:cNvSpPr/>
            <p:nvPr userDrawn="1"/>
          </p:nvSpPr>
          <p:spPr>
            <a:xfrm>
              <a:off x="12654153" y="3238910"/>
              <a:ext cx="1624926" cy="805220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3509" b="0" i="1" noProof="0">
                <a:solidFill>
                  <a:schemeClr val="tx1"/>
                </a:solidFill>
              </a:endParaRPr>
            </a:p>
          </p:txBody>
        </p:sp>
        <p:grpSp>
          <p:nvGrpSpPr>
            <p:cNvPr id="332" name="Groep 274">
              <a:extLst>
                <a:ext uri="{FF2B5EF4-FFF2-40B4-BE49-F238E27FC236}">
                  <a16:creationId xmlns:a16="http://schemas.microsoft.com/office/drawing/2014/main" id="{D73EA66C-7BB5-4EA8-BE8A-2442C4935B97}"/>
                </a:ext>
              </a:extLst>
            </p:cNvPr>
            <p:cNvGrpSpPr/>
            <p:nvPr userDrawn="1"/>
          </p:nvGrpSpPr>
          <p:grpSpPr>
            <a:xfrm>
              <a:off x="13614067" y="3535184"/>
              <a:ext cx="1195438" cy="678267"/>
              <a:chOff x="12757284" y="3224292"/>
              <a:chExt cx="1195438" cy="678267"/>
            </a:xfrm>
          </p:grpSpPr>
          <p:sp>
            <p:nvSpPr>
              <p:cNvPr id="333" name="Rechthoek 275">
                <a:extLst>
                  <a:ext uri="{FF2B5EF4-FFF2-40B4-BE49-F238E27FC236}">
                    <a16:creationId xmlns:a16="http://schemas.microsoft.com/office/drawing/2014/main" id="{811796B3-EF4C-4E6E-B30D-CBFD96DAF072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34" name="Rechthoek 276">
                <a:extLst>
                  <a:ext uri="{FF2B5EF4-FFF2-40B4-BE49-F238E27FC236}">
                    <a16:creationId xmlns:a16="http://schemas.microsoft.com/office/drawing/2014/main" id="{D6EA42A0-F0B9-4BA6-B151-395CB3391C6B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35" name="Groep 277">
                <a:extLst>
                  <a:ext uri="{FF2B5EF4-FFF2-40B4-BE49-F238E27FC236}">
                    <a16:creationId xmlns:a16="http://schemas.microsoft.com/office/drawing/2014/main" id="{1CC3F710-8816-4F24-94E8-E5396578E567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348" name="Rechthoek: afgeronde hoeken 290">
                  <a:extLst>
                    <a:ext uri="{FF2B5EF4-FFF2-40B4-BE49-F238E27FC236}">
                      <a16:creationId xmlns:a16="http://schemas.microsoft.com/office/drawing/2014/main" id="{CFFFE2AC-1CF5-4448-8D61-DA96ED94CE34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endPara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49" name="Rechthoek 291">
                  <a:extLst>
                    <a:ext uri="{FF2B5EF4-FFF2-40B4-BE49-F238E27FC236}">
                      <a16:creationId xmlns:a16="http://schemas.microsoft.com/office/drawing/2014/main" id="{2C4F7AC9-8649-49D6-8297-BCF8F4918AAE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0" name="Rechthoek 292">
                  <a:extLst>
                    <a:ext uri="{FF2B5EF4-FFF2-40B4-BE49-F238E27FC236}">
                      <a16:creationId xmlns:a16="http://schemas.microsoft.com/office/drawing/2014/main" id="{2011685F-B6F3-4B1B-987A-066DF85D5454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1" name="Rechthoek 293">
                  <a:extLst>
                    <a:ext uri="{FF2B5EF4-FFF2-40B4-BE49-F238E27FC236}">
                      <a16:creationId xmlns:a16="http://schemas.microsoft.com/office/drawing/2014/main" id="{147F988F-82F9-45EB-A843-CADD842A40C7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2" name="Rechthoek 294">
                  <a:extLst>
                    <a:ext uri="{FF2B5EF4-FFF2-40B4-BE49-F238E27FC236}">
                      <a16:creationId xmlns:a16="http://schemas.microsoft.com/office/drawing/2014/main" id="{93174B6E-9980-4110-85E1-62C76E877C97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3" name="Rechthoek 295">
                  <a:extLst>
                    <a:ext uri="{FF2B5EF4-FFF2-40B4-BE49-F238E27FC236}">
                      <a16:creationId xmlns:a16="http://schemas.microsoft.com/office/drawing/2014/main" id="{013B3206-AD1B-4ACA-B5D3-2C67401630F6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336" name="Groep 278">
                <a:extLst>
                  <a:ext uri="{FF2B5EF4-FFF2-40B4-BE49-F238E27FC236}">
                    <a16:creationId xmlns:a16="http://schemas.microsoft.com/office/drawing/2014/main" id="{6ACA6617-2BB6-4ABA-9C68-5FA3F3DA54B0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340" name="Groep 282">
                  <a:extLst>
                    <a:ext uri="{FF2B5EF4-FFF2-40B4-BE49-F238E27FC236}">
                      <a16:creationId xmlns:a16="http://schemas.microsoft.com/office/drawing/2014/main" id="{E7440BAB-4AC5-40E9-9257-C3345E62E5D2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342" name="Rechthoek: afgeronde hoeken 284">
                    <a:extLst>
                      <a:ext uri="{FF2B5EF4-FFF2-40B4-BE49-F238E27FC236}">
                        <a16:creationId xmlns:a16="http://schemas.microsoft.com/office/drawing/2014/main" id="{666EA79E-EB4D-421E-91C5-BC365649C3F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2105"/>
                      </a:spcBef>
                      <a:spcAft>
                        <a:spcPts val="2105"/>
                      </a:spcAft>
                    </a:pPr>
                    <a:endParaRPr lang="nl-NL" sz="280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343" name="Rechthoek 285">
                    <a:extLst>
                      <a:ext uri="{FF2B5EF4-FFF2-40B4-BE49-F238E27FC236}">
                        <a16:creationId xmlns:a16="http://schemas.microsoft.com/office/drawing/2014/main" id="{9294C2A9-8FB4-4AB3-909D-F398C507DC8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44" name="Rechthoek 286">
                    <a:extLst>
                      <a:ext uri="{FF2B5EF4-FFF2-40B4-BE49-F238E27FC236}">
                        <a16:creationId xmlns:a16="http://schemas.microsoft.com/office/drawing/2014/main" id="{D0A0093F-0BEC-4AE7-A4E6-D61C469D369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45" name="Rechthoek 287">
                    <a:extLst>
                      <a:ext uri="{FF2B5EF4-FFF2-40B4-BE49-F238E27FC236}">
                        <a16:creationId xmlns:a16="http://schemas.microsoft.com/office/drawing/2014/main" id="{4753C24D-B9A2-43DD-B063-211D2499DB7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46" name="Rechthoek 288">
                    <a:extLst>
                      <a:ext uri="{FF2B5EF4-FFF2-40B4-BE49-F238E27FC236}">
                        <a16:creationId xmlns:a16="http://schemas.microsoft.com/office/drawing/2014/main" id="{DDC0FA9C-30F8-41BA-9DDF-765A6245932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47" name="Rechthoek 289">
                    <a:extLst>
                      <a:ext uri="{FF2B5EF4-FFF2-40B4-BE49-F238E27FC236}">
                        <a16:creationId xmlns:a16="http://schemas.microsoft.com/office/drawing/2014/main" id="{22AC01F9-94D0-4481-8711-74AB927E9A3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341" name="Boog 283">
                  <a:extLst>
                    <a:ext uri="{FF2B5EF4-FFF2-40B4-BE49-F238E27FC236}">
                      <a16:creationId xmlns:a16="http://schemas.microsoft.com/office/drawing/2014/main" id="{42C81A20-09EE-4B2C-9B48-06BC245AC19A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</p:grpSp>
          <p:sp>
            <p:nvSpPr>
              <p:cNvPr id="337" name="Tekstvak 279">
                <a:extLst>
                  <a:ext uri="{FF2B5EF4-FFF2-40B4-BE49-F238E27FC236}">
                    <a16:creationId xmlns:a16="http://schemas.microsoft.com/office/drawing/2014/main" id="{97B51EFD-7399-440F-865D-CC5DBAD78393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338" name="Tekstvak 280">
                <a:extLst>
                  <a:ext uri="{FF2B5EF4-FFF2-40B4-BE49-F238E27FC236}">
                    <a16:creationId xmlns:a16="http://schemas.microsoft.com/office/drawing/2014/main" id="{4FB5C194-1412-4668-AA39-753115BD491D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339" name="Picture 3">
                <a:extLst>
                  <a:ext uri="{FF2B5EF4-FFF2-40B4-BE49-F238E27FC236}">
                    <a16:creationId xmlns:a16="http://schemas.microsoft.com/office/drawing/2014/main" id="{E107FAA0-4BCD-4601-815B-47EBB0714F6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810206" y="3671228"/>
                <a:ext cx="14251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grpSp>
        <p:nvGrpSpPr>
          <p:cNvPr id="141" name="Groep 101">
            <a:extLst>
              <a:ext uri="{FF2B5EF4-FFF2-40B4-BE49-F238E27FC236}">
                <a16:creationId xmlns:a16="http://schemas.microsoft.com/office/drawing/2014/main" id="{95B28788-A8A0-42DB-9178-A6F8B7B09410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142" name="Rechthoek 102">
              <a:extLst>
                <a:ext uri="{FF2B5EF4-FFF2-40B4-BE49-F238E27FC236}">
                  <a16:creationId xmlns:a16="http://schemas.microsoft.com/office/drawing/2014/main" id="{7B4F0E3A-F12A-4FB1-B244-F562ACAA5878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143" name="Ovaal 103">
              <a:extLst>
                <a:ext uri="{FF2B5EF4-FFF2-40B4-BE49-F238E27FC236}">
                  <a16:creationId xmlns:a16="http://schemas.microsoft.com/office/drawing/2014/main" id="{5EFC0DB7-5C5B-4AD6-8612-2F223007E59C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4" name="Rechte verbindingslijn 104">
              <a:extLst>
                <a:ext uri="{FF2B5EF4-FFF2-40B4-BE49-F238E27FC236}">
                  <a16:creationId xmlns:a16="http://schemas.microsoft.com/office/drawing/2014/main" id="{D7721EA1-24FD-486E-AF8D-077C60FE4DC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45" name="Groep 105">
              <a:extLst>
                <a:ext uri="{FF2B5EF4-FFF2-40B4-BE49-F238E27FC236}">
                  <a16:creationId xmlns:a16="http://schemas.microsoft.com/office/drawing/2014/main" id="{0F404BF1-31CE-48E3-88EC-8EEB6D3A884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70" name="Rechthoek 130">
                <a:extLst>
                  <a:ext uri="{FF2B5EF4-FFF2-40B4-BE49-F238E27FC236}">
                    <a16:creationId xmlns:a16="http://schemas.microsoft.com/office/drawing/2014/main" id="{56203DD0-B25C-4C83-B449-0B462F88992B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171" name="Rechte verbindingslijn 131">
                <a:extLst>
                  <a:ext uri="{FF2B5EF4-FFF2-40B4-BE49-F238E27FC236}">
                    <a16:creationId xmlns:a16="http://schemas.microsoft.com/office/drawing/2014/main" id="{126D6ADB-0021-4FB2-8E69-075CA37332F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Rechte verbindingslijn 132">
                <a:extLst>
                  <a:ext uri="{FF2B5EF4-FFF2-40B4-BE49-F238E27FC236}">
                    <a16:creationId xmlns:a16="http://schemas.microsoft.com/office/drawing/2014/main" id="{E7B433FD-8DDE-4197-8B26-CD583A9FBB9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3" name="Rechthoek 133">
                <a:extLst>
                  <a:ext uri="{FF2B5EF4-FFF2-40B4-BE49-F238E27FC236}">
                    <a16:creationId xmlns:a16="http://schemas.microsoft.com/office/drawing/2014/main" id="{9099F051-2F9A-4A21-8C9E-F59114D24679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4" name="Groep 134">
                <a:extLst>
                  <a:ext uri="{FF2B5EF4-FFF2-40B4-BE49-F238E27FC236}">
                    <a16:creationId xmlns:a16="http://schemas.microsoft.com/office/drawing/2014/main" id="{163CB3A9-E087-4636-9178-E2EEEF09F987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13" name="Groep 175">
                  <a:extLst>
                    <a:ext uri="{FF2B5EF4-FFF2-40B4-BE49-F238E27FC236}">
                      <a16:creationId xmlns:a16="http://schemas.microsoft.com/office/drawing/2014/main" id="{318D29EA-332C-4650-A0B8-7BA2312EE8CB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17" name="Rechte verbindingslijn 179">
                    <a:extLst>
                      <a:ext uri="{FF2B5EF4-FFF2-40B4-BE49-F238E27FC236}">
                        <a16:creationId xmlns:a16="http://schemas.microsoft.com/office/drawing/2014/main" id="{3BD5FD9E-8E8D-47F5-9643-4857A2681A9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8" name="Rechte verbindingslijn 180">
                    <a:extLst>
                      <a:ext uri="{FF2B5EF4-FFF2-40B4-BE49-F238E27FC236}">
                        <a16:creationId xmlns:a16="http://schemas.microsoft.com/office/drawing/2014/main" id="{67959D2E-60E1-4F42-B446-96E9CF2370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9" name="Rechte verbindingslijn 181">
                    <a:extLst>
                      <a:ext uri="{FF2B5EF4-FFF2-40B4-BE49-F238E27FC236}">
                        <a16:creationId xmlns:a16="http://schemas.microsoft.com/office/drawing/2014/main" id="{63F0E444-6C31-4B95-A0BC-B891F1798F3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0" name="Rechte verbindingslijn 182">
                    <a:extLst>
                      <a:ext uri="{FF2B5EF4-FFF2-40B4-BE49-F238E27FC236}">
                        <a16:creationId xmlns:a16="http://schemas.microsoft.com/office/drawing/2014/main" id="{1A9B8E51-6EDD-4C2C-919C-6F668B526EF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1" name="Rechte verbindingslijn 183">
                    <a:extLst>
                      <a:ext uri="{FF2B5EF4-FFF2-40B4-BE49-F238E27FC236}">
                        <a16:creationId xmlns:a16="http://schemas.microsoft.com/office/drawing/2014/main" id="{D807552D-7B1F-4F1B-9085-CABFD549E3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4" name="Groep 176">
                  <a:extLst>
                    <a:ext uri="{FF2B5EF4-FFF2-40B4-BE49-F238E27FC236}">
                      <a16:creationId xmlns:a16="http://schemas.microsoft.com/office/drawing/2014/main" id="{DED8669F-25EE-45BE-9EA1-3C0320CF61E2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15" name="Rechthoek 177">
                    <a:extLst>
                      <a:ext uri="{FF2B5EF4-FFF2-40B4-BE49-F238E27FC236}">
                        <a16:creationId xmlns:a16="http://schemas.microsoft.com/office/drawing/2014/main" id="{B6C1B673-6013-4D00-A57B-79A95892A1E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6" name="Pijl: punthaak 178">
                    <a:extLst>
                      <a:ext uri="{FF2B5EF4-FFF2-40B4-BE49-F238E27FC236}">
                        <a16:creationId xmlns:a16="http://schemas.microsoft.com/office/drawing/2014/main" id="{8E040766-637E-437B-B545-7E3C3B0F5CEA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5" name="Groep 135">
                <a:extLst>
                  <a:ext uri="{FF2B5EF4-FFF2-40B4-BE49-F238E27FC236}">
                    <a16:creationId xmlns:a16="http://schemas.microsoft.com/office/drawing/2014/main" id="{0683EC59-23DE-4DE7-90A1-8E2027A93EE9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4" name="Groep 166">
                  <a:extLst>
                    <a:ext uri="{FF2B5EF4-FFF2-40B4-BE49-F238E27FC236}">
                      <a16:creationId xmlns:a16="http://schemas.microsoft.com/office/drawing/2014/main" id="{0C58919E-7977-4EA9-A880-90081A3400CA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08" name="Rechte verbindingslijn 170">
                    <a:extLst>
                      <a:ext uri="{FF2B5EF4-FFF2-40B4-BE49-F238E27FC236}">
                        <a16:creationId xmlns:a16="http://schemas.microsoft.com/office/drawing/2014/main" id="{451DE4C4-DEE3-4072-8D3C-90B58C7C39B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9" name="Rechte verbindingslijn 171">
                    <a:extLst>
                      <a:ext uri="{FF2B5EF4-FFF2-40B4-BE49-F238E27FC236}">
                        <a16:creationId xmlns:a16="http://schemas.microsoft.com/office/drawing/2014/main" id="{B8F007B1-8EEB-4365-96CD-9D4F7D93885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0" name="Rechte verbindingslijn 172">
                    <a:extLst>
                      <a:ext uri="{FF2B5EF4-FFF2-40B4-BE49-F238E27FC236}">
                        <a16:creationId xmlns:a16="http://schemas.microsoft.com/office/drawing/2014/main" id="{B72C18C4-D44C-4C72-92FC-DED74F78EFD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1" name="Rechte verbindingslijn 173">
                    <a:extLst>
                      <a:ext uri="{FF2B5EF4-FFF2-40B4-BE49-F238E27FC236}">
                        <a16:creationId xmlns:a16="http://schemas.microsoft.com/office/drawing/2014/main" id="{3408140D-999A-4A2B-AC60-203628EB30F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2" name="Rechte verbindingslijn 174">
                    <a:extLst>
                      <a:ext uri="{FF2B5EF4-FFF2-40B4-BE49-F238E27FC236}">
                        <a16:creationId xmlns:a16="http://schemas.microsoft.com/office/drawing/2014/main" id="{149DCC1F-9A21-43C8-A4E2-BF13F56A907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5" name="Groep 167">
                  <a:extLst>
                    <a:ext uri="{FF2B5EF4-FFF2-40B4-BE49-F238E27FC236}">
                      <a16:creationId xmlns:a16="http://schemas.microsoft.com/office/drawing/2014/main" id="{D12FA5E6-082F-470E-B282-5E58ACF648A3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6" name="Rechthoek 168">
                    <a:extLst>
                      <a:ext uri="{FF2B5EF4-FFF2-40B4-BE49-F238E27FC236}">
                        <a16:creationId xmlns:a16="http://schemas.microsoft.com/office/drawing/2014/main" id="{F53A0DAF-0982-43A8-B3E2-DB6261FAC70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7" name="Pijl: punthaak 169">
                    <a:extLst>
                      <a:ext uri="{FF2B5EF4-FFF2-40B4-BE49-F238E27FC236}">
                        <a16:creationId xmlns:a16="http://schemas.microsoft.com/office/drawing/2014/main" id="{F0637FB2-94DF-46AF-A114-1870C970D729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6" name="Rechte verbindingslijn 136">
                <a:extLst>
                  <a:ext uri="{FF2B5EF4-FFF2-40B4-BE49-F238E27FC236}">
                    <a16:creationId xmlns:a16="http://schemas.microsoft.com/office/drawing/2014/main" id="{4FFF641A-30F6-4B75-B040-12DF3E6FC9C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7" name="Rechte verbindingslijn 137">
                <a:extLst>
                  <a:ext uri="{FF2B5EF4-FFF2-40B4-BE49-F238E27FC236}">
                    <a16:creationId xmlns:a16="http://schemas.microsoft.com/office/drawing/2014/main" id="{1D158DE8-F529-46B9-AB2C-F183C28498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8" name="Groep 138">
                <a:extLst>
                  <a:ext uri="{FF2B5EF4-FFF2-40B4-BE49-F238E27FC236}">
                    <a16:creationId xmlns:a16="http://schemas.microsoft.com/office/drawing/2014/main" id="{E03B6EA6-1A14-486F-A235-0B4137DEC5B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3" name="Rechthoek 155">
                  <a:extLst>
                    <a:ext uri="{FF2B5EF4-FFF2-40B4-BE49-F238E27FC236}">
                      <a16:creationId xmlns:a16="http://schemas.microsoft.com/office/drawing/2014/main" id="{CCEDF5F6-6C86-4A03-AC4E-1D9EBFB4E75A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4" name="Groep 156">
                  <a:extLst>
                    <a:ext uri="{FF2B5EF4-FFF2-40B4-BE49-F238E27FC236}">
                      <a16:creationId xmlns:a16="http://schemas.microsoft.com/office/drawing/2014/main" id="{D6699AB2-9679-4B8E-8921-9636A70C02A4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5" name="Groep 157">
                    <a:extLst>
                      <a:ext uri="{FF2B5EF4-FFF2-40B4-BE49-F238E27FC236}">
                        <a16:creationId xmlns:a16="http://schemas.microsoft.com/office/drawing/2014/main" id="{858DC683-A812-4F48-ACCE-010B99486B2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9" name="Rechte verbindingslijn 161">
                      <a:extLst>
                        <a:ext uri="{FF2B5EF4-FFF2-40B4-BE49-F238E27FC236}">
                          <a16:creationId xmlns:a16="http://schemas.microsoft.com/office/drawing/2014/main" id="{DAA3B30E-C11D-4F38-BDC9-9E3843E2191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62">
                      <a:extLst>
                        <a:ext uri="{FF2B5EF4-FFF2-40B4-BE49-F238E27FC236}">
                          <a16:creationId xmlns:a16="http://schemas.microsoft.com/office/drawing/2014/main" id="{59EB870D-A0BE-4F6A-9D64-056E5601E3C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1" name="Rechte verbindingslijn 163">
                      <a:extLst>
                        <a:ext uri="{FF2B5EF4-FFF2-40B4-BE49-F238E27FC236}">
                          <a16:creationId xmlns:a16="http://schemas.microsoft.com/office/drawing/2014/main" id="{B6119731-43A1-4FEA-9991-1F6696AF39B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2" name="Rechte verbindingslijn 164">
                      <a:extLst>
                        <a:ext uri="{FF2B5EF4-FFF2-40B4-BE49-F238E27FC236}">
                          <a16:creationId xmlns:a16="http://schemas.microsoft.com/office/drawing/2014/main" id="{6FEAB620-C5A7-49FA-A17E-A1F1FB6556A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165">
                      <a:extLst>
                        <a:ext uri="{FF2B5EF4-FFF2-40B4-BE49-F238E27FC236}">
                          <a16:creationId xmlns:a16="http://schemas.microsoft.com/office/drawing/2014/main" id="{CCE77212-90BD-48C3-A72D-D20F73293B0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6" name="Groep 158">
                    <a:extLst>
                      <a:ext uri="{FF2B5EF4-FFF2-40B4-BE49-F238E27FC236}">
                        <a16:creationId xmlns:a16="http://schemas.microsoft.com/office/drawing/2014/main" id="{38128187-8C73-4F95-8831-E575DC55B8B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7" name="Rechthoek 159">
                      <a:extLst>
                        <a:ext uri="{FF2B5EF4-FFF2-40B4-BE49-F238E27FC236}">
                          <a16:creationId xmlns:a16="http://schemas.microsoft.com/office/drawing/2014/main" id="{8D940099-2C07-4DD1-8DF8-9AA8B305A55F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8" name="Pijl: punthaak 160">
                      <a:extLst>
                        <a:ext uri="{FF2B5EF4-FFF2-40B4-BE49-F238E27FC236}">
                          <a16:creationId xmlns:a16="http://schemas.microsoft.com/office/drawing/2014/main" id="{A30EFFCE-54A0-41D4-B683-2FC53C549DD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9" name="Groep 139">
                <a:extLst>
                  <a:ext uri="{FF2B5EF4-FFF2-40B4-BE49-F238E27FC236}">
                    <a16:creationId xmlns:a16="http://schemas.microsoft.com/office/drawing/2014/main" id="{03EF4F76-F9DD-4D00-AFD0-AA82C630F0E7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82" name="Rechthoek 142">
                  <a:extLst>
                    <a:ext uri="{FF2B5EF4-FFF2-40B4-BE49-F238E27FC236}">
                      <a16:creationId xmlns:a16="http://schemas.microsoft.com/office/drawing/2014/main" id="{7A0D19E1-FDA1-46D5-BBDB-7512EA32E17B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3" name="Groep 143">
                  <a:extLst>
                    <a:ext uri="{FF2B5EF4-FFF2-40B4-BE49-F238E27FC236}">
                      <a16:creationId xmlns:a16="http://schemas.microsoft.com/office/drawing/2014/main" id="{14418F93-51E7-404F-883E-49C07E8F348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4" name="Groep 144">
                    <a:extLst>
                      <a:ext uri="{FF2B5EF4-FFF2-40B4-BE49-F238E27FC236}">
                        <a16:creationId xmlns:a16="http://schemas.microsoft.com/office/drawing/2014/main" id="{4EA07D60-2BB4-46B9-AA90-F7D9E0E6F3A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8" name="Rechte verbindingslijn 150">
                      <a:extLst>
                        <a:ext uri="{FF2B5EF4-FFF2-40B4-BE49-F238E27FC236}">
                          <a16:creationId xmlns:a16="http://schemas.microsoft.com/office/drawing/2014/main" id="{F91786A5-D683-454D-B15C-8F20EE52564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51">
                      <a:extLst>
                        <a:ext uri="{FF2B5EF4-FFF2-40B4-BE49-F238E27FC236}">
                          <a16:creationId xmlns:a16="http://schemas.microsoft.com/office/drawing/2014/main" id="{908D2F48-A2AC-479F-83E9-1AC678FA249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0" name="Rechte verbindingslijn 152">
                      <a:extLst>
                        <a:ext uri="{FF2B5EF4-FFF2-40B4-BE49-F238E27FC236}">
                          <a16:creationId xmlns:a16="http://schemas.microsoft.com/office/drawing/2014/main" id="{BD97C232-0430-49B3-BD77-B4443E3FE80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1" name="Rechte verbindingslijn 153">
                      <a:extLst>
                        <a:ext uri="{FF2B5EF4-FFF2-40B4-BE49-F238E27FC236}">
                          <a16:creationId xmlns:a16="http://schemas.microsoft.com/office/drawing/2014/main" id="{21AD0B0A-3231-4919-AE9C-8783831FC84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2" name="Rechte verbindingslijn 154">
                      <a:extLst>
                        <a:ext uri="{FF2B5EF4-FFF2-40B4-BE49-F238E27FC236}">
                          <a16:creationId xmlns:a16="http://schemas.microsoft.com/office/drawing/2014/main" id="{31730319-926D-47A4-BEEF-B35F6C8AFE4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5" name="Groep 147">
                    <a:extLst>
                      <a:ext uri="{FF2B5EF4-FFF2-40B4-BE49-F238E27FC236}">
                        <a16:creationId xmlns:a16="http://schemas.microsoft.com/office/drawing/2014/main" id="{930EBE4A-505C-4500-B43D-F819B8B4D7BB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6" name="Rechthoek 148">
                      <a:extLst>
                        <a:ext uri="{FF2B5EF4-FFF2-40B4-BE49-F238E27FC236}">
                          <a16:creationId xmlns:a16="http://schemas.microsoft.com/office/drawing/2014/main" id="{5D9B5C2A-DD41-4410-8039-48DED8DDD76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7" name="Pijl: punthaak 149">
                      <a:extLst>
                        <a:ext uri="{FF2B5EF4-FFF2-40B4-BE49-F238E27FC236}">
                          <a16:creationId xmlns:a16="http://schemas.microsoft.com/office/drawing/2014/main" id="{AC0AE38C-C2A5-49CF-B750-31A9233D8453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80" name="Rechthoek 140">
                <a:extLst>
                  <a:ext uri="{FF2B5EF4-FFF2-40B4-BE49-F238E27FC236}">
                    <a16:creationId xmlns:a16="http://schemas.microsoft.com/office/drawing/2014/main" id="{9EC08441-0A14-45D8-8AE7-001017CD2CD5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181" name="Rechthoek 141">
                <a:extLst>
                  <a:ext uri="{FF2B5EF4-FFF2-40B4-BE49-F238E27FC236}">
                    <a16:creationId xmlns:a16="http://schemas.microsoft.com/office/drawing/2014/main" id="{AC6BE803-128B-444B-A21A-7201448B6056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146" name="Rechte verbindingslijn 106">
              <a:extLst>
                <a:ext uri="{FF2B5EF4-FFF2-40B4-BE49-F238E27FC236}">
                  <a16:creationId xmlns:a16="http://schemas.microsoft.com/office/drawing/2014/main" id="{8DFCB2FE-A5DB-4FB9-94D2-EB880F7D219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07">
              <a:extLst>
                <a:ext uri="{FF2B5EF4-FFF2-40B4-BE49-F238E27FC236}">
                  <a16:creationId xmlns:a16="http://schemas.microsoft.com/office/drawing/2014/main" id="{32363060-8769-4F5A-A6BD-14177E3B02B0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148" name="Ovaal 108">
              <a:extLst>
                <a:ext uri="{FF2B5EF4-FFF2-40B4-BE49-F238E27FC236}">
                  <a16:creationId xmlns:a16="http://schemas.microsoft.com/office/drawing/2014/main" id="{56BB0D81-9E29-4397-A590-1739A29C850A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9" name="Rechthoek 109">
              <a:extLst>
                <a:ext uri="{FF2B5EF4-FFF2-40B4-BE49-F238E27FC236}">
                  <a16:creationId xmlns:a16="http://schemas.microsoft.com/office/drawing/2014/main" id="{4A32951E-5373-4509-956F-EBE6B5293B17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150" name="Ovaal 110">
              <a:extLst>
                <a:ext uri="{FF2B5EF4-FFF2-40B4-BE49-F238E27FC236}">
                  <a16:creationId xmlns:a16="http://schemas.microsoft.com/office/drawing/2014/main" id="{BB627AE4-2B1C-40A7-8561-42DEA63C8FF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1" name="Rechthoek 111">
              <a:extLst>
                <a:ext uri="{FF2B5EF4-FFF2-40B4-BE49-F238E27FC236}">
                  <a16:creationId xmlns:a16="http://schemas.microsoft.com/office/drawing/2014/main" id="{5DA123F0-CE2F-43AE-AA76-E47C6F191ED2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52" name="Ovaal 112">
              <a:extLst>
                <a:ext uri="{FF2B5EF4-FFF2-40B4-BE49-F238E27FC236}">
                  <a16:creationId xmlns:a16="http://schemas.microsoft.com/office/drawing/2014/main" id="{8DB2C302-6B02-4654-AF96-7E23BB789D9B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53" name="Rechthoek 113">
              <a:extLst>
                <a:ext uri="{FF2B5EF4-FFF2-40B4-BE49-F238E27FC236}">
                  <a16:creationId xmlns:a16="http://schemas.microsoft.com/office/drawing/2014/main" id="{DE51F11D-73DE-4DB0-B208-F80DA2FDFAFC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154" name="Ovaal 114">
              <a:extLst>
                <a:ext uri="{FF2B5EF4-FFF2-40B4-BE49-F238E27FC236}">
                  <a16:creationId xmlns:a16="http://schemas.microsoft.com/office/drawing/2014/main" id="{1C4BF7D6-84DE-4609-A539-87DEB5064240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55" name="Rechthoek 115">
              <a:extLst>
                <a:ext uri="{FF2B5EF4-FFF2-40B4-BE49-F238E27FC236}">
                  <a16:creationId xmlns:a16="http://schemas.microsoft.com/office/drawing/2014/main" id="{6F6884B3-62AD-4DA8-84C6-090C53B64F02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156" name="Rechte verbindingslijn 116">
              <a:extLst>
                <a:ext uri="{FF2B5EF4-FFF2-40B4-BE49-F238E27FC236}">
                  <a16:creationId xmlns:a16="http://schemas.microsoft.com/office/drawing/2014/main" id="{382B0757-10FD-4BBB-8F7D-7BD41D275AE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7" name="Meer informatie">
              <a:extLst>
                <a:ext uri="{FF2B5EF4-FFF2-40B4-BE49-F238E27FC236}">
                  <a16:creationId xmlns:a16="http://schemas.microsoft.com/office/drawing/2014/main" id="{7732049D-66B3-4047-95FB-3042BE786811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167" name="Freeform 101">
                <a:extLst>
                  <a:ext uri="{FF2B5EF4-FFF2-40B4-BE49-F238E27FC236}">
                    <a16:creationId xmlns:a16="http://schemas.microsoft.com/office/drawing/2014/main" id="{CE9B5F8C-1B9A-4A47-BEF0-C86B4AB436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168" name="Rechthoek 128">
                <a:extLst>
                  <a:ext uri="{FF2B5EF4-FFF2-40B4-BE49-F238E27FC236}">
                    <a16:creationId xmlns:a16="http://schemas.microsoft.com/office/drawing/2014/main" id="{9DA2FD3A-2808-4D2C-A244-95CF1B29385C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69" name="Rechte verbindingslijn 129">
                <a:extLst>
                  <a:ext uri="{FF2B5EF4-FFF2-40B4-BE49-F238E27FC236}">
                    <a16:creationId xmlns:a16="http://schemas.microsoft.com/office/drawing/2014/main" id="{ECAA9B25-5625-483D-9F58-EAEC158D944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8" name="Rechthoek 118">
              <a:extLst>
                <a:ext uri="{FF2B5EF4-FFF2-40B4-BE49-F238E27FC236}">
                  <a16:creationId xmlns:a16="http://schemas.microsoft.com/office/drawing/2014/main" id="{D089AD00-4839-4F60-8325-010552F671AF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159" name="Ovaal 119">
              <a:extLst>
                <a:ext uri="{FF2B5EF4-FFF2-40B4-BE49-F238E27FC236}">
                  <a16:creationId xmlns:a16="http://schemas.microsoft.com/office/drawing/2014/main" id="{C1BE77F9-E2B0-4105-B64A-B43743B412D3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0" name="Rechthoek 120">
              <a:extLst>
                <a:ext uri="{FF2B5EF4-FFF2-40B4-BE49-F238E27FC236}">
                  <a16:creationId xmlns:a16="http://schemas.microsoft.com/office/drawing/2014/main" id="{BF228544-777A-4371-AEDF-0B5E09B84F16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61" name="Ovaal 121">
              <a:extLst>
                <a:ext uri="{FF2B5EF4-FFF2-40B4-BE49-F238E27FC236}">
                  <a16:creationId xmlns:a16="http://schemas.microsoft.com/office/drawing/2014/main" id="{0A027ADD-5B3A-43BD-A947-DAB49A777379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2" name="Rechthoek 122">
              <a:extLst>
                <a:ext uri="{FF2B5EF4-FFF2-40B4-BE49-F238E27FC236}">
                  <a16:creationId xmlns:a16="http://schemas.microsoft.com/office/drawing/2014/main" id="{666F6835-E26A-45FF-AA2F-FB2210B7D01B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163" name="Ovaal 123">
              <a:extLst>
                <a:ext uri="{FF2B5EF4-FFF2-40B4-BE49-F238E27FC236}">
                  <a16:creationId xmlns:a16="http://schemas.microsoft.com/office/drawing/2014/main" id="{AE934020-1CCD-453A-831B-0F60AAEA6979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4" name="Rechthoek 124">
              <a:extLst>
                <a:ext uri="{FF2B5EF4-FFF2-40B4-BE49-F238E27FC236}">
                  <a16:creationId xmlns:a16="http://schemas.microsoft.com/office/drawing/2014/main" id="{01F26142-DB92-4568-9D8C-3D83686C2D81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65" name="Rechthoek 125">
              <a:extLst>
                <a:ext uri="{FF2B5EF4-FFF2-40B4-BE49-F238E27FC236}">
                  <a16:creationId xmlns:a16="http://schemas.microsoft.com/office/drawing/2014/main" id="{5E8FFE9E-3A2D-4A67-A039-C2504131D5AB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166" name="Ovaal 126">
              <a:extLst>
                <a:ext uri="{FF2B5EF4-FFF2-40B4-BE49-F238E27FC236}">
                  <a16:creationId xmlns:a16="http://schemas.microsoft.com/office/drawing/2014/main" id="{5D55E49E-FF1A-498F-B2CA-8B9FF26BF087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  <p:pic>
        <p:nvPicPr>
          <p:cNvPr id="222" name="Afbeelding 221">
            <a:extLst>
              <a:ext uri="{FF2B5EF4-FFF2-40B4-BE49-F238E27FC236}">
                <a16:creationId xmlns:a16="http://schemas.microsoft.com/office/drawing/2014/main" id="{602AF7D1-3DFC-492C-95E2-409993E4AC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148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Wolk 100%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-5567" y="-31537"/>
            <a:ext cx="42767257" cy="30306755"/>
          </a:xfrm>
          <a:solidFill>
            <a:schemeClr val="bg1">
              <a:lumMod val="95000"/>
            </a:schemeClr>
          </a:solidFill>
        </p:spPr>
        <p:txBody>
          <a:bodyPr tIns="1044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3" name="Tijdelijke aanduiding voor voettekst 4">
            <a:extLst>
              <a:ext uri="{FF2B5EF4-FFF2-40B4-BE49-F238E27FC236}">
                <a16:creationId xmlns:a16="http://schemas.microsoft.com/office/drawing/2014/main" id="{3FD2C40F-5ED0-4573-8F6F-31F0DA9D46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4" name="Tijdelijke aanduiding voor dianummer 5">
            <a:extLst>
              <a:ext uri="{FF2B5EF4-FFF2-40B4-BE49-F238E27FC236}">
                <a16:creationId xmlns:a16="http://schemas.microsoft.com/office/drawing/2014/main" id="{FDCACBC6-40CE-484B-AC87-549D0BAA4F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7" y="27329718"/>
            <a:ext cx="828942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D78D1FB9-F46F-4739-84B5-17E9644E515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1062563" y="6639726"/>
            <a:ext cx="15869579" cy="8579805"/>
          </a:xfrm>
          <a:custGeom>
            <a:avLst/>
            <a:gdLst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4067 w 4524067"/>
              <a:gd name="connsiteY3" fmla="*/ 1604261 h 1943514"/>
              <a:gd name="connsiteX4" fmla="*/ 374342 w 4524067"/>
              <a:gd name="connsiteY4" fmla="*/ 1604261 h 1943514"/>
              <a:gd name="connsiteX5" fmla="*/ 374342 w 4524067"/>
              <a:gd name="connsiteY5" fmla="*/ 1604495 h 1943514"/>
              <a:gd name="connsiteX6" fmla="*/ 372031 w 4524067"/>
              <a:gd name="connsiteY6" fmla="*/ 1604262 h 1943514"/>
              <a:gd name="connsiteX7" fmla="*/ 7555 w 4524067"/>
              <a:gd name="connsiteY7" fmla="*/ 1901319 h 1943514"/>
              <a:gd name="connsiteX8" fmla="*/ 3301 w 4524067"/>
              <a:gd name="connsiteY8" fmla="*/ 1943514 h 1943514"/>
              <a:gd name="connsiteX9" fmla="*/ 0 w 4524067"/>
              <a:gd name="connsiteY9" fmla="*/ 1935545 h 1943514"/>
              <a:gd name="connsiteX10" fmla="*/ 0 w 4524067"/>
              <a:gd name="connsiteY10" fmla="*/ 71054 h 1943514"/>
              <a:gd name="connsiteX11" fmla="*/ 71054 w 4524067"/>
              <a:gd name="connsiteY11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524067 w 4524067"/>
              <a:gd name="connsiteY4" fmla="*/ 160426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524067 w 4524067"/>
              <a:gd name="connsiteY4" fmla="*/ 1604261 h 1943514"/>
              <a:gd name="connsiteX5" fmla="*/ 4481998 w 4524067"/>
              <a:gd name="connsiteY5" fmla="*/ 1606550 h 1943514"/>
              <a:gd name="connsiteX6" fmla="*/ 374342 w 4524067"/>
              <a:gd name="connsiteY6" fmla="*/ 1604261 h 1943514"/>
              <a:gd name="connsiteX7" fmla="*/ 374342 w 4524067"/>
              <a:gd name="connsiteY7" fmla="*/ 1604495 h 1943514"/>
              <a:gd name="connsiteX8" fmla="*/ 372031 w 4524067"/>
              <a:gd name="connsiteY8" fmla="*/ 1604262 h 1943514"/>
              <a:gd name="connsiteX9" fmla="*/ 7555 w 4524067"/>
              <a:gd name="connsiteY9" fmla="*/ 1901319 h 1943514"/>
              <a:gd name="connsiteX10" fmla="*/ 3301 w 4524067"/>
              <a:gd name="connsiteY10" fmla="*/ 1943514 h 1943514"/>
              <a:gd name="connsiteX11" fmla="*/ 0 w 4524067"/>
              <a:gd name="connsiteY11" fmla="*/ 1935545 h 1943514"/>
              <a:gd name="connsiteX12" fmla="*/ 0 w 4524067"/>
              <a:gd name="connsiteY12" fmla="*/ 71054 h 1943514"/>
              <a:gd name="connsiteX13" fmla="*/ 71054 w 4524067"/>
              <a:gd name="connsiteY13" fmla="*/ 0 h 1943514"/>
              <a:gd name="connsiteX0" fmla="*/ 71054 w 4799095"/>
              <a:gd name="connsiteY0" fmla="*/ 0 h 1943514"/>
              <a:gd name="connsiteX1" fmla="*/ 4453013 w 4799095"/>
              <a:gd name="connsiteY1" fmla="*/ 0 h 1943514"/>
              <a:gd name="connsiteX2" fmla="*/ 4524067 w 4799095"/>
              <a:gd name="connsiteY2" fmla="*/ 71054 h 1943514"/>
              <a:gd name="connsiteX3" fmla="*/ 4522480 w 4799095"/>
              <a:gd name="connsiteY3" fmla="*/ 1547019 h 1943514"/>
              <a:gd name="connsiteX4" fmla="*/ 4524067 w 4799095"/>
              <a:gd name="connsiteY4" fmla="*/ 1604261 h 1943514"/>
              <a:gd name="connsiteX5" fmla="*/ 4481998 w 4799095"/>
              <a:gd name="connsiteY5" fmla="*/ 1606550 h 1943514"/>
              <a:gd name="connsiteX6" fmla="*/ 374342 w 4799095"/>
              <a:gd name="connsiteY6" fmla="*/ 1604261 h 1943514"/>
              <a:gd name="connsiteX7" fmla="*/ 374342 w 4799095"/>
              <a:gd name="connsiteY7" fmla="*/ 1604495 h 1943514"/>
              <a:gd name="connsiteX8" fmla="*/ 372031 w 4799095"/>
              <a:gd name="connsiteY8" fmla="*/ 1604262 h 1943514"/>
              <a:gd name="connsiteX9" fmla="*/ 7555 w 4799095"/>
              <a:gd name="connsiteY9" fmla="*/ 1901319 h 1943514"/>
              <a:gd name="connsiteX10" fmla="*/ 3301 w 4799095"/>
              <a:gd name="connsiteY10" fmla="*/ 1943514 h 1943514"/>
              <a:gd name="connsiteX11" fmla="*/ 0 w 4799095"/>
              <a:gd name="connsiteY11" fmla="*/ 1935545 h 1943514"/>
              <a:gd name="connsiteX12" fmla="*/ 0 w 4799095"/>
              <a:gd name="connsiteY12" fmla="*/ 71054 h 1943514"/>
              <a:gd name="connsiteX13" fmla="*/ 71054 w 4799095"/>
              <a:gd name="connsiteY13" fmla="*/ 0 h 1943514"/>
              <a:gd name="connsiteX0" fmla="*/ 71054 w 4798479"/>
              <a:gd name="connsiteY0" fmla="*/ 0 h 1943514"/>
              <a:gd name="connsiteX1" fmla="*/ 4453013 w 4798479"/>
              <a:gd name="connsiteY1" fmla="*/ 0 h 1943514"/>
              <a:gd name="connsiteX2" fmla="*/ 4524067 w 4798479"/>
              <a:gd name="connsiteY2" fmla="*/ 71054 h 1943514"/>
              <a:gd name="connsiteX3" fmla="*/ 4522480 w 4798479"/>
              <a:gd name="connsiteY3" fmla="*/ 1547019 h 1943514"/>
              <a:gd name="connsiteX4" fmla="*/ 4481998 w 4798479"/>
              <a:gd name="connsiteY4" fmla="*/ 1606550 h 1943514"/>
              <a:gd name="connsiteX5" fmla="*/ 374342 w 4798479"/>
              <a:gd name="connsiteY5" fmla="*/ 1604261 h 1943514"/>
              <a:gd name="connsiteX6" fmla="*/ 374342 w 4798479"/>
              <a:gd name="connsiteY6" fmla="*/ 1604495 h 1943514"/>
              <a:gd name="connsiteX7" fmla="*/ 372031 w 4798479"/>
              <a:gd name="connsiteY7" fmla="*/ 1604262 h 1943514"/>
              <a:gd name="connsiteX8" fmla="*/ 7555 w 4798479"/>
              <a:gd name="connsiteY8" fmla="*/ 1901319 h 1943514"/>
              <a:gd name="connsiteX9" fmla="*/ 3301 w 4798479"/>
              <a:gd name="connsiteY9" fmla="*/ 1943514 h 1943514"/>
              <a:gd name="connsiteX10" fmla="*/ 0 w 4798479"/>
              <a:gd name="connsiteY10" fmla="*/ 1935545 h 1943514"/>
              <a:gd name="connsiteX11" fmla="*/ 0 w 4798479"/>
              <a:gd name="connsiteY11" fmla="*/ 71054 h 1943514"/>
              <a:gd name="connsiteX12" fmla="*/ 71054 w 4798479"/>
              <a:gd name="connsiteY12" fmla="*/ 0 h 1943514"/>
              <a:gd name="connsiteX0" fmla="*/ 71054 w 4801282"/>
              <a:gd name="connsiteY0" fmla="*/ 0 h 1943514"/>
              <a:gd name="connsiteX1" fmla="*/ 4453013 w 4801282"/>
              <a:gd name="connsiteY1" fmla="*/ 0 h 1943514"/>
              <a:gd name="connsiteX2" fmla="*/ 4524067 w 4801282"/>
              <a:gd name="connsiteY2" fmla="*/ 71054 h 1943514"/>
              <a:gd name="connsiteX3" fmla="*/ 4522480 w 4801282"/>
              <a:gd name="connsiteY3" fmla="*/ 1547019 h 1943514"/>
              <a:gd name="connsiteX4" fmla="*/ 4481998 w 4801282"/>
              <a:gd name="connsiteY4" fmla="*/ 1606550 h 1943514"/>
              <a:gd name="connsiteX5" fmla="*/ 374342 w 4801282"/>
              <a:gd name="connsiteY5" fmla="*/ 1604261 h 1943514"/>
              <a:gd name="connsiteX6" fmla="*/ 374342 w 4801282"/>
              <a:gd name="connsiteY6" fmla="*/ 1604495 h 1943514"/>
              <a:gd name="connsiteX7" fmla="*/ 372031 w 4801282"/>
              <a:gd name="connsiteY7" fmla="*/ 1604262 h 1943514"/>
              <a:gd name="connsiteX8" fmla="*/ 7555 w 4801282"/>
              <a:gd name="connsiteY8" fmla="*/ 1901319 h 1943514"/>
              <a:gd name="connsiteX9" fmla="*/ 3301 w 4801282"/>
              <a:gd name="connsiteY9" fmla="*/ 1943514 h 1943514"/>
              <a:gd name="connsiteX10" fmla="*/ 0 w 4801282"/>
              <a:gd name="connsiteY10" fmla="*/ 1935545 h 1943514"/>
              <a:gd name="connsiteX11" fmla="*/ 0 w 4801282"/>
              <a:gd name="connsiteY11" fmla="*/ 71054 h 1943514"/>
              <a:gd name="connsiteX12" fmla="*/ 71054 w 4801282"/>
              <a:gd name="connsiteY12" fmla="*/ 0 h 1943514"/>
              <a:gd name="connsiteX0" fmla="*/ 71054 w 4527104"/>
              <a:gd name="connsiteY0" fmla="*/ 0 h 1943514"/>
              <a:gd name="connsiteX1" fmla="*/ 4453013 w 4527104"/>
              <a:gd name="connsiteY1" fmla="*/ 0 h 1943514"/>
              <a:gd name="connsiteX2" fmla="*/ 4524067 w 4527104"/>
              <a:gd name="connsiteY2" fmla="*/ 71054 h 1943514"/>
              <a:gd name="connsiteX3" fmla="*/ 4522480 w 4527104"/>
              <a:gd name="connsiteY3" fmla="*/ 1547019 h 1943514"/>
              <a:gd name="connsiteX4" fmla="*/ 4481998 w 4527104"/>
              <a:gd name="connsiteY4" fmla="*/ 1606550 h 1943514"/>
              <a:gd name="connsiteX5" fmla="*/ 374342 w 4527104"/>
              <a:gd name="connsiteY5" fmla="*/ 1604261 h 1943514"/>
              <a:gd name="connsiteX6" fmla="*/ 374342 w 4527104"/>
              <a:gd name="connsiteY6" fmla="*/ 1604495 h 1943514"/>
              <a:gd name="connsiteX7" fmla="*/ 372031 w 4527104"/>
              <a:gd name="connsiteY7" fmla="*/ 1604262 h 1943514"/>
              <a:gd name="connsiteX8" fmla="*/ 7555 w 4527104"/>
              <a:gd name="connsiteY8" fmla="*/ 1901319 h 1943514"/>
              <a:gd name="connsiteX9" fmla="*/ 3301 w 4527104"/>
              <a:gd name="connsiteY9" fmla="*/ 1943514 h 1943514"/>
              <a:gd name="connsiteX10" fmla="*/ 0 w 4527104"/>
              <a:gd name="connsiteY10" fmla="*/ 1935545 h 1943514"/>
              <a:gd name="connsiteX11" fmla="*/ 0 w 4527104"/>
              <a:gd name="connsiteY11" fmla="*/ 71054 h 1943514"/>
              <a:gd name="connsiteX12" fmla="*/ 71054 w 4527104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81998 w 4524067"/>
              <a:gd name="connsiteY4" fmla="*/ 1606550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81998 w 4524067"/>
              <a:gd name="connsiteY4" fmla="*/ 1606550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81998 w 4524067"/>
              <a:gd name="connsiteY4" fmla="*/ 1606550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47019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16062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16062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  <a:gd name="connsiteX0" fmla="*/ 71054 w 4524067"/>
              <a:gd name="connsiteY0" fmla="*/ 0 h 1943514"/>
              <a:gd name="connsiteX1" fmla="*/ 4453013 w 4524067"/>
              <a:gd name="connsiteY1" fmla="*/ 0 h 1943514"/>
              <a:gd name="connsiteX2" fmla="*/ 4524067 w 4524067"/>
              <a:gd name="connsiteY2" fmla="*/ 71054 h 1943514"/>
              <a:gd name="connsiteX3" fmla="*/ 4522480 w 4524067"/>
              <a:gd name="connsiteY3" fmla="*/ 1516062 h 1943514"/>
              <a:gd name="connsiteX4" fmla="*/ 4458185 w 4524067"/>
              <a:gd name="connsiteY4" fmla="*/ 1608931 h 1943514"/>
              <a:gd name="connsiteX5" fmla="*/ 374342 w 4524067"/>
              <a:gd name="connsiteY5" fmla="*/ 1604261 h 1943514"/>
              <a:gd name="connsiteX6" fmla="*/ 374342 w 4524067"/>
              <a:gd name="connsiteY6" fmla="*/ 1604495 h 1943514"/>
              <a:gd name="connsiteX7" fmla="*/ 372031 w 4524067"/>
              <a:gd name="connsiteY7" fmla="*/ 1604262 h 1943514"/>
              <a:gd name="connsiteX8" fmla="*/ 7555 w 4524067"/>
              <a:gd name="connsiteY8" fmla="*/ 1901319 h 1943514"/>
              <a:gd name="connsiteX9" fmla="*/ 3301 w 4524067"/>
              <a:gd name="connsiteY9" fmla="*/ 1943514 h 1943514"/>
              <a:gd name="connsiteX10" fmla="*/ 0 w 4524067"/>
              <a:gd name="connsiteY10" fmla="*/ 1935545 h 1943514"/>
              <a:gd name="connsiteX11" fmla="*/ 0 w 4524067"/>
              <a:gd name="connsiteY11" fmla="*/ 71054 h 1943514"/>
              <a:gd name="connsiteX12" fmla="*/ 71054 w 4524067"/>
              <a:gd name="connsiteY12" fmla="*/ 0 h 194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524067" h="1943514">
                <a:moveTo>
                  <a:pt x="71054" y="0"/>
                </a:moveTo>
                <a:lnTo>
                  <a:pt x="4453013" y="0"/>
                </a:lnTo>
                <a:cubicBezTo>
                  <a:pt x="4492255" y="0"/>
                  <a:pt x="4524067" y="31812"/>
                  <a:pt x="4524067" y="71054"/>
                </a:cubicBezTo>
                <a:cubicBezTo>
                  <a:pt x="4523538" y="552723"/>
                  <a:pt x="4522346" y="1479221"/>
                  <a:pt x="4522480" y="1516062"/>
                </a:cubicBezTo>
                <a:cubicBezTo>
                  <a:pt x="4522614" y="1552903"/>
                  <a:pt x="4525654" y="1606535"/>
                  <a:pt x="4458185" y="1608931"/>
                </a:cubicBezTo>
                <a:cubicBezTo>
                  <a:pt x="4390716" y="1611327"/>
                  <a:pt x="1735623" y="1605818"/>
                  <a:pt x="374342" y="1604261"/>
                </a:cubicBezTo>
                <a:lnTo>
                  <a:pt x="374342" y="1604495"/>
                </a:lnTo>
                <a:lnTo>
                  <a:pt x="372031" y="1604262"/>
                </a:lnTo>
                <a:cubicBezTo>
                  <a:pt x="192246" y="1604262"/>
                  <a:pt x="42246" y="1731789"/>
                  <a:pt x="7555" y="1901319"/>
                </a:cubicBezTo>
                <a:lnTo>
                  <a:pt x="3301" y="1943514"/>
                </a:lnTo>
                <a:lnTo>
                  <a:pt x="0" y="1935545"/>
                </a:lnTo>
                <a:lnTo>
                  <a:pt x="0" y="71054"/>
                </a:lnTo>
                <a:cubicBezTo>
                  <a:pt x="0" y="31812"/>
                  <a:pt x="31812" y="0"/>
                  <a:pt x="71054" y="0"/>
                </a:cubicBezTo>
                <a:close/>
              </a:path>
            </a:pathLst>
          </a:custGeom>
          <a:solidFill>
            <a:schemeClr val="tx2">
              <a:alpha val="85000"/>
            </a:schemeClr>
          </a:solidFill>
        </p:spPr>
        <p:txBody>
          <a:bodyPr wrap="square" lIns="360000" tIns="180000" rIns="576000" bIns="180000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419" b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8419" b="0"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/>
              <a:t>Klik om tekst in te voegen</a:t>
            </a:r>
          </a:p>
        </p:txBody>
      </p:sp>
      <p:sp>
        <p:nvSpPr>
          <p:cNvPr id="14" name="Tijdelijke aanduiding voor datum 3">
            <a:extLst>
              <a:ext uri="{FF2B5EF4-FFF2-40B4-BE49-F238E27FC236}">
                <a16:creationId xmlns:a16="http://schemas.microsoft.com/office/drawing/2014/main" id="{6C5C6C08-DDA7-4CC4-B473-244AE8EBA70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B70BE4-B49B-4495-86FF-21BC09262938}" type="datetime1">
              <a:rPr lang="nl-NL" noProof="0" smtClean="0"/>
              <a:t>26-6-2023</a:t>
            </a:fld>
            <a:endParaRPr lang="nl-NL" noProof="0"/>
          </a:p>
        </p:txBody>
      </p:sp>
      <p:grpSp>
        <p:nvGrpSpPr>
          <p:cNvPr id="175" name="Groep 258">
            <a:extLst>
              <a:ext uri="{FF2B5EF4-FFF2-40B4-BE49-F238E27FC236}">
                <a16:creationId xmlns:a16="http://schemas.microsoft.com/office/drawing/2014/main" id="{32746DC4-88FC-4573-AFD3-B1C8E92AA3FC}"/>
              </a:ext>
            </a:extLst>
          </p:cNvPr>
          <p:cNvGrpSpPr/>
          <p:nvPr userDrawn="1"/>
        </p:nvGrpSpPr>
        <p:grpSpPr>
          <a:xfrm>
            <a:off x="43467416" y="5"/>
            <a:ext cx="11167745" cy="23084356"/>
            <a:chOff x="12391601" y="0"/>
            <a:chExt cx="3183678" cy="5229113"/>
          </a:xfrm>
        </p:grpSpPr>
        <p:grpSp>
          <p:nvGrpSpPr>
            <p:cNvPr id="176" name="Meer informatie">
              <a:extLst>
                <a:ext uri="{FF2B5EF4-FFF2-40B4-BE49-F238E27FC236}">
                  <a16:creationId xmlns:a16="http://schemas.microsoft.com/office/drawing/2014/main" id="{B0670A90-84BD-4C03-8E9A-E3A811B1DE03}"/>
                </a:ext>
              </a:extLst>
            </p:cNvPr>
            <p:cNvGrpSpPr/>
            <p:nvPr userDrawn="1"/>
          </p:nvGrpSpPr>
          <p:grpSpPr>
            <a:xfrm>
              <a:off x="12396764" y="4445840"/>
              <a:ext cx="3178515" cy="783273"/>
              <a:chOff x="-3741486" y="3386444"/>
              <a:chExt cx="3178515" cy="783273"/>
            </a:xfrm>
          </p:grpSpPr>
          <p:sp>
            <p:nvSpPr>
              <p:cNvPr id="235" name="Freeform 101">
                <a:extLst>
                  <a:ext uri="{FF2B5EF4-FFF2-40B4-BE49-F238E27FC236}">
                    <a16:creationId xmlns:a16="http://schemas.microsoft.com/office/drawing/2014/main" id="{21EE44E5-6482-4E8B-9DB5-EC22FDA9814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236" name="Rechthoek 306">
                <a:extLst>
                  <a:ext uri="{FF2B5EF4-FFF2-40B4-BE49-F238E27FC236}">
                    <a16:creationId xmlns:a16="http://schemas.microsoft.com/office/drawing/2014/main" id="{68056740-4BDC-40A5-92C4-290C510A0CB3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37" name="Rechte verbindingslijn 307">
                <a:extLst>
                  <a:ext uri="{FF2B5EF4-FFF2-40B4-BE49-F238E27FC236}">
                    <a16:creationId xmlns:a16="http://schemas.microsoft.com/office/drawing/2014/main" id="{F04CC3DB-5360-461B-ADBA-345B3743A5A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77" name="Rechthoek 260">
              <a:extLst>
                <a:ext uri="{FF2B5EF4-FFF2-40B4-BE49-F238E27FC236}">
                  <a16:creationId xmlns:a16="http://schemas.microsoft.com/office/drawing/2014/main" id="{BBFC268C-2613-4F95-919A-428B00EF1E1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178" name="Ovaal 261">
              <a:extLst>
                <a:ext uri="{FF2B5EF4-FFF2-40B4-BE49-F238E27FC236}">
                  <a16:creationId xmlns:a16="http://schemas.microsoft.com/office/drawing/2014/main" id="{419C2E17-C33F-4062-A892-E17A6E639D88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9" name="Rechte verbindingslijn 262">
              <a:extLst>
                <a:ext uri="{FF2B5EF4-FFF2-40B4-BE49-F238E27FC236}">
                  <a16:creationId xmlns:a16="http://schemas.microsoft.com/office/drawing/2014/main" id="{896FA431-FE05-4130-8A0E-F455E9D662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0" name="Rechte verbindingslijn 263">
              <a:extLst>
                <a:ext uri="{FF2B5EF4-FFF2-40B4-BE49-F238E27FC236}">
                  <a16:creationId xmlns:a16="http://schemas.microsoft.com/office/drawing/2014/main" id="{302FC35A-411F-4C1F-A29F-11E63FF7A33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81" name="Rechthoek 264">
              <a:extLst>
                <a:ext uri="{FF2B5EF4-FFF2-40B4-BE49-F238E27FC236}">
                  <a16:creationId xmlns:a16="http://schemas.microsoft.com/office/drawing/2014/main" id="{A755A67A-9BBC-4244-973C-D2A8C42C21A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oor deze te selecteren en op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om een nieuwe afbeelding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82" name="Rechte verbindingslijn 265">
              <a:extLst>
                <a:ext uri="{FF2B5EF4-FFF2-40B4-BE49-F238E27FC236}">
                  <a16:creationId xmlns:a16="http://schemas.microsoft.com/office/drawing/2014/main" id="{76B2D01C-1BE0-4770-9A9F-F28D68D47F3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4327957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83" name="Ovaal 266">
              <a:extLst>
                <a:ext uri="{FF2B5EF4-FFF2-40B4-BE49-F238E27FC236}">
                  <a16:creationId xmlns:a16="http://schemas.microsoft.com/office/drawing/2014/main" id="{7AE8A063-9ECB-487E-B64D-4A50F3013ECA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84" name="Rechthoek 267">
              <a:extLst>
                <a:ext uri="{FF2B5EF4-FFF2-40B4-BE49-F238E27FC236}">
                  <a16:creationId xmlns:a16="http://schemas.microsoft.com/office/drawing/2014/main" id="{A3902585-C030-41F4-8736-968356A94343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85" name="Groep 268">
              <a:extLst>
                <a:ext uri="{FF2B5EF4-FFF2-40B4-BE49-F238E27FC236}">
                  <a16:creationId xmlns:a16="http://schemas.microsoft.com/office/drawing/2014/main" id="{DC07FDFD-2AE0-4E87-8F46-E07793262170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32" name="Rechthoek 302">
                <a:extLst>
                  <a:ext uri="{FF2B5EF4-FFF2-40B4-BE49-F238E27FC236}">
                    <a16:creationId xmlns:a16="http://schemas.microsoft.com/office/drawing/2014/main" id="{C3944425-6892-4ADE-81EE-8F269C56B503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233" name="Rechte verbindingslijn 303">
                <a:extLst>
                  <a:ext uri="{FF2B5EF4-FFF2-40B4-BE49-F238E27FC236}">
                    <a16:creationId xmlns:a16="http://schemas.microsoft.com/office/drawing/2014/main" id="{AA6D1494-D166-4EF1-AB19-C53BDF4AB2F3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34" name="Gelijkbenige driehoek 304">
                <a:extLst>
                  <a:ext uri="{FF2B5EF4-FFF2-40B4-BE49-F238E27FC236}">
                    <a16:creationId xmlns:a16="http://schemas.microsoft.com/office/drawing/2014/main" id="{30A47B12-907C-4F85-A5D5-29F5CBF80A4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86" name="Groep 269">
              <a:extLst>
                <a:ext uri="{FF2B5EF4-FFF2-40B4-BE49-F238E27FC236}">
                  <a16:creationId xmlns:a16="http://schemas.microsoft.com/office/drawing/2014/main" id="{C24B7CB5-91E0-4939-88F8-E2D52FAC4B45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213" name="Rechthoek 296">
                <a:extLst>
                  <a:ext uri="{FF2B5EF4-FFF2-40B4-BE49-F238E27FC236}">
                    <a16:creationId xmlns:a16="http://schemas.microsoft.com/office/drawing/2014/main" id="{869C421D-F735-4172-83F8-6113DE4D1BA7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7" name="Ovaal 297">
                <a:extLst>
                  <a:ext uri="{FF2B5EF4-FFF2-40B4-BE49-F238E27FC236}">
                    <a16:creationId xmlns:a16="http://schemas.microsoft.com/office/drawing/2014/main" id="{ABB8A66C-4036-40C4-BCA1-1C8405EDCF1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8" name="Vrije vorm: vorm 298">
                <a:extLst>
                  <a:ext uri="{FF2B5EF4-FFF2-40B4-BE49-F238E27FC236}">
                    <a16:creationId xmlns:a16="http://schemas.microsoft.com/office/drawing/2014/main" id="{FDED221B-20FC-4FEB-807C-A24B925B1EE0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9" name="Rechthoek: afgeronde hoeken 299">
                <a:extLst>
                  <a:ext uri="{FF2B5EF4-FFF2-40B4-BE49-F238E27FC236}">
                    <a16:creationId xmlns:a16="http://schemas.microsoft.com/office/drawing/2014/main" id="{C5A637DF-387F-4796-9C11-925EE3284C34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230" name="Rechte verbindingslijn 300">
                <a:extLst>
                  <a:ext uri="{FF2B5EF4-FFF2-40B4-BE49-F238E27FC236}">
                    <a16:creationId xmlns:a16="http://schemas.microsoft.com/office/drawing/2014/main" id="{BED97851-1EF9-44DD-A9F7-C30ABE59134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31" name="Rechte verbindingslijn 301">
                <a:extLst>
                  <a:ext uri="{FF2B5EF4-FFF2-40B4-BE49-F238E27FC236}">
                    <a16:creationId xmlns:a16="http://schemas.microsoft.com/office/drawing/2014/main" id="{691BDA09-845E-4BFA-A421-28B572C25D7A}"/>
                  </a:ext>
                </a:extLst>
              </p:cNvPr>
              <p:cNvCxnSpPr>
                <a:cxnSpLocks/>
                <a:stCxn id="229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87" name="Ovaal 270">
              <a:extLst>
                <a:ext uri="{FF2B5EF4-FFF2-40B4-BE49-F238E27FC236}">
                  <a16:creationId xmlns:a16="http://schemas.microsoft.com/office/drawing/2014/main" id="{316501B2-FA5B-4AC3-B66F-07021F7BB709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88" name="Rechthoek 271">
              <a:extLst>
                <a:ext uri="{FF2B5EF4-FFF2-40B4-BE49-F238E27FC236}">
                  <a16:creationId xmlns:a16="http://schemas.microsoft.com/office/drawing/2014/main" id="{C00A2A26-F9E7-4C43-AFF7-A43201DB0241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43320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aan de linker kant van het scherm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89" name="Rechte verbindingslijn 272">
              <a:extLst>
                <a:ext uri="{FF2B5EF4-FFF2-40B4-BE49-F238E27FC236}">
                  <a16:creationId xmlns:a16="http://schemas.microsoft.com/office/drawing/2014/main" id="{5DBBCEC7-1DBB-4B05-8BCA-ED381E55F00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90" name="Rechthoek 273">
              <a:extLst>
                <a:ext uri="{FF2B5EF4-FFF2-40B4-BE49-F238E27FC236}">
                  <a16:creationId xmlns:a16="http://schemas.microsoft.com/office/drawing/2014/main" id="{BA60779A-6B3B-425F-BFC6-DCFFF26ED9CF}"/>
                </a:ext>
              </a:extLst>
            </p:cNvPr>
            <p:cNvSpPr/>
            <p:nvPr userDrawn="1"/>
          </p:nvSpPr>
          <p:spPr>
            <a:xfrm>
              <a:off x="12654153" y="3238910"/>
              <a:ext cx="1624926" cy="805220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3509" b="0" i="1" noProof="0">
                <a:solidFill>
                  <a:schemeClr val="tx1"/>
                </a:solidFill>
              </a:endParaRPr>
            </a:p>
          </p:txBody>
        </p:sp>
        <p:grpSp>
          <p:nvGrpSpPr>
            <p:cNvPr id="191" name="Groep 274">
              <a:extLst>
                <a:ext uri="{FF2B5EF4-FFF2-40B4-BE49-F238E27FC236}">
                  <a16:creationId xmlns:a16="http://schemas.microsoft.com/office/drawing/2014/main" id="{E61A0D1D-B200-4A2A-9DEA-80EC488B11D7}"/>
                </a:ext>
              </a:extLst>
            </p:cNvPr>
            <p:cNvGrpSpPr/>
            <p:nvPr userDrawn="1"/>
          </p:nvGrpSpPr>
          <p:grpSpPr>
            <a:xfrm>
              <a:off x="13614067" y="3535184"/>
              <a:ext cx="1195438" cy="678267"/>
              <a:chOff x="12757284" y="3224292"/>
              <a:chExt cx="1195438" cy="678267"/>
            </a:xfrm>
          </p:grpSpPr>
          <p:sp>
            <p:nvSpPr>
              <p:cNvPr id="192" name="Rechthoek 275">
                <a:extLst>
                  <a:ext uri="{FF2B5EF4-FFF2-40B4-BE49-F238E27FC236}">
                    <a16:creationId xmlns:a16="http://schemas.microsoft.com/office/drawing/2014/main" id="{F5E6DE1B-3A05-4A9A-AA3A-51649ADD934E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3" name="Rechthoek 276">
                <a:extLst>
                  <a:ext uri="{FF2B5EF4-FFF2-40B4-BE49-F238E27FC236}">
                    <a16:creationId xmlns:a16="http://schemas.microsoft.com/office/drawing/2014/main" id="{F567E2FE-17B8-400C-BFF3-450395110597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94" name="Groep 277">
                <a:extLst>
                  <a:ext uri="{FF2B5EF4-FFF2-40B4-BE49-F238E27FC236}">
                    <a16:creationId xmlns:a16="http://schemas.microsoft.com/office/drawing/2014/main" id="{90E12851-D269-4CFD-8A49-89471511595E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207" name="Rechthoek: afgeronde hoeken 290">
                  <a:extLst>
                    <a:ext uri="{FF2B5EF4-FFF2-40B4-BE49-F238E27FC236}">
                      <a16:creationId xmlns:a16="http://schemas.microsoft.com/office/drawing/2014/main" id="{94EB7F95-EBB8-4505-884A-956C1FCD8916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endPara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8" name="Rechthoek 291">
                  <a:extLst>
                    <a:ext uri="{FF2B5EF4-FFF2-40B4-BE49-F238E27FC236}">
                      <a16:creationId xmlns:a16="http://schemas.microsoft.com/office/drawing/2014/main" id="{1BCF18D2-FAED-47FD-A532-D4FD74019981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9" name="Rechthoek 292">
                  <a:extLst>
                    <a:ext uri="{FF2B5EF4-FFF2-40B4-BE49-F238E27FC236}">
                      <a16:creationId xmlns:a16="http://schemas.microsoft.com/office/drawing/2014/main" id="{30E38F31-9E47-4AA5-9F7A-DD258EA31681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0" name="Rechthoek 293">
                  <a:extLst>
                    <a:ext uri="{FF2B5EF4-FFF2-40B4-BE49-F238E27FC236}">
                      <a16:creationId xmlns:a16="http://schemas.microsoft.com/office/drawing/2014/main" id="{DB9BA5A7-87AA-4288-B18A-2849D4A89216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1" name="Rechthoek 294">
                  <a:extLst>
                    <a:ext uri="{FF2B5EF4-FFF2-40B4-BE49-F238E27FC236}">
                      <a16:creationId xmlns:a16="http://schemas.microsoft.com/office/drawing/2014/main" id="{80CDEBB7-8EB9-4525-9FC8-189636894CB0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2" name="Rechthoek 295">
                  <a:extLst>
                    <a:ext uri="{FF2B5EF4-FFF2-40B4-BE49-F238E27FC236}">
                      <a16:creationId xmlns:a16="http://schemas.microsoft.com/office/drawing/2014/main" id="{F0AA582E-92B1-4248-B21F-CCAAAAC8609F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95" name="Groep 278">
                <a:extLst>
                  <a:ext uri="{FF2B5EF4-FFF2-40B4-BE49-F238E27FC236}">
                    <a16:creationId xmlns:a16="http://schemas.microsoft.com/office/drawing/2014/main" id="{6222D373-DC9B-4DDC-B446-DF1D4C73E12B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99" name="Groep 282">
                  <a:extLst>
                    <a:ext uri="{FF2B5EF4-FFF2-40B4-BE49-F238E27FC236}">
                      <a16:creationId xmlns:a16="http://schemas.microsoft.com/office/drawing/2014/main" id="{72C6A67F-7068-43B6-9E98-26C84F2D8B4C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201" name="Rechthoek: afgeronde hoeken 284">
                    <a:extLst>
                      <a:ext uri="{FF2B5EF4-FFF2-40B4-BE49-F238E27FC236}">
                        <a16:creationId xmlns:a16="http://schemas.microsoft.com/office/drawing/2014/main" id="{4E55893D-FCD6-403B-AD26-3876F4A580C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2105"/>
                      </a:spcBef>
                      <a:spcAft>
                        <a:spcPts val="2105"/>
                      </a:spcAft>
                    </a:pPr>
                    <a:endParaRPr lang="nl-NL" sz="280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02" name="Rechthoek 285">
                    <a:extLst>
                      <a:ext uri="{FF2B5EF4-FFF2-40B4-BE49-F238E27FC236}">
                        <a16:creationId xmlns:a16="http://schemas.microsoft.com/office/drawing/2014/main" id="{60B8FAAB-EE20-4314-BA2E-0765E8F72B6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3" name="Rechthoek 286">
                    <a:extLst>
                      <a:ext uri="{FF2B5EF4-FFF2-40B4-BE49-F238E27FC236}">
                        <a16:creationId xmlns:a16="http://schemas.microsoft.com/office/drawing/2014/main" id="{A6D9782F-9F32-43D7-9E8C-AE748003E54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4" name="Rechthoek 287">
                    <a:extLst>
                      <a:ext uri="{FF2B5EF4-FFF2-40B4-BE49-F238E27FC236}">
                        <a16:creationId xmlns:a16="http://schemas.microsoft.com/office/drawing/2014/main" id="{EC5B7045-916A-4AD0-81FE-E4BBBFE389C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5" name="Rechthoek 288">
                    <a:extLst>
                      <a:ext uri="{FF2B5EF4-FFF2-40B4-BE49-F238E27FC236}">
                        <a16:creationId xmlns:a16="http://schemas.microsoft.com/office/drawing/2014/main" id="{098701C8-4361-49B0-BCA7-A8F3FF778E1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6" name="Rechthoek 289">
                    <a:extLst>
                      <a:ext uri="{FF2B5EF4-FFF2-40B4-BE49-F238E27FC236}">
                        <a16:creationId xmlns:a16="http://schemas.microsoft.com/office/drawing/2014/main" id="{7B39F7BB-A445-4FE8-BC6C-955670709E8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200" name="Boog 283">
                  <a:extLst>
                    <a:ext uri="{FF2B5EF4-FFF2-40B4-BE49-F238E27FC236}">
                      <a16:creationId xmlns:a16="http://schemas.microsoft.com/office/drawing/2014/main" id="{F23040F2-5494-432D-B820-CCAA1988ED2E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</p:grpSp>
          <p:sp>
            <p:nvSpPr>
              <p:cNvPr id="196" name="Tekstvak 279">
                <a:extLst>
                  <a:ext uri="{FF2B5EF4-FFF2-40B4-BE49-F238E27FC236}">
                    <a16:creationId xmlns:a16="http://schemas.microsoft.com/office/drawing/2014/main" id="{2942AA11-63F0-4006-AEF1-6D4462308EDB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97" name="Tekstvak 280">
                <a:extLst>
                  <a:ext uri="{FF2B5EF4-FFF2-40B4-BE49-F238E27FC236}">
                    <a16:creationId xmlns:a16="http://schemas.microsoft.com/office/drawing/2014/main" id="{E3210A11-4381-46EA-9E6F-D2E0DFE2C8E2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98" name="Picture 3">
                <a:extLst>
                  <a:ext uri="{FF2B5EF4-FFF2-40B4-BE49-F238E27FC236}">
                    <a16:creationId xmlns:a16="http://schemas.microsoft.com/office/drawing/2014/main" id="{212D6480-E9C7-43EA-A0E9-3A3C5A863653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810206" y="3671228"/>
                <a:ext cx="14251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grpSp>
        <p:nvGrpSpPr>
          <p:cNvPr id="74" name="Instructie">
            <a:extLst>
              <a:ext uri="{FF2B5EF4-FFF2-40B4-BE49-F238E27FC236}">
                <a16:creationId xmlns:a16="http://schemas.microsoft.com/office/drawing/2014/main" id="{6143FC48-7592-4337-8C6F-C8C026048308}"/>
              </a:ext>
            </a:extLst>
          </p:cNvPr>
          <p:cNvGrpSpPr/>
          <p:nvPr userDrawn="1"/>
        </p:nvGrpSpPr>
        <p:grpSpPr>
          <a:xfrm>
            <a:off x="-11761540" y="0"/>
            <a:ext cx="11164508" cy="11743958"/>
            <a:chOff x="-3426088" y="4512342"/>
            <a:chExt cx="3182755" cy="2660264"/>
          </a:xfrm>
        </p:grpSpPr>
        <p:sp>
          <p:nvSpPr>
            <p:cNvPr id="75" name="Rechthoek 127">
              <a:extLst>
                <a:ext uri="{FF2B5EF4-FFF2-40B4-BE49-F238E27FC236}">
                  <a16:creationId xmlns:a16="http://schemas.microsoft.com/office/drawing/2014/main" id="{C2DB9CB0-FDFD-4B95-85C7-62EBC401C533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76" name="Rechte verbindingslijn 128">
              <a:extLst>
                <a:ext uri="{FF2B5EF4-FFF2-40B4-BE49-F238E27FC236}">
                  <a16:creationId xmlns:a16="http://schemas.microsoft.com/office/drawing/2014/main" id="{4DD63A3F-5FCC-405B-81BA-E77F2793647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77" name="Rechthoek 130">
              <a:extLst>
                <a:ext uri="{FF2B5EF4-FFF2-40B4-BE49-F238E27FC236}">
                  <a16:creationId xmlns:a16="http://schemas.microsoft.com/office/drawing/2014/main" id="{58BFF1D8-DB47-4AD7-96CB-2A4E75C45A68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78" name="Rechthoek 133">
              <a:extLst>
                <a:ext uri="{FF2B5EF4-FFF2-40B4-BE49-F238E27FC236}">
                  <a16:creationId xmlns:a16="http://schemas.microsoft.com/office/drawing/2014/main" id="{FDAB2AD8-2C4C-405A-B254-A4EFB4848223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79" name="Rechthoek 136">
              <a:extLst>
                <a:ext uri="{FF2B5EF4-FFF2-40B4-BE49-F238E27FC236}">
                  <a16:creationId xmlns:a16="http://schemas.microsoft.com/office/drawing/2014/main" id="{A889BFAD-371E-4693-90E4-31F482B01473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0" name="Rechthoek 139">
              <a:extLst>
                <a:ext uri="{FF2B5EF4-FFF2-40B4-BE49-F238E27FC236}">
                  <a16:creationId xmlns:a16="http://schemas.microsoft.com/office/drawing/2014/main" id="{18804913-91E7-42B8-90DE-F9FF7DA712E1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81" name="Rechte verbindingslijn 140">
              <a:extLst>
                <a:ext uri="{FF2B5EF4-FFF2-40B4-BE49-F238E27FC236}">
                  <a16:creationId xmlns:a16="http://schemas.microsoft.com/office/drawing/2014/main" id="{C4DDD1F0-B44E-4523-8EA2-5CF570A5558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66" name="Tijdelijke aanduiding voor tekst 3">
            <a:extLst>
              <a:ext uri="{FF2B5EF4-FFF2-40B4-BE49-F238E27FC236}">
                <a16:creationId xmlns:a16="http://schemas.microsoft.com/office/drawing/2014/main" id="{04EB488E-1D5D-4652-9678-D82AC0E2590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504415" y="1449454"/>
            <a:ext cx="6635238" cy="3534585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51"/>
            </a:lvl1pPr>
          </a:lstStyle>
          <a:p>
            <a:pPr lvl="0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65081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4250" fill="hold"/>
                                        <p:tgtEl>
                                          <p:spTgt spid="10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6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Balk 10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-5567" y="-31537"/>
            <a:ext cx="42767257" cy="30306755"/>
          </a:xfrm>
          <a:solidFill>
            <a:schemeClr val="bg1">
              <a:lumMod val="95000"/>
            </a:schemeClr>
          </a:solidFill>
        </p:spPr>
        <p:txBody>
          <a:bodyPr tIns="1440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3" name="Tijdelijke aanduiding voor voettekst 4">
            <a:extLst>
              <a:ext uri="{FF2B5EF4-FFF2-40B4-BE49-F238E27FC236}">
                <a16:creationId xmlns:a16="http://schemas.microsoft.com/office/drawing/2014/main" id="{3FD2C40F-5ED0-4573-8F6F-31F0DA9D46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4" name="Tijdelijke aanduiding voor dianummer 5">
            <a:extLst>
              <a:ext uri="{FF2B5EF4-FFF2-40B4-BE49-F238E27FC236}">
                <a16:creationId xmlns:a16="http://schemas.microsoft.com/office/drawing/2014/main" id="{FDCACBC6-40CE-484B-AC87-549D0BAA4F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7" y="27329718"/>
            <a:ext cx="851960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4" name="Tijdelijke aanduiding voor verticale tekst 2">
            <a:extLst>
              <a:ext uri="{FF2B5EF4-FFF2-40B4-BE49-F238E27FC236}">
                <a16:creationId xmlns:a16="http://schemas.microsoft.com/office/drawing/2014/main" id="{1D71B8A2-5FF8-4862-BD63-087FD3B538C2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-11124" y="5946784"/>
            <a:ext cx="42778377" cy="6438767"/>
          </a:xfrm>
          <a:solidFill>
            <a:schemeClr val="tx2">
              <a:alpha val="82000"/>
            </a:schemeClr>
          </a:solidFill>
        </p:spPr>
        <p:txBody>
          <a:bodyPr vert="horz" lIns="216000" tIns="180000" rIns="216000" bIns="180000" rtlCol="0" anchor="ctr">
            <a:normAutofit/>
          </a:bodyPr>
          <a:lstStyle>
            <a:lvl1pPr marL="0" indent="0" algn="ctr">
              <a:buFontTx/>
              <a:buNone/>
              <a:defRPr lang="en-US" sz="12628" b="0" baseline="0" noProof="0" dirty="0">
                <a:solidFill>
                  <a:schemeClr val="bg1"/>
                </a:solidFill>
              </a:defRPr>
            </a:lvl1pPr>
            <a:lvl2pPr>
              <a:defRPr lang="en-US" noProof="0" dirty="0">
                <a:solidFill>
                  <a:schemeClr val="bg1"/>
                </a:solidFill>
              </a:defRPr>
            </a:lvl2pPr>
            <a:lvl3pPr>
              <a:defRPr lang="en-US" noProof="0" dirty="0">
                <a:solidFill>
                  <a:schemeClr val="bg1"/>
                </a:solidFill>
              </a:defRPr>
            </a:lvl3pPr>
            <a:lvl4pPr>
              <a:defRPr lang="en-US" noProof="0" dirty="0">
                <a:solidFill>
                  <a:schemeClr val="bg1"/>
                </a:solidFill>
              </a:defRPr>
            </a:lvl4pPr>
            <a:lvl5pPr algn="ctr">
              <a:defRPr lang="en-US" sz="12628" b="0" noProof="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/>
              <a:t>Klik om tekst in te voegen</a:t>
            </a:r>
          </a:p>
        </p:txBody>
      </p:sp>
      <p:sp>
        <p:nvSpPr>
          <p:cNvPr id="15" name="Tijdelijke aanduiding voor datum 3">
            <a:extLst>
              <a:ext uri="{FF2B5EF4-FFF2-40B4-BE49-F238E27FC236}">
                <a16:creationId xmlns:a16="http://schemas.microsoft.com/office/drawing/2014/main" id="{C4AEE98B-5CA5-411B-9688-928C7F70CAA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49D2A1-BCAF-464A-ADBC-F90E2254D093}" type="datetime1">
              <a:rPr lang="nl-NL" noProof="0" smtClean="0"/>
              <a:t>26-6-2023</a:t>
            </a:fld>
            <a:endParaRPr lang="nl-NL" noProof="0"/>
          </a:p>
        </p:txBody>
      </p:sp>
      <p:grpSp>
        <p:nvGrpSpPr>
          <p:cNvPr id="173" name="Groep 258">
            <a:extLst>
              <a:ext uri="{FF2B5EF4-FFF2-40B4-BE49-F238E27FC236}">
                <a16:creationId xmlns:a16="http://schemas.microsoft.com/office/drawing/2014/main" id="{C1EFFC3F-9638-4D57-9C97-534AB7CEBD23}"/>
              </a:ext>
            </a:extLst>
          </p:cNvPr>
          <p:cNvGrpSpPr/>
          <p:nvPr userDrawn="1"/>
        </p:nvGrpSpPr>
        <p:grpSpPr>
          <a:xfrm>
            <a:off x="43467416" y="5"/>
            <a:ext cx="11167745" cy="23084356"/>
            <a:chOff x="12391601" y="0"/>
            <a:chExt cx="3183678" cy="5229113"/>
          </a:xfrm>
        </p:grpSpPr>
        <p:grpSp>
          <p:nvGrpSpPr>
            <p:cNvPr id="174" name="Meer informatie">
              <a:extLst>
                <a:ext uri="{FF2B5EF4-FFF2-40B4-BE49-F238E27FC236}">
                  <a16:creationId xmlns:a16="http://schemas.microsoft.com/office/drawing/2014/main" id="{F667BF30-8018-47FD-B527-F0FE71A71227}"/>
                </a:ext>
              </a:extLst>
            </p:cNvPr>
            <p:cNvGrpSpPr/>
            <p:nvPr userDrawn="1"/>
          </p:nvGrpSpPr>
          <p:grpSpPr>
            <a:xfrm>
              <a:off x="12396764" y="4445840"/>
              <a:ext cx="3178515" cy="783273"/>
              <a:chOff x="-3741486" y="3386444"/>
              <a:chExt cx="3178515" cy="783273"/>
            </a:xfrm>
          </p:grpSpPr>
          <p:sp>
            <p:nvSpPr>
              <p:cNvPr id="235" name="Freeform 101">
                <a:extLst>
                  <a:ext uri="{FF2B5EF4-FFF2-40B4-BE49-F238E27FC236}">
                    <a16:creationId xmlns:a16="http://schemas.microsoft.com/office/drawing/2014/main" id="{5E80BC63-2A63-4FDA-B5CD-A7CA400F38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236" name="Rechthoek 306">
                <a:extLst>
                  <a:ext uri="{FF2B5EF4-FFF2-40B4-BE49-F238E27FC236}">
                    <a16:creationId xmlns:a16="http://schemas.microsoft.com/office/drawing/2014/main" id="{689FF9A8-43C3-4406-964F-81D4CAFDCBF0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37" name="Rechte verbindingslijn 307">
                <a:extLst>
                  <a:ext uri="{FF2B5EF4-FFF2-40B4-BE49-F238E27FC236}">
                    <a16:creationId xmlns:a16="http://schemas.microsoft.com/office/drawing/2014/main" id="{5E7D8531-F4E6-425D-A8F2-F9DA26D72C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75" name="Rechthoek 260">
              <a:extLst>
                <a:ext uri="{FF2B5EF4-FFF2-40B4-BE49-F238E27FC236}">
                  <a16:creationId xmlns:a16="http://schemas.microsoft.com/office/drawing/2014/main" id="{6187B742-9185-4FF6-BFAF-312EA12DAABA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176" name="Ovaal 261">
              <a:extLst>
                <a:ext uri="{FF2B5EF4-FFF2-40B4-BE49-F238E27FC236}">
                  <a16:creationId xmlns:a16="http://schemas.microsoft.com/office/drawing/2014/main" id="{F9F2AA75-2B84-4090-AE72-4842E63CAD8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7" name="Rechte verbindingslijn 262">
              <a:extLst>
                <a:ext uri="{FF2B5EF4-FFF2-40B4-BE49-F238E27FC236}">
                  <a16:creationId xmlns:a16="http://schemas.microsoft.com/office/drawing/2014/main" id="{C5B814DC-E462-4AC7-82DD-1D050B7067A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78" name="Rechte verbindingslijn 263">
              <a:extLst>
                <a:ext uri="{FF2B5EF4-FFF2-40B4-BE49-F238E27FC236}">
                  <a16:creationId xmlns:a16="http://schemas.microsoft.com/office/drawing/2014/main" id="{358FFB8B-DB58-4B39-B451-3B230B33A0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9" name="Rechthoek 264">
              <a:extLst>
                <a:ext uri="{FF2B5EF4-FFF2-40B4-BE49-F238E27FC236}">
                  <a16:creationId xmlns:a16="http://schemas.microsoft.com/office/drawing/2014/main" id="{1E0186EA-B3F4-4977-B6C8-B0A55C82EC4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oor deze te selecteren en op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om een nieuwe afbeelding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80" name="Rechte verbindingslijn 265">
              <a:extLst>
                <a:ext uri="{FF2B5EF4-FFF2-40B4-BE49-F238E27FC236}">
                  <a16:creationId xmlns:a16="http://schemas.microsoft.com/office/drawing/2014/main" id="{4CB86C25-16AF-4D7F-876C-0206DA81457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4327957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81" name="Ovaal 266">
              <a:extLst>
                <a:ext uri="{FF2B5EF4-FFF2-40B4-BE49-F238E27FC236}">
                  <a16:creationId xmlns:a16="http://schemas.microsoft.com/office/drawing/2014/main" id="{CDCA5228-950F-4E97-9AB0-CA9BFBCCE7C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82" name="Rechthoek 267">
              <a:extLst>
                <a:ext uri="{FF2B5EF4-FFF2-40B4-BE49-F238E27FC236}">
                  <a16:creationId xmlns:a16="http://schemas.microsoft.com/office/drawing/2014/main" id="{8DAF3E25-27A2-423C-B2AB-29B3EDDBA21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83" name="Groep 268">
              <a:extLst>
                <a:ext uri="{FF2B5EF4-FFF2-40B4-BE49-F238E27FC236}">
                  <a16:creationId xmlns:a16="http://schemas.microsoft.com/office/drawing/2014/main" id="{542482A0-99B6-4164-AE39-A958DBA72BAA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32" name="Rechthoek 302">
                <a:extLst>
                  <a:ext uri="{FF2B5EF4-FFF2-40B4-BE49-F238E27FC236}">
                    <a16:creationId xmlns:a16="http://schemas.microsoft.com/office/drawing/2014/main" id="{F39F8540-2F4A-4394-8149-273296238E71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233" name="Rechte verbindingslijn 303">
                <a:extLst>
                  <a:ext uri="{FF2B5EF4-FFF2-40B4-BE49-F238E27FC236}">
                    <a16:creationId xmlns:a16="http://schemas.microsoft.com/office/drawing/2014/main" id="{06501535-42A3-4EC8-BB29-B9FC044BCC7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34" name="Gelijkbenige driehoek 304">
                <a:extLst>
                  <a:ext uri="{FF2B5EF4-FFF2-40B4-BE49-F238E27FC236}">
                    <a16:creationId xmlns:a16="http://schemas.microsoft.com/office/drawing/2014/main" id="{78A54C8A-AF82-4A15-A3AD-D1ED60EEA7F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84" name="Groep 269">
              <a:extLst>
                <a:ext uri="{FF2B5EF4-FFF2-40B4-BE49-F238E27FC236}">
                  <a16:creationId xmlns:a16="http://schemas.microsoft.com/office/drawing/2014/main" id="{D9F68751-1A39-4A61-A83E-32B1CAABBB9D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211" name="Rechthoek 296">
                <a:extLst>
                  <a:ext uri="{FF2B5EF4-FFF2-40B4-BE49-F238E27FC236}">
                    <a16:creationId xmlns:a16="http://schemas.microsoft.com/office/drawing/2014/main" id="{CE0D5B93-8739-4DFE-94DA-00BC260366E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12" name="Ovaal 297">
                <a:extLst>
                  <a:ext uri="{FF2B5EF4-FFF2-40B4-BE49-F238E27FC236}">
                    <a16:creationId xmlns:a16="http://schemas.microsoft.com/office/drawing/2014/main" id="{CBBBA1E1-9D01-44E3-9225-86D943A0EE3E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Vrije vorm: vorm 298">
                <a:extLst>
                  <a:ext uri="{FF2B5EF4-FFF2-40B4-BE49-F238E27FC236}">
                    <a16:creationId xmlns:a16="http://schemas.microsoft.com/office/drawing/2014/main" id="{DBFDBB89-30E8-4B1A-B33A-1B3138E6E526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9" name="Rechthoek: afgeronde hoeken 299">
                <a:extLst>
                  <a:ext uri="{FF2B5EF4-FFF2-40B4-BE49-F238E27FC236}">
                    <a16:creationId xmlns:a16="http://schemas.microsoft.com/office/drawing/2014/main" id="{999AB046-2619-452F-ACDF-ADC6E68C5425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230" name="Rechte verbindingslijn 300">
                <a:extLst>
                  <a:ext uri="{FF2B5EF4-FFF2-40B4-BE49-F238E27FC236}">
                    <a16:creationId xmlns:a16="http://schemas.microsoft.com/office/drawing/2014/main" id="{A4DB2D6E-8CF7-4684-B700-DF7E7C581C3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31" name="Rechte verbindingslijn 301">
                <a:extLst>
                  <a:ext uri="{FF2B5EF4-FFF2-40B4-BE49-F238E27FC236}">
                    <a16:creationId xmlns:a16="http://schemas.microsoft.com/office/drawing/2014/main" id="{9D4D3B63-E337-4385-BD0C-951DDE56002B}"/>
                  </a:ext>
                </a:extLst>
              </p:cNvPr>
              <p:cNvCxnSpPr>
                <a:cxnSpLocks/>
                <a:stCxn id="229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85" name="Ovaal 270">
              <a:extLst>
                <a:ext uri="{FF2B5EF4-FFF2-40B4-BE49-F238E27FC236}">
                  <a16:creationId xmlns:a16="http://schemas.microsoft.com/office/drawing/2014/main" id="{58C9ED72-D2A8-4EEA-9864-3A615C92B164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86" name="Rechthoek 271">
              <a:extLst>
                <a:ext uri="{FF2B5EF4-FFF2-40B4-BE49-F238E27FC236}">
                  <a16:creationId xmlns:a16="http://schemas.microsoft.com/office/drawing/2014/main" id="{8A432441-0DAA-4B9B-8AA0-D71133FEE396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43320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aan de linker kant van het scherm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87" name="Rechte verbindingslijn 272">
              <a:extLst>
                <a:ext uri="{FF2B5EF4-FFF2-40B4-BE49-F238E27FC236}">
                  <a16:creationId xmlns:a16="http://schemas.microsoft.com/office/drawing/2014/main" id="{8506943D-D6E6-441D-8984-6581D048C39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88" name="Rechthoek 273">
              <a:extLst>
                <a:ext uri="{FF2B5EF4-FFF2-40B4-BE49-F238E27FC236}">
                  <a16:creationId xmlns:a16="http://schemas.microsoft.com/office/drawing/2014/main" id="{3E57D89B-0E56-4A4C-8059-4FB4603F6AF3}"/>
                </a:ext>
              </a:extLst>
            </p:cNvPr>
            <p:cNvSpPr/>
            <p:nvPr userDrawn="1"/>
          </p:nvSpPr>
          <p:spPr>
            <a:xfrm>
              <a:off x="12654153" y="3238910"/>
              <a:ext cx="1624926" cy="805220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3509" b="0" i="1" noProof="0">
                <a:solidFill>
                  <a:schemeClr val="tx1"/>
                </a:solidFill>
              </a:endParaRPr>
            </a:p>
          </p:txBody>
        </p:sp>
        <p:grpSp>
          <p:nvGrpSpPr>
            <p:cNvPr id="189" name="Groep 274">
              <a:extLst>
                <a:ext uri="{FF2B5EF4-FFF2-40B4-BE49-F238E27FC236}">
                  <a16:creationId xmlns:a16="http://schemas.microsoft.com/office/drawing/2014/main" id="{482FCCB4-698B-4EEE-A2B4-18D0CC8FE29F}"/>
                </a:ext>
              </a:extLst>
            </p:cNvPr>
            <p:cNvGrpSpPr/>
            <p:nvPr userDrawn="1"/>
          </p:nvGrpSpPr>
          <p:grpSpPr>
            <a:xfrm>
              <a:off x="13614067" y="3535184"/>
              <a:ext cx="1195438" cy="678267"/>
              <a:chOff x="12757284" y="3224292"/>
              <a:chExt cx="1195438" cy="678267"/>
            </a:xfrm>
          </p:grpSpPr>
          <p:sp>
            <p:nvSpPr>
              <p:cNvPr id="190" name="Rechthoek 275">
                <a:extLst>
                  <a:ext uri="{FF2B5EF4-FFF2-40B4-BE49-F238E27FC236}">
                    <a16:creationId xmlns:a16="http://schemas.microsoft.com/office/drawing/2014/main" id="{AA27D55B-E2DA-4324-BEFF-288A1F1CB785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1" name="Rechthoek 276">
                <a:extLst>
                  <a:ext uri="{FF2B5EF4-FFF2-40B4-BE49-F238E27FC236}">
                    <a16:creationId xmlns:a16="http://schemas.microsoft.com/office/drawing/2014/main" id="{8D0500E3-6A5F-47CD-AB65-8005E13AF02E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92" name="Groep 277">
                <a:extLst>
                  <a:ext uri="{FF2B5EF4-FFF2-40B4-BE49-F238E27FC236}">
                    <a16:creationId xmlns:a16="http://schemas.microsoft.com/office/drawing/2014/main" id="{36B44A3F-F910-4425-A31E-AA256BDD0022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205" name="Rechthoek: afgeronde hoeken 290">
                  <a:extLst>
                    <a:ext uri="{FF2B5EF4-FFF2-40B4-BE49-F238E27FC236}">
                      <a16:creationId xmlns:a16="http://schemas.microsoft.com/office/drawing/2014/main" id="{25CE5A8F-57DF-44FE-92B2-3F6EC4F03327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endPara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6" name="Rechthoek 291">
                  <a:extLst>
                    <a:ext uri="{FF2B5EF4-FFF2-40B4-BE49-F238E27FC236}">
                      <a16:creationId xmlns:a16="http://schemas.microsoft.com/office/drawing/2014/main" id="{F85F14FA-B63C-4308-84D4-DCDFFBB989C2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7" name="Rechthoek 292">
                  <a:extLst>
                    <a:ext uri="{FF2B5EF4-FFF2-40B4-BE49-F238E27FC236}">
                      <a16:creationId xmlns:a16="http://schemas.microsoft.com/office/drawing/2014/main" id="{7D99B6F2-6B94-44D2-ABF7-D5C7E28C86DE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8" name="Rechthoek 293">
                  <a:extLst>
                    <a:ext uri="{FF2B5EF4-FFF2-40B4-BE49-F238E27FC236}">
                      <a16:creationId xmlns:a16="http://schemas.microsoft.com/office/drawing/2014/main" id="{C7C81D0D-F3F4-42E3-9221-5BF634CFA946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9" name="Rechthoek 294">
                  <a:extLst>
                    <a:ext uri="{FF2B5EF4-FFF2-40B4-BE49-F238E27FC236}">
                      <a16:creationId xmlns:a16="http://schemas.microsoft.com/office/drawing/2014/main" id="{1F578291-743C-4720-B3C4-394FA4C40EEB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0" name="Rechthoek 295">
                  <a:extLst>
                    <a:ext uri="{FF2B5EF4-FFF2-40B4-BE49-F238E27FC236}">
                      <a16:creationId xmlns:a16="http://schemas.microsoft.com/office/drawing/2014/main" id="{0C2FC51D-3763-459B-A846-3ED2A9C59AC6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93" name="Groep 278">
                <a:extLst>
                  <a:ext uri="{FF2B5EF4-FFF2-40B4-BE49-F238E27FC236}">
                    <a16:creationId xmlns:a16="http://schemas.microsoft.com/office/drawing/2014/main" id="{26C56313-4505-41C2-BCDF-534F1814EBE9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97" name="Groep 282">
                  <a:extLst>
                    <a:ext uri="{FF2B5EF4-FFF2-40B4-BE49-F238E27FC236}">
                      <a16:creationId xmlns:a16="http://schemas.microsoft.com/office/drawing/2014/main" id="{31F525E5-1974-459F-BD76-F8579F5C2160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99" name="Rechthoek: afgeronde hoeken 284">
                    <a:extLst>
                      <a:ext uri="{FF2B5EF4-FFF2-40B4-BE49-F238E27FC236}">
                        <a16:creationId xmlns:a16="http://schemas.microsoft.com/office/drawing/2014/main" id="{937C8BB9-EFC8-4FB9-A1A2-73C6B77BA941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2105"/>
                      </a:spcBef>
                      <a:spcAft>
                        <a:spcPts val="2105"/>
                      </a:spcAft>
                    </a:pPr>
                    <a:endParaRPr lang="nl-NL" sz="280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00" name="Rechthoek 285">
                    <a:extLst>
                      <a:ext uri="{FF2B5EF4-FFF2-40B4-BE49-F238E27FC236}">
                        <a16:creationId xmlns:a16="http://schemas.microsoft.com/office/drawing/2014/main" id="{00A4B283-B36E-40D3-9C40-8CDB564A0B6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1" name="Rechthoek 286">
                    <a:extLst>
                      <a:ext uri="{FF2B5EF4-FFF2-40B4-BE49-F238E27FC236}">
                        <a16:creationId xmlns:a16="http://schemas.microsoft.com/office/drawing/2014/main" id="{1796BF20-C5B1-4048-9640-69158F3976A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2" name="Rechthoek 287">
                    <a:extLst>
                      <a:ext uri="{FF2B5EF4-FFF2-40B4-BE49-F238E27FC236}">
                        <a16:creationId xmlns:a16="http://schemas.microsoft.com/office/drawing/2014/main" id="{398189E4-06D1-4CBA-8E0E-C87B5C3EA77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3" name="Rechthoek 288">
                    <a:extLst>
                      <a:ext uri="{FF2B5EF4-FFF2-40B4-BE49-F238E27FC236}">
                        <a16:creationId xmlns:a16="http://schemas.microsoft.com/office/drawing/2014/main" id="{531440A8-DB35-40F4-B3C5-15FB670147A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4" name="Rechthoek 289">
                    <a:extLst>
                      <a:ext uri="{FF2B5EF4-FFF2-40B4-BE49-F238E27FC236}">
                        <a16:creationId xmlns:a16="http://schemas.microsoft.com/office/drawing/2014/main" id="{6FD5851A-6E2D-4AD2-AD0F-D95A0B19DA7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198" name="Boog 283">
                  <a:extLst>
                    <a:ext uri="{FF2B5EF4-FFF2-40B4-BE49-F238E27FC236}">
                      <a16:creationId xmlns:a16="http://schemas.microsoft.com/office/drawing/2014/main" id="{1AAF39A5-D9FF-4585-8646-A2EEA9E70D51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</p:grpSp>
          <p:sp>
            <p:nvSpPr>
              <p:cNvPr id="194" name="Tekstvak 279">
                <a:extLst>
                  <a:ext uri="{FF2B5EF4-FFF2-40B4-BE49-F238E27FC236}">
                    <a16:creationId xmlns:a16="http://schemas.microsoft.com/office/drawing/2014/main" id="{17DEFD0A-EFFC-4148-9E20-78CE2DD83BCD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95" name="Tekstvak 280">
                <a:extLst>
                  <a:ext uri="{FF2B5EF4-FFF2-40B4-BE49-F238E27FC236}">
                    <a16:creationId xmlns:a16="http://schemas.microsoft.com/office/drawing/2014/main" id="{DCC7AB1A-3EFC-4533-ACBF-051274587770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96" name="Picture 3">
                <a:extLst>
                  <a:ext uri="{FF2B5EF4-FFF2-40B4-BE49-F238E27FC236}">
                    <a16:creationId xmlns:a16="http://schemas.microsoft.com/office/drawing/2014/main" id="{6CDE7AA1-A80F-4A1C-BB2C-0D6173D5D24D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810206" y="3671228"/>
                <a:ext cx="14251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grpSp>
        <p:nvGrpSpPr>
          <p:cNvPr id="74" name="Instructie">
            <a:extLst>
              <a:ext uri="{FF2B5EF4-FFF2-40B4-BE49-F238E27FC236}">
                <a16:creationId xmlns:a16="http://schemas.microsoft.com/office/drawing/2014/main" id="{5E0F10CF-AB59-49C0-AB85-BF6D3157CDE7}"/>
              </a:ext>
            </a:extLst>
          </p:cNvPr>
          <p:cNvGrpSpPr/>
          <p:nvPr userDrawn="1"/>
        </p:nvGrpSpPr>
        <p:grpSpPr>
          <a:xfrm>
            <a:off x="-11761540" y="0"/>
            <a:ext cx="11164508" cy="11743958"/>
            <a:chOff x="-3426088" y="4512342"/>
            <a:chExt cx="3182755" cy="2660264"/>
          </a:xfrm>
        </p:grpSpPr>
        <p:sp>
          <p:nvSpPr>
            <p:cNvPr id="75" name="Rechthoek 127">
              <a:extLst>
                <a:ext uri="{FF2B5EF4-FFF2-40B4-BE49-F238E27FC236}">
                  <a16:creationId xmlns:a16="http://schemas.microsoft.com/office/drawing/2014/main" id="{5D38BD5B-23F8-41FE-8027-8E44F7F22116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76" name="Rechte verbindingslijn 128">
              <a:extLst>
                <a:ext uri="{FF2B5EF4-FFF2-40B4-BE49-F238E27FC236}">
                  <a16:creationId xmlns:a16="http://schemas.microsoft.com/office/drawing/2014/main" id="{00AAA963-7906-4ECE-8A89-9139ABC167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77" name="Rechthoek 130">
              <a:extLst>
                <a:ext uri="{FF2B5EF4-FFF2-40B4-BE49-F238E27FC236}">
                  <a16:creationId xmlns:a16="http://schemas.microsoft.com/office/drawing/2014/main" id="{548F0181-E434-48B0-B0FE-D94F047CF0F0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78" name="Rechthoek 133">
              <a:extLst>
                <a:ext uri="{FF2B5EF4-FFF2-40B4-BE49-F238E27FC236}">
                  <a16:creationId xmlns:a16="http://schemas.microsoft.com/office/drawing/2014/main" id="{5CC572EB-9A94-4CBF-A5FB-0E1D50EDAEBE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79" name="Rechthoek 136">
              <a:extLst>
                <a:ext uri="{FF2B5EF4-FFF2-40B4-BE49-F238E27FC236}">
                  <a16:creationId xmlns:a16="http://schemas.microsoft.com/office/drawing/2014/main" id="{A209D926-B538-4C9F-92FA-C20CCCEC907B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0" name="Rechthoek 139">
              <a:extLst>
                <a:ext uri="{FF2B5EF4-FFF2-40B4-BE49-F238E27FC236}">
                  <a16:creationId xmlns:a16="http://schemas.microsoft.com/office/drawing/2014/main" id="{422F0FA3-6D89-46D2-A941-C54A720EE31F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81" name="Rechte verbindingslijn 140">
              <a:extLst>
                <a:ext uri="{FF2B5EF4-FFF2-40B4-BE49-F238E27FC236}">
                  <a16:creationId xmlns:a16="http://schemas.microsoft.com/office/drawing/2014/main" id="{0918C9FA-DDF6-4164-B347-0AB0B07FB61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66" name="Tijdelijke aanduiding voor tekst 3">
            <a:extLst>
              <a:ext uri="{FF2B5EF4-FFF2-40B4-BE49-F238E27FC236}">
                <a16:creationId xmlns:a16="http://schemas.microsoft.com/office/drawing/2014/main" id="{A4956C2C-95FD-447A-BD1F-81754DAF602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504415" y="1449454"/>
            <a:ext cx="6635238" cy="3534585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51"/>
            </a:lvl1pPr>
          </a:lstStyle>
          <a:p>
            <a:pPr lvl="0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64453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4250" fill="hold"/>
                                        <p:tgtEl>
                                          <p:spTgt spid="10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4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80%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-2" y="6476679"/>
            <a:ext cx="42710778" cy="23798534"/>
          </a:xfrm>
          <a:solidFill>
            <a:schemeClr val="bg1">
              <a:lumMod val="95000"/>
            </a:schemeClr>
          </a:solidFill>
        </p:spPr>
        <p:txBody>
          <a:bodyPr tIns="1080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0" name="Tijdelijke aanduiding voor voettekst 4">
            <a:extLst>
              <a:ext uri="{FF2B5EF4-FFF2-40B4-BE49-F238E27FC236}">
                <a16:creationId xmlns:a16="http://schemas.microsoft.com/office/drawing/2014/main" id="{1DA20FBD-9D0F-4EAB-B12C-126591D8B7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6644E39-2AF2-4EA0-9C3F-28C89D5A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7" y="27329718"/>
            <a:ext cx="938238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7" name="Tijdelijke aanduiding voor tekst 14">
            <a:extLst>
              <a:ext uri="{FF2B5EF4-FFF2-40B4-BE49-F238E27FC236}">
                <a16:creationId xmlns:a16="http://schemas.microsoft.com/office/drawing/2014/main" id="{A6BF4B27-7FC5-4896-80CE-3BA6119B83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15" name="Tijdelijke aanduiding voor datum 3">
            <a:extLst>
              <a:ext uri="{FF2B5EF4-FFF2-40B4-BE49-F238E27FC236}">
                <a16:creationId xmlns:a16="http://schemas.microsoft.com/office/drawing/2014/main" id="{B4AED1A4-683A-4021-8F91-6EB13C2447C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A659124-FA22-4DE2-958C-6848B49C8891}" type="datetime1">
              <a:rPr lang="nl-NL" noProof="0" smtClean="0"/>
              <a:t>26-6-2023</a:t>
            </a:fld>
            <a:endParaRPr lang="nl-NL" noProof="0"/>
          </a:p>
        </p:txBody>
      </p:sp>
      <p:grpSp>
        <p:nvGrpSpPr>
          <p:cNvPr id="153" name="Groep 258">
            <a:extLst>
              <a:ext uri="{FF2B5EF4-FFF2-40B4-BE49-F238E27FC236}">
                <a16:creationId xmlns:a16="http://schemas.microsoft.com/office/drawing/2014/main" id="{DA1D9589-42C5-473C-B14F-9E4339BBCFCA}"/>
              </a:ext>
            </a:extLst>
          </p:cNvPr>
          <p:cNvGrpSpPr/>
          <p:nvPr userDrawn="1"/>
        </p:nvGrpSpPr>
        <p:grpSpPr>
          <a:xfrm>
            <a:off x="43467416" y="5"/>
            <a:ext cx="11167745" cy="23084356"/>
            <a:chOff x="12391601" y="0"/>
            <a:chExt cx="3183678" cy="5229113"/>
          </a:xfrm>
        </p:grpSpPr>
        <p:grpSp>
          <p:nvGrpSpPr>
            <p:cNvPr id="154" name="Meer informatie">
              <a:extLst>
                <a:ext uri="{FF2B5EF4-FFF2-40B4-BE49-F238E27FC236}">
                  <a16:creationId xmlns:a16="http://schemas.microsoft.com/office/drawing/2014/main" id="{C44F933F-DCEE-4D3F-BF26-8EBF393D3EA5}"/>
                </a:ext>
              </a:extLst>
            </p:cNvPr>
            <p:cNvGrpSpPr/>
            <p:nvPr userDrawn="1"/>
          </p:nvGrpSpPr>
          <p:grpSpPr>
            <a:xfrm>
              <a:off x="12396764" y="4445840"/>
              <a:ext cx="3178515" cy="783273"/>
              <a:chOff x="-3741486" y="3386444"/>
              <a:chExt cx="3178515" cy="783273"/>
            </a:xfrm>
          </p:grpSpPr>
          <p:sp>
            <p:nvSpPr>
              <p:cNvPr id="200" name="Freeform 101">
                <a:extLst>
                  <a:ext uri="{FF2B5EF4-FFF2-40B4-BE49-F238E27FC236}">
                    <a16:creationId xmlns:a16="http://schemas.microsoft.com/office/drawing/2014/main" id="{E0680B05-28BD-4311-8AD4-830F2662FBB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201" name="Rechthoek 306">
                <a:extLst>
                  <a:ext uri="{FF2B5EF4-FFF2-40B4-BE49-F238E27FC236}">
                    <a16:creationId xmlns:a16="http://schemas.microsoft.com/office/drawing/2014/main" id="{5C5EE0C1-0229-4D49-885B-AB366CBDA71D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02" name="Rechte verbindingslijn 307">
                <a:extLst>
                  <a:ext uri="{FF2B5EF4-FFF2-40B4-BE49-F238E27FC236}">
                    <a16:creationId xmlns:a16="http://schemas.microsoft.com/office/drawing/2014/main" id="{15573BEF-5FCB-406C-978A-8717772AAF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5" name="Rechthoek 260">
              <a:extLst>
                <a:ext uri="{FF2B5EF4-FFF2-40B4-BE49-F238E27FC236}">
                  <a16:creationId xmlns:a16="http://schemas.microsoft.com/office/drawing/2014/main" id="{D80855EE-5D78-48AE-AFCD-97EA44C62C9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156" name="Ovaal 261">
              <a:extLst>
                <a:ext uri="{FF2B5EF4-FFF2-40B4-BE49-F238E27FC236}">
                  <a16:creationId xmlns:a16="http://schemas.microsoft.com/office/drawing/2014/main" id="{E2DF79CB-32C3-460F-997E-20B73C07E958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7" name="Rechte verbindingslijn 262">
              <a:extLst>
                <a:ext uri="{FF2B5EF4-FFF2-40B4-BE49-F238E27FC236}">
                  <a16:creationId xmlns:a16="http://schemas.microsoft.com/office/drawing/2014/main" id="{E0DEC3E8-C497-4A23-BA89-B65A4D285A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58" name="Rechte verbindingslijn 263">
              <a:extLst>
                <a:ext uri="{FF2B5EF4-FFF2-40B4-BE49-F238E27FC236}">
                  <a16:creationId xmlns:a16="http://schemas.microsoft.com/office/drawing/2014/main" id="{636DE5FF-E15E-44A3-982E-93DB9003197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9" name="Rechthoek 264">
              <a:extLst>
                <a:ext uri="{FF2B5EF4-FFF2-40B4-BE49-F238E27FC236}">
                  <a16:creationId xmlns:a16="http://schemas.microsoft.com/office/drawing/2014/main" id="{ABA7E3C3-36A7-43D0-AB18-7BB62CE6C32B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oor deze te selecteren en op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om een nieuwe afbeelding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60" name="Rechte verbindingslijn 265">
              <a:extLst>
                <a:ext uri="{FF2B5EF4-FFF2-40B4-BE49-F238E27FC236}">
                  <a16:creationId xmlns:a16="http://schemas.microsoft.com/office/drawing/2014/main" id="{E6CEC6AE-ED76-4367-B1B9-FC5B957FACE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4327957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1" name="Ovaal 266">
              <a:extLst>
                <a:ext uri="{FF2B5EF4-FFF2-40B4-BE49-F238E27FC236}">
                  <a16:creationId xmlns:a16="http://schemas.microsoft.com/office/drawing/2014/main" id="{E056C88D-6140-4DAC-9BBE-E7B428A9D97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62" name="Rechthoek 267">
              <a:extLst>
                <a:ext uri="{FF2B5EF4-FFF2-40B4-BE49-F238E27FC236}">
                  <a16:creationId xmlns:a16="http://schemas.microsoft.com/office/drawing/2014/main" id="{32E164EC-77FD-4FC1-9761-36792135480A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63" name="Groep 268">
              <a:extLst>
                <a:ext uri="{FF2B5EF4-FFF2-40B4-BE49-F238E27FC236}">
                  <a16:creationId xmlns:a16="http://schemas.microsoft.com/office/drawing/2014/main" id="{66A970B5-0C0C-487F-A79A-3858C90E2330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97" name="Rechthoek 302">
                <a:extLst>
                  <a:ext uri="{FF2B5EF4-FFF2-40B4-BE49-F238E27FC236}">
                    <a16:creationId xmlns:a16="http://schemas.microsoft.com/office/drawing/2014/main" id="{A96DAE96-85E8-4F85-B1EB-312E5FD7F723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198" name="Rechte verbindingslijn 303">
                <a:extLst>
                  <a:ext uri="{FF2B5EF4-FFF2-40B4-BE49-F238E27FC236}">
                    <a16:creationId xmlns:a16="http://schemas.microsoft.com/office/drawing/2014/main" id="{4CF5C91E-4661-4756-AB3E-8A36CCED7C0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99" name="Gelijkbenige driehoek 304">
                <a:extLst>
                  <a:ext uri="{FF2B5EF4-FFF2-40B4-BE49-F238E27FC236}">
                    <a16:creationId xmlns:a16="http://schemas.microsoft.com/office/drawing/2014/main" id="{3B90813B-784B-4DFE-92D2-FD85D98D1F05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64" name="Groep 269">
              <a:extLst>
                <a:ext uri="{FF2B5EF4-FFF2-40B4-BE49-F238E27FC236}">
                  <a16:creationId xmlns:a16="http://schemas.microsoft.com/office/drawing/2014/main" id="{7B852B1E-CE1B-46C6-B5D7-D38D38202C16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191" name="Rechthoek 296">
                <a:extLst>
                  <a:ext uri="{FF2B5EF4-FFF2-40B4-BE49-F238E27FC236}">
                    <a16:creationId xmlns:a16="http://schemas.microsoft.com/office/drawing/2014/main" id="{E31C9AB7-98E4-4194-BBB6-44F7032E2EA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2" name="Ovaal 297">
                <a:extLst>
                  <a:ext uri="{FF2B5EF4-FFF2-40B4-BE49-F238E27FC236}">
                    <a16:creationId xmlns:a16="http://schemas.microsoft.com/office/drawing/2014/main" id="{A3D4D748-52E1-44BD-A4E2-839A6CFCB2DA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3" name="Vrije vorm: vorm 298">
                <a:extLst>
                  <a:ext uri="{FF2B5EF4-FFF2-40B4-BE49-F238E27FC236}">
                    <a16:creationId xmlns:a16="http://schemas.microsoft.com/office/drawing/2014/main" id="{7A57264A-23B7-4221-BCC0-78742143AE7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4" name="Rechthoek: afgeronde hoeken 299">
                <a:extLst>
                  <a:ext uri="{FF2B5EF4-FFF2-40B4-BE49-F238E27FC236}">
                    <a16:creationId xmlns:a16="http://schemas.microsoft.com/office/drawing/2014/main" id="{EFE133AF-8CEB-4497-8616-583F4E51C12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95" name="Rechte verbindingslijn 300">
                <a:extLst>
                  <a:ext uri="{FF2B5EF4-FFF2-40B4-BE49-F238E27FC236}">
                    <a16:creationId xmlns:a16="http://schemas.microsoft.com/office/drawing/2014/main" id="{26563C41-B812-44E0-8096-A355745352C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96" name="Rechte verbindingslijn 301">
                <a:extLst>
                  <a:ext uri="{FF2B5EF4-FFF2-40B4-BE49-F238E27FC236}">
                    <a16:creationId xmlns:a16="http://schemas.microsoft.com/office/drawing/2014/main" id="{A7DB654B-B206-4180-A352-57C1FFA1F26D}"/>
                  </a:ext>
                </a:extLst>
              </p:cNvPr>
              <p:cNvCxnSpPr>
                <a:cxnSpLocks/>
                <a:stCxn id="19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65" name="Ovaal 270">
              <a:extLst>
                <a:ext uri="{FF2B5EF4-FFF2-40B4-BE49-F238E27FC236}">
                  <a16:creationId xmlns:a16="http://schemas.microsoft.com/office/drawing/2014/main" id="{B8F12F58-5EEA-402B-8334-FC93673E8D8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6" name="Rechthoek 271">
              <a:extLst>
                <a:ext uri="{FF2B5EF4-FFF2-40B4-BE49-F238E27FC236}">
                  <a16:creationId xmlns:a16="http://schemas.microsoft.com/office/drawing/2014/main" id="{34D6239F-5BAB-43CA-A786-31E13E7F1970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43320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aan de linker kant van het scherm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67" name="Rechte verbindingslijn 272">
              <a:extLst>
                <a:ext uri="{FF2B5EF4-FFF2-40B4-BE49-F238E27FC236}">
                  <a16:creationId xmlns:a16="http://schemas.microsoft.com/office/drawing/2014/main" id="{D376FBCD-AB4C-47FD-BE76-BF4D7048193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8" name="Rechthoek 273">
              <a:extLst>
                <a:ext uri="{FF2B5EF4-FFF2-40B4-BE49-F238E27FC236}">
                  <a16:creationId xmlns:a16="http://schemas.microsoft.com/office/drawing/2014/main" id="{4FDEA777-4601-4BAB-9E85-7443A5A30D79}"/>
                </a:ext>
              </a:extLst>
            </p:cNvPr>
            <p:cNvSpPr/>
            <p:nvPr userDrawn="1"/>
          </p:nvSpPr>
          <p:spPr>
            <a:xfrm>
              <a:off x="12654153" y="3238910"/>
              <a:ext cx="1624926" cy="805220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3509" b="0" i="1" noProof="0">
                <a:solidFill>
                  <a:schemeClr val="tx1"/>
                </a:solidFill>
              </a:endParaRPr>
            </a:p>
          </p:txBody>
        </p:sp>
        <p:grpSp>
          <p:nvGrpSpPr>
            <p:cNvPr id="169" name="Groep 274">
              <a:extLst>
                <a:ext uri="{FF2B5EF4-FFF2-40B4-BE49-F238E27FC236}">
                  <a16:creationId xmlns:a16="http://schemas.microsoft.com/office/drawing/2014/main" id="{25263BD1-BA41-40BD-A5CA-5553E4533937}"/>
                </a:ext>
              </a:extLst>
            </p:cNvPr>
            <p:cNvGrpSpPr/>
            <p:nvPr userDrawn="1"/>
          </p:nvGrpSpPr>
          <p:grpSpPr>
            <a:xfrm>
              <a:off x="13614067" y="3535184"/>
              <a:ext cx="1195438" cy="678267"/>
              <a:chOff x="12757284" y="3224292"/>
              <a:chExt cx="1195438" cy="678267"/>
            </a:xfrm>
          </p:grpSpPr>
          <p:sp>
            <p:nvSpPr>
              <p:cNvPr id="170" name="Rechthoek 275">
                <a:extLst>
                  <a:ext uri="{FF2B5EF4-FFF2-40B4-BE49-F238E27FC236}">
                    <a16:creationId xmlns:a16="http://schemas.microsoft.com/office/drawing/2014/main" id="{BACB4A4D-B220-4C85-866E-EF5D3C9F2E77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1" name="Rechthoek 276">
                <a:extLst>
                  <a:ext uri="{FF2B5EF4-FFF2-40B4-BE49-F238E27FC236}">
                    <a16:creationId xmlns:a16="http://schemas.microsoft.com/office/drawing/2014/main" id="{025FD7B2-79C8-42F3-BF6C-D6CCD81B3842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2" name="Groep 277">
                <a:extLst>
                  <a:ext uri="{FF2B5EF4-FFF2-40B4-BE49-F238E27FC236}">
                    <a16:creationId xmlns:a16="http://schemas.microsoft.com/office/drawing/2014/main" id="{81F9F757-146D-44C8-ADB6-3734949FA9EE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185" name="Rechthoek: afgeronde hoeken 290">
                  <a:extLst>
                    <a:ext uri="{FF2B5EF4-FFF2-40B4-BE49-F238E27FC236}">
                      <a16:creationId xmlns:a16="http://schemas.microsoft.com/office/drawing/2014/main" id="{16731A77-6ECF-4493-A5A4-C3451A8329DC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endPara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86" name="Rechthoek 291">
                  <a:extLst>
                    <a:ext uri="{FF2B5EF4-FFF2-40B4-BE49-F238E27FC236}">
                      <a16:creationId xmlns:a16="http://schemas.microsoft.com/office/drawing/2014/main" id="{F229AB88-426F-4CBB-956D-EF2316183A62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7" name="Rechthoek 292">
                  <a:extLst>
                    <a:ext uri="{FF2B5EF4-FFF2-40B4-BE49-F238E27FC236}">
                      <a16:creationId xmlns:a16="http://schemas.microsoft.com/office/drawing/2014/main" id="{256D338F-6030-465B-976E-83CADA93F170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8" name="Rechthoek 293">
                  <a:extLst>
                    <a:ext uri="{FF2B5EF4-FFF2-40B4-BE49-F238E27FC236}">
                      <a16:creationId xmlns:a16="http://schemas.microsoft.com/office/drawing/2014/main" id="{C50D365A-AE0D-4735-AD40-8DAF2FD67F53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9" name="Rechthoek 294">
                  <a:extLst>
                    <a:ext uri="{FF2B5EF4-FFF2-40B4-BE49-F238E27FC236}">
                      <a16:creationId xmlns:a16="http://schemas.microsoft.com/office/drawing/2014/main" id="{2378150C-3C77-4907-8A1F-865347958F38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0" name="Rechthoek 295">
                  <a:extLst>
                    <a:ext uri="{FF2B5EF4-FFF2-40B4-BE49-F238E27FC236}">
                      <a16:creationId xmlns:a16="http://schemas.microsoft.com/office/drawing/2014/main" id="{6CCC5F73-EBC0-47E3-B939-A9BD1B5FCCFA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73" name="Groep 278">
                <a:extLst>
                  <a:ext uri="{FF2B5EF4-FFF2-40B4-BE49-F238E27FC236}">
                    <a16:creationId xmlns:a16="http://schemas.microsoft.com/office/drawing/2014/main" id="{AE95217F-96A2-4ACB-BDDE-FE168E1D915C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177" name="Groep 282">
                  <a:extLst>
                    <a:ext uri="{FF2B5EF4-FFF2-40B4-BE49-F238E27FC236}">
                      <a16:creationId xmlns:a16="http://schemas.microsoft.com/office/drawing/2014/main" id="{61DC68D2-8FF2-40B0-8103-5D96C0E50E6D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179" name="Rechthoek: afgeronde hoeken 284">
                    <a:extLst>
                      <a:ext uri="{FF2B5EF4-FFF2-40B4-BE49-F238E27FC236}">
                        <a16:creationId xmlns:a16="http://schemas.microsoft.com/office/drawing/2014/main" id="{CDFBC008-32A0-4F0D-9C0A-0133F32E72B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2105"/>
                      </a:spcBef>
                      <a:spcAft>
                        <a:spcPts val="2105"/>
                      </a:spcAft>
                    </a:pPr>
                    <a:endParaRPr lang="nl-NL" sz="280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80" name="Rechthoek 285">
                    <a:extLst>
                      <a:ext uri="{FF2B5EF4-FFF2-40B4-BE49-F238E27FC236}">
                        <a16:creationId xmlns:a16="http://schemas.microsoft.com/office/drawing/2014/main" id="{613EB2D4-E5DB-477E-BFC3-2DA9AF3AE78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1" name="Rechthoek 286">
                    <a:extLst>
                      <a:ext uri="{FF2B5EF4-FFF2-40B4-BE49-F238E27FC236}">
                        <a16:creationId xmlns:a16="http://schemas.microsoft.com/office/drawing/2014/main" id="{AD0883A3-B67A-4B95-991E-E8B093C4E23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2" name="Rechthoek 287">
                    <a:extLst>
                      <a:ext uri="{FF2B5EF4-FFF2-40B4-BE49-F238E27FC236}">
                        <a16:creationId xmlns:a16="http://schemas.microsoft.com/office/drawing/2014/main" id="{667615A5-4510-4FA9-B455-09F6E4B0500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3" name="Rechthoek 288">
                    <a:extLst>
                      <a:ext uri="{FF2B5EF4-FFF2-40B4-BE49-F238E27FC236}">
                        <a16:creationId xmlns:a16="http://schemas.microsoft.com/office/drawing/2014/main" id="{CA41F919-456A-4336-823B-20BCA38C70C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4" name="Rechthoek 289">
                    <a:extLst>
                      <a:ext uri="{FF2B5EF4-FFF2-40B4-BE49-F238E27FC236}">
                        <a16:creationId xmlns:a16="http://schemas.microsoft.com/office/drawing/2014/main" id="{FC58C8E1-0D5B-4880-8053-DBBD4E93AEF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178" name="Boog 283">
                  <a:extLst>
                    <a:ext uri="{FF2B5EF4-FFF2-40B4-BE49-F238E27FC236}">
                      <a16:creationId xmlns:a16="http://schemas.microsoft.com/office/drawing/2014/main" id="{BE1B5382-341F-4AE3-960B-D162EA44B5E1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</p:grpSp>
          <p:sp>
            <p:nvSpPr>
              <p:cNvPr id="174" name="Tekstvak 279">
                <a:extLst>
                  <a:ext uri="{FF2B5EF4-FFF2-40B4-BE49-F238E27FC236}">
                    <a16:creationId xmlns:a16="http://schemas.microsoft.com/office/drawing/2014/main" id="{56CB79DD-AE4C-48D0-9775-6446EEC6116D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175" name="Tekstvak 280">
                <a:extLst>
                  <a:ext uri="{FF2B5EF4-FFF2-40B4-BE49-F238E27FC236}">
                    <a16:creationId xmlns:a16="http://schemas.microsoft.com/office/drawing/2014/main" id="{EFF76582-2E3D-4CFF-A588-BE3C0453870F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176" name="Picture 3">
                <a:extLst>
                  <a:ext uri="{FF2B5EF4-FFF2-40B4-BE49-F238E27FC236}">
                    <a16:creationId xmlns:a16="http://schemas.microsoft.com/office/drawing/2014/main" id="{F374CB61-58A4-4672-80A2-1B90D7B212AD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810206" y="3671228"/>
                <a:ext cx="14251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pic>
        <p:nvPicPr>
          <p:cNvPr id="59" name="Afbeelding 58">
            <a:extLst>
              <a:ext uri="{FF2B5EF4-FFF2-40B4-BE49-F238E27FC236}">
                <a16:creationId xmlns:a16="http://schemas.microsoft.com/office/drawing/2014/main" id="{CD829B4D-4013-4C29-80CF-C4F2F14098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3966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Foto 50%/5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jdelijke aanduiding voor afbeelding 9">
            <a:extLst>
              <a:ext uri="{FF2B5EF4-FFF2-40B4-BE49-F238E27FC236}">
                <a16:creationId xmlns:a16="http://schemas.microsoft.com/office/drawing/2014/main" id="{0ED34533-68FE-488A-8073-AE327759215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2852414" y="6"/>
            <a:ext cx="19913493" cy="30275208"/>
          </a:xfrm>
          <a:solidFill>
            <a:schemeClr val="bg1">
              <a:lumMod val="95000"/>
            </a:schemeClr>
          </a:solidFill>
        </p:spPr>
        <p:txBody>
          <a:bodyPr tIns="1260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677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9" name="Titel 1">
            <a:extLst>
              <a:ext uri="{FF2B5EF4-FFF2-40B4-BE49-F238E27FC236}">
                <a16:creationId xmlns:a16="http://schemas.microsoft.com/office/drawing/2014/main" id="{38F2616F-48F4-4AA7-A397-7CF72985B8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78" y="1766065"/>
            <a:ext cx="32281087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40" name="Tijdelijke aanduiding voor tekst 14">
            <a:extLst>
              <a:ext uri="{FF2B5EF4-FFF2-40B4-BE49-F238E27FC236}">
                <a16:creationId xmlns:a16="http://schemas.microsoft.com/office/drawing/2014/main" id="{628F315F-0014-4BC5-9D55-3D396FBDC96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78" y="3469430"/>
            <a:ext cx="32281087" cy="1195424"/>
          </a:xfrm>
        </p:spPr>
        <p:txBody>
          <a:bodyPr>
            <a:noAutofit/>
          </a:bodyPr>
          <a:lstStyle>
            <a:lvl1pPr marL="0" indent="0">
              <a:buNone/>
              <a:defRPr sz="2794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56" name="Tijdelijke aanduiding voor voettekst 4">
            <a:extLst>
              <a:ext uri="{FF2B5EF4-FFF2-40B4-BE49-F238E27FC236}">
                <a16:creationId xmlns:a16="http://schemas.microsoft.com/office/drawing/2014/main" id="{338749D9-C675-4DFC-AD08-66934C14A8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7" y="27345278"/>
            <a:ext cx="18027561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57" name="Tijdelijke aanduiding voor dianummer 5">
            <a:extLst>
              <a:ext uri="{FF2B5EF4-FFF2-40B4-BE49-F238E27FC236}">
                <a16:creationId xmlns:a16="http://schemas.microsoft.com/office/drawing/2014/main" id="{0D5A18F8-364B-49D8-899A-40A6F3280B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7"/>
            <a:ext cx="857529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20" name="Tijdelijke aanduiding voor datum 3">
            <a:extLst>
              <a:ext uri="{FF2B5EF4-FFF2-40B4-BE49-F238E27FC236}">
                <a16:creationId xmlns:a16="http://schemas.microsoft.com/office/drawing/2014/main" id="{6AE598E2-80CE-413F-9F85-905285A7345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50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B0EAA18-3AFB-40A5-B0C9-9E669743B750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142" name="Tijdelijke aanduiding voor tekst 4">
            <a:extLst>
              <a:ext uri="{FF2B5EF4-FFF2-40B4-BE49-F238E27FC236}">
                <a16:creationId xmlns:a16="http://schemas.microsoft.com/office/drawing/2014/main" id="{979ACD1D-A6F7-422F-B2AC-978EE21FAD1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742379" y="6476685"/>
            <a:ext cx="18171872" cy="1907433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sp>
        <p:nvSpPr>
          <p:cNvPr id="228" name="Tijdelijke aanduiding voor tekst 3">
            <a:extLst>
              <a:ext uri="{FF2B5EF4-FFF2-40B4-BE49-F238E27FC236}">
                <a16:creationId xmlns:a16="http://schemas.microsoft.com/office/drawing/2014/main" id="{FFC2BDB8-507D-4930-A994-4A50B17D66B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504420" y="1449454"/>
            <a:ext cx="6635240" cy="3534584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248"/>
            </a:lvl1pPr>
          </a:lstStyle>
          <a:p>
            <a:pPr lvl="0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94957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tekstvlak 8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-5567" y="6476684"/>
            <a:ext cx="42767257" cy="23798534"/>
          </a:xfrm>
          <a:solidFill>
            <a:schemeClr val="bg1">
              <a:lumMod val="95000"/>
            </a:schemeClr>
          </a:solidFill>
        </p:spPr>
        <p:txBody>
          <a:bodyPr tIns="3024000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tabLst>
                <a:tab pos="32381162" algn="l"/>
              </a:tabLst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0" name="Tijdelijke aanduiding voor voettekst 4">
            <a:extLst>
              <a:ext uri="{FF2B5EF4-FFF2-40B4-BE49-F238E27FC236}">
                <a16:creationId xmlns:a16="http://schemas.microsoft.com/office/drawing/2014/main" id="{1DA20FBD-9D0F-4EAB-B12C-126591D8B7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6644E39-2AF2-4EA0-9C3F-28C89D5A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7" y="27329718"/>
            <a:ext cx="828942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7" name="Tijdelijke aanduiding voor tekst 14">
            <a:extLst>
              <a:ext uri="{FF2B5EF4-FFF2-40B4-BE49-F238E27FC236}">
                <a16:creationId xmlns:a16="http://schemas.microsoft.com/office/drawing/2014/main" id="{A6BF4B27-7FC5-4896-80CE-3BA6119B83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28641602-EFC5-4A31-A66E-7D18FE4BC0D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7317714" y="18836413"/>
            <a:ext cx="13821939" cy="7118065"/>
          </a:xfrm>
          <a:custGeom>
            <a:avLst/>
            <a:gdLst>
              <a:gd name="connsiteX0" fmla="*/ 0 w 3938778"/>
              <a:gd name="connsiteY0" fmla="*/ 84049 h 1609202"/>
              <a:gd name="connsiteX1" fmla="*/ 84049 w 3938778"/>
              <a:gd name="connsiteY1" fmla="*/ 0 h 1609202"/>
              <a:gd name="connsiteX2" fmla="*/ 3854729 w 3938778"/>
              <a:gd name="connsiteY2" fmla="*/ 0 h 1609202"/>
              <a:gd name="connsiteX3" fmla="*/ 3938778 w 3938778"/>
              <a:gd name="connsiteY3" fmla="*/ 84049 h 1609202"/>
              <a:gd name="connsiteX4" fmla="*/ 3938778 w 3938778"/>
              <a:gd name="connsiteY4" fmla="*/ 1525153 h 1609202"/>
              <a:gd name="connsiteX5" fmla="*/ 3854729 w 3938778"/>
              <a:gd name="connsiteY5" fmla="*/ 1609202 h 1609202"/>
              <a:gd name="connsiteX6" fmla="*/ 84049 w 3938778"/>
              <a:gd name="connsiteY6" fmla="*/ 1609202 h 1609202"/>
              <a:gd name="connsiteX7" fmla="*/ 0 w 3938778"/>
              <a:gd name="connsiteY7" fmla="*/ 1525153 h 1609202"/>
              <a:gd name="connsiteX8" fmla="*/ 0 w 3938778"/>
              <a:gd name="connsiteY8" fmla="*/ 84049 h 1609202"/>
              <a:gd name="connsiteX0" fmla="*/ 212359 w 4151137"/>
              <a:gd name="connsiteY0" fmla="*/ 126307 h 1651460"/>
              <a:gd name="connsiteX1" fmla="*/ 237486 w 4151137"/>
              <a:gd name="connsiteY1" fmla="*/ 63809 h 1651460"/>
              <a:gd name="connsiteX2" fmla="*/ 296408 w 4151137"/>
              <a:gd name="connsiteY2" fmla="*/ 42258 h 1651460"/>
              <a:gd name="connsiteX3" fmla="*/ 4067088 w 4151137"/>
              <a:gd name="connsiteY3" fmla="*/ 42258 h 1651460"/>
              <a:gd name="connsiteX4" fmla="*/ 4151137 w 4151137"/>
              <a:gd name="connsiteY4" fmla="*/ 126307 h 1651460"/>
              <a:gd name="connsiteX5" fmla="*/ 4151137 w 4151137"/>
              <a:gd name="connsiteY5" fmla="*/ 1567411 h 1651460"/>
              <a:gd name="connsiteX6" fmla="*/ 4067088 w 4151137"/>
              <a:gd name="connsiteY6" fmla="*/ 1651460 h 1651460"/>
              <a:gd name="connsiteX7" fmla="*/ 296408 w 4151137"/>
              <a:gd name="connsiteY7" fmla="*/ 1651460 h 1651460"/>
              <a:gd name="connsiteX8" fmla="*/ 212359 w 4151137"/>
              <a:gd name="connsiteY8" fmla="*/ 1567411 h 1651460"/>
              <a:gd name="connsiteX9" fmla="*/ 212359 w 4151137"/>
              <a:gd name="connsiteY9" fmla="*/ 126307 h 1651460"/>
              <a:gd name="connsiteX0" fmla="*/ 212359 w 4151137"/>
              <a:gd name="connsiteY0" fmla="*/ 84049 h 1609202"/>
              <a:gd name="connsiteX1" fmla="*/ 237486 w 4151137"/>
              <a:gd name="connsiteY1" fmla="*/ 21551 h 1609202"/>
              <a:gd name="connsiteX2" fmla="*/ 296408 w 4151137"/>
              <a:gd name="connsiteY2" fmla="*/ 0 h 1609202"/>
              <a:gd name="connsiteX3" fmla="*/ 4067088 w 4151137"/>
              <a:gd name="connsiteY3" fmla="*/ 0 h 1609202"/>
              <a:gd name="connsiteX4" fmla="*/ 4151137 w 4151137"/>
              <a:gd name="connsiteY4" fmla="*/ 84049 h 1609202"/>
              <a:gd name="connsiteX5" fmla="*/ 4151137 w 4151137"/>
              <a:gd name="connsiteY5" fmla="*/ 1525153 h 1609202"/>
              <a:gd name="connsiteX6" fmla="*/ 4067088 w 4151137"/>
              <a:gd name="connsiteY6" fmla="*/ 1609202 h 1609202"/>
              <a:gd name="connsiteX7" fmla="*/ 296408 w 4151137"/>
              <a:gd name="connsiteY7" fmla="*/ 1609202 h 1609202"/>
              <a:gd name="connsiteX8" fmla="*/ 212359 w 4151137"/>
              <a:gd name="connsiteY8" fmla="*/ 1525153 h 1609202"/>
              <a:gd name="connsiteX9" fmla="*/ 212359 w 4151137"/>
              <a:gd name="connsiteY9" fmla="*/ 84049 h 1609202"/>
              <a:gd name="connsiteX0" fmla="*/ 21 w 3938799"/>
              <a:gd name="connsiteY0" fmla="*/ 85645 h 1610798"/>
              <a:gd name="connsiteX1" fmla="*/ 25148 w 3938799"/>
              <a:gd name="connsiteY1" fmla="*/ 23147 h 1610798"/>
              <a:gd name="connsiteX2" fmla="*/ 84070 w 3938799"/>
              <a:gd name="connsiteY2" fmla="*/ 1596 h 1610798"/>
              <a:gd name="connsiteX3" fmla="*/ 3854750 w 3938799"/>
              <a:gd name="connsiteY3" fmla="*/ 1596 h 1610798"/>
              <a:gd name="connsiteX4" fmla="*/ 3938799 w 3938799"/>
              <a:gd name="connsiteY4" fmla="*/ 85645 h 1610798"/>
              <a:gd name="connsiteX5" fmla="*/ 3938799 w 3938799"/>
              <a:gd name="connsiteY5" fmla="*/ 1526749 h 1610798"/>
              <a:gd name="connsiteX6" fmla="*/ 3854750 w 3938799"/>
              <a:gd name="connsiteY6" fmla="*/ 1610798 h 1610798"/>
              <a:gd name="connsiteX7" fmla="*/ 84070 w 3938799"/>
              <a:gd name="connsiteY7" fmla="*/ 1610798 h 1610798"/>
              <a:gd name="connsiteX8" fmla="*/ 21 w 3938799"/>
              <a:gd name="connsiteY8" fmla="*/ 1526749 h 1610798"/>
              <a:gd name="connsiteX9" fmla="*/ 21 w 3938799"/>
              <a:gd name="connsiteY9" fmla="*/ 85645 h 1610798"/>
              <a:gd name="connsiteX0" fmla="*/ 221900 w 4160678"/>
              <a:gd name="connsiteY0" fmla="*/ 126307 h 1651460"/>
              <a:gd name="connsiteX1" fmla="*/ 220833 w 4160678"/>
              <a:gd name="connsiteY1" fmla="*/ 63809 h 1651460"/>
              <a:gd name="connsiteX2" fmla="*/ 305949 w 4160678"/>
              <a:gd name="connsiteY2" fmla="*/ 42258 h 1651460"/>
              <a:gd name="connsiteX3" fmla="*/ 4076629 w 4160678"/>
              <a:gd name="connsiteY3" fmla="*/ 42258 h 1651460"/>
              <a:gd name="connsiteX4" fmla="*/ 4160678 w 4160678"/>
              <a:gd name="connsiteY4" fmla="*/ 126307 h 1651460"/>
              <a:gd name="connsiteX5" fmla="*/ 4160678 w 4160678"/>
              <a:gd name="connsiteY5" fmla="*/ 1567411 h 1651460"/>
              <a:gd name="connsiteX6" fmla="*/ 4076629 w 4160678"/>
              <a:gd name="connsiteY6" fmla="*/ 1651460 h 1651460"/>
              <a:gd name="connsiteX7" fmla="*/ 305949 w 4160678"/>
              <a:gd name="connsiteY7" fmla="*/ 1651460 h 1651460"/>
              <a:gd name="connsiteX8" fmla="*/ 221900 w 4160678"/>
              <a:gd name="connsiteY8" fmla="*/ 1567411 h 1651460"/>
              <a:gd name="connsiteX9" fmla="*/ 221900 w 4160678"/>
              <a:gd name="connsiteY9" fmla="*/ 126307 h 1651460"/>
              <a:gd name="connsiteX0" fmla="*/ 222785 w 4161563"/>
              <a:gd name="connsiteY0" fmla="*/ 132298 h 1657451"/>
              <a:gd name="connsiteX1" fmla="*/ 219337 w 4161563"/>
              <a:gd name="connsiteY1" fmla="*/ 55513 h 1657451"/>
              <a:gd name="connsiteX2" fmla="*/ 306834 w 4161563"/>
              <a:gd name="connsiteY2" fmla="*/ 48249 h 1657451"/>
              <a:gd name="connsiteX3" fmla="*/ 4077514 w 4161563"/>
              <a:gd name="connsiteY3" fmla="*/ 48249 h 1657451"/>
              <a:gd name="connsiteX4" fmla="*/ 4161563 w 4161563"/>
              <a:gd name="connsiteY4" fmla="*/ 132298 h 1657451"/>
              <a:gd name="connsiteX5" fmla="*/ 4161563 w 4161563"/>
              <a:gd name="connsiteY5" fmla="*/ 1573402 h 1657451"/>
              <a:gd name="connsiteX6" fmla="*/ 4077514 w 4161563"/>
              <a:gd name="connsiteY6" fmla="*/ 1657451 h 1657451"/>
              <a:gd name="connsiteX7" fmla="*/ 306834 w 4161563"/>
              <a:gd name="connsiteY7" fmla="*/ 1657451 h 1657451"/>
              <a:gd name="connsiteX8" fmla="*/ 222785 w 4161563"/>
              <a:gd name="connsiteY8" fmla="*/ 1573402 h 1657451"/>
              <a:gd name="connsiteX9" fmla="*/ 222785 w 4161563"/>
              <a:gd name="connsiteY9" fmla="*/ 132298 h 1657451"/>
              <a:gd name="connsiteX0" fmla="*/ 8993 w 3947771"/>
              <a:gd name="connsiteY0" fmla="*/ 132298 h 1657451"/>
              <a:gd name="connsiteX1" fmla="*/ 5545 w 3947771"/>
              <a:gd name="connsiteY1" fmla="*/ 55513 h 1657451"/>
              <a:gd name="connsiteX2" fmla="*/ 93042 w 3947771"/>
              <a:gd name="connsiteY2" fmla="*/ 48249 h 1657451"/>
              <a:gd name="connsiteX3" fmla="*/ 3863722 w 3947771"/>
              <a:gd name="connsiteY3" fmla="*/ 48249 h 1657451"/>
              <a:gd name="connsiteX4" fmla="*/ 3947771 w 3947771"/>
              <a:gd name="connsiteY4" fmla="*/ 132298 h 1657451"/>
              <a:gd name="connsiteX5" fmla="*/ 3947771 w 3947771"/>
              <a:gd name="connsiteY5" fmla="*/ 1573402 h 1657451"/>
              <a:gd name="connsiteX6" fmla="*/ 3863722 w 3947771"/>
              <a:gd name="connsiteY6" fmla="*/ 1657451 h 1657451"/>
              <a:gd name="connsiteX7" fmla="*/ 93042 w 3947771"/>
              <a:gd name="connsiteY7" fmla="*/ 1657451 h 1657451"/>
              <a:gd name="connsiteX8" fmla="*/ 8993 w 3947771"/>
              <a:gd name="connsiteY8" fmla="*/ 1573402 h 1657451"/>
              <a:gd name="connsiteX9" fmla="*/ 8993 w 3947771"/>
              <a:gd name="connsiteY9" fmla="*/ 132298 h 1657451"/>
              <a:gd name="connsiteX0" fmla="*/ 9451 w 3948229"/>
              <a:gd name="connsiteY0" fmla="*/ 85220 h 1610373"/>
              <a:gd name="connsiteX1" fmla="*/ 6003 w 3948229"/>
              <a:gd name="connsiteY1" fmla="*/ 8435 h 1610373"/>
              <a:gd name="connsiteX2" fmla="*/ 93500 w 3948229"/>
              <a:gd name="connsiteY2" fmla="*/ 1171 h 1610373"/>
              <a:gd name="connsiteX3" fmla="*/ 3864180 w 3948229"/>
              <a:gd name="connsiteY3" fmla="*/ 1171 h 1610373"/>
              <a:gd name="connsiteX4" fmla="*/ 3948229 w 3948229"/>
              <a:gd name="connsiteY4" fmla="*/ 85220 h 1610373"/>
              <a:gd name="connsiteX5" fmla="*/ 3948229 w 3948229"/>
              <a:gd name="connsiteY5" fmla="*/ 1526324 h 1610373"/>
              <a:gd name="connsiteX6" fmla="*/ 3864180 w 3948229"/>
              <a:gd name="connsiteY6" fmla="*/ 1610373 h 1610373"/>
              <a:gd name="connsiteX7" fmla="*/ 93500 w 3948229"/>
              <a:gd name="connsiteY7" fmla="*/ 1610373 h 1610373"/>
              <a:gd name="connsiteX8" fmla="*/ 9451 w 3948229"/>
              <a:gd name="connsiteY8" fmla="*/ 1526324 h 1610373"/>
              <a:gd name="connsiteX9" fmla="*/ 9451 w 3948229"/>
              <a:gd name="connsiteY9" fmla="*/ 85220 h 1610373"/>
              <a:gd name="connsiteX0" fmla="*/ 9451 w 3948229"/>
              <a:gd name="connsiteY0" fmla="*/ 85220 h 1610373"/>
              <a:gd name="connsiteX1" fmla="*/ 6003 w 3948229"/>
              <a:gd name="connsiteY1" fmla="*/ 8435 h 1610373"/>
              <a:gd name="connsiteX2" fmla="*/ 93500 w 3948229"/>
              <a:gd name="connsiteY2" fmla="*/ 1171 h 1610373"/>
              <a:gd name="connsiteX3" fmla="*/ 3864180 w 3948229"/>
              <a:gd name="connsiteY3" fmla="*/ 1171 h 1610373"/>
              <a:gd name="connsiteX4" fmla="*/ 3948229 w 3948229"/>
              <a:gd name="connsiteY4" fmla="*/ 85220 h 1610373"/>
              <a:gd name="connsiteX5" fmla="*/ 3948229 w 3948229"/>
              <a:gd name="connsiteY5" fmla="*/ 1526324 h 1610373"/>
              <a:gd name="connsiteX6" fmla="*/ 3864180 w 3948229"/>
              <a:gd name="connsiteY6" fmla="*/ 1610373 h 1610373"/>
              <a:gd name="connsiteX7" fmla="*/ 93500 w 3948229"/>
              <a:gd name="connsiteY7" fmla="*/ 1610373 h 1610373"/>
              <a:gd name="connsiteX8" fmla="*/ 9451 w 3948229"/>
              <a:gd name="connsiteY8" fmla="*/ 1526324 h 1610373"/>
              <a:gd name="connsiteX9" fmla="*/ 9451 w 3948229"/>
              <a:gd name="connsiteY9" fmla="*/ 85220 h 1610373"/>
              <a:gd name="connsiteX0" fmla="*/ 12575 w 3951353"/>
              <a:gd name="connsiteY0" fmla="*/ 1632501 h 1716550"/>
              <a:gd name="connsiteX1" fmla="*/ 9127 w 3951353"/>
              <a:gd name="connsiteY1" fmla="*/ 114612 h 1716550"/>
              <a:gd name="connsiteX2" fmla="*/ 96624 w 3951353"/>
              <a:gd name="connsiteY2" fmla="*/ 107348 h 1716550"/>
              <a:gd name="connsiteX3" fmla="*/ 3867304 w 3951353"/>
              <a:gd name="connsiteY3" fmla="*/ 107348 h 1716550"/>
              <a:gd name="connsiteX4" fmla="*/ 3951353 w 3951353"/>
              <a:gd name="connsiteY4" fmla="*/ 191397 h 1716550"/>
              <a:gd name="connsiteX5" fmla="*/ 3951353 w 3951353"/>
              <a:gd name="connsiteY5" fmla="*/ 1632501 h 1716550"/>
              <a:gd name="connsiteX6" fmla="*/ 3867304 w 3951353"/>
              <a:gd name="connsiteY6" fmla="*/ 1716550 h 1716550"/>
              <a:gd name="connsiteX7" fmla="*/ 96624 w 3951353"/>
              <a:gd name="connsiteY7" fmla="*/ 1716550 h 1716550"/>
              <a:gd name="connsiteX8" fmla="*/ 12575 w 3951353"/>
              <a:gd name="connsiteY8" fmla="*/ 1632501 h 1716550"/>
              <a:gd name="connsiteX0" fmla="*/ 9770 w 3948548"/>
              <a:gd name="connsiteY0" fmla="*/ 1632631 h 1716680"/>
              <a:gd name="connsiteX1" fmla="*/ 6322 w 3948548"/>
              <a:gd name="connsiteY1" fmla="*/ 114742 h 1716680"/>
              <a:gd name="connsiteX2" fmla="*/ 93819 w 3948548"/>
              <a:gd name="connsiteY2" fmla="*/ 107478 h 1716680"/>
              <a:gd name="connsiteX3" fmla="*/ 3864499 w 3948548"/>
              <a:gd name="connsiteY3" fmla="*/ 107478 h 1716680"/>
              <a:gd name="connsiteX4" fmla="*/ 3948548 w 3948548"/>
              <a:gd name="connsiteY4" fmla="*/ 191527 h 1716680"/>
              <a:gd name="connsiteX5" fmla="*/ 3948548 w 3948548"/>
              <a:gd name="connsiteY5" fmla="*/ 1632631 h 1716680"/>
              <a:gd name="connsiteX6" fmla="*/ 3864499 w 3948548"/>
              <a:gd name="connsiteY6" fmla="*/ 1716680 h 1716680"/>
              <a:gd name="connsiteX7" fmla="*/ 93819 w 3948548"/>
              <a:gd name="connsiteY7" fmla="*/ 1716680 h 1716680"/>
              <a:gd name="connsiteX8" fmla="*/ 9770 w 3948548"/>
              <a:gd name="connsiteY8" fmla="*/ 1632631 h 1716680"/>
              <a:gd name="connsiteX0" fmla="*/ 6731 w 3945509"/>
              <a:gd name="connsiteY0" fmla="*/ 1632631 h 1780851"/>
              <a:gd name="connsiteX1" fmla="*/ 3283 w 3945509"/>
              <a:gd name="connsiteY1" fmla="*/ 114742 h 1780851"/>
              <a:gd name="connsiteX2" fmla="*/ 90780 w 3945509"/>
              <a:gd name="connsiteY2" fmla="*/ 107478 h 1780851"/>
              <a:gd name="connsiteX3" fmla="*/ 3861460 w 3945509"/>
              <a:gd name="connsiteY3" fmla="*/ 107478 h 1780851"/>
              <a:gd name="connsiteX4" fmla="*/ 3945509 w 3945509"/>
              <a:gd name="connsiteY4" fmla="*/ 191527 h 1780851"/>
              <a:gd name="connsiteX5" fmla="*/ 3945509 w 3945509"/>
              <a:gd name="connsiteY5" fmla="*/ 1632631 h 1780851"/>
              <a:gd name="connsiteX6" fmla="*/ 3861460 w 3945509"/>
              <a:gd name="connsiteY6" fmla="*/ 1716680 h 1780851"/>
              <a:gd name="connsiteX7" fmla="*/ 90780 w 3945509"/>
              <a:gd name="connsiteY7" fmla="*/ 1716680 h 1780851"/>
              <a:gd name="connsiteX8" fmla="*/ 6731 w 3945509"/>
              <a:gd name="connsiteY8" fmla="*/ 1632631 h 1780851"/>
              <a:gd name="connsiteX0" fmla="*/ 5635 w 3944413"/>
              <a:gd name="connsiteY0" fmla="*/ 1632631 h 1730124"/>
              <a:gd name="connsiteX1" fmla="*/ 2187 w 3944413"/>
              <a:gd name="connsiteY1" fmla="*/ 114742 h 1730124"/>
              <a:gd name="connsiteX2" fmla="*/ 89684 w 3944413"/>
              <a:gd name="connsiteY2" fmla="*/ 107478 h 1730124"/>
              <a:gd name="connsiteX3" fmla="*/ 3860364 w 3944413"/>
              <a:gd name="connsiteY3" fmla="*/ 107478 h 1730124"/>
              <a:gd name="connsiteX4" fmla="*/ 3944413 w 3944413"/>
              <a:gd name="connsiteY4" fmla="*/ 191527 h 1730124"/>
              <a:gd name="connsiteX5" fmla="*/ 3944413 w 3944413"/>
              <a:gd name="connsiteY5" fmla="*/ 1632631 h 1730124"/>
              <a:gd name="connsiteX6" fmla="*/ 3860364 w 3944413"/>
              <a:gd name="connsiteY6" fmla="*/ 1716680 h 1730124"/>
              <a:gd name="connsiteX7" fmla="*/ 89684 w 3944413"/>
              <a:gd name="connsiteY7" fmla="*/ 1716680 h 1730124"/>
              <a:gd name="connsiteX8" fmla="*/ 5635 w 3944413"/>
              <a:gd name="connsiteY8" fmla="*/ 1632631 h 1730124"/>
              <a:gd name="connsiteX0" fmla="*/ 6730 w 3945508"/>
              <a:gd name="connsiteY0" fmla="*/ 1632631 h 1718001"/>
              <a:gd name="connsiteX1" fmla="*/ 3282 w 3945508"/>
              <a:gd name="connsiteY1" fmla="*/ 114742 h 1718001"/>
              <a:gd name="connsiteX2" fmla="*/ 90779 w 3945508"/>
              <a:gd name="connsiteY2" fmla="*/ 107478 h 1718001"/>
              <a:gd name="connsiteX3" fmla="*/ 3861459 w 3945508"/>
              <a:gd name="connsiteY3" fmla="*/ 107478 h 1718001"/>
              <a:gd name="connsiteX4" fmla="*/ 3945508 w 3945508"/>
              <a:gd name="connsiteY4" fmla="*/ 191527 h 1718001"/>
              <a:gd name="connsiteX5" fmla="*/ 3945508 w 3945508"/>
              <a:gd name="connsiteY5" fmla="*/ 1632631 h 1718001"/>
              <a:gd name="connsiteX6" fmla="*/ 3861459 w 3945508"/>
              <a:gd name="connsiteY6" fmla="*/ 1716680 h 1718001"/>
              <a:gd name="connsiteX7" fmla="*/ 90779 w 3945508"/>
              <a:gd name="connsiteY7" fmla="*/ 1716680 h 1718001"/>
              <a:gd name="connsiteX8" fmla="*/ 6730 w 3945508"/>
              <a:gd name="connsiteY8" fmla="*/ 1632631 h 1718001"/>
              <a:gd name="connsiteX0" fmla="*/ 5541 w 3944319"/>
              <a:gd name="connsiteY0" fmla="*/ 1632631 h 1716680"/>
              <a:gd name="connsiteX1" fmla="*/ 2093 w 3944319"/>
              <a:gd name="connsiteY1" fmla="*/ 114742 h 1716680"/>
              <a:gd name="connsiteX2" fmla="*/ 89590 w 3944319"/>
              <a:gd name="connsiteY2" fmla="*/ 107478 h 1716680"/>
              <a:gd name="connsiteX3" fmla="*/ 3860270 w 3944319"/>
              <a:gd name="connsiteY3" fmla="*/ 107478 h 1716680"/>
              <a:gd name="connsiteX4" fmla="*/ 3944319 w 3944319"/>
              <a:gd name="connsiteY4" fmla="*/ 191527 h 1716680"/>
              <a:gd name="connsiteX5" fmla="*/ 3944319 w 3944319"/>
              <a:gd name="connsiteY5" fmla="*/ 1632631 h 1716680"/>
              <a:gd name="connsiteX6" fmla="*/ 3860270 w 3944319"/>
              <a:gd name="connsiteY6" fmla="*/ 1716680 h 1716680"/>
              <a:gd name="connsiteX7" fmla="*/ 89590 w 3944319"/>
              <a:gd name="connsiteY7" fmla="*/ 1716680 h 1716680"/>
              <a:gd name="connsiteX8" fmla="*/ 5541 w 3944319"/>
              <a:gd name="connsiteY8" fmla="*/ 1632631 h 1716680"/>
              <a:gd name="connsiteX0" fmla="*/ 4066 w 3942844"/>
              <a:gd name="connsiteY0" fmla="*/ 1541301 h 1625350"/>
              <a:gd name="connsiteX1" fmla="*/ 618 w 3942844"/>
              <a:gd name="connsiteY1" fmla="*/ 23412 h 1625350"/>
              <a:gd name="connsiteX2" fmla="*/ 88115 w 3942844"/>
              <a:gd name="connsiteY2" fmla="*/ 16148 h 1625350"/>
              <a:gd name="connsiteX3" fmla="*/ 3858795 w 3942844"/>
              <a:gd name="connsiteY3" fmla="*/ 16148 h 1625350"/>
              <a:gd name="connsiteX4" fmla="*/ 3942844 w 3942844"/>
              <a:gd name="connsiteY4" fmla="*/ 100197 h 1625350"/>
              <a:gd name="connsiteX5" fmla="*/ 3942844 w 3942844"/>
              <a:gd name="connsiteY5" fmla="*/ 1541301 h 1625350"/>
              <a:gd name="connsiteX6" fmla="*/ 3858795 w 3942844"/>
              <a:gd name="connsiteY6" fmla="*/ 1625350 h 1625350"/>
              <a:gd name="connsiteX7" fmla="*/ 88115 w 3942844"/>
              <a:gd name="connsiteY7" fmla="*/ 1625350 h 1625350"/>
              <a:gd name="connsiteX8" fmla="*/ 4066 w 3942844"/>
              <a:gd name="connsiteY8" fmla="*/ 1541301 h 1625350"/>
              <a:gd name="connsiteX0" fmla="*/ 4276 w 3943054"/>
              <a:gd name="connsiteY0" fmla="*/ 1541301 h 1625350"/>
              <a:gd name="connsiteX1" fmla="*/ 828 w 3943054"/>
              <a:gd name="connsiteY1" fmla="*/ 23412 h 1625350"/>
              <a:gd name="connsiteX2" fmla="*/ 88325 w 3943054"/>
              <a:gd name="connsiteY2" fmla="*/ 16148 h 1625350"/>
              <a:gd name="connsiteX3" fmla="*/ 3859005 w 3943054"/>
              <a:gd name="connsiteY3" fmla="*/ 16148 h 1625350"/>
              <a:gd name="connsiteX4" fmla="*/ 3943054 w 3943054"/>
              <a:gd name="connsiteY4" fmla="*/ 100197 h 1625350"/>
              <a:gd name="connsiteX5" fmla="*/ 3943054 w 3943054"/>
              <a:gd name="connsiteY5" fmla="*/ 1541301 h 1625350"/>
              <a:gd name="connsiteX6" fmla="*/ 3859005 w 3943054"/>
              <a:gd name="connsiteY6" fmla="*/ 1625350 h 1625350"/>
              <a:gd name="connsiteX7" fmla="*/ 88325 w 3943054"/>
              <a:gd name="connsiteY7" fmla="*/ 1625350 h 1625350"/>
              <a:gd name="connsiteX8" fmla="*/ 4276 w 3943054"/>
              <a:gd name="connsiteY8" fmla="*/ 1541301 h 1625350"/>
              <a:gd name="connsiteX0" fmla="*/ 3584 w 3942362"/>
              <a:gd name="connsiteY0" fmla="*/ 1541301 h 1625350"/>
              <a:gd name="connsiteX1" fmla="*/ 136 w 3942362"/>
              <a:gd name="connsiteY1" fmla="*/ 23412 h 1625350"/>
              <a:gd name="connsiteX2" fmla="*/ 87633 w 3942362"/>
              <a:gd name="connsiteY2" fmla="*/ 16148 h 1625350"/>
              <a:gd name="connsiteX3" fmla="*/ 3858313 w 3942362"/>
              <a:gd name="connsiteY3" fmla="*/ 16148 h 1625350"/>
              <a:gd name="connsiteX4" fmla="*/ 3942362 w 3942362"/>
              <a:gd name="connsiteY4" fmla="*/ 100197 h 1625350"/>
              <a:gd name="connsiteX5" fmla="*/ 3942362 w 3942362"/>
              <a:gd name="connsiteY5" fmla="*/ 1541301 h 1625350"/>
              <a:gd name="connsiteX6" fmla="*/ 3858313 w 3942362"/>
              <a:gd name="connsiteY6" fmla="*/ 1625350 h 1625350"/>
              <a:gd name="connsiteX7" fmla="*/ 87633 w 3942362"/>
              <a:gd name="connsiteY7" fmla="*/ 1625350 h 1625350"/>
              <a:gd name="connsiteX8" fmla="*/ 3584 w 3942362"/>
              <a:gd name="connsiteY8" fmla="*/ 1541301 h 1625350"/>
              <a:gd name="connsiteX0" fmla="*/ 4276 w 3943054"/>
              <a:gd name="connsiteY0" fmla="*/ 1525692 h 1609741"/>
              <a:gd name="connsiteX1" fmla="*/ 828 w 3943054"/>
              <a:gd name="connsiteY1" fmla="*/ 7803 h 1609741"/>
              <a:gd name="connsiteX2" fmla="*/ 88325 w 3943054"/>
              <a:gd name="connsiteY2" fmla="*/ 539 h 1609741"/>
              <a:gd name="connsiteX3" fmla="*/ 3859005 w 3943054"/>
              <a:gd name="connsiteY3" fmla="*/ 539 h 1609741"/>
              <a:gd name="connsiteX4" fmla="*/ 3943054 w 3943054"/>
              <a:gd name="connsiteY4" fmla="*/ 84588 h 1609741"/>
              <a:gd name="connsiteX5" fmla="*/ 3943054 w 3943054"/>
              <a:gd name="connsiteY5" fmla="*/ 1525692 h 1609741"/>
              <a:gd name="connsiteX6" fmla="*/ 3859005 w 3943054"/>
              <a:gd name="connsiteY6" fmla="*/ 1609741 h 1609741"/>
              <a:gd name="connsiteX7" fmla="*/ 88325 w 3943054"/>
              <a:gd name="connsiteY7" fmla="*/ 1609741 h 1609741"/>
              <a:gd name="connsiteX8" fmla="*/ 4276 w 3943054"/>
              <a:gd name="connsiteY8" fmla="*/ 1525692 h 1609741"/>
              <a:gd name="connsiteX0" fmla="*/ 3584 w 3942362"/>
              <a:gd name="connsiteY0" fmla="*/ 1525692 h 1609741"/>
              <a:gd name="connsiteX1" fmla="*/ 136 w 3942362"/>
              <a:gd name="connsiteY1" fmla="*/ 7803 h 1609741"/>
              <a:gd name="connsiteX2" fmla="*/ 87633 w 3942362"/>
              <a:gd name="connsiteY2" fmla="*/ 539 h 1609741"/>
              <a:gd name="connsiteX3" fmla="*/ 3858313 w 3942362"/>
              <a:gd name="connsiteY3" fmla="*/ 539 h 1609741"/>
              <a:gd name="connsiteX4" fmla="*/ 3942362 w 3942362"/>
              <a:gd name="connsiteY4" fmla="*/ 84588 h 1609741"/>
              <a:gd name="connsiteX5" fmla="*/ 3942362 w 3942362"/>
              <a:gd name="connsiteY5" fmla="*/ 1525692 h 1609741"/>
              <a:gd name="connsiteX6" fmla="*/ 3858313 w 3942362"/>
              <a:gd name="connsiteY6" fmla="*/ 1609741 h 1609741"/>
              <a:gd name="connsiteX7" fmla="*/ 87633 w 3942362"/>
              <a:gd name="connsiteY7" fmla="*/ 1609741 h 1609741"/>
              <a:gd name="connsiteX8" fmla="*/ 3584 w 3942362"/>
              <a:gd name="connsiteY8" fmla="*/ 1525692 h 1609741"/>
              <a:gd name="connsiteX0" fmla="*/ 3644 w 3942422"/>
              <a:gd name="connsiteY0" fmla="*/ 1525692 h 1609741"/>
              <a:gd name="connsiteX1" fmla="*/ 196 w 3942422"/>
              <a:gd name="connsiteY1" fmla="*/ 7803 h 1609741"/>
              <a:gd name="connsiteX2" fmla="*/ 87693 w 3942422"/>
              <a:gd name="connsiteY2" fmla="*/ 539 h 1609741"/>
              <a:gd name="connsiteX3" fmla="*/ 3858373 w 3942422"/>
              <a:gd name="connsiteY3" fmla="*/ 539 h 1609741"/>
              <a:gd name="connsiteX4" fmla="*/ 3942422 w 3942422"/>
              <a:gd name="connsiteY4" fmla="*/ 84588 h 1609741"/>
              <a:gd name="connsiteX5" fmla="*/ 3942422 w 3942422"/>
              <a:gd name="connsiteY5" fmla="*/ 1525692 h 1609741"/>
              <a:gd name="connsiteX6" fmla="*/ 3858373 w 3942422"/>
              <a:gd name="connsiteY6" fmla="*/ 1609741 h 1609741"/>
              <a:gd name="connsiteX7" fmla="*/ 87693 w 3942422"/>
              <a:gd name="connsiteY7" fmla="*/ 1609741 h 1609741"/>
              <a:gd name="connsiteX8" fmla="*/ 3644 w 3942422"/>
              <a:gd name="connsiteY8" fmla="*/ 1525692 h 1609741"/>
              <a:gd name="connsiteX0" fmla="*/ 225140 w 4163918"/>
              <a:gd name="connsiteY0" fmla="*/ 1528731 h 1674428"/>
              <a:gd name="connsiteX1" fmla="*/ 224074 w 4163918"/>
              <a:gd name="connsiteY1" fmla="*/ 3699 h 1674428"/>
              <a:gd name="connsiteX2" fmla="*/ 309189 w 4163918"/>
              <a:gd name="connsiteY2" fmla="*/ 3578 h 1674428"/>
              <a:gd name="connsiteX3" fmla="*/ 4079869 w 4163918"/>
              <a:gd name="connsiteY3" fmla="*/ 3578 h 1674428"/>
              <a:gd name="connsiteX4" fmla="*/ 4163918 w 4163918"/>
              <a:gd name="connsiteY4" fmla="*/ 87627 h 1674428"/>
              <a:gd name="connsiteX5" fmla="*/ 4163918 w 4163918"/>
              <a:gd name="connsiteY5" fmla="*/ 1528731 h 1674428"/>
              <a:gd name="connsiteX6" fmla="*/ 4079869 w 4163918"/>
              <a:gd name="connsiteY6" fmla="*/ 1612780 h 1674428"/>
              <a:gd name="connsiteX7" fmla="*/ 309189 w 4163918"/>
              <a:gd name="connsiteY7" fmla="*/ 1612780 h 1674428"/>
              <a:gd name="connsiteX8" fmla="*/ 225140 w 4163918"/>
              <a:gd name="connsiteY8" fmla="*/ 1528731 h 1674428"/>
              <a:gd name="connsiteX0" fmla="*/ 6880 w 3945658"/>
              <a:gd name="connsiteY0" fmla="*/ 1528731 h 1674428"/>
              <a:gd name="connsiteX1" fmla="*/ 5814 w 3945658"/>
              <a:gd name="connsiteY1" fmla="*/ 3699 h 1674428"/>
              <a:gd name="connsiteX2" fmla="*/ 90929 w 3945658"/>
              <a:gd name="connsiteY2" fmla="*/ 3578 h 1674428"/>
              <a:gd name="connsiteX3" fmla="*/ 3861609 w 3945658"/>
              <a:gd name="connsiteY3" fmla="*/ 3578 h 1674428"/>
              <a:gd name="connsiteX4" fmla="*/ 3945658 w 3945658"/>
              <a:gd name="connsiteY4" fmla="*/ 87627 h 1674428"/>
              <a:gd name="connsiteX5" fmla="*/ 3945658 w 3945658"/>
              <a:gd name="connsiteY5" fmla="*/ 1528731 h 1674428"/>
              <a:gd name="connsiteX6" fmla="*/ 3861609 w 3945658"/>
              <a:gd name="connsiteY6" fmla="*/ 1612780 h 1674428"/>
              <a:gd name="connsiteX7" fmla="*/ 90929 w 3945658"/>
              <a:gd name="connsiteY7" fmla="*/ 1612780 h 1674428"/>
              <a:gd name="connsiteX8" fmla="*/ 6880 w 3945658"/>
              <a:gd name="connsiteY8" fmla="*/ 1528731 h 1674428"/>
              <a:gd name="connsiteX0" fmla="*/ 225140 w 4163918"/>
              <a:gd name="connsiteY0" fmla="*/ 1526452 h 1671925"/>
              <a:gd name="connsiteX1" fmla="*/ 224074 w 4163918"/>
              <a:gd name="connsiteY1" fmla="*/ 4595 h 1671925"/>
              <a:gd name="connsiteX2" fmla="*/ 309189 w 4163918"/>
              <a:gd name="connsiteY2" fmla="*/ 1299 h 1671925"/>
              <a:gd name="connsiteX3" fmla="*/ 4079869 w 4163918"/>
              <a:gd name="connsiteY3" fmla="*/ 1299 h 1671925"/>
              <a:gd name="connsiteX4" fmla="*/ 4163918 w 4163918"/>
              <a:gd name="connsiteY4" fmla="*/ 85348 h 1671925"/>
              <a:gd name="connsiteX5" fmla="*/ 4163918 w 4163918"/>
              <a:gd name="connsiteY5" fmla="*/ 1526452 h 1671925"/>
              <a:gd name="connsiteX6" fmla="*/ 4079869 w 4163918"/>
              <a:gd name="connsiteY6" fmla="*/ 1610501 h 1671925"/>
              <a:gd name="connsiteX7" fmla="*/ 309189 w 4163918"/>
              <a:gd name="connsiteY7" fmla="*/ 1610501 h 1671925"/>
              <a:gd name="connsiteX8" fmla="*/ 225140 w 4163918"/>
              <a:gd name="connsiteY8" fmla="*/ 1526452 h 1671925"/>
              <a:gd name="connsiteX0" fmla="*/ 6880 w 3945658"/>
              <a:gd name="connsiteY0" fmla="*/ 1527596 h 1673069"/>
              <a:gd name="connsiteX1" fmla="*/ 5814 w 3945658"/>
              <a:gd name="connsiteY1" fmla="*/ 5739 h 1673069"/>
              <a:gd name="connsiteX2" fmla="*/ 90929 w 3945658"/>
              <a:gd name="connsiteY2" fmla="*/ 2443 h 1673069"/>
              <a:gd name="connsiteX3" fmla="*/ 3861609 w 3945658"/>
              <a:gd name="connsiteY3" fmla="*/ 2443 h 1673069"/>
              <a:gd name="connsiteX4" fmla="*/ 3945658 w 3945658"/>
              <a:gd name="connsiteY4" fmla="*/ 86492 h 1673069"/>
              <a:gd name="connsiteX5" fmla="*/ 3945658 w 3945658"/>
              <a:gd name="connsiteY5" fmla="*/ 1527596 h 1673069"/>
              <a:gd name="connsiteX6" fmla="*/ 3861609 w 3945658"/>
              <a:gd name="connsiteY6" fmla="*/ 1611645 h 1673069"/>
              <a:gd name="connsiteX7" fmla="*/ 90929 w 3945658"/>
              <a:gd name="connsiteY7" fmla="*/ 1611645 h 1673069"/>
              <a:gd name="connsiteX8" fmla="*/ 6880 w 3945658"/>
              <a:gd name="connsiteY8" fmla="*/ 1527596 h 1673069"/>
              <a:gd name="connsiteX0" fmla="*/ 4095 w 3942873"/>
              <a:gd name="connsiteY0" fmla="*/ 1527596 h 1611653"/>
              <a:gd name="connsiteX1" fmla="*/ 3029 w 3942873"/>
              <a:gd name="connsiteY1" fmla="*/ 5739 h 1611653"/>
              <a:gd name="connsiteX2" fmla="*/ 88144 w 3942873"/>
              <a:gd name="connsiteY2" fmla="*/ 2443 h 1611653"/>
              <a:gd name="connsiteX3" fmla="*/ 3858824 w 3942873"/>
              <a:gd name="connsiteY3" fmla="*/ 2443 h 1611653"/>
              <a:gd name="connsiteX4" fmla="*/ 3942873 w 3942873"/>
              <a:gd name="connsiteY4" fmla="*/ 86492 h 1611653"/>
              <a:gd name="connsiteX5" fmla="*/ 3942873 w 3942873"/>
              <a:gd name="connsiteY5" fmla="*/ 1527596 h 1611653"/>
              <a:gd name="connsiteX6" fmla="*/ 3858824 w 3942873"/>
              <a:gd name="connsiteY6" fmla="*/ 1611645 h 1611653"/>
              <a:gd name="connsiteX7" fmla="*/ 88144 w 3942873"/>
              <a:gd name="connsiteY7" fmla="*/ 1611645 h 1611653"/>
              <a:gd name="connsiteX8" fmla="*/ 4095 w 3942873"/>
              <a:gd name="connsiteY8" fmla="*/ 1527596 h 1611653"/>
              <a:gd name="connsiteX0" fmla="*/ 9512 w 3948290"/>
              <a:gd name="connsiteY0" fmla="*/ 1527596 h 1673069"/>
              <a:gd name="connsiteX1" fmla="*/ 8446 w 3948290"/>
              <a:gd name="connsiteY1" fmla="*/ 5739 h 1673069"/>
              <a:gd name="connsiteX2" fmla="*/ 93561 w 3948290"/>
              <a:gd name="connsiteY2" fmla="*/ 2443 h 1673069"/>
              <a:gd name="connsiteX3" fmla="*/ 3864241 w 3948290"/>
              <a:gd name="connsiteY3" fmla="*/ 2443 h 1673069"/>
              <a:gd name="connsiteX4" fmla="*/ 3948290 w 3948290"/>
              <a:gd name="connsiteY4" fmla="*/ 86492 h 1673069"/>
              <a:gd name="connsiteX5" fmla="*/ 3948290 w 3948290"/>
              <a:gd name="connsiteY5" fmla="*/ 1527596 h 1673069"/>
              <a:gd name="connsiteX6" fmla="*/ 3864241 w 3948290"/>
              <a:gd name="connsiteY6" fmla="*/ 1611645 h 1673069"/>
              <a:gd name="connsiteX7" fmla="*/ 129280 w 3948290"/>
              <a:gd name="connsiteY7" fmla="*/ 1611645 h 1673069"/>
              <a:gd name="connsiteX8" fmla="*/ 9512 w 3948290"/>
              <a:gd name="connsiteY8" fmla="*/ 1527596 h 1673069"/>
              <a:gd name="connsiteX0" fmla="*/ 3242 w 3942020"/>
              <a:gd name="connsiteY0" fmla="*/ 1527596 h 1614938"/>
              <a:gd name="connsiteX1" fmla="*/ 2176 w 3942020"/>
              <a:gd name="connsiteY1" fmla="*/ 5739 h 1614938"/>
              <a:gd name="connsiteX2" fmla="*/ 87291 w 3942020"/>
              <a:gd name="connsiteY2" fmla="*/ 2443 h 1614938"/>
              <a:gd name="connsiteX3" fmla="*/ 3857971 w 3942020"/>
              <a:gd name="connsiteY3" fmla="*/ 2443 h 1614938"/>
              <a:gd name="connsiteX4" fmla="*/ 3942020 w 3942020"/>
              <a:gd name="connsiteY4" fmla="*/ 86492 h 1614938"/>
              <a:gd name="connsiteX5" fmla="*/ 3942020 w 3942020"/>
              <a:gd name="connsiteY5" fmla="*/ 1527596 h 1614938"/>
              <a:gd name="connsiteX6" fmla="*/ 3857971 w 3942020"/>
              <a:gd name="connsiteY6" fmla="*/ 1611645 h 1614938"/>
              <a:gd name="connsiteX7" fmla="*/ 123010 w 3942020"/>
              <a:gd name="connsiteY7" fmla="*/ 1611645 h 1614938"/>
              <a:gd name="connsiteX8" fmla="*/ 3242 w 3942020"/>
              <a:gd name="connsiteY8" fmla="*/ 1527596 h 1614938"/>
              <a:gd name="connsiteX0" fmla="*/ 1552 w 3940330"/>
              <a:gd name="connsiteY0" fmla="*/ 1527596 h 1612398"/>
              <a:gd name="connsiteX1" fmla="*/ 486 w 3940330"/>
              <a:gd name="connsiteY1" fmla="*/ 5739 h 1612398"/>
              <a:gd name="connsiteX2" fmla="*/ 85601 w 3940330"/>
              <a:gd name="connsiteY2" fmla="*/ 2443 h 1612398"/>
              <a:gd name="connsiteX3" fmla="*/ 3856281 w 3940330"/>
              <a:gd name="connsiteY3" fmla="*/ 2443 h 1612398"/>
              <a:gd name="connsiteX4" fmla="*/ 3940330 w 3940330"/>
              <a:gd name="connsiteY4" fmla="*/ 86492 h 1612398"/>
              <a:gd name="connsiteX5" fmla="*/ 3940330 w 3940330"/>
              <a:gd name="connsiteY5" fmla="*/ 1527596 h 1612398"/>
              <a:gd name="connsiteX6" fmla="*/ 3856281 w 3940330"/>
              <a:gd name="connsiteY6" fmla="*/ 1611645 h 1612398"/>
              <a:gd name="connsiteX7" fmla="*/ 121320 w 3940330"/>
              <a:gd name="connsiteY7" fmla="*/ 1611645 h 1612398"/>
              <a:gd name="connsiteX8" fmla="*/ 1552 w 3940330"/>
              <a:gd name="connsiteY8" fmla="*/ 1527596 h 1612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40330" h="1612398">
                <a:moveTo>
                  <a:pt x="1552" y="1527596"/>
                </a:moveTo>
                <a:cubicBezTo>
                  <a:pt x="463" y="1429014"/>
                  <a:pt x="-671" y="14002"/>
                  <a:pt x="486" y="5739"/>
                </a:cubicBezTo>
                <a:cubicBezTo>
                  <a:pt x="1643" y="-2524"/>
                  <a:pt x="8119" y="-183"/>
                  <a:pt x="85601" y="2443"/>
                </a:cubicBezTo>
                <a:cubicBezTo>
                  <a:pt x="163083" y="5069"/>
                  <a:pt x="2599388" y="2443"/>
                  <a:pt x="3856281" y="2443"/>
                </a:cubicBezTo>
                <a:cubicBezTo>
                  <a:pt x="3902700" y="2443"/>
                  <a:pt x="3940330" y="40073"/>
                  <a:pt x="3940330" y="86492"/>
                </a:cubicBezTo>
                <a:lnTo>
                  <a:pt x="3940330" y="1527596"/>
                </a:lnTo>
                <a:cubicBezTo>
                  <a:pt x="3940330" y="1574015"/>
                  <a:pt x="3902700" y="1611645"/>
                  <a:pt x="3856281" y="1611645"/>
                </a:cubicBezTo>
                <a:lnTo>
                  <a:pt x="121320" y="1611645"/>
                </a:lnTo>
                <a:cubicBezTo>
                  <a:pt x="74901" y="1611645"/>
                  <a:pt x="2641" y="1626178"/>
                  <a:pt x="1552" y="1527596"/>
                </a:cubicBezTo>
                <a:close/>
              </a:path>
            </a:pathLst>
          </a:custGeom>
          <a:solidFill>
            <a:schemeClr val="bg2">
              <a:alpha val="85000"/>
            </a:schemeClr>
          </a:solidFill>
        </p:spPr>
        <p:txBody>
          <a:bodyPr vert="horz" lIns="360000" tIns="252000" rIns="360000" bIns="360000" rtlCol="0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nl-NL" sz="8419" b="0" dirty="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70000"/>
              </a:lnSpc>
              <a:defRPr lang="nl-NL" dirty="0">
                <a:solidFill>
                  <a:schemeClr val="bg1"/>
                </a:solidFill>
                <a:latin typeface="+mj-lt"/>
              </a:defRPr>
            </a:lvl2pPr>
            <a:lvl3pPr>
              <a:lnSpc>
                <a:spcPct val="70000"/>
              </a:lnSpc>
              <a:defRPr lang="nl-NL" dirty="0">
                <a:solidFill>
                  <a:schemeClr val="bg1"/>
                </a:solidFill>
                <a:latin typeface="+mj-lt"/>
              </a:defRPr>
            </a:lvl3pPr>
            <a:lvl4pPr>
              <a:lnSpc>
                <a:spcPct val="70000"/>
              </a:lnSpc>
              <a:defRPr lang="nl-NL" sz="8419" dirty="0">
                <a:solidFill>
                  <a:schemeClr val="bg1"/>
                </a:solidFill>
                <a:latin typeface="+mj-lt"/>
              </a:defRPr>
            </a:lvl4pPr>
            <a:lvl5pPr>
              <a:lnSpc>
                <a:spcPct val="70000"/>
              </a:lnSpc>
              <a:defRPr lang="nl-NL" b="0" dirty="0">
                <a:solidFill>
                  <a:schemeClr val="bg1"/>
                </a:solidFill>
              </a:defRPr>
            </a:lvl5pPr>
            <a:lvl6pPr>
              <a:lnSpc>
                <a:spcPct val="70000"/>
              </a:lnSpc>
              <a:defRPr lang="nl-NL" dirty="0"/>
            </a:lvl6pPr>
          </a:lstStyle>
          <a:p>
            <a:pPr lvl="0"/>
            <a:r>
              <a:rPr lang="nl-NL" noProof="0"/>
              <a:t>Klik om tekst in te voegen</a:t>
            </a:r>
          </a:p>
        </p:txBody>
      </p:sp>
      <p:sp>
        <p:nvSpPr>
          <p:cNvPr id="18" name="Tijdelijke aanduiding voor datum 3">
            <a:extLst>
              <a:ext uri="{FF2B5EF4-FFF2-40B4-BE49-F238E27FC236}">
                <a16:creationId xmlns:a16="http://schemas.microsoft.com/office/drawing/2014/main" id="{272E1BA3-CCCF-465D-9A0D-4F665A96EC1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00A5A8C-9EFD-4AD5-BD15-C5E0C8E9E405}" type="datetime1">
              <a:rPr lang="nl-NL" noProof="0" smtClean="0"/>
              <a:t>26-6-2023</a:t>
            </a:fld>
            <a:endParaRPr lang="nl-NL" noProof="0"/>
          </a:p>
        </p:txBody>
      </p:sp>
      <p:grpSp>
        <p:nvGrpSpPr>
          <p:cNvPr id="180" name="Groep 258">
            <a:extLst>
              <a:ext uri="{FF2B5EF4-FFF2-40B4-BE49-F238E27FC236}">
                <a16:creationId xmlns:a16="http://schemas.microsoft.com/office/drawing/2014/main" id="{85EF3D0B-59E7-4AC4-9317-4F0D3F91CFF8}"/>
              </a:ext>
            </a:extLst>
          </p:cNvPr>
          <p:cNvGrpSpPr/>
          <p:nvPr userDrawn="1"/>
        </p:nvGrpSpPr>
        <p:grpSpPr>
          <a:xfrm>
            <a:off x="43467416" y="5"/>
            <a:ext cx="11167745" cy="23084356"/>
            <a:chOff x="12391601" y="0"/>
            <a:chExt cx="3183678" cy="5229113"/>
          </a:xfrm>
        </p:grpSpPr>
        <p:grpSp>
          <p:nvGrpSpPr>
            <p:cNvPr id="181" name="Meer informatie">
              <a:extLst>
                <a:ext uri="{FF2B5EF4-FFF2-40B4-BE49-F238E27FC236}">
                  <a16:creationId xmlns:a16="http://schemas.microsoft.com/office/drawing/2014/main" id="{094442AC-DEFB-4FBC-A6FC-D9B17099600B}"/>
                </a:ext>
              </a:extLst>
            </p:cNvPr>
            <p:cNvGrpSpPr/>
            <p:nvPr userDrawn="1"/>
          </p:nvGrpSpPr>
          <p:grpSpPr>
            <a:xfrm>
              <a:off x="12396764" y="4445840"/>
              <a:ext cx="3178515" cy="783273"/>
              <a:chOff x="-3741486" y="3386444"/>
              <a:chExt cx="3178515" cy="783273"/>
            </a:xfrm>
          </p:grpSpPr>
          <p:sp>
            <p:nvSpPr>
              <p:cNvPr id="237" name="Freeform 101">
                <a:extLst>
                  <a:ext uri="{FF2B5EF4-FFF2-40B4-BE49-F238E27FC236}">
                    <a16:creationId xmlns:a16="http://schemas.microsoft.com/office/drawing/2014/main" id="{2DA43AFA-A195-42A8-AD29-8D5D18AB3A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238" name="Rechthoek 306">
                <a:extLst>
                  <a:ext uri="{FF2B5EF4-FFF2-40B4-BE49-F238E27FC236}">
                    <a16:creationId xmlns:a16="http://schemas.microsoft.com/office/drawing/2014/main" id="{C0480B14-11BC-41F5-9E35-C261D6C9061F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39" name="Rechte verbindingslijn 307">
                <a:extLst>
                  <a:ext uri="{FF2B5EF4-FFF2-40B4-BE49-F238E27FC236}">
                    <a16:creationId xmlns:a16="http://schemas.microsoft.com/office/drawing/2014/main" id="{9C2E1315-CAB9-498D-B138-9A53CF072D0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82" name="Rechthoek 260">
              <a:extLst>
                <a:ext uri="{FF2B5EF4-FFF2-40B4-BE49-F238E27FC236}">
                  <a16:creationId xmlns:a16="http://schemas.microsoft.com/office/drawing/2014/main" id="{7AF07C0D-E7A5-430C-B291-F3E1DE1C18C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183" name="Ovaal 261">
              <a:extLst>
                <a:ext uri="{FF2B5EF4-FFF2-40B4-BE49-F238E27FC236}">
                  <a16:creationId xmlns:a16="http://schemas.microsoft.com/office/drawing/2014/main" id="{C1D04F3B-93B9-4EFB-B64C-A5F9D8302D86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84" name="Rechte verbindingslijn 262">
              <a:extLst>
                <a:ext uri="{FF2B5EF4-FFF2-40B4-BE49-F238E27FC236}">
                  <a16:creationId xmlns:a16="http://schemas.microsoft.com/office/drawing/2014/main" id="{B4DAF6EA-68D1-43DA-B525-76E18B573F2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5" name="Rechte verbindingslijn 263">
              <a:extLst>
                <a:ext uri="{FF2B5EF4-FFF2-40B4-BE49-F238E27FC236}">
                  <a16:creationId xmlns:a16="http://schemas.microsoft.com/office/drawing/2014/main" id="{AB8C44A2-00F9-43D3-B0B5-16EBFA7C65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86" name="Rechthoek 264">
              <a:extLst>
                <a:ext uri="{FF2B5EF4-FFF2-40B4-BE49-F238E27FC236}">
                  <a16:creationId xmlns:a16="http://schemas.microsoft.com/office/drawing/2014/main" id="{F1627388-9FBE-433F-9A3C-540958DBD4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oor deze te selecteren en op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om een nieuwe afbeelding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87" name="Rechte verbindingslijn 265">
              <a:extLst>
                <a:ext uri="{FF2B5EF4-FFF2-40B4-BE49-F238E27FC236}">
                  <a16:creationId xmlns:a16="http://schemas.microsoft.com/office/drawing/2014/main" id="{BD2560AB-E4B1-4FB9-981B-3DEC3D57964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4327957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88" name="Ovaal 266">
              <a:extLst>
                <a:ext uri="{FF2B5EF4-FFF2-40B4-BE49-F238E27FC236}">
                  <a16:creationId xmlns:a16="http://schemas.microsoft.com/office/drawing/2014/main" id="{7C416F0E-0568-4E3F-8ADB-8E61AD2BBB8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89" name="Rechthoek 267">
              <a:extLst>
                <a:ext uri="{FF2B5EF4-FFF2-40B4-BE49-F238E27FC236}">
                  <a16:creationId xmlns:a16="http://schemas.microsoft.com/office/drawing/2014/main" id="{A292EE0D-C7E6-4B85-8288-EC2F31433C3A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90" name="Groep 268">
              <a:extLst>
                <a:ext uri="{FF2B5EF4-FFF2-40B4-BE49-F238E27FC236}">
                  <a16:creationId xmlns:a16="http://schemas.microsoft.com/office/drawing/2014/main" id="{9E9A9367-EC6B-4197-8FA0-96E1F9E5F9D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34" name="Rechthoek 302">
                <a:extLst>
                  <a:ext uri="{FF2B5EF4-FFF2-40B4-BE49-F238E27FC236}">
                    <a16:creationId xmlns:a16="http://schemas.microsoft.com/office/drawing/2014/main" id="{4D54B517-306E-4291-9C4F-81FF2A0113CC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235" name="Rechte verbindingslijn 303">
                <a:extLst>
                  <a:ext uri="{FF2B5EF4-FFF2-40B4-BE49-F238E27FC236}">
                    <a16:creationId xmlns:a16="http://schemas.microsoft.com/office/drawing/2014/main" id="{30203F76-9A47-4493-AEF3-C40FBF3A4F0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36" name="Gelijkbenige driehoek 304">
                <a:extLst>
                  <a:ext uri="{FF2B5EF4-FFF2-40B4-BE49-F238E27FC236}">
                    <a16:creationId xmlns:a16="http://schemas.microsoft.com/office/drawing/2014/main" id="{E9B5BAF1-5630-47EC-9E69-1D5ED2112EC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91" name="Groep 269">
              <a:extLst>
                <a:ext uri="{FF2B5EF4-FFF2-40B4-BE49-F238E27FC236}">
                  <a16:creationId xmlns:a16="http://schemas.microsoft.com/office/drawing/2014/main" id="{D4C40DF4-2EAE-4FA7-9410-36EF66286AF8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228" name="Rechthoek 296">
                <a:extLst>
                  <a:ext uri="{FF2B5EF4-FFF2-40B4-BE49-F238E27FC236}">
                    <a16:creationId xmlns:a16="http://schemas.microsoft.com/office/drawing/2014/main" id="{E1281EFA-DE5E-440E-AEB4-A0490FBC2D7C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9" name="Ovaal 297">
                <a:extLst>
                  <a:ext uri="{FF2B5EF4-FFF2-40B4-BE49-F238E27FC236}">
                    <a16:creationId xmlns:a16="http://schemas.microsoft.com/office/drawing/2014/main" id="{D3DB4830-3508-45C6-BCCA-955F55428B9A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30" name="Vrije vorm: vorm 298">
                <a:extLst>
                  <a:ext uri="{FF2B5EF4-FFF2-40B4-BE49-F238E27FC236}">
                    <a16:creationId xmlns:a16="http://schemas.microsoft.com/office/drawing/2014/main" id="{89D30EF8-3A2D-4463-85F4-2CBF0D46C74E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31" name="Rechthoek: afgeronde hoeken 299">
                <a:extLst>
                  <a:ext uri="{FF2B5EF4-FFF2-40B4-BE49-F238E27FC236}">
                    <a16:creationId xmlns:a16="http://schemas.microsoft.com/office/drawing/2014/main" id="{7A73EC4B-5214-4DEC-AC2F-BCB91590585E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232" name="Rechte verbindingslijn 300">
                <a:extLst>
                  <a:ext uri="{FF2B5EF4-FFF2-40B4-BE49-F238E27FC236}">
                    <a16:creationId xmlns:a16="http://schemas.microsoft.com/office/drawing/2014/main" id="{F4AFDC55-B06C-409E-A49C-EB62D8188EC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33" name="Rechte verbindingslijn 301">
                <a:extLst>
                  <a:ext uri="{FF2B5EF4-FFF2-40B4-BE49-F238E27FC236}">
                    <a16:creationId xmlns:a16="http://schemas.microsoft.com/office/drawing/2014/main" id="{0A1A0432-1DE3-4078-B7F3-CDD89C48551C}"/>
                  </a:ext>
                </a:extLst>
              </p:cNvPr>
              <p:cNvCxnSpPr>
                <a:cxnSpLocks/>
                <a:stCxn id="23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92" name="Ovaal 270">
              <a:extLst>
                <a:ext uri="{FF2B5EF4-FFF2-40B4-BE49-F238E27FC236}">
                  <a16:creationId xmlns:a16="http://schemas.microsoft.com/office/drawing/2014/main" id="{F5E4CE74-BC6B-42D9-BDEB-33BB16E7B23A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93" name="Rechthoek 271">
              <a:extLst>
                <a:ext uri="{FF2B5EF4-FFF2-40B4-BE49-F238E27FC236}">
                  <a16:creationId xmlns:a16="http://schemas.microsoft.com/office/drawing/2014/main" id="{AD1B83CB-D7B9-4260-8F3A-EE29E5ACAEC1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43320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aan de linker kant van het scherm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94" name="Rechte verbindingslijn 272">
              <a:extLst>
                <a:ext uri="{FF2B5EF4-FFF2-40B4-BE49-F238E27FC236}">
                  <a16:creationId xmlns:a16="http://schemas.microsoft.com/office/drawing/2014/main" id="{7B5D5B99-21DA-48B1-8DF4-253EF8E61C0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95" name="Rechthoek 273">
              <a:extLst>
                <a:ext uri="{FF2B5EF4-FFF2-40B4-BE49-F238E27FC236}">
                  <a16:creationId xmlns:a16="http://schemas.microsoft.com/office/drawing/2014/main" id="{B25F762E-81F0-466F-81CB-4B14AA19F0AD}"/>
                </a:ext>
              </a:extLst>
            </p:cNvPr>
            <p:cNvSpPr/>
            <p:nvPr userDrawn="1"/>
          </p:nvSpPr>
          <p:spPr>
            <a:xfrm>
              <a:off x="12654153" y="3238910"/>
              <a:ext cx="1624926" cy="805220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3509" b="0" i="1" noProof="0">
                <a:solidFill>
                  <a:schemeClr val="tx1"/>
                </a:solidFill>
              </a:endParaRPr>
            </a:p>
          </p:txBody>
        </p:sp>
        <p:grpSp>
          <p:nvGrpSpPr>
            <p:cNvPr id="196" name="Groep 274">
              <a:extLst>
                <a:ext uri="{FF2B5EF4-FFF2-40B4-BE49-F238E27FC236}">
                  <a16:creationId xmlns:a16="http://schemas.microsoft.com/office/drawing/2014/main" id="{38715314-EC12-4872-85F5-DC48D0434C73}"/>
                </a:ext>
              </a:extLst>
            </p:cNvPr>
            <p:cNvGrpSpPr/>
            <p:nvPr userDrawn="1"/>
          </p:nvGrpSpPr>
          <p:grpSpPr>
            <a:xfrm>
              <a:off x="13614067" y="3535184"/>
              <a:ext cx="1195438" cy="678267"/>
              <a:chOff x="12757284" y="3224292"/>
              <a:chExt cx="1195438" cy="678267"/>
            </a:xfrm>
          </p:grpSpPr>
          <p:sp>
            <p:nvSpPr>
              <p:cNvPr id="197" name="Rechthoek 275">
                <a:extLst>
                  <a:ext uri="{FF2B5EF4-FFF2-40B4-BE49-F238E27FC236}">
                    <a16:creationId xmlns:a16="http://schemas.microsoft.com/office/drawing/2014/main" id="{6E8BB704-40C6-478D-B37E-A6BA473827BF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8" name="Rechthoek 276">
                <a:extLst>
                  <a:ext uri="{FF2B5EF4-FFF2-40B4-BE49-F238E27FC236}">
                    <a16:creationId xmlns:a16="http://schemas.microsoft.com/office/drawing/2014/main" id="{E8EE5A6A-267B-4CDF-AEB4-071D93D5BDAF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99" name="Groep 277">
                <a:extLst>
                  <a:ext uri="{FF2B5EF4-FFF2-40B4-BE49-F238E27FC236}">
                    <a16:creationId xmlns:a16="http://schemas.microsoft.com/office/drawing/2014/main" id="{12B5F916-2745-4DFA-B42C-7DECFBCDDF6A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212" name="Rechthoek: afgeronde hoeken 290">
                  <a:extLst>
                    <a:ext uri="{FF2B5EF4-FFF2-40B4-BE49-F238E27FC236}">
                      <a16:creationId xmlns:a16="http://schemas.microsoft.com/office/drawing/2014/main" id="{C4F0991F-8969-46A5-8299-C281E112BCC2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endPara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3" name="Rechthoek 291">
                  <a:extLst>
                    <a:ext uri="{FF2B5EF4-FFF2-40B4-BE49-F238E27FC236}">
                      <a16:creationId xmlns:a16="http://schemas.microsoft.com/office/drawing/2014/main" id="{BAD4FCAD-85E5-47C8-B0D6-AF159002D671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4" name="Rechthoek 292">
                  <a:extLst>
                    <a:ext uri="{FF2B5EF4-FFF2-40B4-BE49-F238E27FC236}">
                      <a16:creationId xmlns:a16="http://schemas.microsoft.com/office/drawing/2014/main" id="{DF8003A9-7C16-443C-9218-30B8D63A2977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5" name="Rechthoek 293">
                  <a:extLst>
                    <a:ext uri="{FF2B5EF4-FFF2-40B4-BE49-F238E27FC236}">
                      <a16:creationId xmlns:a16="http://schemas.microsoft.com/office/drawing/2014/main" id="{BEEB4E54-3D33-4D16-87E2-1170DECB06D2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6" name="Rechthoek 294">
                  <a:extLst>
                    <a:ext uri="{FF2B5EF4-FFF2-40B4-BE49-F238E27FC236}">
                      <a16:creationId xmlns:a16="http://schemas.microsoft.com/office/drawing/2014/main" id="{F9EEE1F0-8B23-4C7B-AE93-E83209BF8757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7" name="Rechthoek 295">
                  <a:extLst>
                    <a:ext uri="{FF2B5EF4-FFF2-40B4-BE49-F238E27FC236}">
                      <a16:creationId xmlns:a16="http://schemas.microsoft.com/office/drawing/2014/main" id="{6CCAE864-0170-472F-B125-677A87BBBD84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200" name="Groep 278">
                <a:extLst>
                  <a:ext uri="{FF2B5EF4-FFF2-40B4-BE49-F238E27FC236}">
                    <a16:creationId xmlns:a16="http://schemas.microsoft.com/office/drawing/2014/main" id="{56741DF2-7BA3-4325-A837-64B6FFAE3D26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204" name="Groep 282">
                  <a:extLst>
                    <a:ext uri="{FF2B5EF4-FFF2-40B4-BE49-F238E27FC236}">
                      <a16:creationId xmlns:a16="http://schemas.microsoft.com/office/drawing/2014/main" id="{FEDC01BC-36E6-4C21-810B-9897256EFBEB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206" name="Rechthoek: afgeronde hoeken 284">
                    <a:extLst>
                      <a:ext uri="{FF2B5EF4-FFF2-40B4-BE49-F238E27FC236}">
                        <a16:creationId xmlns:a16="http://schemas.microsoft.com/office/drawing/2014/main" id="{16578572-7E06-4290-949B-61109C8A2FE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2105"/>
                      </a:spcBef>
                      <a:spcAft>
                        <a:spcPts val="2105"/>
                      </a:spcAft>
                    </a:pPr>
                    <a:endParaRPr lang="nl-NL" sz="280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07" name="Rechthoek 285">
                    <a:extLst>
                      <a:ext uri="{FF2B5EF4-FFF2-40B4-BE49-F238E27FC236}">
                        <a16:creationId xmlns:a16="http://schemas.microsoft.com/office/drawing/2014/main" id="{6410265C-9D29-47DF-87A6-E033C3F610E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8" name="Rechthoek 286">
                    <a:extLst>
                      <a:ext uri="{FF2B5EF4-FFF2-40B4-BE49-F238E27FC236}">
                        <a16:creationId xmlns:a16="http://schemas.microsoft.com/office/drawing/2014/main" id="{6F0FEA28-254F-4A16-92A2-29867CCCBB7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9" name="Rechthoek 287">
                    <a:extLst>
                      <a:ext uri="{FF2B5EF4-FFF2-40B4-BE49-F238E27FC236}">
                        <a16:creationId xmlns:a16="http://schemas.microsoft.com/office/drawing/2014/main" id="{E2177107-446F-40BA-B2A8-FF6B4D886D5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0" name="Rechthoek 288">
                    <a:extLst>
                      <a:ext uri="{FF2B5EF4-FFF2-40B4-BE49-F238E27FC236}">
                        <a16:creationId xmlns:a16="http://schemas.microsoft.com/office/drawing/2014/main" id="{4DE5D972-03E6-4AF7-8893-7D492261D0F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1" name="Rechthoek 289">
                    <a:extLst>
                      <a:ext uri="{FF2B5EF4-FFF2-40B4-BE49-F238E27FC236}">
                        <a16:creationId xmlns:a16="http://schemas.microsoft.com/office/drawing/2014/main" id="{1C842460-5630-4292-8F0C-73C8F82F52E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205" name="Boog 283">
                  <a:extLst>
                    <a:ext uri="{FF2B5EF4-FFF2-40B4-BE49-F238E27FC236}">
                      <a16:creationId xmlns:a16="http://schemas.microsoft.com/office/drawing/2014/main" id="{27C64B2C-2F70-4C27-82DA-A52F19F38C0E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</p:grpSp>
          <p:sp>
            <p:nvSpPr>
              <p:cNvPr id="201" name="Tekstvak 279">
                <a:extLst>
                  <a:ext uri="{FF2B5EF4-FFF2-40B4-BE49-F238E27FC236}">
                    <a16:creationId xmlns:a16="http://schemas.microsoft.com/office/drawing/2014/main" id="{CD7E2612-2AEF-4C1D-8C44-62DE8A136EAD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202" name="Tekstvak 280">
                <a:extLst>
                  <a:ext uri="{FF2B5EF4-FFF2-40B4-BE49-F238E27FC236}">
                    <a16:creationId xmlns:a16="http://schemas.microsoft.com/office/drawing/2014/main" id="{0E7A3664-C29E-4F66-B81B-9C375EF647E3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203" name="Picture 3">
                <a:extLst>
                  <a:ext uri="{FF2B5EF4-FFF2-40B4-BE49-F238E27FC236}">
                    <a16:creationId xmlns:a16="http://schemas.microsoft.com/office/drawing/2014/main" id="{610BCC81-F8D1-4CD3-9B57-33536D7ED87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810206" y="3671228"/>
                <a:ext cx="14251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grpSp>
        <p:nvGrpSpPr>
          <p:cNvPr id="76" name="Instructie">
            <a:extLst>
              <a:ext uri="{FF2B5EF4-FFF2-40B4-BE49-F238E27FC236}">
                <a16:creationId xmlns:a16="http://schemas.microsoft.com/office/drawing/2014/main" id="{4603085B-E399-4832-BCA3-76BCA627EC71}"/>
              </a:ext>
            </a:extLst>
          </p:cNvPr>
          <p:cNvGrpSpPr/>
          <p:nvPr userDrawn="1"/>
        </p:nvGrpSpPr>
        <p:grpSpPr>
          <a:xfrm>
            <a:off x="-11761540" y="0"/>
            <a:ext cx="11164508" cy="11743958"/>
            <a:chOff x="-3426088" y="4512342"/>
            <a:chExt cx="3182755" cy="2660264"/>
          </a:xfrm>
        </p:grpSpPr>
        <p:sp>
          <p:nvSpPr>
            <p:cNvPr id="77" name="Rechthoek 127">
              <a:extLst>
                <a:ext uri="{FF2B5EF4-FFF2-40B4-BE49-F238E27FC236}">
                  <a16:creationId xmlns:a16="http://schemas.microsoft.com/office/drawing/2014/main" id="{BFF4F3EC-F7CC-4926-BA67-59424C7E9E81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78" name="Rechte verbindingslijn 128">
              <a:extLst>
                <a:ext uri="{FF2B5EF4-FFF2-40B4-BE49-F238E27FC236}">
                  <a16:creationId xmlns:a16="http://schemas.microsoft.com/office/drawing/2014/main" id="{358CBB5E-9BA0-4D4A-98F7-43DBDCD5E0B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79" name="Rechthoek 130">
              <a:extLst>
                <a:ext uri="{FF2B5EF4-FFF2-40B4-BE49-F238E27FC236}">
                  <a16:creationId xmlns:a16="http://schemas.microsoft.com/office/drawing/2014/main" id="{E340B0A1-85BF-4C01-B9EB-3B2C78ECB25B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80" name="Rechthoek 133">
              <a:extLst>
                <a:ext uri="{FF2B5EF4-FFF2-40B4-BE49-F238E27FC236}">
                  <a16:creationId xmlns:a16="http://schemas.microsoft.com/office/drawing/2014/main" id="{2CBCD737-B2C3-4FF2-9C2B-260B623D367D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1" name="Rechthoek 136">
              <a:extLst>
                <a:ext uri="{FF2B5EF4-FFF2-40B4-BE49-F238E27FC236}">
                  <a16:creationId xmlns:a16="http://schemas.microsoft.com/office/drawing/2014/main" id="{592CF995-A6E6-4755-95C6-53ECB501F2E7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2" name="Rechthoek 139">
              <a:extLst>
                <a:ext uri="{FF2B5EF4-FFF2-40B4-BE49-F238E27FC236}">
                  <a16:creationId xmlns:a16="http://schemas.microsoft.com/office/drawing/2014/main" id="{79B706D0-8D58-40F3-8D42-6BF01C3F95ED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83" name="Rechte verbindingslijn 140">
              <a:extLst>
                <a:ext uri="{FF2B5EF4-FFF2-40B4-BE49-F238E27FC236}">
                  <a16:creationId xmlns:a16="http://schemas.microsoft.com/office/drawing/2014/main" id="{7E4623E2-3B20-49B9-8388-C465BE6F0EB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C7F23BAD-09D9-4D71-9A55-ADE82665CE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5342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Grafiek 50%/5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el 1">
            <a:extLst>
              <a:ext uri="{FF2B5EF4-FFF2-40B4-BE49-F238E27FC236}">
                <a16:creationId xmlns:a16="http://schemas.microsoft.com/office/drawing/2014/main" id="{6FC02832-6172-4872-830B-0E200141D9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41" name="Tijdelijke aanduiding voor tekst 14">
            <a:extLst>
              <a:ext uri="{FF2B5EF4-FFF2-40B4-BE49-F238E27FC236}">
                <a16:creationId xmlns:a16="http://schemas.microsoft.com/office/drawing/2014/main" id="{92B3C0DD-4B30-41A4-ACF0-43DCC142EE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58" name="Tijdelijke aanduiding voor voettekst 4">
            <a:extLst>
              <a:ext uri="{FF2B5EF4-FFF2-40B4-BE49-F238E27FC236}">
                <a16:creationId xmlns:a16="http://schemas.microsoft.com/office/drawing/2014/main" id="{A767B2FF-AFB7-4C77-9D83-2891D4995E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59" name="Tijdelijke aanduiding voor dianummer 5">
            <a:extLst>
              <a:ext uri="{FF2B5EF4-FFF2-40B4-BE49-F238E27FC236}">
                <a16:creationId xmlns:a16="http://schemas.microsoft.com/office/drawing/2014/main" id="{9A2D0BED-D586-4A0C-92B4-0B9B621444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9" y="27329718"/>
            <a:ext cx="834509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cxnSp>
        <p:nvCxnSpPr>
          <p:cNvPr id="4" name="Rechte verbindingslijn 3">
            <a:extLst>
              <a:ext uri="{FF2B5EF4-FFF2-40B4-BE49-F238E27FC236}">
                <a16:creationId xmlns:a16="http://schemas.microsoft.com/office/drawing/2014/main" id="{B7132B7D-5165-4EF7-9B98-0281F140107D}"/>
              </a:ext>
            </a:extLst>
          </p:cNvPr>
          <p:cNvCxnSpPr/>
          <p:nvPr userDrawn="1"/>
        </p:nvCxnSpPr>
        <p:spPr>
          <a:xfrm>
            <a:off x="21383618" y="6476683"/>
            <a:ext cx="0" cy="19074342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jdelijke aanduiding voor datum 3">
            <a:extLst>
              <a:ext uri="{FF2B5EF4-FFF2-40B4-BE49-F238E27FC236}">
                <a16:creationId xmlns:a16="http://schemas.microsoft.com/office/drawing/2014/main" id="{954DA91E-C842-4007-B98B-6B2243FE611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19707B42-73DA-42CB-A5E3-8DE983276932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208" name="Tijdelijke aanduiding voor grafiek 7">
            <a:extLst>
              <a:ext uri="{FF2B5EF4-FFF2-40B4-BE49-F238E27FC236}">
                <a16:creationId xmlns:a16="http://schemas.microsoft.com/office/drawing/2014/main" id="{850783B6-C90B-4AAA-90BA-1DAFC9F22AA9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22853747" y="6476685"/>
            <a:ext cx="18130515" cy="19074338"/>
          </a:xfrm>
          <a:solidFill>
            <a:schemeClr val="bg1">
              <a:lumMod val="95000"/>
            </a:schemeClr>
          </a:solidFill>
        </p:spPr>
        <p:txBody>
          <a:bodyPr tIns="288000" bIns="1440000" anchor="b">
            <a:normAutofit/>
          </a:bodyPr>
          <a:lstStyle>
            <a:lvl1pPr marL="0" indent="0" algn="ctr">
              <a:spcAft>
                <a:spcPts val="0"/>
              </a:spcAft>
              <a:buNone/>
              <a:defRPr sz="4209" b="0" i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grafiek in te voegen</a:t>
            </a:r>
          </a:p>
        </p:txBody>
      </p:sp>
      <p:grpSp>
        <p:nvGrpSpPr>
          <p:cNvPr id="371" name="Instructie">
            <a:extLst>
              <a:ext uri="{FF2B5EF4-FFF2-40B4-BE49-F238E27FC236}">
                <a16:creationId xmlns:a16="http://schemas.microsoft.com/office/drawing/2014/main" id="{093D00D8-0169-418F-BBF9-0B59653C092A}"/>
              </a:ext>
            </a:extLst>
          </p:cNvPr>
          <p:cNvGrpSpPr/>
          <p:nvPr userDrawn="1"/>
        </p:nvGrpSpPr>
        <p:grpSpPr>
          <a:xfrm>
            <a:off x="43460797" y="12724935"/>
            <a:ext cx="11167742" cy="11242262"/>
            <a:chOff x="12389714" y="4327164"/>
            <a:chExt cx="3183677" cy="2546619"/>
          </a:xfrm>
        </p:grpSpPr>
        <p:grpSp>
          <p:nvGrpSpPr>
            <p:cNvPr id="372" name="Meer informatie">
              <a:extLst>
                <a:ext uri="{FF2B5EF4-FFF2-40B4-BE49-F238E27FC236}">
                  <a16:creationId xmlns:a16="http://schemas.microsoft.com/office/drawing/2014/main" id="{CD9D0A7D-373C-43C3-97F7-EEFBA9DDC665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10" name="Freeform 101">
                <a:extLst>
                  <a:ext uri="{FF2B5EF4-FFF2-40B4-BE49-F238E27FC236}">
                    <a16:creationId xmlns:a16="http://schemas.microsoft.com/office/drawing/2014/main" id="{41B52622-B9B7-426F-8D75-BD8B08FDD5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411" name="Rechthoek 67">
                <a:extLst>
                  <a:ext uri="{FF2B5EF4-FFF2-40B4-BE49-F238E27FC236}">
                    <a16:creationId xmlns:a16="http://schemas.microsoft.com/office/drawing/2014/main" id="{4CB3D13E-34A6-4EB3-9748-76ADFD6ED9BA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412" name="Rechte verbindingslijn 68">
                <a:extLst>
                  <a:ext uri="{FF2B5EF4-FFF2-40B4-BE49-F238E27FC236}">
                    <a16:creationId xmlns:a16="http://schemas.microsoft.com/office/drawing/2014/main" id="{E80D425F-D318-4BCE-B843-062A7B2C3F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373" name="Rechte verbindingslijn 18">
              <a:extLst>
                <a:ext uri="{FF2B5EF4-FFF2-40B4-BE49-F238E27FC236}">
                  <a16:creationId xmlns:a16="http://schemas.microsoft.com/office/drawing/2014/main" id="{7F7FD683-3666-4C67-922B-AA6BFC0E614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4" name="Rechthoek 19">
              <a:extLst>
                <a:ext uri="{FF2B5EF4-FFF2-40B4-BE49-F238E27FC236}">
                  <a16:creationId xmlns:a16="http://schemas.microsoft.com/office/drawing/2014/main" id="{F79488E0-33A2-49BB-88CF-6B9A0B62F300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Data van de Grafiek Bewerken</a:t>
              </a:r>
            </a:p>
          </p:txBody>
        </p:sp>
        <p:sp>
          <p:nvSpPr>
            <p:cNvPr id="375" name="Ovaal 20">
              <a:extLst>
                <a:ext uri="{FF2B5EF4-FFF2-40B4-BE49-F238E27FC236}">
                  <a16:creationId xmlns:a16="http://schemas.microsoft.com/office/drawing/2014/main" id="{F8AAD153-49ED-49B6-B9D7-6C39766BF907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6" name="Rechte verbindingslijn 21">
              <a:extLst>
                <a:ext uri="{FF2B5EF4-FFF2-40B4-BE49-F238E27FC236}">
                  <a16:creationId xmlns:a16="http://schemas.microsoft.com/office/drawing/2014/main" id="{A6B7FF75-2363-468F-983B-A790CB25A0E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7" name="Rechthoek 22">
              <a:extLst>
                <a:ext uri="{FF2B5EF4-FFF2-40B4-BE49-F238E27FC236}">
                  <a16:creationId xmlns:a16="http://schemas.microsoft.com/office/drawing/2014/main" id="{7F216100-59E5-4E02-AC7B-1A9B95C69C8C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3859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eer de grafiek, klik met de rechter muisknop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lang="nl-NL" sz="3859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Gegevens bewerk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.</a:t>
              </a:r>
              <a:endParaRPr lang="nl-NL" sz="3859" b="1" kern="0" noProof="0">
                <a:solidFill>
                  <a:schemeClr val="tx1"/>
                </a:solidFill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23">
              <a:extLst>
                <a:ext uri="{FF2B5EF4-FFF2-40B4-BE49-F238E27FC236}">
                  <a16:creationId xmlns:a16="http://schemas.microsoft.com/office/drawing/2014/main" id="{934A9BD4-E68E-4B49-A1BB-712DD237CBF3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379" name="Rechthoek 24">
                <a:extLst>
                  <a:ext uri="{FF2B5EF4-FFF2-40B4-BE49-F238E27FC236}">
                    <a16:creationId xmlns:a16="http://schemas.microsoft.com/office/drawing/2014/main" id="{AA005117-F46F-4614-8165-DC5C3277999A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80" name="Rechthoek 25">
                <a:extLst>
                  <a:ext uri="{FF2B5EF4-FFF2-40B4-BE49-F238E27FC236}">
                    <a16:creationId xmlns:a16="http://schemas.microsoft.com/office/drawing/2014/main" id="{2FFEF778-63EF-4AEB-AE8E-9A724DCC0DE8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1" name="Tekstvak 26">
                <a:extLst>
                  <a:ext uri="{FF2B5EF4-FFF2-40B4-BE49-F238E27FC236}">
                    <a16:creationId xmlns:a16="http://schemas.microsoft.com/office/drawing/2014/main" id="{0CCBAB9C-D1A6-4173-8429-8A0EA0922B9A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1199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3158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Grafiektype wijzigen</a:t>
                </a:r>
              </a:p>
            </p:txBody>
          </p:sp>
          <p:sp>
            <p:nvSpPr>
              <p:cNvPr id="382" name="Tekstvak 27">
                <a:extLst>
                  <a:ext uri="{FF2B5EF4-FFF2-40B4-BE49-F238E27FC236}">
                    <a16:creationId xmlns:a16="http://schemas.microsoft.com/office/drawing/2014/main" id="{CAAFD04C-9D5C-4FB7-B71A-59398FCB167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1199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3158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Gegevens bewerken</a:t>
                </a:r>
              </a:p>
            </p:txBody>
          </p:sp>
          <p:pic>
            <p:nvPicPr>
              <p:cNvPr id="383" name="Picture 3">
                <a:extLst>
                  <a:ext uri="{FF2B5EF4-FFF2-40B4-BE49-F238E27FC236}">
                    <a16:creationId xmlns:a16="http://schemas.microsoft.com/office/drawing/2014/main" id="{AD957B47-D1C9-48FE-84E5-A90F5EAD4F34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384" name="Groep 29">
                <a:extLst>
                  <a:ext uri="{FF2B5EF4-FFF2-40B4-BE49-F238E27FC236}">
                    <a16:creationId xmlns:a16="http://schemas.microsoft.com/office/drawing/2014/main" id="{C4113766-C094-4E7D-8EF6-7C1D276BF6F3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07" name="Rechthoek 63">
                  <a:extLst>
                    <a:ext uri="{FF2B5EF4-FFF2-40B4-BE49-F238E27FC236}">
                      <a16:creationId xmlns:a16="http://schemas.microsoft.com/office/drawing/2014/main" id="{E3BAF8E1-FDE8-47B5-8F23-38F32F317BD0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7016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08" name="Rechthoek 64">
                  <a:extLst>
                    <a:ext uri="{FF2B5EF4-FFF2-40B4-BE49-F238E27FC236}">
                      <a16:creationId xmlns:a16="http://schemas.microsoft.com/office/drawing/2014/main" id="{DCE7D256-538A-4446-BB7E-5518BB24FA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7016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09" name="Rechthoek 65">
                  <a:extLst>
                    <a:ext uri="{FF2B5EF4-FFF2-40B4-BE49-F238E27FC236}">
                      <a16:creationId xmlns:a16="http://schemas.microsoft.com/office/drawing/2014/main" id="{5CF4F56B-4ABB-4412-B96F-04ACF5FC75C8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7016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385" name="Groep 30">
                <a:extLst>
                  <a:ext uri="{FF2B5EF4-FFF2-40B4-BE49-F238E27FC236}">
                    <a16:creationId xmlns:a16="http://schemas.microsoft.com/office/drawing/2014/main" id="{11081DA6-EE72-4F42-A979-CC7211C22323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386" name="Rechthoek 32">
                  <a:extLst>
                    <a:ext uri="{FF2B5EF4-FFF2-40B4-BE49-F238E27FC236}">
                      <a16:creationId xmlns:a16="http://schemas.microsoft.com/office/drawing/2014/main" id="{A009DC1B-61F1-4654-9B32-557931970963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  <p:grpSp>
              <p:nvGrpSpPr>
                <p:cNvPr id="387" name="Groep 33">
                  <a:extLst>
                    <a:ext uri="{FF2B5EF4-FFF2-40B4-BE49-F238E27FC236}">
                      <a16:creationId xmlns:a16="http://schemas.microsoft.com/office/drawing/2014/main" id="{2C60AAEC-DABC-42FC-83A7-33F346E8A1C8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388" name="Groep 34">
                    <a:extLst>
                      <a:ext uri="{FF2B5EF4-FFF2-40B4-BE49-F238E27FC236}">
                        <a16:creationId xmlns:a16="http://schemas.microsoft.com/office/drawing/2014/main" id="{0BB4E1D5-852C-4565-A33D-56864A6CDE5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393" name="Rechthoek 40">
                      <a:extLst>
                        <a:ext uri="{FF2B5EF4-FFF2-40B4-BE49-F238E27FC236}">
                          <a16:creationId xmlns:a16="http://schemas.microsoft.com/office/drawing/2014/main" id="{A4014D79-6CB9-4DC9-9736-EFB5515AE7C8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nl-NL" sz="16213" noProof="0"/>
                    </a:p>
                  </p:txBody>
                </p:sp>
                <p:grpSp>
                  <p:nvGrpSpPr>
                    <p:cNvPr id="394" name="Groep 41">
                      <a:extLst>
                        <a:ext uri="{FF2B5EF4-FFF2-40B4-BE49-F238E27FC236}">
                          <a16:creationId xmlns:a16="http://schemas.microsoft.com/office/drawing/2014/main" id="{D6034686-3E41-472A-B084-4E1462C1312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00" name="Rechte verbindingslijn 54">
                        <a:extLst>
                          <a:ext uri="{FF2B5EF4-FFF2-40B4-BE49-F238E27FC236}">
                            <a16:creationId xmlns:a16="http://schemas.microsoft.com/office/drawing/2014/main" id="{735BD489-492A-446C-A70D-F96FC5D76FFF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01" name="Rechte verbindingslijn 57">
                        <a:extLst>
                          <a:ext uri="{FF2B5EF4-FFF2-40B4-BE49-F238E27FC236}">
                            <a16:creationId xmlns:a16="http://schemas.microsoft.com/office/drawing/2014/main" id="{D9969D38-3548-4DF5-815F-4F73EB32DE12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02" name="Groep 58">
                        <a:extLst>
                          <a:ext uri="{FF2B5EF4-FFF2-40B4-BE49-F238E27FC236}">
                            <a16:creationId xmlns:a16="http://schemas.microsoft.com/office/drawing/2014/main" id="{CE3DCB13-F63E-4ACB-B59C-46CAF9E573FD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03" name="Rechte verbindingslijn 59">
                          <a:extLst>
                            <a:ext uri="{FF2B5EF4-FFF2-40B4-BE49-F238E27FC236}">
                              <a16:creationId xmlns:a16="http://schemas.microsoft.com/office/drawing/2014/main" id="{168075E9-3C3F-481E-A03E-C71F9E99F045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04" name="Rechte verbindingslijn 60">
                          <a:extLst>
                            <a:ext uri="{FF2B5EF4-FFF2-40B4-BE49-F238E27FC236}">
                              <a16:creationId xmlns:a16="http://schemas.microsoft.com/office/drawing/2014/main" id="{F1223E69-7E15-4CE0-9A7F-0CEF4D3D2F2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05" name="Rechte verbindingslijn 61">
                          <a:extLst>
                            <a:ext uri="{FF2B5EF4-FFF2-40B4-BE49-F238E27FC236}">
                              <a16:creationId xmlns:a16="http://schemas.microsoft.com/office/drawing/2014/main" id="{796A5C2D-4401-46A3-9E8F-51008B5D6A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06" name="Rechte verbindingslijn 62">
                          <a:extLst>
                            <a:ext uri="{FF2B5EF4-FFF2-40B4-BE49-F238E27FC236}">
                              <a16:creationId xmlns:a16="http://schemas.microsoft.com/office/drawing/2014/main" id="{767A414E-12E2-4ED1-852F-7D084BB4184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395" name="Rechte verbindingslijn 42">
                      <a:extLst>
                        <a:ext uri="{FF2B5EF4-FFF2-40B4-BE49-F238E27FC236}">
                          <a16:creationId xmlns:a16="http://schemas.microsoft.com/office/drawing/2014/main" id="{A46391AF-2B1B-4114-B45B-83B29F36F281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396" name="Groep 43">
                      <a:extLst>
                        <a:ext uri="{FF2B5EF4-FFF2-40B4-BE49-F238E27FC236}">
                          <a16:creationId xmlns:a16="http://schemas.microsoft.com/office/drawing/2014/main" id="{913B35B5-33A3-41DB-ADA3-82513A2792CC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397" name="Rechte verbindingslijn 44">
                        <a:extLst>
                          <a:ext uri="{FF2B5EF4-FFF2-40B4-BE49-F238E27FC236}">
                            <a16:creationId xmlns:a16="http://schemas.microsoft.com/office/drawing/2014/main" id="{53A0FDE3-5029-4D2B-AE39-77072F1C5786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398" name="Rechte verbindingslijn 45">
                        <a:extLst>
                          <a:ext uri="{FF2B5EF4-FFF2-40B4-BE49-F238E27FC236}">
                            <a16:creationId xmlns:a16="http://schemas.microsoft.com/office/drawing/2014/main" id="{6EDB4DE3-8EAE-4A9F-839C-612A38F6A08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399" name="Rechte verbindingslijn 46">
                        <a:extLst>
                          <a:ext uri="{FF2B5EF4-FFF2-40B4-BE49-F238E27FC236}">
                            <a16:creationId xmlns:a16="http://schemas.microsoft.com/office/drawing/2014/main" id="{A4D9CE07-6E13-45BD-BE4C-50420D7F603B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389" name="Groep 35">
                    <a:extLst>
                      <a:ext uri="{FF2B5EF4-FFF2-40B4-BE49-F238E27FC236}">
                        <a16:creationId xmlns:a16="http://schemas.microsoft.com/office/drawing/2014/main" id="{4D9D5565-5115-4144-B47A-4BBA9094686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390" name="Rechthoek 36">
                      <a:extLst>
                        <a:ext uri="{FF2B5EF4-FFF2-40B4-BE49-F238E27FC236}">
                          <a16:creationId xmlns:a16="http://schemas.microsoft.com/office/drawing/2014/main" id="{6FDF3E12-3196-4FEB-981B-8372B0EF125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nl-NL" sz="16213" noProof="0"/>
                    </a:p>
                  </p:txBody>
                </p:sp>
                <p:sp>
                  <p:nvSpPr>
                    <p:cNvPr id="391" name="Rechthoek: afgeronde bovenhoeken 37">
                      <a:extLst>
                        <a:ext uri="{FF2B5EF4-FFF2-40B4-BE49-F238E27FC236}">
                          <a16:creationId xmlns:a16="http://schemas.microsoft.com/office/drawing/2014/main" id="{49FD1A47-04B4-4681-8C3C-4ADBABB982B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nl-NL" sz="16213" noProof="0"/>
                    </a:p>
                  </p:txBody>
                </p:sp>
                <p:sp>
                  <p:nvSpPr>
                    <p:cNvPr id="392" name="Gelijkbenige driehoek 39">
                      <a:extLst>
                        <a:ext uri="{FF2B5EF4-FFF2-40B4-BE49-F238E27FC236}">
                          <a16:creationId xmlns:a16="http://schemas.microsoft.com/office/drawing/2014/main" id="{150629DD-6053-43E8-B356-5C6C4E228D52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nl-NL" sz="16213" noProof="0"/>
                    </a:p>
                  </p:txBody>
                </p:sp>
              </p:grpSp>
            </p:grpSp>
          </p:grpSp>
        </p:grpSp>
      </p:grpSp>
      <p:grpSp>
        <p:nvGrpSpPr>
          <p:cNvPr id="413" name="Instructie">
            <a:extLst>
              <a:ext uri="{FF2B5EF4-FFF2-40B4-BE49-F238E27FC236}">
                <a16:creationId xmlns:a16="http://schemas.microsoft.com/office/drawing/2014/main" id="{68AFCB9B-7F75-432E-9160-7C164B29B927}"/>
              </a:ext>
            </a:extLst>
          </p:cNvPr>
          <p:cNvGrpSpPr/>
          <p:nvPr userDrawn="1"/>
        </p:nvGrpSpPr>
        <p:grpSpPr>
          <a:xfrm>
            <a:off x="43467415" y="2"/>
            <a:ext cx="11167742" cy="11035527"/>
            <a:chOff x="12391601" y="0"/>
            <a:chExt cx="3183677" cy="2499789"/>
          </a:xfrm>
        </p:grpSpPr>
        <p:sp>
          <p:nvSpPr>
            <p:cNvPr id="414" name="Rechthoek 70">
              <a:extLst>
                <a:ext uri="{FF2B5EF4-FFF2-40B4-BE49-F238E27FC236}">
                  <a16:creationId xmlns:a16="http://schemas.microsoft.com/office/drawing/2014/main" id="{2EBBABD9-7F82-43E6-A6D7-0F272E8A572F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Grafiek invoegen/veranderen</a:t>
              </a:r>
            </a:p>
          </p:txBody>
        </p:sp>
        <p:sp>
          <p:nvSpPr>
            <p:cNvPr id="415" name="Ovaal 71">
              <a:extLst>
                <a:ext uri="{FF2B5EF4-FFF2-40B4-BE49-F238E27FC236}">
                  <a16:creationId xmlns:a16="http://schemas.microsoft.com/office/drawing/2014/main" id="{309D0D22-FC9C-43D4-8212-1DEBBC68CA78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16" name="Rechte verbindingslijn 72">
              <a:extLst>
                <a:ext uri="{FF2B5EF4-FFF2-40B4-BE49-F238E27FC236}">
                  <a16:creationId xmlns:a16="http://schemas.microsoft.com/office/drawing/2014/main" id="{7E3992A7-AA23-45CA-8D5E-CB79B60EDFC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17" name="Rechte verbindingslijn 73">
              <a:extLst>
                <a:ext uri="{FF2B5EF4-FFF2-40B4-BE49-F238E27FC236}">
                  <a16:creationId xmlns:a16="http://schemas.microsoft.com/office/drawing/2014/main" id="{C2771FE0-721C-4E2A-95D0-FA6AE2EF90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18" name="Rechthoek 74">
              <a:extLst>
                <a:ext uri="{FF2B5EF4-FFF2-40B4-BE49-F238E27FC236}">
                  <a16:creationId xmlns:a16="http://schemas.microsoft.com/office/drawing/2014/main" id="{61A4532D-0E16-4C18-8B14-49EA7F3BE0E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grafiek d.m.v.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knop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Klik op het pictogram om een nieuwe grafiek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19" name="Ovaal 75">
              <a:extLst>
                <a:ext uri="{FF2B5EF4-FFF2-40B4-BE49-F238E27FC236}">
                  <a16:creationId xmlns:a16="http://schemas.microsoft.com/office/drawing/2014/main" id="{0CDF15F8-A88D-4EC1-8947-3960A756906A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20" name="Rechthoek 76">
              <a:extLst>
                <a:ext uri="{FF2B5EF4-FFF2-40B4-BE49-F238E27FC236}">
                  <a16:creationId xmlns:a16="http://schemas.microsoft.com/office/drawing/2014/main" id="{0ED0146D-904B-4673-8E6F-FCBAD8403E01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grafiek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21" name="Groep 77">
              <a:extLst>
                <a:ext uri="{FF2B5EF4-FFF2-40B4-BE49-F238E27FC236}">
                  <a16:creationId xmlns:a16="http://schemas.microsoft.com/office/drawing/2014/main" id="{840DE3CA-AB32-4179-9F54-9F7F38509EE5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27" name="Rechthoek 83">
                <a:extLst>
                  <a:ext uri="{FF2B5EF4-FFF2-40B4-BE49-F238E27FC236}">
                    <a16:creationId xmlns:a16="http://schemas.microsoft.com/office/drawing/2014/main" id="{BB172C15-FF99-452D-B4B8-342A8A46D4BA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428" name="Rechte verbindingslijn 84">
                <a:extLst>
                  <a:ext uri="{FF2B5EF4-FFF2-40B4-BE49-F238E27FC236}">
                    <a16:creationId xmlns:a16="http://schemas.microsoft.com/office/drawing/2014/main" id="{298F9C24-5592-4D67-8508-29F6D056FB09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29" name="Gelijkbenige driehoek 85">
                <a:extLst>
                  <a:ext uri="{FF2B5EF4-FFF2-40B4-BE49-F238E27FC236}">
                    <a16:creationId xmlns:a16="http://schemas.microsoft.com/office/drawing/2014/main" id="{864D7842-5CDC-4CB3-B51D-CF3987D8DEA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22" name="Rechte verbindingslijn 78">
              <a:extLst>
                <a:ext uri="{FF2B5EF4-FFF2-40B4-BE49-F238E27FC236}">
                  <a16:creationId xmlns:a16="http://schemas.microsoft.com/office/drawing/2014/main" id="{E647B0A0-E24F-4069-8CAD-422ACA3A1E7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23" name="Groep 79">
              <a:extLst>
                <a:ext uri="{FF2B5EF4-FFF2-40B4-BE49-F238E27FC236}">
                  <a16:creationId xmlns:a16="http://schemas.microsoft.com/office/drawing/2014/main" id="{903D9559-4BCA-488C-8A02-A13C81868821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24" name="Rechthoek 80">
                <a:extLst>
                  <a:ext uri="{FF2B5EF4-FFF2-40B4-BE49-F238E27FC236}">
                    <a16:creationId xmlns:a16="http://schemas.microsoft.com/office/drawing/2014/main" id="{11273E51-6562-486D-819A-1A616E8704FF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213" noProof="0"/>
              </a:p>
            </p:txBody>
          </p:sp>
          <p:sp>
            <p:nvSpPr>
              <p:cNvPr id="425" name="Rechthoek 81">
                <a:extLst>
                  <a:ext uri="{FF2B5EF4-FFF2-40B4-BE49-F238E27FC236}">
                    <a16:creationId xmlns:a16="http://schemas.microsoft.com/office/drawing/2014/main" id="{9B517314-CE28-4E37-A8F1-3E4924550431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213" noProof="0"/>
              </a:p>
            </p:txBody>
          </p:sp>
          <p:sp>
            <p:nvSpPr>
              <p:cNvPr id="426" name="Rechthoek 82">
                <a:extLst>
                  <a:ext uri="{FF2B5EF4-FFF2-40B4-BE49-F238E27FC236}">
                    <a16:creationId xmlns:a16="http://schemas.microsoft.com/office/drawing/2014/main" id="{29646C08-5840-416B-A1AC-36700BF6CF92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213" noProof="0"/>
              </a:p>
            </p:txBody>
          </p:sp>
        </p:grpSp>
      </p:grp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A6AE8251-BA1F-4B6F-B210-0675BB1002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42373" y="6476685"/>
            <a:ext cx="18171872" cy="1907433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bullet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bullet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grpSp>
        <p:nvGrpSpPr>
          <p:cNvPr id="153" name="Groep 101">
            <a:extLst>
              <a:ext uri="{FF2B5EF4-FFF2-40B4-BE49-F238E27FC236}">
                <a16:creationId xmlns:a16="http://schemas.microsoft.com/office/drawing/2014/main" id="{B07B2DB9-C554-4F5A-8A6B-05AF422F8883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154" name="Rechthoek 102">
              <a:extLst>
                <a:ext uri="{FF2B5EF4-FFF2-40B4-BE49-F238E27FC236}">
                  <a16:creationId xmlns:a16="http://schemas.microsoft.com/office/drawing/2014/main" id="{737D46D0-24CE-4011-B6A7-492605AE3110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155" name="Ovaal 103">
              <a:extLst>
                <a:ext uri="{FF2B5EF4-FFF2-40B4-BE49-F238E27FC236}">
                  <a16:creationId xmlns:a16="http://schemas.microsoft.com/office/drawing/2014/main" id="{34892FDB-5F2E-439E-BFD5-E5FB48CABB52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6" name="Rechte verbindingslijn 104">
              <a:extLst>
                <a:ext uri="{FF2B5EF4-FFF2-40B4-BE49-F238E27FC236}">
                  <a16:creationId xmlns:a16="http://schemas.microsoft.com/office/drawing/2014/main" id="{ECA8D625-3B6A-423E-826C-9F6AAA899F8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7" name="Groep 105">
              <a:extLst>
                <a:ext uri="{FF2B5EF4-FFF2-40B4-BE49-F238E27FC236}">
                  <a16:creationId xmlns:a16="http://schemas.microsoft.com/office/drawing/2014/main" id="{43A45C39-6F05-4C84-92CE-4E34F6D034B8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2" name="Rechthoek 130">
                <a:extLst>
                  <a:ext uri="{FF2B5EF4-FFF2-40B4-BE49-F238E27FC236}">
                    <a16:creationId xmlns:a16="http://schemas.microsoft.com/office/drawing/2014/main" id="{FDCB2FA9-7820-4259-A6C8-18B4ABD55CAC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183" name="Rechte verbindingslijn 131">
                <a:extLst>
                  <a:ext uri="{FF2B5EF4-FFF2-40B4-BE49-F238E27FC236}">
                    <a16:creationId xmlns:a16="http://schemas.microsoft.com/office/drawing/2014/main" id="{6BB55DFD-B9E8-4842-ADAA-2C4FC40E8A4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Rechte verbindingslijn 132">
                <a:extLst>
                  <a:ext uri="{FF2B5EF4-FFF2-40B4-BE49-F238E27FC236}">
                    <a16:creationId xmlns:a16="http://schemas.microsoft.com/office/drawing/2014/main" id="{7B77BBA0-2016-4ADC-A959-5EC38A2C61F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5" name="Rechthoek 133">
                <a:extLst>
                  <a:ext uri="{FF2B5EF4-FFF2-40B4-BE49-F238E27FC236}">
                    <a16:creationId xmlns:a16="http://schemas.microsoft.com/office/drawing/2014/main" id="{57A623FF-4601-475F-B6BA-B290E5EF252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6" name="Groep 134">
                <a:extLst>
                  <a:ext uri="{FF2B5EF4-FFF2-40B4-BE49-F238E27FC236}">
                    <a16:creationId xmlns:a16="http://schemas.microsoft.com/office/drawing/2014/main" id="{FF0906F1-7DD8-4E81-A1BB-EE693FEA58B0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41" name="Groep 175">
                  <a:extLst>
                    <a:ext uri="{FF2B5EF4-FFF2-40B4-BE49-F238E27FC236}">
                      <a16:creationId xmlns:a16="http://schemas.microsoft.com/office/drawing/2014/main" id="{69FF20A8-0C79-4B19-9910-EA16DE7727DF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45" name="Rechte verbindingslijn 179">
                    <a:extLst>
                      <a:ext uri="{FF2B5EF4-FFF2-40B4-BE49-F238E27FC236}">
                        <a16:creationId xmlns:a16="http://schemas.microsoft.com/office/drawing/2014/main" id="{36323E0D-0EBE-42FA-BF3E-6E07F479F5E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6" name="Rechte verbindingslijn 180">
                    <a:extLst>
                      <a:ext uri="{FF2B5EF4-FFF2-40B4-BE49-F238E27FC236}">
                        <a16:creationId xmlns:a16="http://schemas.microsoft.com/office/drawing/2014/main" id="{FF17AFD3-A0A9-4696-8B8B-E92B23CFC0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7" name="Rechte verbindingslijn 181">
                    <a:extLst>
                      <a:ext uri="{FF2B5EF4-FFF2-40B4-BE49-F238E27FC236}">
                        <a16:creationId xmlns:a16="http://schemas.microsoft.com/office/drawing/2014/main" id="{067AF921-A81F-4D66-81AD-4D1C1258F4D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8" name="Rechte verbindingslijn 182">
                    <a:extLst>
                      <a:ext uri="{FF2B5EF4-FFF2-40B4-BE49-F238E27FC236}">
                        <a16:creationId xmlns:a16="http://schemas.microsoft.com/office/drawing/2014/main" id="{84CBA6D6-8FA0-4586-9C13-5D96B6F6D6E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9" name="Rechte verbindingslijn 183">
                    <a:extLst>
                      <a:ext uri="{FF2B5EF4-FFF2-40B4-BE49-F238E27FC236}">
                        <a16:creationId xmlns:a16="http://schemas.microsoft.com/office/drawing/2014/main" id="{B4BE99DF-C042-4814-B8B1-364AD391E95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2" name="Groep 176">
                  <a:extLst>
                    <a:ext uri="{FF2B5EF4-FFF2-40B4-BE49-F238E27FC236}">
                      <a16:creationId xmlns:a16="http://schemas.microsoft.com/office/drawing/2014/main" id="{6A8DD279-8E18-4803-B7E4-27343B8C70C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43" name="Rechthoek 177">
                    <a:extLst>
                      <a:ext uri="{FF2B5EF4-FFF2-40B4-BE49-F238E27FC236}">
                        <a16:creationId xmlns:a16="http://schemas.microsoft.com/office/drawing/2014/main" id="{27E197A7-241D-486E-9241-1ABC6BC5D7D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44" name="Pijl: punthaak 178">
                    <a:extLst>
                      <a:ext uri="{FF2B5EF4-FFF2-40B4-BE49-F238E27FC236}">
                        <a16:creationId xmlns:a16="http://schemas.microsoft.com/office/drawing/2014/main" id="{707E1501-AE42-4EC9-B2BC-7F026B6A085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87" name="Groep 135">
                <a:extLst>
                  <a:ext uri="{FF2B5EF4-FFF2-40B4-BE49-F238E27FC236}">
                    <a16:creationId xmlns:a16="http://schemas.microsoft.com/office/drawing/2014/main" id="{AF0FA085-F85B-4F48-8D2E-C1D6EDE4CEF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32" name="Groep 166">
                  <a:extLst>
                    <a:ext uri="{FF2B5EF4-FFF2-40B4-BE49-F238E27FC236}">
                      <a16:creationId xmlns:a16="http://schemas.microsoft.com/office/drawing/2014/main" id="{0064F9E4-1392-4082-9B97-0ED5859618D6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36" name="Rechte verbindingslijn 170">
                    <a:extLst>
                      <a:ext uri="{FF2B5EF4-FFF2-40B4-BE49-F238E27FC236}">
                        <a16:creationId xmlns:a16="http://schemas.microsoft.com/office/drawing/2014/main" id="{3D24178D-2ED9-4505-A93C-4EC7B20C8F6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7" name="Rechte verbindingslijn 171">
                    <a:extLst>
                      <a:ext uri="{FF2B5EF4-FFF2-40B4-BE49-F238E27FC236}">
                        <a16:creationId xmlns:a16="http://schemas.microsoft.com/office/drawing/2014/main" id="{F7E2A6E6-C380-4A50-9929-C1886F640E9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8" name="Rechte verbindingslijn 172">
                    <a:extLst>
                      <a:ext uri="{FF2B5EF4-FFF2-40B4-BE49-F238E27FC236}">
                        <a16:creationId xmlns:a16="http://schemas.microsoft.com/office/drawing/2014/main" id="{18416647-9058-4103-BE83-50FFA0C4FDE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9" name="Rechte verbindingslijn 173">
                    <a:extLst>
                      <a:ext uri="{FF2B5EF4-FFF2-40B4-BE49-F238E27FC236}">
                        <a16:creationId xmlns:a16="http://schemas.microsoft.com/office/drawing/2014/main" id="{BA8D4F74-C5C7-4420-9B81-1598CA1CC72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0" name="Rechte verbindingslijn 174">
                    <a:extLst>
                      <a:ext uri="{FF2B5EF4-FFF2-40B4-BE49-F238E27FC236}">
                        <a16:creationId xmlns:a16="http://schemas.microsoft.com/office/drawing/2014/main" id="{B8F66B19-01D0-4C31-9125-CEAAF76A686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33" name="Groep 167">
                  <a:extLst>
                    <a:ext uri="{FF2B5EF4-FFF2-40B4-BE49-F238E27FC236}">
                      <a16:creationId xmlns:a16="http://schemas.microsoft.com/office/drawing/2014/main" id="{0CC52204-E61B-49A9-9026-876F8615AA7C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34" name="Rechthoek 168">
                    <a:extLst>
                      <a:ext uri="{FF2B5EF4-FFF2-40B4-BE49-F238E27FC236}">
                        <a16:creationId xmlns:a16="http://schemas.microsoft.com/office/drawing/2014/main" id="{49A2AC66-8C59-4DF2-B968-E9203E29B41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5" name="Pijl: punthaak 169">
                    <a:extLst>
                      <a:ext uri="{FF2B5EF4-FFF2-40B4-BE49-F238E27FC236}">
                        <a16:creationId xmlns:a16="http://schemas.microsoft.com/office/drawing/2014/main" id="{F2A3A900-7A1C-47DC-B6CE-220530BAE8FA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88" name="Rechte verbindingslijn 136">
                <a:extLst>
                  <a:ext uri="{FF2B5EF4-FFF2-40B4-BE49-F238E27FC236}">
                    <a16:creationId xmlns:a16="http://schemas.microsoft.com/office/drawing/2014/main" id="{9F3EA019-B34E-47A5-BFCA-584D9B34D34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89" name="Rechte verbindingslijn 137">
                <a:extLst>
                  <a:ext uri="{FF2B5EF4-FFF2-40B4-BE49-F238E27FC236}">
                    <a16:creationId xmlns:a16="http://schemas.microsoft.com/office/drawing/2014/main" id="{835A1A01-4417-474D-A829-43B77CB5E28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0" name="Groep 138">
                <a:extLst>
                  <a:ext uri="{FF2B5EF4-FFF2-40B4-BE49-F238E27FC236}">
                    <a16:creationId xmlns:a16="http://schemas.microsoft.com/office/drawing/2014/main" id="{B885C1C5-394E-41FB-98AB-7B3ED8EC43A9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5" name="Rechthoek 155">
                  <a:extLst>
                    <a:ext uri="{FF2B5EF4-FFF2-40B4-BE49-F238E27FC236}">
                      <a16:creationId xmlns:a16="http://schemas.microsoft.com/office/drawing/2014/main" id="{3450A321-D798-4BA0-9209-8768B34071EA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6" name="Groep 156">
                  <a:extLst>
                    <a:ext uri="{FF2B5EF4-FFF2-40B4-BE49-F238E27FC236}">
                      <a16:creationId xmlns:a16="http://schemas.microsoft.com/office/drawing/2014/main" id="{3DCFE25D-ECE1-4AED-8C66-A3D5C667A388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7" name="Groep 157">
                    <a:extLst>
                      <a:ext uri="{FF2B5EF4-FFF2-40B4-BE49-F238E27FC236}">
                        <a16:creationId xmlns:a16="http://schemas.microsoft.com/office/drawing/2014/main" id="{C6840F30-3051-4F63-BB1A-165BC8343CD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27" name="Rechte verbindingslijn 161">
                      <a:extLst>
                        <a:ext uri="{FF2B5EF4-FFF2-40B4-BE49-F238E27FC236}">
                          <a16:creationId xmlns:a16="http://schemas.microsoft.com/office/drawing/2014/main" id="{3DB9C978-0A81-4B88-91B9-5EE89822353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8" name="Rechte verbindingslijn 162">
                      <a:extLst>
                        <a:ext uri="{FF2B5EF4-FFF2-40B4-BE49-F238E27FC236}">
                          <a16:creationId xmlns:a16="http://schemas.microsoft.com/office/drawing/2014/main" id="{2975E4EC-019D-4D67-88EB-1F191BA4F7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9" name="Rechte verbindingslijn 163">
                      <a:extLst>
                        <a:ext uri="{FF2B5EF4-FFF2-40B4-BE49-F238E27FC236}">
                          <a16:creationId xmlns:a16="http://schemas.microsoft.com/office/drawing/2014/main" id="{9D7261BA-545C-4FE5-AF62-860DB894288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0" name="Rechte verbindingslijn 164">
                      <a:extLst>
                        <a:ext uri="{FF2B5EF4-FFF2-40B4-BE49-F238E27FC236}">
                          <a16:creationId xmlns:a16="http://schemas.microsoft.com/office/drawing/2014/main" id="{25A781D2-8E4B-4609-B2AA-017643BD719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1" name="Rechte verbindingslijn 165">
                      <a:extLst>
                        <a:ext uri="{FF2B5EF4-FFF2-40B4-BE49-F238E27FC236}">
                          <a16:creationId xmlns:a16="http://schemas.microsoft.com/office/drawing/2014/main" id="{014DD1AE-D119-49A0-A1A6-5D1F86EC069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24" name="Groep 158">
                    <a:extLst>
                      <a:ext uri="{FF2B5EF4-FFF2-40B4-BE49-F238E27FC236}">
                        <a16:creationId xmlns:a16="http://schemas.microsoft.com/office/drawing/2014/main" id="{DB25CBFF-B328-4AF9-8B49-08EBF08918C0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25" name="Rechthoek 159">
                      <a:extLst>
                        <a:ext uri="{FF2B5EF4-FFF2-40B4-BE49-F238E27FC236}">
                          <a16:creationId xmlns:a16="http://schemas.microsoft.com/office/drawing/2014/main" id="{4C5D30B6-1824-4479-9968-F3AB2F12F3F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26" name="Pijl: punthaak 160">
                      <a:extLst>
                        <a:ext uri="{FF2B5EF4-FFF2-40B4-BE49-F238E27FC236}">
                          <a16:creationId xmlns:a16="http://schemas.microsoft.com/office/drawing/2014/main" id="{11B0241C-284C-47D9-8718-DA9AD3A53F62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1" name="Groep 139">
                <a:extLst>
                  <a:ext uri="{FF2B5EF4-FFF2-40B4-BE49-F238E27FC236}">
                    <a16:creationId xmlns:a16="http://schemas.microsoft.com/office/drawing/2014/main" id="{6C827328-E172-45E7-ACFE-44FC4705E944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4" name="Rechthoek 142">
                  <a:extLst>
                    <a:ext uri="{FF2B5EF4-FFF2-40B4-BE49-F238E27FC236}">
                      <a16:creationId xmlns:a16="http://schemas.microsoft.com/office/drawing/2014/main" id="{9B0D82EB-4B36-4770-BC34-326E02C8043D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5" name="Groep 143">
                  <a:extLst>
                    <a:ext uri="{FF2B5EF4-FFF2-40B4-BE49-F238E27FC236}">
                      <a16:creationId xmlns:a16="http://schemas.microsoft.com/office/drawing/2014/main" id="{9FC525C1-A250-43C1-A7EA-D846A73209D5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6" name="Groep 144">
                    <a:extLst>
                      <a:ext uri="{FF2B5EF4-FFF2-40B4-BE49-F238E27FC236}">
                        <a16:creationId xmlns:a16="http://schemas.microsoft.com/office/drawing/2014/main" id="{7504C414-3AF2-468E-9DC4-0D58EDEDE7A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0" name="Rechte verbindingslijn 150">
                      <a:extLst>
                        <a:ext uri="{FF2B5EF4-FFF2-40B4-BE49-F238E27FC236}">
                          <a16:creationId xmlns:a16="http://schemas.microsoft.com/office/drawing/2014/main" id="{B17EA66D-288A-4E5E-A9DF-ABD72A1CB29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1" name="Rechte verbindingslijn 151">
                      <a:extLst>
                        <a:ext uri="{FF2B5EF4-FFF2-40B4-BE49-F238E27FC236}">
                          <a16:creationId xmlns:a16="http://schemas.microsoft.com/office/drawing/2014/main" id="{530F4292-7F58-4609-B9E0-94EEDBEB590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2" name="Rechte verbindingslijn 152">
                      <a:extLst>
                        <a:ext uri="{FF2B5EF4-FFF2-40B4-BE49-F238E27FC236}">
                          <a16:creationId xmlns:a16="http://schemas.microsoft.com/office/drawing/2014/main" id="{C12B51EF-C0AB-4DF5-96DB-0B319522964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153">
                      <a:extLst>
                        <a:ext uri="{FF2B5EF4-FFF2-40B4-BE49-F238E27FC236}">
                          <a16:creationId xmlns:a16="http://schemas.microsoft.com/office/drawing/2014/main" id="{79C11B02-EFB8-407F-A733-152042C2657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154">
                      <a:extLst>
                        <a:ext uri="{FF2B5EF4-FFF2-40B4-BE49-F238E27FC236}">
                          <a16:creationId xmlns:a16="http://schemas.microsoft.com/office/drawing/2014/main" id="{1725CD57-4891-4ED8-9473-039A1CAF2C6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7" name="Groep 147">
                    <a:extLst>
                      <a:ext uri="{FF2B5EF4-FFF2-40B4-BE49-F238E27FC236}">
                        <a16:creationId xmlns:a16="http://schemas.microsoft.com/office/drawing/2014/main" id="{DC3FD518-FF68-4CEA-8E17-96DE9C06B728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8" name="Rechthoek 148">
                      <a:extLst>
                        <a:ext uri="{FF2B5EF4-FFF2-40B4-BE49-F238E27FC236}">
                          <a16:creationId xmlns:a16="http://schemas.microsoft.com/office/drawing/2014/main" id="{65CC7189-5331-49FB-9F33-73BED3E56FB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9" name="Pijl: punthaak 149">
                      <a:extLst>
                        <a:ext uri="{FF2B5EF4-FFF2-40B4-BE49-F238E27FC236}">
                          <a16:creationId xmlns:a16="http://schemas.microsoft.com/office/drawing/2014/main" id="{F7EC566A-8DFD-4EA5-9166-A54CD2286310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2" name="Rechthoek 140">
                <a:extLst>
                  <a:ext uri="{FF2B5EF4-FFF2-40B4-BE49-F238E27FC236}">
                    <a16:creationId xmlns:a16="http://schemas.microsoft.com/office/drawing/2014/main" id="{CA83ECBD-81CE-4371-84CE-92C72A1F90B1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193" name="Rechthoek 141">
                <a:extLst>
                  <a:ext uri="{FF2B5EF4-FFF2-40B4-BE49-F238E27FC236}">
                    <a16:creationId xmlns:a16="http://schemas.microsoft.com/office/drawing/2014/main" id="{10774EEF-6A4F-4E55-9C6E-0FF2EEB2881A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158" name="Rechte verbindingslijn 106">
              <a:extLst>
                <a:ext uri="{FF2B5EF4-FFF2-40B4-BE49-F238E27FC236}">
                  <a16:creationId xmlns:a16="http://schemas.microsoft.com/office/drawing/2014/main" id="{676CE7AB-140D-44A7-9AD5-16AEB684192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9" name="Rechthoek 107">
              <a:extLst>
                <a:ext uri="{FF2B5EF4-FFF2-40B4-BE49-F238E27FC236}">
                  <a16:creationId xmlns:a16="http://schemas.microsoft.com/office/drawing/2014/main" id="{3F0568CC-C7F1-443E-B649-4879AFC467D0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160" name="Ovaal 108">
              <a:extLst>
                <a:ext uri="{FF2B5EF4-FFF2-40B4-BE49-F238E27FC236}">
                  <a16:creationId xmlns:a16="http://schemas.microsoft.com/office/drawing/2014/main" id="{2C6685AA-D5C9-48DF-9657-8E02C6E7BDF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61" name="Rechthoek 109">
              <a:extLst>
                <a:ext uri="{FF2B5EF4-FFF2-40B4-BE49-F238E27FC236}">
                  <a16:creationId xmlns:a16="http://schemas.microsoft.com/office/drawing/2014/main" id="{8D597373-E4FF-4494-B14B-3F88BA35F207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162" name="Ovaal 110">
              <a:extLst>
                <a:ext uri="{FF2B5EF4-FFF2-40B4-BE49-F238E27FC236}">
                  <a16:creationId xmlns:a16="http://schemas.microsoft.com/office/drawing/2014/main" id="{DDE13801-D793-4697-810B-50FCB1551075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3" name="Rechthoek 111">
              <a:extLst>
                <a:ext uri="{FF2B5EF4-FFF2-40B4-BE49-F238E27FC236}">
                  <a16:creationId xmlns:a16="http://schemas.microsoft.com/office/drawing/2014/main" id="{00CBFBFB-B51A-4494-B718-5E937DFAF8ED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64" name="Ovaal 112">
              <a:extLst>
                <a:ext uri="{FF2B5EF4-FFF2-40B4-BE49-F238E27FC236}">
                  <a16:creationId xmlns:a16="http://schemas.microsoft.com/office/drawing/2014/main" id="{B91370E5-2326-414F-A4C9-F957B2F1EB52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5" name="Rechthoek 113">
              <a:extLst>
                <a:ext uri="{FF2B5EF4-FFF2-40B4-BE49-F238E27FC236}">
                  <a16:creationId xmlns:a16="http://schemas.microsoft.com/office/drawing/2014/main" id="{B63E6D8B-F044-4051-B4DE-F6C9672EC15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166" name="Ovaal 114">
              <a:extLst>
                <a:ext uri="{FF2B5EF4-FFF2-40B4-BE49-F238E27FC236}">
                  <a16:creationId xmlns:a16="http://schemas.microsoft.com/office/drawing/2014/main" id="{C6516C02-A104-48D8-AB56-9FEB02184B93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7" name="Rechthoek 115">
              <a:extLst>
                <a:ext uri="{FF2B5EF4-FFF2-40B4-BE49-F238E27FC236}">
                  <a16:creationId xmlns:a16="http://schemas.microsoft.com/office/drawing/2014/main" id="{3C00F6DD-CB7D-4799-9377-322954CD34D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168" name="Rechte verbindingslijn 116">
              <a:extLst>
                <a:ext uri="{FF2B5EF4-FFF2-40B4-BE49-F238E27FC236}">
                  <a16:creationId xmlns:a16="http://schemas.microsoft.com/office/drawing/2014/main" id="{F4FABEF1-63DF-467A-9F9B-BDAF4E2A5E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69" name="Meer informatie">
              <a:extLst>
                <a:ext uri="{FF2B5EF4-FFF2-40B4-BE49-F238E27FC236}">
                  <a16:creationId xmlns:a16="http://schemas.microsoft.com/office/drawing/2014/main" id="{97BD3274-96CB-41A6-AF1B-A896FC96C08A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179" name="Freeform 101">
                <a:extLst>
                  <a:ext uri="{FF2B5EF4-FFF2-40B4-BE49-F238E27FC236}">
                    <a16:creationId xmlns:a16="http://schemas.microsoft.com/office/drawing/2014/main" id="{12CD403E-8B30-4C2F-B166-4755C9756C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180" name="Rechthoek 128">
                <a:extLst>
                  <a:ext uri="{FF2B5EF4-FFF2-40B4-BE49-F238E27FC236}">
                    <a16:creationId xmlns:a16="http://schemas.microsoft.com/office/drawing/2014/main" id="{1ABA16FA-DC70-40E2-BBFC-41933A5FDAB3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81" name="Rechte verbindingslijn 129">
                <a:extLst>
                  <a:ext uri="{FF2B5EF4-FFF2-40B4-BE49-F238E27FC236}">
                    <a16:creationId xmlns:a16="http://schemas.microsoft.com/office/drawing/2014/main" id="{EF013C89-C7F9-417D-B42D-96D3011363B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70" name="Rechthoek 118">
              <a:extLst>
                <a:ext uri="{FF2B5EF4-FFF2-40B4-BE49-F238E27FC236}">
                  <a16:creationId xmlns:a16="http://schemas.microsoft.com/office/drawing/2014/main" id="{241DFE93-4E9D-4CC5-B1CE-BAFF7EF493C1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171" name="Ovaal 119">
              <a:extLst>
                <a:ext uri="{FF2B5EF4-FFF2-40B4-BE49-F238E27FC236}">
                  <a16:creationId xmlns:a16="http://schemas.microsoft.com/office/drawing/2014/main" id="{63B1220F-CADE-402E-8DEA-313E543DEA84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72" name="Rechthoek 120">
              <a:extLst>
                <a:ext uri="{FF2B5EF4-FFF2-40B4-BE49-F238E27FC236}">
                  <a16:creationId xmlns:a16="http://schemas.microsoft.com/office/drawing/2014/main" id="{A0A4D364-DF6D-4C06-87CC-B31D6FF17FDB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73" name="Ovaal 121">
              <a:extLst>
                <a:ext uri="{FF2B5EF4-FFF2-40B4-BE49-F238E27FC236}">
                  <a16:creationId xmlns:a16="http://schemas.microsoft.com/office/drawing/2014/main" id="{795CF184-C15B-4454-87CB-F9DDCBDD683B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74" name="Rechthoek 122">
              <a:extLst>
                <a:ext uri="{FF2B5EF4-FFF2-40B4-BE49-F238E27FC236}">
                  <a16:creationId xmlns:a16="http://schemas.microsoft.com/office/drawing/2014/main" id="{D12B8DDF-C03D-4A58-A293-3873FFF0A403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175" name="Ovaal 123">
              <a:extLst>
                <a:ext uri="{FF2B5EF4-FFF2-40B4-BE49-F238E27FC236}">
                  <a16:creationId xmlns:a16="http://schemas.microsoft.com/office/drawing/2014/main" id="{E883818F-E1F4-48B9-A0E0-D948A338F543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76" name="Rechthoek 124">
              <a:extLst>
                <a:ext uri="{FF2B5EF4-FFF2-40B4-BE49-F238E27FC236}">
                  <a16:creationId xmlns:a16="http://schemas.microsoft.com/office/drawing/2014/main" id="{BF6EC4A1-3A46-4501-8722-FF7D3DBF2232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77" name="Rechthoek 125">
              <a:extLst>
                <a:ext uri="{FF2B5EF4-FFF2-40B4-BE49-F238E27FC236}">
                  <a16:creationId xmlns:a16="http://schemas.microsoft.com/office/drawing/2014/main" id="{0434856F-B0B2-458F-87C7-87233BD64C6C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178" name="Ovaal 126">
              <a:extLst>
                <a:ext uri="{FF2B5EF4-FFF2-40B4-BE49-F238E27FC236}">
                  <a16:creationId xmlns:a16="http://schemas.microsoft.com/office/drawing/2014/main" id="{0A995F4E-2C2F-49E0-B8B2-E29D8D7804BC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  <p:pic>
        <p:nvPicPr>
          <p:cNvPr id="250" name="Afbeelding 249">
            <a:extLst>
              <a:ext uri="{FF2B5EF4-FFF2-40B4-BE49-F238E27FC236}">
                <a16:creationId xmlns:a16="http://schemas.microsoft.com/office/drawing/2014/main" id="{B7333475-27ED-427D-91B5-0755C377F9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136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ek 10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el 1">
            <a:extLst>
              <a:ext uri="{FF2B5EF4-FFF2-40B4-BE49-F238E27FC236}">
                <a16:creationId xmlns:a16="http://schemas.microsoft.com/office/drawing/2014/main" id="{87553EBB-B807-40D8-8ED2-0562C9B374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9" name="Tijdelijke aanduiding voor tekst 14">
            <a:extLst>
              <a:ext uri="{FF2B5EF4-FFF2-40B4-BE49-F238E27FC236}">
                <a16:creationId xmlns:a16="http://schemas.microsoft.com/office/drawing/2014/main" id="{C209BF21-5280-447B-A53B-6C6365D8189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56" name="Tijdelijke aanduiding voor voettekst 4">
            <a:extLst>
              <a:ext uri="{FF2B5EF4-FFF2-40B4-BE49-F238E27FC236}">
                <a16:creationId xmlns:a16="http://schemas.microsoft.com/office/drawing/2014/main" id="{791AE8B8-F5E6-4264-A78D-66A2883015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57" name="Tijdelijke aanduiding voor dianummer 5">
            <a:extLst>
              <a:ext uri="{FF2B5EF4-FFF2-40B4-BE49-F238E27FC236}">
                <a16:creationId xmlns:a16="http://schemas.microsoft.com/office/drawing/2014/main" id="{2D1565BC-73A2-4D18-B68D-8C2F7ADBE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9" y="27329718"/>
            <a:ext cx="836259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15" name="Tijdelijke aanduiding voor datum 3">
            <a:extLst>
              <a:ext uri="{FF2B5EF4-FFF2-40B4-BE49-F238E27FC236}">
                <a16:creationId xmlns:a16="http://schemas.microsoft.com/office/drawing/2014/main" id="{33EDF0CC-2116-441B-BB74-14D41A6FF9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BA924F38-C553-4513-9DED-E0AB471B3E16}" type="datetime1">
              <a:rPr lang="nl-NL" noProof="0" smtClean="0"/>
              <a:t>26-6-2023</a:t>
            </a:fld>
            <a:endParaRPr lang="nl-NL" noProof="0"/>
          </a:p>
        </p:txBody>
      </p:sp>
      <p:grpSp>
        <p:nvGrpSpPr>
          <p:cNvPr id="70" name="Instructie">
            <a:extLst>
              <a:ext uri="{FF2B5EF4-FFF2-40B4-BE49-F238E27FC236}">
                <a16:creationId xmlns:a16="http://schemas.microsoft.com/office/drawing/2014/main" id="{4F288FD3-05D1-4099-935D-17FF265B8685}"/>
              </a:ext>
            </a:extLst>
          </p:cNvPr>
          <p:cNvGrpSpPr/>
          <p:nvPr userDrawn="1"/>
        </p:nvGrpSpPr>
        <p:grpSpPr>
          <a:xfrm>
            <a:off x="43467415" y="2"/>
            <a:ext cx="11167742" cy="11035527"/>
            <a:chOff x="12391601" y="0"/>
            <a:chExt cx="3183677" cy="2499789"/>
          </a:xfrm>
        </p:grpSpPr>
        <p:sp>
          <p:nvSpPr>
            <p:cNvPr id="71" name="Rechthoek 70">
              <a:extLst>
                <a:ext uri="{FF2B5EF4-FFF2-40B4-BE49-F238E27FC236}">
                  <a16:creationId xmlns:a16="http://schemas.microsoft.com/office/drawing/2014/main" id="{80A633F5-2F23-4231-A702-033EBB96D3D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Grafiek invoegen/veranderen</a:t>
              </a:r>
            </a:p>
          </p:txBody>
        </p:sp>
        <p:sp>
          <p:nvSpPr>
            <p:cNvPr id="72" name="Ovaal 71">
              <a:extLst>
                <a:ext uri="{FF2B5EF4-FFF2-40B4-BE49-F238E27FC236}">
                  <a16:creationId xmlns:a16="http://schemas.microsoft.com/office/drawing/2014/main" id="{F2A3122B-D2BD-4946-9657-4CE3B5618E28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73" name="Rechte verbindingslijn 72">
              <a:extLst>
                <a:ext uri="{FF2B5EF4-FFF2-40B4-BE49-F238E27FC236}">
                  <a16:creationId xmlns:a16="http://schemas.microsoft.com/office/drawing/2014/main" id="{DCD1DFF7-D117-413A-AEC4-5BCD59AA84F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74" name="Rechte verbindingslijn 73">
              <a:extLst>
                <a:ext uri="{FF2B5EF4-FFF2-40B4-BE49-F238E27FC236}">
                  <a16:creationId xmlns:a16="http://schemas.microsoft.com/office/drawing/2014/main" id="{85D795B6-3D3A-4FBC-9B53-59315D88AB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75" name="Rechthoek 74">
              <a:extLst>
                <a:ext uri="{FF2B5EF4-FFF2-40B4-BE49-F238E27FC236}">
                  <a16:creationId xmlns:a16="http://schemas.microsoft.com/office/drawing/2014/main" id="{3951DCB9-1786-4CF0-B268-BBEDCFDAE8CC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grafiek d.m.v.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knop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Klik op het pictogram om een nieuwe grafiek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76" name="Ovaal 75">
              <a:extLst>
                <a:ext uri="{FF2B5EF4-FFF2-40B4-BE49-F238E27FC236}">
                  <a16:creationId xmlns:a16="http://schemas.microsoft.com/office/drawing/2014/main" id="{6CC665F5-C71A-4733-BEF6-36417F67603A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77" name="Rechthoek 76">
              <a:extLst>
                <a:ext uri="{FF2B5EF4-FFF2-40B4-BE49-F238E27FC236}">
                  <a16:creationId xmlns:a16="http://schemas.microsoft.com/office/drawing/2014/main" id="{D10D0AF0-EF84-4B57-9ED2-2840C01EC791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grafiek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78" name="Groep 77">
              <a:extLst>
                <a:ext uri="{FF2B5EF4-FFF2-40B4-BE49-F238E27FC236}">
                  <a16:creationId xmlns:a16="http://schemas.microsoft.com/office/drawing/2014/main" id="{8486C80A-5EFA-4995-AA81-95160B4194FC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84" name="Rechthoek 83">
                <a:extLst>
                  <a:ext uri="{FF2B5EF4-FFF2-40B4-BE49-F238E27FC236}">
                    <a16:creationId xmlns:a16="http://schemas.microsoft.com/office/drawing/2014/main" id="{D2EC9DF5-7074-4347-B6B3-6102F1842D33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85" name="Rechte verbindingslijn 84">
                <a:extLst>
                  <a:ext uri="{FF2B5EF4-FFF2-40B4-BE49-F238E27FC236}">
                    <a16:creationId xmlns:a16="http://schemas.microsoft.com/office/drawing/2014/main" id="{DCCA9796-766E-47B3-8B94-1A5609C11781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86" name="Gelijkbenige driehoek 85">
                <a:extLst>
                  <a:ext uri="{FF2B5EF4-FFF2-40B4-BE49-F238E27FC236}">
                    <a16:creationId xmlns:a16="http://schemas.microsoft.com/office/drawing/2014/main" id="{09C46A8C-F799-41C8-8CDE-348B54FDA05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79" name="Rechte verbindingslijn 78">
              <a:extLst>
                <a:ext uri="{FF2B5EF4-FFF2-40B4-BE49-F238E27FC236}">
                  <a16:creationId xmlns:a16="http://schemas.microsoft.com/office/drawing/2014/main" id="{3CD85963-77B0-41A2-968B-2E82770F651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80" name="Groep 79">
              <a:extLst>
                <a:ext uri="{FF2B5EF4-FFF2-40B4-BE49-F238E27FC236}">
                  <a16:creationId xmlns:a16="http://schemas.microsoft.com/office/drawing/2014/main" id="{66DAA3A2-F4D3-48D5-AF57-B97F1FFAC64D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81" name="Rechthoek 80">
                <a:extLst>
                  <a:ext uri="{FF2B5EF4-FFF2-40B4-BE49-F238E27FC236}">
                    <a16:creationId xmlns:a16="http://schemas.microsoft.com/office/drawing/2014/main" id="{BD49D11A-45BD-4A4A-BF27-06207FA8FA6F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213" noProof="0"/>
              </a:p>
            </p:txBody>
          </p:sp>
          <p:sp>
            <p:nvSpPr>
              <p:cNvPr id="82" name="Rechthoek 81">
                <a:extLst>
                  <a:ext uri="{FF2B5EF4-FFF2-40B4-BE49-F238E27FC236}">
                    <a16:creationId xmlns:a16="http://schemas.microsoft.com/office/drawing/2014/main" id="{76F0992F-AFC9-43DD-ADAB-05884C6BFF57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213" noProof="0"/>
              </a:p>
            </p:txBody>
          </p:sp>
          <p:sp>
            <p:nvSpPr>
              <p:cNvPr id="83" name="Rechthoek 82">
                <a:extLst>
                  <a:ext uri="{FF2B5EF4-FFF2-40B4-BE49-F238E27FC236}">
                    <a16:creationId xmlns:a16="http://schemas.microsoft.com/office/drawing/2014/main" id="{85CFF2E3-9064-43B0-950E-92AE39C359D0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213" noProof="0"/>
              </a:p>
            </p:txBody>
          </p:sp>
        </p:grpSp>
      </p:grpSp>
      <p:sp>
        <p:nvSpPr>
          <p:cNvPr id="87" name="Tijdelijke aanduiding voor grafiek 7">
            <a:extLst>
              <a:ext uri="{FF2B5EF4-FFF2-40B4-BE49-F238E27FC236}">
                <a16:creationId xmlns:a16="http://schemas.microsoft.com/office/drawing/2014/main" id="{A9C16D6A-032C-433A-A11B-424C800889B5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1731100" y="6476684"/>
            <a:ext cx="39293754" cy="19046182"/>
          </a:xfrm>
          <a:solidFill>
            <a:schemeClr val="bg1">
              <a:lumMod val="95000"/>
            </a:schemeClr>
          </a:solidFill>
        </p:spPr>
        <p:txBody>
          <a:bodyPr tIns="1260000"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grafiek in te voegen</a:t>
            </a:r>
          </a:p>
        </p:txBody>
      </p:sp>
      <p:grpSp>
        <p:nvGrpSpPr>
          <p:cNvPr id="88" name="Instructie">
            <a:extLst>
              <a:ext uri="{FF2B5EF4-FFF2-40B4-BE49-F238E27FC236}">
                <a16:creationId xmlns:a16="http://schemas.microsoft.com/office/drawing/2014/main" id="{53F7785A-34C7-452E-A1C1-38DE0432DAD8}"/>
              </a:ext>
            </a:extLst>
          </p:cNvPr>
          <p:cNvGrpSpPr/>
          <p:nvPr userDrawn="1"/>
        </p:nvGrpSpPr>
        <p:grpSpPr>
          <a:xfrm>
            <a:off x="43460797" y="12724935"/>
            <a:ext cx="11167742" cy="11242262"/>
            <a:chOff x="12389714" y="4327164"/>
            <a:chExt cx="3183677" cy="2546619"/>
          </a:xfrm>
        </p:grpSpPr>
        <p:grpSp>
          <p:nvGrpSpPr>
            <p:cNvPr id="89" name="Meer informatie">
              <a:extLst>
                <a:ext uri="{FF2B5EF4-FFF2-40B4-BE49-F238E27FC236}">
                  <a16:creationId xmlns:a16="http://schemas.microsoft.com/office/drawing/2014/main" id="{7DD20BE5-1851-47FD-923A-646B1B5B1285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27" name="Freeform 101">
                <a:extLst>
                  <a:ext uri="{FF2B5EF4-FFF2-40B4-BE49-F238E27FC236}">
                    <a16:creationId xmlns:a16="http://schemas.microsoft.com/office/drawing/2014/main" id="{0561BCF6-F9D6-47A3-87C7-BB97886934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128" name="Rechthoek 67">
                <a:extLst>
                  <a:ext uri="{FF2B5EF4-FFF2-40B4-BE49-F238E27FC236}">
                    <a16:creationId xmlns:a16="http://schemas.microsoft.com/office/drawing/2014/main" id="{A7CB8F7D-F7F0-4620-8F5C-408E2BEA3852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9" name="Rechte verbindingslijn 68">
                <a:extLst>
                  <a:ext uri="{FF2B5EF4-FFF2-40B4-BE49-F238E27FC236}">
                    <a16:creationId xmlns:a16="http://schemas.microsoft.com/office/drawing/2014/main" id="{6BF45B2F-0EAE-4976-9150-40DA9CFFC00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90" name="Rechte verbindingslijn 18">
              <a:extLst>
                <a:ext uri="{FF2B5EF4-FFF2-40B4-BE49-F238E27FC236}">
                  <a16:creationId xmlns:a16="http://schemas.microsoft.com/office/drawing/2014/main" id="{4F5C4FCC-62C4-4880-A55C-720365500A9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1" name="Rechthoek 19">
              <a:extLst>
                <a:ext uri="{FF2B5EF4-FFF2-40B4-BE49-F238E27FC236}">
                  <a16:creationId xmlns:a16="http://schemas.microsoft.com/office/drawing/2014/main" id="{951788F5-C0D5-45F2-8CC2-00E00F35EB2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Data van de Grafiek Bewerken</a:t>
              </a:r>
            </a:p>
          </p:txBody>
        </p:sp>
        <p:sp>
          <p:nvSpPr>
            <p:cNvPr id="92" name="Ovaal 20">
              <a:extLst>
                <a:ext uri="{FF2B5EF4-FFF2-40B4-BE49-F238E27FC236}">
                  <a16:creationId xmlns:a16="http://schemas.microsoft.com/office/drawing/2014/main" id="{B6978B74-6709-4498-941B-E7B011D2A3A9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3" name="Rechte verbindingslijn 21">
              <a:extLst>
                <a:ext uri="{FF2B5EF4-FFF2-40B4-BE49-F238E27FC236}">
                  <a16:creationId xmlns:a16="http://schemas.microsoft.com/office/drawing/2014/main" id="{29FE9002-40FB-4F9E-AD3E-B6F2CDCF644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4" name="Rechthoek 22">
              <a:extLst>
                <a:ext uri="{FF2B5EF4-FFF2-40B4-BE49-F238E27FC236}">
                  <a16:creationId xmlns:a16="http://schemas.microsoft.com/office/drawing/2014/main" id="{84347C12-6C19-4086-A84F-C8094EA6DAD5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3859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eer de grafiek, klik met de rechter muisknop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lang="nl-NL" sz="3859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Gegevens bewerk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.</a:t>
              </a:r>
              <a:endParaRPr lang="nl-NL" sz="3859" b="1" kern="0" noProof="0">
                <a:solidFill>
                  <a:schemeClr val="tx1"/>
                </a:solidFill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95" name="Groep 23">
              <a:extLst>
                <a:ext uri="{FF2B5EF4-FFF2-40B4-BE49-F238E27FC236}">
                  <a16:creationId xmlns:a16="http://schemas.microsoft.com/office/drawing/2014/main" id="{CE33C2F0-2E7D-48D1-8C55-50F538B4194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96" name="Rechthoek 24">
                <a:extLst>
                  <a:ext uri="{FF2B5EF4-FFF2-40B4-BE49-F238E27FC236}">
                    <a16:creationId xmlns:a16="http://schemas.microsoft.com/office/drawing/2014/main" id="{66EC7A12-1A64-447B-868E-060FE4FD08AD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7" name="Rechthoek 25">
                <a:extLst>
                  <a:ext uri="{FF2B5EF4-FFF2-40B4-BE49-F238E27FC236}">
                    <a16:creationId xmlns:a16="http://schemas.microsoft.com/office/drawing/2014/main" id="{DB48068D-635D-4706-91B1-C091089BDA66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98" name="Tekstvak 26">
                <a:extLst>
                  <a:ext uri="{FF2B5EF4-FFF2-40B4-BE49-F238E27FC236}">
                    <a16:creationId xmlns:a16="http://schemas.microsoft.com/office/drawing/2014/main" id="{8D7C2E97-4A43-4FC9-B2B2-25AD92EA2650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1199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3158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Grafiektype wijzigen</a:t>
                </a:r>
              </a:p>
            </p:txBody>
          </p:sp>
          <p:sp>
            <p:nvSpPr>
              <p:cNvPr id="99" name="Tekstvak 27">
                <a:extLst>
                  <a:ext uri="{FF2B5EF4-FFF2-40B4-BE49-F238E27FC236}">
                    <a16:creationId xmlns:a16="http://schemas.microsoft.com/office/drawing/2014/main" id="{B51CB4EF-DE70-44A4-8C17-C490F222C671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1199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3158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Gegevens bewerken</a:t>
                </a:r>
              </a:p>
            </p:txBody>
          </p:sp>
          <p:pic>
            <p:nvPicPr>
              <p:cNvPr id="100" name="Picture 3">
                <a:extLst>
                  <a:ext uri="{FF2B5EF4-FFF2-40B4-BE49-F238E27FC236}">
                    <a16:creationId xmlns:a16="http://schemas.microsoft.com/office/drawing/2014/main" id="{CA1C2B67-981A-4B9F-893B-AF816501B632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01" name="Groep 29">
                <a:extLst>
                  <a:ext uri="{FF2B5EF4-FFF2-40B4-BE49-F238E27FC236}">
                    <a16:creationId xmlns:a16="http://schemas.microsoft.com/office/drawing/2014/main" id="{4BF7F814-165D-43E1-9FD8-9B1CDB53F65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24" name="Rechthoek 63">
                  <a:extLst>
                    <a:ext uri="{FF2B5EF4-FFF2-40B4-BE49-F238E27FC236}">
                      <a16:creationId xmlns:a16="http://schemas.microsoft.com/office/drawing/2014/main" id="{1021EA66-9820-4EF4-A601-75D164B751BF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7016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25" name="Rechthoek 64">
                  <a:extLst>
                    <a:ext uri="{FF2B5EF4-FFF2-40B4-BE49-F238E27FC236}">
                      <a16:creationId xmlns:a16="http://schemas.microsoft.com/office/drawing/2014/main" id="{AFCF2F70-4ACF-4D6F-8021-B18FEC7A021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7016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26" name="Rechthoek 65">
                  <a:extLst>
                    <a:ext uri="{FF2B5EF4-FFF2-40B4-BE49-F238E27FC236}">
                      <a16:creationId xmlns:a16="http://schemas.microsoft.com/office/drawing/2014/main" id="{8588A13F-ED52-4C13-82DB-DD1A0121A75C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7016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102" name="Groep 30">
                <a:extLst>
                  <a:ext uri="{FF2B5EF4-FFF2-40B4-BE49-F238E27FC236}">
                    <a16:creationId xmlns:a16="http://schemas.microsoft.com/office/drawing/2014/main" id="{9CC8A7BB-A217-4E82-83FE-18B0CF6CFDDE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03" name="Rechthoek 32">
                  <a:extLst>
                    <a:ext uri="{FF2B5EF4-FFF2-40B4-BE49-F238E27FC236}">
                      <a16:creationId xmlns:a16="http://schemas.microsoft.com/office/drawing/2014/main" id="{DD1653FA-0745-45C9-AB44-9771CBDFB789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  <p:grpSp>
              <p:nvGrpSpPr>
                <p:cNvPr id="104" name="Groep 33">
                  <a:extLst>
                    <a:ext uri="{FF2B5EF4-FFF2-40B4-BE49-F238E27FC236}">
                      <a16:creationId xmlns:a16="http://schemas.microsoft.com/office/drawing/2014/main" id="{E6934D63-7531-43B5-970A-EA9D1E828E6D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05" name="Groep 34">
                    <a:extLst>
                      <a:ext uri="{FF2B5EF4-FFF2-40B4-BE49-F238E27FC236}">
                        <a16:creationId xmlns:a16="http://schemas.microsoft.com/office/drawing/2014/main" id="{F220610C-864B-41F5-BF47-263678A5654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10" name="Rechthoek 40">
                      <a:extLst>
                        <a:ext uri="{FF2B5EF4-FFF2-40B4-BE49-F238E27FC236}">
                          <a16:creationId xmlns:a16="http://schemas.microsoft.com/office/drawing/2014/main" id="{1560DB24-BB90-4DBF-8F10-5835B8C29D3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nl-NL" sz="16213" noProof="0"/>
                    </a:p>
                  </p:txBody>
                </p:sp>
                <p:grpSp>
                  <p:nvGrpSpPr>
                    <p:cNvPr id="111" name="Groep 41">
                      <a:extLst>
                        <a:ext uri="{FF2B5EF4-FFF2-40B4-BE49-F238E27FC236}">
                          <a16:creationId xmlns:a16="http://schemas.microsoft.com/office/drawing/2014/main" id="{8793715A-8E5D-448A-B251-A757AAC6896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17" name="Rechte verbindingslijn 54">
                        <a:extLst>
                          <a:ext uri="{FF2B5EF4-FFF2-40B4-BE49-F238E27FC236}">
                            <a16:creationId xmlns:a16="http://schemas.microsoft.com/office/drawing/2014/main" id="{379454F7-5D8E-4388-BFCE-20C5192CC396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18" name="Rechte verbindingslijn 57">
                        <a:extLst>
                          <a:ext uri="{FF2B5EF4-FFF2-40B4-BE49-F238E27FC236}">
                            <a16:creationId xmlns:a16="http://schemas.microsoft.com/office/drawing/2014/main" id="{D30E02CE-A815-4EB8-86C8-FCCCFD6F9DC2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19" name="Groep 58">
                        <a:extLst>
                          <a:ext uri="{FF2B5EF4-FFF2-40B4-BE49-F238E27FC236}">
                            <a16:creationId xmlns:a16="http://schemas.microsoft.com/office/drawing/2014/main" id="{30FD823C-0C8A-48E0-BE3D-41D3364B4F84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20" name="Rechte verbindingslijn 59">
                          <a:extLst>
                            <a:ext uri="{FF2B5EF4-FFF2-40B4-BE49-F238E27FC236}">
                              <a16:creationId xmlns:a16="http://schemas.microsoft.com/office/drawing/2014/main" id="{5EE368B5-695E-40BB-8BE4-2D60A5FD31E3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21" name="Rechte verbindingslijn 60">
                          <a:extLst>
                            <a:ext uri="{FF2B5EF4-FFF2-40B4-BE49-F238E27FC236}">
                              <a16:creationId xmlns:a16="http://schemas.microsoft.com/office/drawing/2014/main" id="{08250238-2CEC-4486-86E7-87E49DBC950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22" name="Rechte verbindingslijn 61">
                          <a:extLst>
                            <a:ext uri="{FF2B5EF4-FFF2-40B4-BE49-F238E27FC236}">
                              <a16:creationId xmlns:a16="http://schemas.microsoft.com/office/drawing/2014/main" id="{A2916DE2-51F6-431A-989C-6B50E91300B3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23" name="Rechte verbindingslijn 62">
                          <a:extLst>
                            <a:ext uri="{FF2B5EF4-FFF2-40B4-BE49-F238E27FC236}">
                              <a16:creationId xmlns:a16="http://schemas.microsoft.com/office/drawing/2014/main" id="{D01FABA5-56B1-4508-8520-0970B835AA80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12" name="Rechte verbindingslijn 42">
                      <a:extLst>
                        <a:ext uri="{FF2B5EF4-FFF2-40B4-BE49-F238E27FC236}">
                          <a16:creationId xmlns:a16="http://schemas.microsoft.com/office/drawing/2014/main" id="{829D683C-C761-4019-A267-A69DCA14701D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13" name="Groep 43">
                      <a:extLst>
                        <a:ext uri="{FF2B5EF4-FFF2-40B4-BE49-F238E27FC236}">
                          <a16:creationId xmlns:a16="http://schemas.microsoft.com/office/drawing/2014/main" id="{8FA65023-6EBC-42D9-BB44-8F0DA6161724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14" name="Rechte verbindingslijn 44">
                        <a:extLst>
                          <a:ext uri="{FF2B5EF4-FFF2-40B4-BE49-F238E27FC236}">
                            <a16:creationId xmlns:a16="http://schemas.microsoft.com/office/drawing/2014/main" id="{F69C7BF7-CC6B-4928-82BF-951383DD605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15" name="Rechte verbindingslijn 45">
                        <a:extLst>
                          <a:ext uri="{FF2B5EF4-FFF2-40B4-BE49-F238E27FC236}">
                            <a16:creationId xmlns:a16="http://schemas.microsoft.com/office/drawing/2014/main" id="{72AA022E-334F-402C-BF6A-3F130AABEF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16" name="Rechte verbindingslijn 46">
                        <a:extLst>
                          <a:ext uri="{FF2B5EF4-FFF2-40B4-BE49-F238E27FC236}">
                            <a16:creationId xmlns:a16="http://schemas.microsoft.com/office/drawing/2014/main" id="{9A3B6704-48DA-4BFA-9D19-7DD1FB958A8F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06" name="Groep 35">
                    <a:extLst>
                      <a:ext uri="{FF2B5EF4-FFF2-40B4-BE49-F238E27FC236}">
                        <a16:creationId xmlns:a16="http://schemas.microsoft.com/office/drawing/2014/main" id="{36E216B6-C2D1-4038-8361-EAC40813570A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07" name="Rechthoek 36">
                      <a:extLst>
                        <a:ext uri="{FF2B5EF4-FFF2-40B4-BE49-F238E27FC236}">
                          <a16:creationId xmlns:a16="http://schemas.microsoft.com/office/drawing/2014/main" id="{58ED66A8-E7B6-420C-AB99-3A4926A323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nl-NL" sz="16213" noProof="0"/>
                    </a:p>
                  </p:txBody>
                </p:sp>
                <p:sp>
                  <p:nvSpPr>
                    <p:cNvPr id="108" name="Rechthoek: afgeronde bovenhoeken 37">
                      <a:extLst>
                        <a:ext uri="{FF2B5EF4-FFF2-40B4-BE49-F238E27FC236}">
                          <a16:creationId xmlns:a16="http://schemas.microsoft.com/office/drawing/2014/main" id="{690E7ED7-B57C-4D4D-AA59-D3D7262A464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nl-NL" sz="16213" noProof="0"/>
                    </a:p>
                  </p:txBody>
                </p:sp>
                <p:sp>
                  <p:nvSpPr>
                    <p:cNvPr id="109" name="Gelijkbenige driehoek 39">
                      <a:extLst>
                        <a:ext uri="{FF2B5EF4-FFF2-40B4-BE49-F238E27FC236}">
                          <a16:creationId xmlns:a16="http://schemas.microsoft.com/office/drawing/2014/main" id="{43D322D6-9AC6-4A4D-8837-A6FDD92E98B8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nl-NL" sz="16213" noProof="0"/>
                    </a:p>
                  </p:txBody>
                </p:sp>
              </p:grpSp>
            </p:grpSp>
          </p:grpSp>
        </p:grpSp>
      </p:grp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620E16FE-96C3-4B35-80A7-63041DAC8C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3259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7" grpId="0" animBg="1"/>
    </p:bld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Tabel 50%/5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tabel 8"/>
          <p:cNvSpPr>
            <a:spLocks noGrp="1"/>
          </p:cNvSpPr>
          <p:nvPr>
            <p:ph type="tbl" sz="quarter" idx="15" hasCustomPrompt="1"/>
          </p:nvPr>
        </p:nvSpPr>
        <p:spPr>
          <a:xfrm>
            <a:off x="22853749" y="6476679"/>
            <a:ext cx="18171107" cy="19074347"/>
          </a:xfrm>
          <a:solidFill>
            <a:schemeClr val="bg1">
              <a:lumMod val="95000"/>
            </a:schemeClr>
          </a:solidFill>
        </p:spPr>
        <p:txBody>
          <a:bodyPr tIns="936000" anchor="ctr">
            <a:normAutofit/>
          </a:bodyPr>
          <a:lstStyle>
            <a:lvl1pPr marL="0" indent="0" algn="ctr"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tabel in te voegen</a:t>
            </a:r>
          </a:p>
        </p:txBody>
      </p:sp>
      <p:sp>
        <p:nvSpPr>
          <p:cNvPr id="34" name="Titel 1">
            <a:extLst>
              <a:ext uri="{FF2B5EF4-FFF2-40B4-BE49-F238E27FC236}">
                <a16:creationId xmlns:a16="http://schemas.microsoft.com/office/drawing/2014/main" id="{53A6CE20-1E7A-4F87-96EC-7E964AA913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41" name="Tijdelijke aanduiding voor tekst 14">
            <a:extLst>
              <a:ext uri="{FF2B5EF4-FFF2-40B4-BE49-F238E27FC236}">
                <a16:creationId xmlns:a16="http://schemas.microsoft.com/office/drawing/2014/main" id="{4B035891-3F3E-4E86-9D5A-96D1E3B9D0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58" name="Tijdelijke aanduiding voor voettekst 4">
            <a:extLst>
              <a:ext uri="{FF2B5EF4-FFF2-40B4-BE49-F238E27FC236}">
                <a16:creationId xmlns:a16="http://schemas.microsoft.com/office/drawing/2014/main" id="{0E659B60-CF7C-460A-A879-0DDBF9C652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59" name="Tijdelijke aanduiding voor dianummer 5">
            <a:extLst>
              <a:ext uri="{FF2B5EF4-FFF2-40B4-BE49-F238E27FC236}">
                <a16:creationId xmlns:a16="http://schemas.microsoft.com/office/drawing/2014/main" id="{F1A38C1E-7B15-4C30-B676-08D9095C1F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9" y="27329718"/>
            <a:ext cx="834509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cxnSp>
        <p:nvCxnSpPr>
          <p:cNvPr id="16" name="Rechte verbindingslijn 15">
            <a:extLst>
              <a:ext uri="{FF2B5EF4-FFF2-40B4-BE49-F238E27FC236}">
                <a16:creationId xmlns:a16="http://schemas.microsoft.com/office/drawing/2014/main" id="{FFF3BAD7-1631-43B4-803E-B259FAD5CBD9}"/>
              </a:ext>
            </a:extLst>
          </p:cNvPr>
          <p:cNvCxnSpPr/>
          <p:nvPr userDrawn="1"/>
        </p:nvCxnSpPr>
        <p:spPr>
          <a:xfrm>
            <a:off x="21383618" y="6476683"/>
            <a:ext cx="0" cy="19074342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jdelijke aanduiding voor datum 3">
            <a:extLst>
              <a:ext uri="{FF2B5EF4-FFF2-40B4-BE49-F238E27FC236}">
                <a16:creationId xmlns:a16="http://schemas.microsoft.com/office/drawing/2014/main" id="{1CAF262E-2810-4D1F-9499-C43352B839B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40D1CF22-7FF8-47A0-9650-2B0221F03856}" type="datetime1">
              <a:rPr lang="nl-NL" noProof="0" smtClean="0"/>
              <a:t>26-6-2023</a:t>
            </a:fld>
            <a:endParaRPr lang="nl-NL" noProof="0"/>
          </a:p>
        </p:txBody>
      </p:sp>
      <p:grpSp>
        <p:nvGrpSpPr>
          <p:cNvPr id="280" name="Instructie">
            <a:extLst>
              <a:ext uri="{FF2B5EF4-FFF2-40B4-BE49-F238E27FC236}">
                <a16:creationId xmlns:a16="http://schemas.microsoft.com/office/drawing/2014/main" id="{2B4A24AC-D413-4868-8058-2E7028169D2D}"/>
              </a:ext>
            </a:extLst>
          </p:cNvPr>
          <p:cNvGrpSpPr/>
          <p:nvPr userDrawn="1"/>
        </p:nvGrpSpPr>
        <p:grpSpPr>
          <a:xfrm>
            <a:off x="43467416" y="0"/>
            <a:ext cx="11167745" cy="15089920"/>
            <a:chOff x="12391601" y="0"/>
            <a:chExt cx="3183678" cy="3418198"/>
          </a:xfrm>
        </p:grpSpPr>
        <p:grpSp>
          <p:nvGrpSpPr>
            <p:cNvPr id="281" name="Meer informatie">
              <a:extLst>
                <a:ext uri="{FF2B5EF4-FFF2-40B4-BE49-F238E27FC236}">
                  <a16:creationId xmlns:a16="http://schemas.microsoft.com/office/drawing/2014/main" id="{9243C2AD-1B75-45D3-92DD-DD1FB0FD99FA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03" name="Freeform 101">
                <a:extLst>
                  <a:ext uri="{FF2B5EF4-FFF2-40B4-BE49-F238E27FC236}">
                    <a16:creationId xmlns:a16="http://schemas.microsoft.com/office/drawing/2014/main" id="{2C391DC9-8B6D-4222-8692-E7BF2DBE2E6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304" name="Rechthoek 42">
                <a:extLst>
                  <a:ext uri="{FF2B5EF4-FFF2-40B4-BE49-F238E27FC236}">
                    <a16:creationId xmlns:a16="http://schemas.microsoft.com/office/drawing/2014/main" id="{FF65114B-0581-431C-AB31-34A98540EC8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05" name="Rechte verbindingslijn 43">
                <a:extLst>
                  <a:ext uri="{FF2B5EF4-FFF2-40B4-BE49-F238E27FC236}">
                    <a16:creationId xmlns:a16="http://schemas.microsoft.com/office/drawing/2014/main" id="{A4B20D59-F67D-4587-99BA-C28562D568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82" name="Rechthoek 18">
              <a:extLst>
                <a:ext uri="{FF2B5EF4-FFF2-40B4-BE49-F238E27FC236}">
                  <a16:creationId xmlns:a16="http://schemas.microsoft.com/office/drawing/2014/main" id="{34C62FF0-4CB9-400C-B7FA-3540D4950E77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abel invoegen/veranderen</a:t>
              </a:r>
            </a:p>
          </p:txBody>
        </p:sp>
        <p:sp>
          <p:nvSpPr>
            <p:cNvPr id="283" name="Ovaal 19">
              <a:extLst>
                <a:ext uri="{FF2B5EF4-FFF2-40B4-BE49-F238E27FC236}">
                  <a16:creationId xmlns:a16="http://schemas.microsoft.com/office/drawing/2014/main" id="{124D720E-45AC-4FC1-8F70-1AC44897E716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84" name="Rechte verbindingslijn 20">
              <a:extLst>
                <a:ext uri="{FF2B5EF4-FFF2-40B4-BE49-F238E27FC236}">
                  <a16:creationId xmlns:a16="http://schemas.microsoft.com/office/drawing/2014/main" id="{AA8A2DE9-5C6E-4413-B83A-1258C023B84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85" name="Rechte verbindingslijn 21">
              <a:extLst>
                <a:ext uri="{FF2B5EF4-FFF2-40B4-BE49-F238E27FC236}">
                  <a16:creationId xmlns:a16="http://schemas.microsoft.com/office/drawing/2014/main" id="{1BF8BE4C-0321-40BF-90C0-75FB67D901E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86" name="Rechthoek 22">
              <a:extLst>
                <a:ext uri="{FF2B5EF4-FFF2-40B4-BE49-F238E27FC236}">
                  <a16:creationId xmlns:a16="http://schemas.microsoft.com/office/drawing/2014/main" id="{79699C99-630D-4ECC-AE0D-E9BAF27776BF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tabel d.m.v.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knop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Klik op het pictogram om een nieuwe tabel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87" name="Ovaal 23">
              <a:extLst>
                <a:ext uri="{FF2B5EF4-FFF2-40B4-BE49-F238E27FC236}">
                  <a16:creationId xmlns:a16="http://schemas.microsoft.com/office/drawing/2014/main" id="{C9AFDD1C-F9AE-4720-9E74-A1569AB69780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88" name="Rechthoek 24">
              <a:extLst>
                <a:ext uri="{FF2B5EF4-FFF2-40B4-BE49-F238E27FC236}">
                  <a16:creationId xmlns:a16="http://schemas.microsoft.com/office/drawing/2014/main" id="{7ABBC656-B28C-4130-B400-5607AA4923A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het gewenste aantal rijen en kolommen en klik op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OK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89" name="Groep 25">
              <a:extLst>
                <a:ext uri="{FF2B5EF4-FFF2-40B4-BE49-F238E27FC236}">
                  <a16:creationId xmlns:a16="http://schemas.microsoft.com/office/drawing/2014/main" id="{553EF675-8D57-4CDB-96AE-82482E39D73C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00" name="Rechthoek 38">
                <a:extLst>
                  <a:ext uri="{FF2B5EF4-FFF2-40B4-BE49-F238E27FC236}">
                    <a16:creationId xmlns:a16="http://schemas.microsoft.com/office/drawing/2014/main" id="{2F857859-306A-4329-8E7B-5FBDD9ADE31D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01" name="Rechte verbindingslijn 39">
                <a:extLst>
                  <a:ext uri="{FF2B5EF4-FFF2-40B4-BE49-F238E27FC236}">
                    <a16:creationId xmlns:a16="http://schemas.microsoft.com/office/drawing/2014/main" id="{7DE06FE1-B8EA-41EE-ADC6-40F6101952F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02" name="Gelijkbenige driehoek 40">
                <a:extLst>
                  <a:ext uri="{FF2B5EF4-FFF2-40B4-BE49-F238E27FC236}">
                    <a16:creationId xmlns:a16="http://schemas.microsoft.com/office/drawing/2014/main" id="{7E63E397-3C23-4D4C-AE99-F9FD9BAC558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90" name="Rechte verbindingslijn 26">
              <a:extLst>
                <a:ext uri="{FF2B5EF4-FFF2-40B4-BE49-F238E27FC236}">
                  <a16:creationId xmlns:a16="http://schemas.microsoft.com/office/drawing/2014/main" id="{1375935E-2E70-4D67-92F9-D1CB32E3F7E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91" name="Tabel icoon">
              <a:extLst>
                <a:ext uri="{FF2B5EF4-FFF2-40B4-BE49-F238E27FC236}">
                  <a16:creationId xmlns:a16="http://schemas.microsoft.com/office/drawing/2014/main" id="{F80D05A0-B5F2-45BC-B9FC-0832D5DF8AF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292" name="Rechthoek 28">
                <a:extLst>
                  <a:ext uri="{FF2B5EF4-FFF2-40B4-BE49-F238E27FC236}">
                    <a16:creationId xmlns:a16="http://schemas.microsoft.com/office/drawing/2014/main" id="{70B563BA-0620-491B-B293-056902650706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213" noProof="0"/>
              </a:p>
            </p:txBody>
          </p:sp>
          <p:sp>
            <p:nvSpPr>
              <p:cNvPr id="293" name="Rechthoek 29">
                <a:extLst>
                  <a:ext uri="{FF2B5EF4-FFF2-40B4-BE49-F238E27FC236}">
                    <a16:creationId xmlns:a16="http://schemas.microsoft.com/office/drawing/2014/main" id="{35D5FEF4-598D-4BBF-9B8D-1CA3FB8FFF8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213" noProof="0"/>
              </a:p>
            </p:txBody>
          </p:sp>
          <p:cxnSp>
            <p:nvCxnSpPr>
              <p:cNvPr id="294" name="Rechte verbindingslijn 31">
                <a:extLst>
                  <a:ext uri="{FF2B5EF4-FFF2-40B4-BE49-F238E27FC236}">
                    <a16:creationId xmlns:a16="http://schemas.microsoft.com/office/drawing/2014/main" id="{7BF67D53-15DA-455D-863E-D2527CD34144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5" name="Rechte verbindingslijn 32">
                <a:extLst>
                  <a:ext uri="{FF2B5EF4-FFF2-40B4-BE49-F238E27FC236}">
                    <a16:creationId xmlns:a16="http://schemas.microsoft.com/office/drawing/2014/main" id="{00D1984A-FE07-4608-A2C0-F79191030836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6" name="Rechte verbindingslijn 33">
                <a:extLst>
                  <a:ext uri="{FF2B5EF4-FFF2-40B4-BE49-F238E27FC236}">
                    <a16:creationId xmlns:a16="http://schemas.microsoft.com/office/drawing/2014/main" id="{F80FBDA0-7AC6-415C-96ED-2EA9BDDEA33E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7" name="Rechte verbindingslijn 34">
                <a:extLst>
                  <a:ext uri="{FF2B5EF4-FFF2-40B4-BE49-F238E27FC236}">
                    <a16:creationId xmlns:a16="http://schemas.microsoft.com/office/drawing/2014/main" id="{41F1123B-31D8-4B3F-B094-FC72371A715D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8" name="Rechte verbindingslijn 35">
                <a:extLst>
                  <a:ext uri="{FF2B5EF4-FFF2-40B4-BE49-F238E27FC236}">
                    <a16:creationId xmlns:a16="http://schemas.microsoft.com/office/drawing/2014/main" id="{6A12731C-DD13-4DC0-AC4B-5D001DA969D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99" name="Rechthoek 36">
                <a:extLst>
                  <a:ext uri="{FF2B5EF4-FFF2-40B4-BE49-F238E27FC236}">
                    <a16:creationId xmlns:a16="http://schemas.microsoft.com/office/drawing/2014/main" id="{C065C823-BDF7-4F3A-97CF-917B4D5F0E6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213" noProof="0"/>
              </a:p>
            </p:txBody>
          </p:sp>
        </p:grpSp>
      </p:grpSp>
      <p:sp>
        <p:nvSpPr>
          <p:cNvPr id="131" name="Tijdelijke aanduiding voor tekst 4">
            <a:extLst>
              <a:ext uri="{FF2B5EF4-FFF2-40B4-BE49-F238E27FC236}">
                <a16:creationId xmlns:a16="http://schemas.microsoft.com/office/drawing/2014/main" id="{00E166CD-7E11-4ACD-A2FC-A33D649ED95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42373" y="6476685"/>
            <a:ext cx="18171872" cy="1907433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bullet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bullet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grpSp>
        <p:nvGrpSpPr>
          <p:cNvPr id="132" name="Groep 101">
            <a:extLst>
              <a:ext uri="{FF2B5EF4-FFF2-40B4-BE49-F238E27FC236}">
                <a16:creationId xmlns:a16="http://schemas.microsoft.com/office/drawing/2014/main" id="{567835C9-B128-4388-A905-EC39C38F0441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133" name="Rechthoek 102">
              <a:extLst>
                <a:ext uri="{FF2B5EF4-FFF2-40B4-BE49-F238E27FC236}">
                  <a16:creationId xmlns:a16="http://schemas.microsoft.com/office/drawing/2014/main" id="{A1EC0658-3BB0-4EBF-9091-A1C16CAC101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134" name="Ovaal 103">
              <a:extLst>
                <a:ext uri="{FF2B5EF4-FFF2-40B4-BE49-F238E27FC236}">
                  <a16:creationId xmlns:a16="http://schemas.microsoft.com/office/drawing/2014/main" id="{9BF17C1E-019D-4DD2-9095-5982D00EFB2E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5" name="Rechte verbindingslijn 104">
              <a:extLst>
                <a:ext uri="{FF2B5EF4-FFF2-40B4-BE49-F238E27FC236}">
                  <a16:creationId xmlns:a16="http://schemas.microsoft.com/office/drawing/2014/main" id="{8B774C17-9041-40BA-8A5E-45B2AC79C0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6" name="Groep 105">
              <a:extLst>
                <a:ext uri="{FF2B5EF4-FFF2-40B4-BE49-F238E27FC236}">
                  <a16:creationId xmlns:a16="http://schemas.microsoft.com/office/drawing/2014/main" id="{2413DCA5-AAC1-4C49-AF1A-1BE0D77A5558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61" name="Rechthoek 130">
                <a:extLst>
                  <a:ext uri="{FF2B5EF4-FFF2-40B4-BE49-F238E27FC236}">
                    <a16:creationId xmlns:a16="http://schemas.microsoft.com/office/drawing/2014/main" id="{BBBFDFCF-1B35-4472-8144-07BB29BECE4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162" name="Rechte verbindingslijn 131">
                <a:extLst>
                  <a:ext uri="{FF2B5EF4-FFF2-40B4-BE49-F238E27FC236}">
                    <a16:creationId xmlns:a16="http://schemas.microsoft.com/office/drawing/2014/main" id="{1D6D1223-7E7A-447F-9E2B-CDDC6DF1873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Rechte verbindingslijn 132">
                <a:extLst>
                  <a:ext uri="{FF2B5EF4-FFF2-40B4-BE49-F238E27FC236}">
                    <a16:creationId xmlns:a16="http://schemas.microsoft.com/office/drawing/2014/main" id="{FBEDABC6-8278-4769-B611-FF1331F5011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4" name="Rechthoek 133">
                <a:extLst>
                  <a:ext uri="{FF2B5EF4-FFF2-40B4-BE49-F238E27FC236}">
                    <a16:creationId xmlns:a16="http://schemas.microsoft.com/office/drawing/2014/main" id="{16F083F3-851B-4977-9633-B9F5A6F619CB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65" name="Groep 134">
                <a:extLst>
                  <a:ext uri="{FF2B5EF4-FFF2-40B4-BE49-F238E27FC236}">
                    <a16:creationId xmlns:a16="http://schemas.microsoft.com/office/drawing/2014/main" id="{89C60A64-B359-45DD-9C74-76A52EF0C235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04" name="Groep 175">
                  <a:extLst>
                    <a:ext uri="{FF2B5EF4-FFF2-40B4-BE49-F238E27FC236}">
                      <a16:creationId xmlns:a16="http://schemas.microsoft.com/office/drawing/2014/main" id="{88927F47-5879-43A0-8F81-4DCE1E99E6D8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08" name="Rechte verbindingslijn 179">
                    <a:extLst>
                      <a:ext uri="{FF2B5EF4-FFF2-40B4-BE49-F238E27FC236}">
                        <a16:creationId xmlns:a16="http://schemas.microsoft.com/office/drawing/2014/main" id="{43230C98-0AAF-4558-BFF4-296310BAE8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9" name="Rechte verbindingslijn 180">
                    <a:extLst>
                      <a:ext uri="{FF2B5EF4-FFF2-40B4-BE49-F238E27FC236}">
                        <a16:creationId xmlns:a16="http://schemas.microsoft.com/office/drawing/2014/main" id="{11A08B21-977F-47F9-88E6-D179CA04DCD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0" name="Rechte verbindingslijn 181">
                    <a:extLst>
                      <a:ext uri="{FF2B5EF4-FFF2-40B4-BE49-F238E27FC236}">
                        <a16:creationId xmlns:a16="http://schemas.microsoft.com/office/drawing/2014/main" id="{8AD3D414-8938-49CF-8C4C-0D5EA87C69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1" name="Rechte verbindingslijn 182">
                    <a:extLst>
                      <a:ext uri="{FF2B5EF4-FFF2-40B4-BE49-F238E27FC236}">
                        <a16:creationId xmlns:a16="http://schemas.microsoft.com/office/drawing/2014/main" id="{A4FC1E39-E2CE-4241-AD9D-D78149DD9F1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06" name="Rechte verbindingslijn 183">
                    <a:extLst>
                      <a:ext uri="{FF2B5EF4-FFF2-40B4-BE49-F238E27FC236}">
                        <a16:creationId xmlns:a16="http://schemas.microsoft.com/office/drawing/2014/main" id="{B5ABCD7F-C89B-4AC4-98A1-2A3602A9CE9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5" name="Groep 176">
                  <a:extLst>
                    <a:ext uri="{FF2B5EF4-FFF2-40B4-BE49-F238E27FC236}">
                      <a16:creationId xmlns:a16="http://schemas.microsoft.com/office/drawing/2014/main" id="{8C0CBCED-C746-4BED-BB8C-077E2FB407F8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6" name="Rechthoek 177">
                    <a:extLst>
                      <a:ext uri="{FF2B5EF4-FFF2-40B4-BE49-F238E27FC236}">
                        <a16:creationId xmlns:a16="http://schemas.microsoft.com/office/drawing/2014/main" id="{457E2ECD-5F1C-46E4-8EDC-1950FCEBE6F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7" name="Pijl: punthaak 178">
                    <a:extLst>
                      <a:ext uri="{FF2B5EF4-FFF2-40B4-BE49-F238E27FC236}">
                        <a16:creationId xmlns:a16="http://schemas.microsoft.com/office/drawing/2014/main" id="{14C3D550-F63B-4EFD-9437-DFBEB8D634E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66" name="Groep 135">
                <a:extLst>
                  <a:ext uri="{FF2B5EF4-FFF2-40B4-BE49-F238E27FC236}">
                    <a16:creationId xmlns:a16="http://schemas.microsoft.com/office/drawing/2014/main" id="{2D66C02B-AC8C-4DD9-B0BA-E7415F7FAA0E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95" name="Groep 166">
                  <a:extLst>
                    <a:ext uri="{FF2B5EF4-FFF2-40B4-BE49-F238E27FC236}">
                      <a16:creationId xmlns:a16="http://schemas.microsoft.com/office/drawing/2014/main" id="{63089621-8CD3-4A7E-B49F-3E98199D8233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9" name="Rechte verbindingslijn 170">
                    <a:extLst>
                      <a:ext uri="{FF2B5EF4-FFF2-40B4-BE49-F238E27FC236}">
                        <a16:creationId xmlns:a16="http://schemas.microsoft.com/office/drawing/2014/main" id="{B222357E-96F6-4F02-ACDE-789C4510C0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171">
                    <a:extLst>
                      <a:ext uri="{FF2B5EF4-FFF2-40B4-BE49-F238E27FC236}">
                        <a16:creationId xmlns:a16="http://schemas.microsoft.com/office/drawing/2014/main" id="{3C21D942-0C6D-450B-80E3-0A352500F55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172">
                    <a:extLst>
                      <a:ext uri="{FF2B5EF4-FFF2-40B4-BE49-F238E27FC236}">
                        <a16:creationId xmlns:a16="http://schemas.microsoft.com/office/drawing/2014/main" id="{BE96836E-2C3B-4FDB-AEA0-0D35027CD8C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173">
                    <a:extLst>
                      <a:ext uri="{FF2B5EF4-FFF2-40B4-BE49-F238E27FC236}">
                        <a16:creationId xmlns:a16="http://schemas.microsoft.com/office/drawing/2014/main" id="{AA56C7F1-454C-4A11-AD98-A557E9FE261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174">
                    <a:extLst>
                      <a:ext uri="{FF2B5EF4-FFF2-40B4-BE49-F238E27FC236}">
                        <a16:creationId xmlns:a16="http://schemas.microsoft.com/office/drawing/2014/main" id="{30FAD6E7-EF7B-4889-94B7-22AE7525C15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167">
                  <a:extLst>
                    <a:ext uri="{FF2B5EF4-FFF2-40B4-BE49-F238E27FC236}">
                      <a16:creationId xmlns:a16="http://schemas.microsoft.com/office/drawing/2014/main" id="{EA046BA6-00A4-4295-A460-CCCD1171F13F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168">
                    <a:extLst>
                      <a:ext uri="{FF2B5EF4-FFF2-40B4-BE49-F238E27FC236}">
                        <a16:creationId xmlns:a16="http://schemas.microsoft.com/office/drawing/2014/main" id="{6AD43176-054E-4C6C-9AE0-26004C8E2B31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Pijl: punthaak 169">
                    <a:extLst>
                      <a:ext uri="{FF2B5EF4-FFF2-40B4-BE49-F238E27FC236}">
                        <a16:creationId xmlns:a16="http://schemas.microsoft.com/office/drawing/2014/main" id="{3879E932-3544-4208-A00E-C51AA6F78D4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67" name="Rechte verbindingslijn 136">
                <a:extLst>
                  <a:ext uri="{FF2B5EF4-FFF2-40B4-BE49-F238E27FC236}">
                    <a16:creationId xmlns:a16="http://schemas.microsoft.com/office/drawing/2014/main" id="{35B1AAEB-05FD-4D50-AFC3-5E5954C009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68" name="Rechte verbindingslijn 137">
                <a:extLst>
                  <a:ext uri="{FF2B5EF4-FFF2-40B4-BE49-F238E27FC236}">
                    <a16:creationId xmlns:a16="http://schemas.microsoft.com/office/drawing/2014/main" id="{C4FB6C9C-C5E3-436A-9A8C-09F05847DC5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9" name="Groep 138">
                <a:extLst>
                  <a:ext uri="{FF2B5EF4-FFF2-40B4-BE49-F238E27FC236}">
                    <a16:creationId xmlns:a16="http://schemas.microsoft.com/office/drawing/2014/main" id="{129CEDA6-1545-4C1C-A3E1-F2AF3C3BF9FC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84" name="Rechthoek 155">
                  <a:extLst>
                    <a:ext uri="{FF2B5EF4-FFF2-40B4-BE49-F238E27FC236}">
                      <a16:creationId xmlns:a16="http://schemas.microsoft.com/office/drawing/2014/main" id="{841DC097-5E36-4C64-9283-2BB0777BE43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5" name="Groep 156">
                  <a:extLst>
                    <a:ext uri="{FF2B5EF4-FFF2-40B4-BE49-F238E27FC236}">
                      <a16:creationId xmlns:a16="http://schemas.microsoft.com/office/drawing/2014/main" id="{40AE14A5-58AB-40D8-A8CC-0C5C94E8C6F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86" name="Groep 157">
                    <a:extLst>
                      <a:ext uri="{FF2B5EF4-FFF2-40B4-BE49-F238E27FC236}">
                        <a16:creationId xmlns:a16="http://schemas.microsoft.com/office/drawing/2014/main" id="{B6D9D285-90D2-431F-9E7A-8A701B39441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0" name="Rechte verbindingslijn 161">
                      <a:extLst>
                        <a:ext uri="{FF2B5EF4-FFF2-40B4-BE49-F238E27FC236}">
                          <a16:creationId xmlns:a16="http://schemas.microsoft.com/office/drawing/2014/main" id="{9A870CDF-6C59-4275-9555-7D3347C60AB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1" name="Rechte verbindingslijn 162">
                      <a:extLst>
                        <a:ext uri="{FF2B5EF4-FFF2-40B4-BE49-F238E27FC236}">
                          <a16:creationId xmlns:a16="http://schemas.microsoft.com/office/drawing/2014/main" id="{7E50BD3C-FE61-42F0-9534-A1CDE34341E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2" name="Rechte verbindingslijn 163">
                      <a:extLst>
                        <a:ext uri="{FF2B5EF4-FFF2-40B4-BE49-F238E27FC236}">
                          <a16:creationId xmlns:a16="http://schemas.microsoft.com/office/drawing/2014/main" id="{61385B85-5234-4A41-9923-CABD8165C0B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3" name="Rechte verbindingslijn 164">
                      <a:extLst>
                        <a:ext uri="{FF2B5EF4-FFF2-40B4-BE49-F238E27FC236}">
                          <a16:creationId xmlns:a16="http://schemas.microsoft.com/office/drawing/2014/main" id="{6236E2B2-29F0-4263-81F0-A83E4AADD3D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4" name="Rechte verbindingslijn 165">
                      <a:extLst>
                        <a:ext uri="{FF2B5EF4-FFF2-40B4-BE49-F238E27FC236}">
                          <a16:creationId xmlns:a16="http://schemas.microsoft.com/office/drawing/2014/main" id="{34F45B6F-E663-4C97-800E-860BA67D050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7" name="Groep 158">
                    <a:extLst>
                      <a:ext uri="{FF2B5EF4-FFF2-40B4-BE49-F238E27FC236}">
                        <a16:creationId xmlns:a16="http://schemas.microsoft.com/office/drawing/2014/main" id="{ADC83032-FF34-4D00-86C6-D5F21D296BF4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8" name="Rechthoek 159">
                      <a:extLst>
                        <a:ext uri="{FF2B5EF4-FFF2-40B4-BE49-F238E27FC236}">
                          <a16:creationId xmlns:a16="http://schemas.microsoft.com/office/drawing/2014/main" id="{70902A04-7D59-4C17-98ED-BC310A23E8A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9" name="Pijl: punthaak 160">
                      <a:extLst>
                        <a:ext uri="{FF2B5EF4-FFF2-40B4-BE49-F238E27FC236}">
                          <a16:creationId xmlns:a16="http://schemas.microsoft.com/office/drawing/2014/main" id="{93B4D83B-F085-46CF-973B-2524AD42920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0" name="Groep 139">
                <a:extLst>
                  <a:ext uri="{FF2B5EF4-FFF2-40B4-BE49-F238E27FC236}">
                    <a16:creationId xmlns:a16="http://schemas.microsoft.com/office/drawing/2014/main" id="{37C09F35-B81E-45AB-A0A3-D10C5CB705D3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3" name="Rechthoek 142">
                  <a:extLst>
                    <a:ext uri="{FF2B5EF4-FFF2-40B4-BE49-F238E27FC236}">
                      <a16:creationId xmlns:a16="http://schemas.microsoft.com/office/drawing/2014/main" id="{79A80045-72E1-4D66-85A6-DCE9C4B3641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4" name="Groep 143">
                  <a:extLst>
                    <a:ext uri="{FF2B5EF4-FFF2-40B4-BE49-F238E27FC236}">
                      <a16:creationId xmlns:a16="http://schemas.microsoft.com/office/drawing/2014/main" id="{5DFFF8E4-6A9D-4924-8B4E-A5AAB1937BEC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75" name="Groep 144">
                    <a:extLst>
                      <a:ext uri="{FF2B5EF4-FFF2-40B4-BE49-F238E27FC236}">
                        <a16:creationId xmlns:a16="http://schemas.microsoft.com/office/drawing/2014/main" id="{69D647B7-A8C1-40D3-BF5A-886857789E3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9" name="Rechte verbindingslijn 150">
                      <a:extLst>
                        <a:ext uri="{FF2B5EF4-FFF2-40B4-BE49-F238E27FC236}">
                          <a16:creationId xmlns:a16="http://schemas.microsoft.com/office/drawing/2014/main" id="{D201D167-1A34-4576-9B51-9EF1AA3A4C5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0" name="Rechte verbindingslijn 151">
                      <a:extLst>
                        <a:ext uri="{FF2B5EF4-FFF2-40B4-BE49-F238E27FC236}">
                          <a16:creationId xmlns:a16="http://schemas.microsoft.com/office/drawing/2014/main" id="{3724FC78-B582-43EC-A683-F52EE41CA88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1" name="Rechte verbindingslijn 152">
                      <a:extLst>
                        <a:ext uri="{FF2B5EF4-FFF2-40B4-BE49-F238E27FC236}">
                          <a16:creationId xmlns:a16="http://schemas.microsoft.com/office/drawing/2014/main" id="{DF40A37B-A2E6-4233-A64B-2B159E6E081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153">
                      <a:extLst>
                        <a:ext uri="{FF2B5EF4-FFF2-40B4-BE49-F238E27FC236}">
                          <a16:creationId xmlns:a16="http://schemas.microsoft.com/office/drawing/2014/main" id="{6C86622D-01C6-4049-BD86-69AC95CCC5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154">
                      <a:extLst>
                        <a:ext uri="{FF2B5EF4-FFF2-40B4-BE49-F238E27FC236}">
                          <a16:creationId xmlns:a16="http://schemas.microsoft.com/office/drawing/2014/main" id="{064CF244-2AEB-4EAF-863F-9E538AF59D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6" name="Groep 147">
                    <a:extLst>
                      <a:ext uri="{FF2B5EF4-FFF2-40B4-BE49-F238E27FC236}">
                        <a16:creationId xmlns:a16="http://schemas.microsoft.com/office/drawing/2014/main" id="{27F889A0-DD66-4969-B5F3-49ABF8BA546F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7" name="Rechthoek 148">
                      <a:extLst>
                        <a:ext uri="{FF2B5EF4-FFF2-40B4-BE49-F238E27FC236}">
                          <a16:creationId xmlns:a16="http://schemas.microsoft.com/office/drawing/2014/main" id="{7ECD9D23-35BF-4754-BE5D-20F0F1C7157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78" name="Pijl: punthaak 149">
                      <a:extLst>
                        <a:ext uri="{FF2B5EF4-FFF2-40B4-BE49-F238E27FC236}">
                          <a16:creationId xmlns:a16="http://schemas.microsoft.com/office/drawing/2014/main" id="{0BB7F6B3-64AF-4729-BA23-8F114249C0F2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1" name="Rechthoek 140">
                <a:extLst>
                  <a:ext uri="{FF2B5EF4-FFF2-40B4-BE49-F238E27FC236}">
                    <a16:creationId xmlns:a16="http://schemas.microsoft.com/office/drawing/2014/main" id="{87D45D06-B442-44D0-B66A-F6851F4A04AF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172" name="Rechthoek 141">
                <a:extLst>
                  <a:ext uri="{FF2B5EF4-FFF2-40B4-BE49-F238E27FC236}">
                    <a16:creationId xmlns:a16="http://schemas.microsoft.com/office/drawing/2014/main" id="{02F3FAEE-393B-4E88-91C1-8E64AFE73E01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137" name="Rechte verbindingslijn 106">
              <a:extLst>
                <a:ext uri="{FF2B5EF4-FFF2-40B4-BE49-F238E27FC236}">
                  <a16:creationId xmlns:a16="http://schemas.microsoft.com/office/drawing/2014/main" id="{AFB99157-DA5C-46C3-85E6-82E74922C86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38" name="Rechthoek 107">
              <a:extLst>
                <a:ext uri="{FF2B5EF4-FFF2-40B4-BE49-F238E27FC236}">
                  <a16:creationId xmlns:a16="http://schemas.microsoft.com/office/drawing/2014/main" id="{1EB70A77-4D24-4B1F-A168-9C6633B7B45E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139" name="Ovaal 108">
              <a:extLst>
                <a:ext uri="{FF2B5EF4-FFF2-40B4-BE49-F238E27FC236}">
                  <a16:creationId xmlns:a16="http://schemas.microsoft.com/office/drawing/2014/main" id="{93BDBE71-0899-40AB-9228-23FFBA3F1A3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0" name="Rechthoek 109">
              <a:extLst>
                <a:ext uri="{FF2B5EF4-FFF2-40B4-BE49-F238E27FC236}">
                  <a16:creationId xmlns:a16="http://schemas.microsoft.com/office/drawing/2014/main" id="{C1EC5EDC-3D42-4554-A084-0E0A90DF279B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141" name="Ovaal 110">
              <a:extLst>
                <a:ext uri="{FF2B5EF4-FFF2-40B4-BE49-F238E27FC236}">
                  <a16:creationId xmlns:a16="http://schemas.microsoft.com/office/drawing/2014/main" id="{2CC0A145-60E4-462A-A69C-0C364F924528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2" name="Rechthoek 111">
              <a:extLst>
                <a:ext uri="{FF2B5EF4-FFF2-40B4-BE49-F238E27FC236}">
                  <a16:creationId xmlns:a16="http://schemas.microsoft.com/office/drawing/2014/main" id="{D2CDA024-405E-4DA2-ABD4-ECCE29B0C6D4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43" name="Ovaal 112">
              <a:extLst>
                <a:ext uri="{FF2B5EF4-FFF2-40B4-BE49-F238E27FC236}">
                  <a16:creationId xmlns:a16="http://schemas.microsoft.com/office/drawing/2014/main" id="{2B2E7192-0402-4FCF-AF31-A170B4FF60C8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4" name="Rechthoek 113">
              <a:extLst>
                <a:ext uri="{FF2B5EF4-FFF2-40B4-BE49-F238E27FC236}">
                  <a16:creationId xmlns:a16="http://schemas.microsoft.com/office/drawing/2014/main" id="{73AD1A30-4E0C-427A-991A-1E7E8EBF0CB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145" name="Ovaal 114">
              <a:extLst>
                <a:ext uri="{FF2B5EF4-FFF2-40B4-BE49-F238E27FC236}">
                  <a16:creationId xmlns:a16="http://schemas.microsoft.com/office/drawing/2014/main" id="{D0AB2B93-DF30-4D53-9B11-276748D84CB4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6" name="Rechthoek 115">
              <a:extLst>
                <a:ext uri="{FF2B5EF4-FFF2-40B4-BE49-F238E27FC236}">
                  <a16:creationId xmlns:a16="http://schemas.microsoft.com/office/drawing/2014/main" id="{DCEEC80C-03E8-4ED4-8042-8E160D2DBFA6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147" name="Rechte verbindingslijn 116">
              <a:extLst>
                <a:ext uri="{FF2B5EF4-FFF2-40B4-BE49-F238E27FC236}">
                  <a16:creationId xmlns:a16="http://schemas.microsoft.com/office/drawing/2014/main" id="{CC419C43-526A-4F3A-BC3F-12C32F2C15B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48" name="Meer informatie">
              <a:extLst>
                <a:ext uri="{FF2B5EF4-FFF2-40B4-BE49-F238E27FC236}">
                  <a16:creationId xmlns:a16="http://schemas.microsoft.com/office/drawing/2014/main" id="{8725FBB4-0254-4BC3-9A16-F6F60B765C19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158" name="Freeform 101">
                <a:extLst>
                  <a:ext uri="{FF2B5EF4-FFF2-40B4-BE49-F238E27FC236}">
                    <a16:creationId xmlns:a16="http://schemas.microsoft.com/office/drawing/2014/main" id="{CFBA7BDB-DF1A-4849-A772-762E5DF987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159" name="Rechthoek 128">
                <a:extLst>
                  <a:ext uri="{FF2B5EF4-FFF2-40B4-BE49-F238E27FC236}">
                    <a16:creationId xmlns:a16="http://schemas.microsoft.com/office/drawing/2014/main" id="{3B188684-AC32-4862-A945-C623AB851D52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60" name="Rechte verbindingslijn 129">
                <a:extLst>
                  <a:ext uri="{FF2B5EF4-FFF2-40B4-BE49-F238E27FC236}">
                    <a16:creationId xmlns:a16="http://schemas.microsoft.com/office/drawing/2014/main" id="{5F7DC580-5AEB-4513-B436-052BFA01B91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Rechthoek 118">
              <a:extLst>
                <a:ext uri="{FF2B5EF4-FFF2-40B4-BE49-F238E27FC236}">
                  <a16:creationId xmlns:a16="http://schemas.microsoft.com/office/drawing/2014/main" id="{27C5F8F2-478C-4DA0-BA95-9B1969EA3167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150" name="Ovaal 119">
              <a:extLst>
                <a:ext uri="{FF2B5EF4-FFF2-40B4-BE49-F238E27FC236}">
                  <a16:creationId xmlns:a16="http://schemas.microsoft.com/office/drawing/2014/main" id="{658643E3-49C5-4076-B365-96476588E226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51" name="Rechthoek 120">
              <a:extLst>
                <a:ext uri="{FF2B5EF4-FFF2-40B4-BE49-F238E27FC236}">
                  <a16:creationId xmlns:a16="http://schemas.microsoft.com/office/drawing/2014/main" id="{D0E05C12-73DC-4E9F-8C5B-033E096621A5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52" name="Ovaal 121">
              <a:extLst>
                <a:ext uri="{FF2B5EF4-FFF2-40B4-BE49-F238E27FC236}">
                  <a16:creationId xmlns:a16="http://schemas.microsoft.com/office/drawing/2014/main" id="{81C45B65-BEC7-47D3-877D-B5BE0C066D58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53" name="Rechthoek 122">
              <a:extLst>
                <a:ext uri="{FF2B5EF4-FFF2-40B4-BE49-F238E27FC236}">
                  <a16:creationId xmlns:a16="http://schemas.microsoft.com/office/drawing/2014/main" id="{F3B30888-2411-4496-9C47-716D822BB671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154" name="Ovaal 123">
              <a:extLst>
                <a:ext uri="{FF2B5EF4-FFF2-40B4-BE49-F238E27FC236}">
                  <a16:creationId xmlns:a16="http://schemas.microsoft.com/office/drawing/2014/main" id="{C6FDCC2B-F897-440A-8333-0CE5AD6CD5ED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55" name="Rechthoek 124">
              <a:extLst>
                <a:ext uri="{FF2B5EF4-FFF2-40B4-BE49-F238E27FC236}">
                  <a16:creationId xmlns:a16="http://schemas.microsoft.com/office/drawing/2014/main" id="{05563509-8824-4428-85BB-F0DEE1A81C9A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56" name="Rechthoek 125">
              <a:extLst>
                <a:ext uri="{FF2B5EF4-FFF2-40B4-BE49-F238E27FC236}">
                  <a16:creationId xmlns:a16="http://schemas.microsoft.com/office/drawing/2014/main" id="{3E6957DA-D08C-4A4B-9F06-1D6A08D914AE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157" name="Ovaal 126">
              <a:extLst>
                <a:ext uri="{FF2B5EF4-FFF2-40B4-BE49-F238E27FC236}">
                  <a16:creationId xmlns:a16="http://schemas.microsoft.com/office/drawing/2014/main" id="{5CA2E8CD-A03D-41DF-BCC8-ABB9FFB2E45E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  <p:pic>
        <p:nvPicPr>
          <p:cNvPr id="307" name="Afbeelding 306">
            <a:extLst>
              <a:ext uri="{FF2B5EF4-FFF2-40B4-BE49-F238E27FC236}">
                <a16:creationId xmlns:a16="http://schemas.microsoft.com/office/drawing/2014/main" id="{F7CBAA26-C3F6-4707-A0EF-91BEAF96AB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4088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 10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tabel 8"/>
          <p:cNvSpPr>
            <a:spLocks noGrp="1"/>
          </p:cNvSpPr>
          <p:nvPr>
            <p:ph type="tbl" sz="quarter" idx="15" hasCustomPrompt="1"/>
          </p:nvPr>
        </p:nvSpPr>
        <p:spPr>
          <a:xfrm>
            <a:off x="1731104" y="6504861"/>
            <a:ext cx="39293754" cy="19046172"/>
          </a:xfrm>
          <a:solidFill>
            <a:schemeClr val="bg1">
              <a:lumMod val="95000"/>
            </a:schemeClr>
          </a:solidFill>
        </p:spPr>
        <p:txBody>
          <a:bodyPr tIns="1008000" anchor="ctr">
            <a:normAutofit/>
          </a:bodyPr>
          <a:lstStyle>
            <a:lvl1pPr marL="0" indent="0" algn="ctr"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tabel in te voegen</a:t>
            </a:r>
          </a:p>
        </p:txBody>
      </p:sp>
      <p:sp>
        <p:nvSpPr>
          <p:cNvPr id="31" name="Titel 1">
            <a:extLst>
              <a:ext uri="{FF2B5EF4-FFF2-40B4-BE49-F238E27FC236}">
                <a16:creationId xmlns:a16="http://schemas.microsoft.com/office/drawing/2014/main" id="{BFC323C8-4E0C-4511-852A-2596E66977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8" name="Tijdelijke aanduiding voor tekst 14">
            <a:extLst>
              <a:ext uri="{FF2B5EF4-FFF2-40B4-BE49-F238E27FC236}">
                <a16:creationId xmlns:a16="http://schemas.microsoft.com/office/drawing/2014/main" id="{8DA7C7FA-DB31-4BAA-B073-75C781A5B1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55" name="Tijdelijke aanduiding voor voettekst 4">
            <a:extLst>
              <a:ext uri="{FF2B5EF4-FFF2-40B4-BE49-F238E27FC236}">
                <a16:creationId xmlns:a16="http://schemas.microsoft.com/office/drawing/2014/main" id="{A0E628BA-C2CD-4496-9DDE-D19D860FA9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56" name="Tijdelijke aanduiding voor dianummer 5">
            <a:extLst>
              <a:ext uri="{FF2B5EF4-FFF2-40B4-BE49-F238E27FC236}">
                <a16:creationId xmlns:a16="http://schemas.microsoft.com/office/drawing/2014/main" id="{16FCF319-FDBA-49D0-94CD-E4F09D9A89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7" y="27329718"/>
            <a:ext cx="888118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15" name="Tijdelijke aanduiding voor datum 3">
            <a:extLst>
              <a:ext uri="{FF2B5EF4-FFF2-40B4-BE49-F238E27FC236}">
                <a16:creationId xmlns:a16="http://schemas.microsoft.com/office/drawing/2014/main" id="{9ACCADF5-C9AA-4EE4-AA1D-F3AA86363F4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FEAEE37F-F197-4C21-9E5F-56F480958CE7}" type="datetime1">
              <a:rPr lang="nl-NL" noProof="0" smtClean="0"/>
              <a:t>26-6-2023</a:t>
            </a:fld>
            <a:endParaRPr lang="nl-NL" noProof="0"/>
          </a:p>
        </p:txBody>
      </p:sp>
      <p:grpSp>
        <p:nvGrpSpPr>
          <p:cNvPr id="17" name="Instructie">
            <a:extLst>
              <a:ext uri="{FF2B5EF4-FFF2-40B4-BE49-F238E27FC236}">
                <a16:creationId xmlns:a16="http://schemas.microsoft.com/office/drawing/2014/main" id="{D0346CC6-5714-49A4-B402-7D09C66BA7DC}"/>
              </a:ext>
            </a:extLst>
          </p:cNvPr>
          <p:cNvGrpSpPr/>
          <p:nvPr userDrawn="1"/>
        </p:nvGrpSpPr>
        <p:grpSpPr>
          <a:xfrm>
            <a:off x="43467416" y="0"/>
            <a:ext cx="11167745" cy="15089920"/>
            <a:chOff x="12391601" y="0"/>
            <a:chExt cx="3183678" cy="3418198"/>
          </a:xfrm>
        </p:grpSpPr>
        <p:grpSp>
          <p:nvGrpSpPr>
            <p:cNvPr id="18" name="Meer informatie">
              <a:extLst>
                <a:ext uri="{FF2B5EF4-FFF2-40B4-BE49-F238E27FC236}">
                  <a16:creationId xmlns:a16="http://schemas.microsoft.com/office/drawing/2014/main" id="{A59BD865-259C-4528-9B81-5A4BD0072F22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42" name="Freeform 101">
                <a:extLst>
                  <a:ext uri="{FF2B5EF4-FFF2-40B4-BE49-F238E27FC236}">
                    <a16:creationId xmlns:a16="http://schemas.microsoft.com/office/drawing/2014/main" id="{5D8CEEAB-B360-4AEA-A355-9A60F90296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9762ABFA-1C61-4AB0-A828-E7C6E3F74827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44" name="Rechte verbindingslijn 43">
                <a:extLst>
                  <a:ext uri="{FF2B5EF4-FFF2-40B4-BE49-F238E27FC236}">
                    <a16:creationId xmlns:a16="http://schemas.microsoft.com/office/drawing/2014/main" id="{23FAD46D-568E-49D2-A42C-7494B770004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E040640F-8072-4826-9B23-4EA805C14D62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abel invoegen/veranderen</a:t>
              </a:r>
            </a:p>
          </p:txBody>
        </p:sp>
        <p:sp>
          <p:nvSpPr>
            <p:cNvPr id="20" name="Ovaal 19">
              <a:extLst>
                <a:ext uri="{FF2B5EF4-FFF2-40B4-BE49-F238E27FC236}">
                  <a16:creationId xmlns:a16="http://schemas.microsoft.com/office/drawing/2014/main" id="{61A65DC2-EB15-4A25-8F4B-3D0FCCFF56F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" name="Rechte verbindingslijn 20">
              <a:extLst>
                <a:ext uri="{FF2B5EF4-FFF2-40B4-BE49-F238E27FC236}">
                  <a16:creationId xmlns:a16="http://schemas.microsoft.com/office/drawing/2014/main" id="{C62AE54A-037E-49C1-B6BE-F4CD20DBA8B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2" name="Rechte verbindingslijn 21">
              <a:extLst>
                <a:ext uri="{FF2B5EF4-FFF2-40B4-BE49-F238E27FC236}">
                  <a16:creationId xmlns:a16="http://schemas.microsoft.com/office/drawing/2014/main" id="{280B39BD-F3C4-43B4-9A07-4F651B59484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D2C0F12F-1A93-4418-BA52-07C58BD25ED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tabel d.m.v.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knop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Klik op het pictogram om een nieuwe tabel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4" name="Ovaal 23">
              <a:extLst>
                <a:ext uri="{FF2B5EF4-FFF2-40B4-BE49-F238E27FC236}">
                  <a16:creationId xmlns:a16="http://schemas.microsoft.com/office/drawing/2014/main" id="{5FAB0342-BB5D-4A76-90F3-EAB8DA00321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5" name="Rechthoek 24">
              <a:extLst>
                <a:ext uri="{FF2B5EF4-FFF2-40B4-BE49-F238E27FC236}">
                  <a16:creationId xmlns:a16="http://schemas.microsoft.com/office/drawing/2014/main" id="{2032FDA1-E921-4F09-9866-58C690F9B84F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het gewenste aantal rijen en kolommen en klik op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OK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6" name="Groep 25">
              <a:extLst>
                <a:ext uri="{FF2B5EF4-FFF2-40B4-BE49-F238E27FC236}">
                  <a16:creationId xmlns:a16="http://schemas.microsoft.com/office/drawing/2014/main" id="{053614B9-F09D-4A52-BF22-D148EF9FF325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id="{A629ECB7-22D1-481C-B742-0CB46560111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40" name="Rechte verbindingslijn 39">
                <a:extLst>
                  <a:ext uri="{FF2B5EF4-FFF2-40B4-BE49-F238E27FC236}">
                    <a16:creationId xmlns:a16="http://schemas.microsoft.com/office/drawing/2014/main" id="{F3C55515-F56B-4DC5-8E35-7F18535736B9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1" name="Gelijkbenige driehoek 40">
                <a:extLst>
                  <a:ext uri="{FF2B5EF4-FFF2-40B4-BE49-F238E27FC236}">
                    <a16:creationId xmlns:a16="http://schemas.microsoft.com/office/drawing/2014/main" id="{BDF352CD-1AA1-43E9-9AC9-586BFE30485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7" name="Rechte verbindingslijn 26">
              <a:extLst>
                <a:ext uri="{FF2B5EF4-FFF2-40B4-BE49-F238E27FC236}">
                  <a16:creationId xmlns:a16="http://schemas.microsoft.com/office/drawing/2014/main" id="{8DD3AD9A-78D7-4780-868E-1108CFBD2D8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8" name="Tabel icoon">
              <a:extLst>
                <a:ext uri="{FF2B5EF4-FFF2-40B4-BE49-F238E27FC236}">
                  <a16:creationId xmlns:a16="http://schemas.microsoft.com/office/drawing/2014/main" id="{77722F23-9340-4348-BF03-CCA96C179576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29" name="Rechthoek 28">
                <a:extLst>
                  <a:ext uri="{FF2B5EF4-FFF2-40B4-BE49-F238E27FC236}">
                    <a16:creationId xmlns:a16="http://schemas.microsoft.com/office/drawing/2014/main" id="{07D54DD3-F79F-47C5-AEAE-C764015A5D9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213" noProof="0"/>
              </a:p>
            </p:txBody>
          </p:sp>
          <p:sp>
            <p:nvSpPr>
              <p:cNvPr id="30" name="Rechthoek 29">
                <a:extLst>
                  <a:ext uri="{FF2B5EF4-FFF2-40B4-BE49-F238E27FC236}">
                    <a16:creationId xmlns:a16="http://schemas.microsoft.com/office/drawing/2014/main" id="{A23A456A-C5E3-4D8A-B905-AC67661B538C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213" noProof="0"/>
              </a:p>
            </p:txBody>
          </p:sp>
          <p:cxnSp>
            <p:nvCxnSpPr>
              <p:cNvPr id="32" name="Rechte verbindingslijn 31">
                <a:extLst>
                  <a:ext uri="{FF2B5EF4-FFF2-40B4-BE49-F238E27FC236}">
                    <a16:creationId xmlns:a16="http://schemas.microsoft.com/office/drawing/2014/main" id="{C5839E5F-7E96-417B-8E38-C3EE1FE2ACE3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Rechte verbindingslijn 32">
                <a:extLst>
                  <a:ext uri="{FF2B5EF4-FFF2-40B4-BE49-F238E27FC236}">
                    <a16:creationId xmlns:a16="http://schemas.microsoft.com/office/drawing/2014/main" id="{66AFE308-FDE2-4808-9A4E-A2B97233F5E6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Rechte verbindingslijn 33">
                <a:extLst>
                  <a:ext uri="{FF2B5EF4-FFF2-40B4-BE49-F238E27FC236}">
                    <a16:creationId xmlns:a16="http://schemas.microsoft.com/office/drawing/2014/main" id="{C9884DB6-B915-4200-A819-9B011A3A61C9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Rechte verbindingslijn 34">
                <a:extLst>
                  <a:ext uri="{FF2B5EF4-FFF2-40B4-BE49-F238E27FC236}">
                    <a16:creationId xmlns:a16="http://schemas.microsoft.com/office/drawing/2014/main" id="{FE4535EA-8903-4DFD-BDCE-F4237F1865B7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Rechte verbindingslijn 35">
                <a:extLst>
                  <a:ext uri="{FF2B5EF4-FFF2-40B4-BE49-F238E27FC236}">
                    <a16:creationId xmlns:a16="http://schemas.microsoft.com/office/drawing/2014/main" id="{F1635C72-1564-42E5-ACD8-0A7E4491C70B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id="{CDB83B29-3F8A-475E-BF3D-E21565008D00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6213" noProof="0"/>
              </a:p>
            </p:txBody>
          </p:sp>
        </p:grpSp>
      </p:grpSp>
      <p:pic>
        <p:nvPicPr>
          <p:cNvPr id="45" name="Afbeelding 44">
            <a:extLst>
              <a:ext uri="{FF2B5EF4-FFF2-40B4-BE49-F238E27FC236}">
                <a16:creationId xmlns:a16="http://schemas.microsoft.com/office/drawing/2014/main" id="{7F985B6B-526C-49E8-AACA-872BB87435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1728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id="{C99B9AD0-B92A-4C48-A52A-FAE4B74811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18" name="Tijdelijke aanduiding voor tekst 14">
            <a:extLst>
              <a:ext uri="{FF2B5EF4-FFF2-40B4-BE49-F238E27FC236}">
                <a16:creationId xmlns:a16="http://schemas.microsoft.com/office/drawing/2014/main" id="{3EAC74E4-7359-43B9-BD46-0CBB8C9D38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21" name="Tijdelijke aanduiding voor voettekst 4">
            <a:extLst>
              <a:ext uri="{FF2B5EF4-FFF2-40B4-BE49-F238E27FC236}">
                <a16:creationId xmlns:a16="http://schemas.microsoft.com/office/drawing/2014/main" id="{A5D9591E-4C98-475E-B8D6-C3C11099BF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22" name="Tijdelijke aanduiding voor dianummer 5">
            <a:extLst>
              <a:ext uri="{FF2B5EF4-FFF2-40B4-BE49-F238E27FC236}">
                <a16:creationId xmlns:a16="http://schemas.microsoft.com/office/drawing/2014/main" id="{943A493B-8731-4825-81F9-F1B852A8C7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8" y="27329718"/>
            <a:ext cx="863059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19" name="Tijdelijke aanduiding voor datum 3">
            <a:extLst>
              <a:ext uri="{FF2B5EF4-FFF2-40B4-BE49-F238E27FC236}">
                <a16:creationId xmlns:a16="http://schemas.microsoft.com/office/drawing/2014/main" id="{7AF0D1FE-8D2B-44E6-B3D5-0C8F9474C79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1F9EDFB3-D3AA-4F39-950A-ED89DC69A420}" type="datetime1">
              <a:rPr lang="nl-NL" noProof="0" smtClean="0"/>
              <a:t>26-6-2023</a:t>
            </a:fld>
            <a:endParaRPr lang="nl-NL" noProof="0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3F7DA627-C135-4D0D-8C88-2B07C2C3B7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394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rnpunten + Tekstvlak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jdelijke aanduiding voor afbeelding 35">
            <a:extLst>
              <a:ext uri="{FF2B5EF4-FFF2-40B4-BE49-F238E27FC236}">
                <a16:creationId xmlns:a16="http://schemas.microsoft.com/office/drawing/2014/main" id="{DDF59742-AC42-4AAA-9941-6163D1AD1558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1742382" y="8813275"/>
            <a:ext cx="12350590" cy="12648664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881" h="2865200">
                <a:moveTo>
                  <a:pt x="1036" y="89"/>
                </a:moveTo>
                <a:lnTo>
                  <a:pt x="3319663" y="6217"/>
                </a:lnTo>
                <a:cubicBezTo>
                  <a:pt x="3430792" y="6217"/>
                  <a:pt x="3520881" y="73784"/>
                  <a:pt x="3520881" y="157131"/>
                </a:cubicBezTo>
                <a:lnTo>
                  <a:pt x="3520881" y="2714286"/>
                </a:lnTo>
                <a:cubicBezTo>
                  <a:pt x="3520881" y="2797633"/>
                  <a:pt x="3430792" y="2865200"/>
                  <a:pt x="3319663" y="2865200"/>
                </a:cubicBezTo>
                <a:lnTo>
                  <a:pt x="201219" y="2865200"/>
                </a:lnTo>
                <a:cubicBezTo>
                  <a:pt x="90089" y="2865200"/>
                  <a:pt x="0" y="2797633"/>
                  <a:pt x="0" y="2714286"/>
                </a:cubicBezTo>
                <a:lnTo>
                  <a:pt x="0" y="157131"/>
                </a:lnTo>
                <a:cubicBezTo>
                  <a:pt x="0" y="73784"/>
                  <a:pt x="211" y="-2975"/>
                  <a:pt x="1036" y="8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188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7" name="Tijdelijke aanduiding voor afbeelding 36">
            <a:extLst>
              <a:ext uri="{FF2B5EF4-FFF2-40B4-BE49-F238E27FC236}">
                <a16:creationId xmlns:a16="http://schemas.microsoft.com/office/drawing/2014/main" id="{74727CE5-EDB8-480E-B745-73C1373713EB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15265721" y="8813275"/>
            <a:ext cx="12350590" cy="12648664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881" h="2865200">
                <a:moveTo>
                  <a:pt x="1036" y="89"/>
                </a:moveTo>
                <a:lnTo>
                  <a:pt x="3319663" y="6217"/>
                </a:lnTo>
                <a:cubicBezTo>
                  <a:pt x="3430792" y="6217"/>
                  <a:pt x="3520881" y="73784"/>
                  <a:pt x="3520881" y="157131"/>
                </a:cubicBezTo>
                <a:lnTo>
                  <a:pt x="3520881" y="2714286"/>
                </a:lnTo>
                <a:cubicBezTo>
                  <a:pt x="3520881" y="2797633"/>
                  <a:pt x="3430792" y="2865200"/>
                  <a:pt x="3319663" y="2865200"/>
                </a:cubicBezTo>
                <a:lnTo>
                  <a:pt x="201219" y="2865200"/>
                </a:lnTo>
                <a:cubicBezTo>
                  <a:pt x="90089" y="2865200"/>
                  <a:pt x="0" y="2797633"/>
                  <a:pt x="0" y="2714286"/>
                </a:cubicBezTo>
                <a:lnTo>
                  <a:pt x="0" y="157131"/>
                </a:lnTo>
                <a:cubicBezTo>
                  <a:pt x="0" y="73784"/>
                  <a:pt x="211" y="-2975"/>
                  <a:pt x="1036" y="8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188000" anchor="ctr">
            <a:noAutofit/>
          </a:bodyPr>
          <a:lstStyle>
            <a:lvl1pPr marL="0" indent="0" algn="ctr">
              <a:buNone/>
              <a:defRPr lang="nl-NL" sz="4209" b="0" i="1" kern="1200" noProof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8" name="Tijdelijke aanduiding voor afbeelding 37">
            <a:extLst>
              <a:ext uri="{FF2B5EF4-FFF2-40B4-BE49-F238E27FC236}">
                <a16:creationId xmlns:a16="http://schemas.microsoft.com/office/drawing/2014/main" id="{B4DAE761-2905-4370-925B-2CBA8CDD4757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28808926" y="8813275"/>
            <a:ext cx="12350590" cy="12648664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881" h="2865200">
                <a:moveTo>
                  <a:pt x="1036" y="89"/>
                </a:moveTo>
                <a:lnTo>
                  <a:pt x="3319663" y="6217"/>
                </a:lnTo>
                <a:cubicBezTo>
                  <a:pt x="3430792" y="6217"/>
                  <a:pt x="3520881" y="73784"/>
                  <a:pt x="3520881" y="157131"/>
                </a:cubicBezTo>
                <a:lnTo>
                  <a:pt x="3520881" y="2714286"/>
                </a:lnTo>
                <a:cubicBezTo>
                  <a:pt x="3520881" y="2797633"/>
                  <a:pt x="3430792" y="2865200"/>
                  <a:pt x="3319663" y="2865200"/>
                </a:cubicBezTo>
                <a:lnTo>
                  <a:pt x="201219" y="2865200"/>
                </a:lnTo>
                <a:cubicBezTo>
                  <a:pt x="90089" y="2865200"/>
                  <a:pt x="0" y="2797633"/>
                  <a:pt x="0" y="2714286"/>
                </a:cubicBezTo>
                <a:lnTo>
                  <a:pt x="0" y="157131"/>
                </a:lnTo>
                <a:cubicBezTo>
                  <a:pt x="0" y="73784"/>
                  <a:pt x="211" y="-2975"/>
                  <a:pt x="1036" y="8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188000" anchor="ctr">
            <a:noAutofit/>
          </a:bodyPr>
          <a:lstStyle>
            <a:lvl1pPr marL="0" indent="0" algn="ctr"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5" name="Tijdelijke aanduiding voor tekst 5">
            <a:extLst>
              <a:ext uri="{FF2B5EF4-FFF2-40B4-BE49-F238E27FC236}">
                <a16:creationId xmlns:a16="http://schemas.microsoft.com/office/drawing/2014/main" id="{7581CA50-F401-4352-B20E-C61DC891A3E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740476" y="22013647"/>
            <a:ext cx="12352499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6" name="Tijdelijke aanduiding voor tekst 5">
            <a:extLst>
              <a:ext uri="{FF2B5EF4-FFF2-40B4-BE49-F238E27FC236}">
                <a16:creationId xmlns:a16="http://schemas.microsoft.com/office/drawing/2014/main" id="{EE7615E9-55F0-4367-ADAF-BF9E9F9AFF0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265724" y="22013647"/>
            <a:ext cx="12352499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32" name="Tijdelijke aanduiding voor tekst 5">
            <a:extLst>
              <a:ext uri="{FF2B5EF4-FFF2-40B4-BE49-F238E27FC236}">
                <a16:creationId xmlns:a16="http://schemas.microsoft.com/office/drawing/2014/main" id="{1F90D83A-4F8A-4644-B6AA-08EAF0B98A5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8807971" y="22013647"/>
            <a:ext cx="12352499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6644E39-2AF2-4EA0-9C3F-28C89D5A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9" y="27329718"/>
            <a:ext cx="758217" cy="101640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55B2A88A-B7BD-41B1-9FCB-9BE633251ACA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7" name="Tijdelijke aanduiding voor tekst 14">
            <a:extLst>
              <a:ext uri="{FF2B5EF4-FFF2-40B4-BE49-F238E27FC236}">
                <a16:creationId xmlns:a16="http://schemas.microsoft.com/office/drawing/2014/main" id="{A6BF4B27-7FC5-4896-80CE-3BA6119B83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sp>
        <p:nvSpPr>
          <p:cNvPr id="33" name="Tijdelijke aanduiding voor voettekst 4">
            <a:extLst>
              <a:ext uri="{FF2B5EF4-FFF2-40B4-BE49-F238E27FC236}">
                <a16:creationId xmlns:a16="http://schemas.microsoft.com/office/drawing/2014/main" id="{3C7CF4CB-CF25-44A3-95AE-206B86BFD6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29" name="Tijdelijke aanduiding voor datum 3">
            <a:extLst>
              <a:ext uri="{FF2B5EF4-FFF2-40B4-BE49-F238E27FC236}">
                <a16:creationId xmlns:a16="http://schemas.microsoft.com/office/drawing/2014/main" id="{53600F14-A3DB-4812-872D-DFA76F4B6A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2937E998-9E7B-429D-9513-ADEE2CA512AF}" type="datetime1">
              <a:rPr lang="nl-NL" noProof="0" smtClean="0"/>
              <a:t>26-6-2023</a:t>
            </a:fld>
            <a:endParaRPr lang="nl-NL" noProof="0"/>
          </a:p>
        </p:txBody>
      </p:sp>
      <p:grpSp>
        <p:nvGrpSpPr>
          <p:cNvPr id="78" name="Groep 77">
            <a:extLst>
              <a:ext uri="{FF2B5EF4-FFF2-40B4-BE49-F238E27FC236}">
                <a16:creationId xmlns:a16="http://schemas.microsoft.com/office/drawing/2014/main" id="{3AE5AB64-8340-4F51-84F1-0689CC1F0040}"/>
              </a:ext>
            </a:extLst>
          </p:cNvPr>
          <p:cNvGrpSpPr/>
          <p:nvPr userDrawn="1"/>
        </p:nvGrpSpPr>
        <p:grpSpPr>
          <a:xfrm>
            <a:off x="43467414" y="0"/>
            <a:ext cx="13065546" cy="24210246"/>
            <a:chOff x="12391601" y="0"/>
            <a:chExt cx="3724699" cy="5484152"/>
          </a:xfrm>
        </p:grpSpPr>
        <p:sp>
          <p:nvSpPr>
            <p:cNvPr id="79" name="Rechthoek 78">
              <a:extLst>
                <a:ext uri="{FF2B5EF4-FFF2-40B4-BE49-F238E27FC236}">
                  <a16:creationId xmlns:a16="http://schemas.microsoft.com/office/drawing/2014/main" id="{1BC70D0B-A563-4378-A4B9-B7CF753887CA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80" name="Ovaal 79">
              <a:extLst>
                <a:ext uri="{FF2B5EF4-FFF2-40B4-BE49-F238E27FC236}">
                  <a16:creationId xmlns:a16="http://schemas.microsoft.com/office/drawing/2014/main" id="{0958AC26-34C7-4462-86FF-D439EBB0CE17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81" name="Rechte verbindingslijn 80">
              <a:extLst>
                <a:ext uri="{FF2B5EF4-FFF2-40B4-BE49-F238E27FC236}">
                  <a16:creationId xmlns:a16="http://schemas.microsoft.com/office/drawing/2014/main" id="{45D58254-B81E-498A-92DE-FFDDBAC5DB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82" name="Rechte verbindingslijn 81">
              <a:extLst>
                <a:ext uri="{FF2B5EF4-FFF2-40B4-BE49-F238E27FC236}">
                  <a16:creationId xmlns:a16="http://schemas.microsoft.com/office/drawing/2014/main" id="{0D0C6154-8A47-49AD-B9B6-522CBE26F3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7A24331A-A18A-419D-81A5-CC97C29414A5}"/>
                </a:ext>
              </a:extLst>
            </p:cNvPr>
            <p:cNvSpPr/>
            <p:nvPr userDrawn="1"/>
          </p:nvSpPr>
          <p:spPr>
            <a:xfrm>
              <a:off x="12757282" y="432552"/>
              <a:ext cx="335901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fbeelding door deze te selecteren en op 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m een nieuwe afbeelding in te voegen.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84" name="Ovaal 83">
              <a:extLst>
                <a:ext uri="{FF2B5EF4-FFF2-40B4-BE49-F238E27FC236}">
                  <a16:creationId xmlns:a16="http://schemas.microsoft.com/office/drawing/2014/main" id="{22A301B4-A678-49DF-929A-7634AAEFD1E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EA1F09D8-BE0E-4518-AA4D-93C0FDC4260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86" name="Groep 85">
              <a:extLst>
                <a:ext uri="{FF2B5EF4-FFF2-40B4-BE49-F238E27FC236}">
                  <a16:creationId xmlns:a16="http://schemas.microsoft.com/office/drawing/2014/main" id="{C194BC71-105E-4A50-8301-3D3053C327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20" name="Rechthoek 119">
                <a:extLst>
                  <a:ext uri="{FF2B5EF4-FFF2-40B4-BE49-F238E27FC236}">
                    <a16:creationId xmlns:a16="http://schemas.microsoft.com/office/drawing/2014/main" id="{AE8CDF89-F2C4-474C-8F4B-171F0D0F9B34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121" name="Rechte verbindingslijn 120">
                <a:extLst>
                  <a:ext uri="{FF2B5EF4-FFF2-40B4-BE49-F238E27FC236}">
                    <a16:creationId xmlns:a16="http://schemas.microsoft.com/office/drawing/2014/main" id="{1A798482-3FD6-4D86-9D97-A5504AF4F83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22" name="Gelijkbenige driehoek 121">
                <a:extLst>
                  <a:ext uri="{FF2B5EF4-FFF2-40B4-BE49-F238E27FC236}">
                    <a16:creationId xmlns:a16="http://schemas.microsoft.com/office/drawing/2014/main" id="{7289D0F7-422E-47C9-A151-6EAB63C96CFE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7" name="Groep 86">
              <a:extLst>
                <a:ext uri="{FF2B5EF4-FFF2-40B4-BE49-F238E27FC236}">
                  <a16:creationId xmlns:a16="http://schemas.microsoft.com/office/drawing/2014/main" id="{2A4AD7B8-237D-47EB-BB83-30279D27A333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63468371-244E-4198-8913-6C89A2EC83C1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Ovaal 114">
                <a:extLst>
                  <a:ext uri="{FF2B5EF4-FFF2-40B4-BE49-F238E27FC236}">
                    <a16:creationId xmlns:a16="http://schemas.microsoft.com/office/drawing/2014/main" id="{171AA342-EE56-4160-89DE-E1E0AB5F2AD6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Vrije vorm: vorm 115">
                <a:extLst>
                  <a:ext uri="{FF2B5EF4-FFF2-40B4-BE49-F238E27FC236}">
                    <a16:creationId xmlns:a16="http://schemas.microsoft.com/office/drawing/2014/main" id="{0121CB61-CFC1-4060-A943-B92A88D5179B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7" name="Rechthoek: afgeronde hoeken 116">
                <a:extLst>
                  <a:ext uri="{FF2B5EF4-FFF2-40B4-BE49-F238E27FC236}">
                    <a16:creationId xmlns:a16="http://schemas.microsoft.com/office/drawing/2014/main" id="{C84CFF36-08DE-429E-9E10-88E55C6F8783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C889250C-8391-4388-9036-A4EE23D6419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9" name="Rechte verbindingslijn 118">
                <a:extLst>
                  <a:ext uri="{FF2B5EF4-FFF2-40B4-BE49-F238E27FC236}">
                    <a16:creationId xmlns:a16="http://schemas.microsoft.com/office/drawing/2014/main" id="{C7AB0633-436E-4EEA-BC5A-472A9EAC0D36}"/>
                  </a:ext>
                </a:extLst>
              </p:cNvPr>
              <p:cNvCxnSpPr>
                <a:cxnSpLocks/>
                <a:stCxn id="11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grpSp>
          <p:nvGrpSpPr>
            <p:cNvPr id="88" name="Groep 87">
              <a:extLst>
                <a:ext uri="{FF2B5EF4-FFF2-40B4-BE49-F238E27FC236}">
                  <a16:creationId xmlns:a16="http://schemas.microsoft.com/office/drawing/2014/main" id="{EB656A73-9A5C-432C-88B5-410EF50B86C6}"/>
                </a:ext>
              </a:extLst>
            </p:cNvPr>
            <p:cNvGrpSpPr/>
            <p:nvPr userDrawn="1"/>
          </p:nvGrpSpPr>
          <p:grpSpPr>
            <a:xfrm>
              <a:off x="12391601" y="2643684"/>
              <a:ext cx="3183678" cy="2840468"/>
              <a:chOff x="12952763" y="4572241"/>
              <a:chExt cx="3183678" cy="2840468"/>
            </a:xfrm>
          </p:grpSpPr>
          <p:grpSp>
            <p:nvGrpSpPr>
              <p:cNvPr id="89" name="Meer informatie">
                <a:extLst>
                  <a:ext uri="{FF2B5EF4-FFF2-40B4-BE49-F238E27FC236}">
                    <a16:creationId xmlns:a16="http://schemas.microsoft.com/office/drawing/2014/main" id="{6334D062-3D0C-405C-8DA1-89A6823B91EF}"/>
                  </a:ext>
                </a:extLst>
              </p:cNvPr>
              <p:cNvGrpSpPr/>
              <p:nvPr userDrawn="1"/>
            </p:nvGrpSpPr>
            <p:grpSpPr>
              <a:xfrm>
                <a:off x="12957926" y="6629436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1" name="Freeform 101">
                  <a:extLst>
                    <a:ext uri="{FF2B5EF4-FFF2-40B4-BE49-F238E27FC236}">
                      <a16:creationId xmlns:a16="http://schemas.microsoft.com/office/drawing/2014/main" id="{D145E3BC-AEA9-4943-BF41-CCFB4546C70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3859" noProof="0"/>
                </a:p>
              </p:txBody>
            </p:sp>
            <p:sp>
              <p:nvSpPr>
                <p:cNvPr id="112" name="Rechthoek 111">
                  <a:extLst>
                    <a:ext uri="{FF2B5EF4-FFF2-40B4-BE49-F238E27FC236}">
                      <a16:creationId xmlns:a16="http://schemas.microsoft.com/office/drawing/2014/main" id="{C4D0A52E-EB9F-4438-9FCE-8450817B688C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3207489" eaLnBrk="1" fontAlgn="auto" latinLnBrk="0" hangingPunct="1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Meer weten?</a:t>
                  </a:r>
                  <a:b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a naar dia </a:t>
                  </a:r>
                  <a:r>
                    <a:rPr kumimoji="0" lang="nl-NL" sz="3859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´Instructie dia: YouTube links´</a:t>
                  </a: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deze in de diavoorstelling en klik op de gewenste video link.</a:t>
                  </a:r>
                </a:p>
              </p:txBody>
            </p:sp>
            <p:cxnSp>
              <p:nvCxnSpPr>
                <p:cNvPr id="113" name="Rechte verbindingslijn 112">
                  <a:extLst>
                    <a:ext uri="{FF2B5EF4-FFF2-40B4-BE49-F238E27FC236}">
                      <a16:creationId xmlns:a16="http://schemas.microsoft.com/office/drawing/2014/main" id="{28D376CA-5A05-46BD-88F7-81710C38A042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90" name="Rechte verbindingslijn 89">
                <a:extLst>
                  <a:ext uri="{FF2B5EF4-FFF2-40B4-BE49-F238E27FC236}">
                    <a16:creationId xmlns:a16="http://schemas.microsoft.com/office/drawing/2014/main" id="{B5F786BA-3814-4BEF-842E-600E777CC4A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958423" y="651155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91" name="Ovaal 90">
                <a:extLst>
                  <a:ext uri="{FF2B5EF4-FFF2-40B4-BE49-F238E27FC236}">
                    <a16:creationId xmlns:a16="http://schemas.microsoft.com/office/drawing/2014/main" id="{3C3B8FF6-D8CC-493B-9336-25A7E33D170C}"/>
                  </a:ext>
                </a:extLst>
              </p:cNvPr>
              <p:cNvSpPr/>
              <p:nvPr userDrawn="1"/>
            </p:nvSpPr>
            <p:spPr>
              <a:xfrm>
                <a:off x="12952763" y="4690403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320748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92" name="Rechthoek 91">
                <a:extLst>
                  <a:ext uri="{FF2B5EF4-FFF2-40B4-BE49-F238E27FC236}">
                    <a16:creationId xmlns:a16="http://schemas.microsoft.com/office/drawing/2014/main" id="{02EE6908-553D-437B-BF2C-05319F42C140}"/>
                  </a:ext>
                </a:extLst>
              </p:cNvPr>
              <p:cNvSpPr/>
              <p:nvPr userDrawn="1"/>
            </p:nvSpPr>
            <p:spPr>
              <a:xfrm>
                <a:off x="13318445" y="4756466"/>
                <a:ext cx="2817996" cy="887319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Om de afbeelding te schalen of bij te snijden, ga naar de tab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Hulpmiddelen voor afbeeldingen - Opmaak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 en klik op de knop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Bijsnijden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Schaal met de bolletjes de afbeelding en met de hoekjes het afbeeldingskader.</a:t>
                </a:r>
                <a:endPara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93" name="Rechte verbindingslijn 92">
                <a:extLst>
                  <a:ext uri="{FF2B5EF4-FFF2-40B4-BE49-F238E27FC236}">
                    <a16:creationId xmlns:a16="http://schemas.microsoft.com/office/drawing/2014/main" id="{02010F72-E415-4D25-A743-0DEDB755951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958423" y="457224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94" name="Groep 93">
                <a:extLst>
                  <a:ext uri="{FF2B5EF4-FFF2-40B4-BE49-F238E27FC236}">
                    <a16:creationId xmlns:a16="http://schemas.microsoft.com/office/drawing/2014/main" id="{742C7EAD-2D08-47C9-90B2-7FE4C9534365}"/>
                  </a:ext>
                </a:extLst>
              </p:cNvPr>
              <p:cNvGrpSpPr/>
              <p:nvPr userDrawn="1"/>
            </p:nvGrpSpPr>
            <p:grpSpPr>
              <a:xfrm>
                <a:off x="13257676" y="5773610"/>
                <a:ext cx="514284" cy="612917"/>
                <a:chOff x="12682980" y="3403271"/>
                <a:chExt cx="622284" cy="741637"/>
              </a:xfrm>
            </p:grpSpPr>
            <p:grpSp>
              <p:nvGrpSpPr>
                <p:cNvPr id="95" name="Groep 94">
                  <a:extLst>
                    <a:ext uri="{FF2B5EF4-FFF2-40B4-BE49-F238E27FC236}">
                      <a16:creationId xmlns:a16="http://schemas.microsoft.com/office/drawing/2014/main" id="{F52F60B4-8728-40ED-8825-D955BB64F42B}"/>
                    </a:ext>
                  </a:extLst>
                </p:cNvPr>
                <p:cNvGrpSpPr/>
                <p:nvPr userDrawn="1"/>
              </p:nvGrpSpPr>
              <p:grpSpPr>
                <a:xfrm>
                  <a:off x="12771568" y="3403271"/>
                  <a:ext cx="467138" cy="448459"/>
                  <a:chOff x="12782195" y="3403271"/>
                  <a:chExt cx="467138" cy="448459"/>
                </a:xfrm>
              </p:grpSpPr>
              <p:grpSp>
                <p:nvGrpSpPr>
                  <p:cNvPr id="98" name="Groep 97">
                    <a:extLst>
                      <a:ext uri="{FF2B5EF4-FFF2-40B4-BE49-F238E27FC236}">
                        <a16:creationId xmlns:a16="http://schemas.microsoft.com/office/drawing/2014/main" id="{6E6FC6F2-5E18-40DE-B47C-9288761F78A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2782195" y="3403271"/>
                    <a:ext cx="412967" cy="393910"/>
                    <a:chOff x="13554906" y="3320143"/>
                    <a:chExt cx="443906" cy="423422"/>
                  </a:xfrm>
                </p:grpSpPr>
                <p:grpSp>
                  <p:nvGrpSpPr>
                    <p:cNvPr id="105" name="Groep 104">
                      <a:extLst>
                        <a:ext uri="{FF2B5EF4-FFF2-40B4-BE49-F238E27FC236}">
                          <a16:creationId xmlns:a16="http://schemas.microsoft.com/office/drawing/2014/main" id="{B06B6FA3-B875-403E-A3F7-007FB0F146AB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3554906" y="3320143"/>
                      <a:ext cx="443906" cy="423422"/>
                      <a:chOff x="12909684" y="1276177"/>
                      <a:chExt cx="443906" cy="423422"/>
                    </a:xfrm>
                  </p:grpSpPr>
                  <p:sp>
                    <p:nvSpPr>
                      <p:cNvPr id="108" name="Rechthoek 107">
                        <a:extLst>
                          <a:ext uri="{FF2B5EF4-FFF2-40B4-BE49-F238E27FC236}">
                            <a16:creationId xmlns:a16="http://schemas.microsoft.com/office/drawing/2014/main" id="{D0141A93-DD57-4B76-AEF3-78D99093E503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2918700" y="1285299"/>
                        <a:ext cx="434890" cy="414300"/>
                      </a:xfrm>
                      <a:prstGeom prst="rect">
                        <a:avLst/>
                      </a:prstGeom>
                      <a:noFill/>
                      <a:ln w="12700">
                        <a:solidFill>
                          <a:srgbClr val="818181"/>
                        </a:solidFill>
                        <a:prstDash val="dash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2105"/>
                          </a:spcBef>
                          <a:spcAft>
                            <a:spcPts val="2105"/>
                          </a:spcAft>
                        </a:pPr>
                        <a:endParaRPr lang="nl-NL" sz="2806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109" name="Rechthoek 108">
                        <a:extLst>
                          <a:ext uri="{FF2B5EF4-FFF2-40B4-BE49-F238E27FC236}">
                            <a16:creationId xmlns:a16="http://schemas.microsoft.com/office/drawing/2014/main" id="{B53A8AB6-0744-47A7-A8D0-782789A41C7A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2909684" y="1276177"/>
                        <a:ext cx="261629" cy="257808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12700">
                        <a:solidFill>
                          <a:srgbClr val="81818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2105"/>
                          </a:spcBef>
                          <a:spcAft>
                            <a:spcPts val="2105"/>
                          </a:spcAft>
                        </a:pPr>
                        <a:endParaRPr lang="nl-NL" sz="2806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110" name="Ovaal 109">
                        <a:extLst>
                          <a:ext uri="{FF2B5EF4-FFF2-40B4-BE49-F238E27FC236}">
                            <a16:creationId xmlns:a16="http://schemas.microsoft.com/office/drawing/2014/main" id="{75E96358-D170-4997-A079-D02F36BBE562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3069071" y="1308734"/>
                        <a:ext cx="72187" cy="72188"/>
                      </a:xfrm>
                      <a:prstGeom prst="ellipse">
                        <a:avLst/>
                      </a:prstGeom>
                      <a:solidFill>
                        <a:srgbClr val="ECC679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="horz" wrap="square" lIns="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l"/>
                        <a:endParaRPr lang="nl-NL" sz="3509" b="1" noProof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  <p:pic>
                  <p:nvPicPr>
                    <p:cNvPr id="106" name="Afbeelding 105">
                      <a:extLst>
                        <a:ext uri="{FF2B5EF4-FFF2-40B4-BE49-F238E27FC236}">
                          <a16:creationId xmlns:a16="http://schemas.microsoft.com/office/drawing/2014/main" id="{10893C65-CF40-4A9F-92D7-F850D3363D3D}"/>
                        </a:ext>
                      </a:extLst>
                    </p:cNvPr>
                    <p:cNvPicPr>
                      <a:picLocks noChangeAspect="1"/>
                    </p:cNvPicPr>
                    <p:nvPr userDrawn="1"/>
                  </p:nvPicPr>
                  <p:blipFill>
                    <a:blip r:embed="rId2" cstate="screen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3567296" y="3424991"/>
                      <a:ext cx="173367" cy="14022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07" name="Afbeelding 106">
                      <a:extLst>
                        <a:ext uri="{FF2B5EF4-FFF2-40B4-BE49-F238E27FC236}">
                          <a16:creationId xmlns:a16="http://schemas.microsoft.com/office/drawing/2014/main" id="{BCEC5AAD-CE99-4211-9E3E-B7307F594531}"/>
                        </a:ext>
                      </a:extLst>
                    </p:cNvPr>
                    <p:cNvPicPr>
                      <a:picLocks noChangeAspect="1"/>
                    </p:cNvPicPr>
                    <p:nvPr userDrawn="1"/>
                  </p:nvPicPr>
                  <p:blipFill>
                    <a:blip r:embed="rId4" cstate="screen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5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flipH="1">
                      <a:off x="13635598" y="3454393"/>
                      <a:ext cx="173366" cy="111424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99" name="Groep 98">
                    <a:extLst>
                      <a:ext uri="{FF2B5EF4-FFF2-40B4-BE49-F238E27FC236}">
                        <a16:creationId xmlns:a16="http://schemas.microsoft.com/office/drawing/2014/main" id="{9092CF40-E1D8-4C21-A620-52B3E96A965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103513" y="3705278"/>
                    <a:ext cx="145820" cy="146452"/>
                    <a:chOff x="13096169" y="3602288"/>
                    <a:chExt cx="145820" cy="146452"/>
                  </a:xfrm>
                </p:grpSpPr>
                <p:sp>
                  <p:nvSpPr>
                    <p:cNvPr id="103" name="Rechthoek 102">
                      <a:extLst>
                        <a:ext uri="{FF2B5EF4-FFF2-40B4-BE49-F238E27FC236}">
                          <a16:creationId xmlns:a16="http://schemas.microsoft.com/office/drawing/2014/main" id="{87414375-65B8-488E-B7DE-ACB31CA1D1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96169" y="360228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4" name="Rechthoek 103">
                      <a:extLst>
                        <a:ext uri="{FF2B5EF4-FFF2-40B4-BE49-F238E27FC236}">
                          <a16:creationId xmlns:a16="http://schemas.microsoft.com/office/drawing/2014/main" id="{0C94A221-1B33-4598-A023-0B71A6776FC2}"/>
                        </a:ext>
                      </a:extLst>
                    </p:cNvPr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grpSp>
                <p:nvGrpSpPr>
                  <p:cNvPr id="100" name="Groep 99">
                    <a:extLst>
                      <a:ext uri="{FF2B5EF4-FFF2-40B4-BE49-F238E27FC236}">
                        <a16:creationId xmlns:a16="http://schemas.microsoft.com/office/drawing/2014/main" id="{DA9FC4DB-2135-4E21-8294-2BF93B03380C}"/>
                      </a:ext>
                    </a:extLst>
                  </p:cNvPr>
                  <p:cNvGrpSpPr/>
                  <p:nvPr userDrawn="1"/>
                </p:nvGrpSpPr>
                <p:grpSpPr>
                  <a:xfrm rot="10800000">
                    <a:off x="13061402" y="3665668"/>
                    <a:ext cx="145820" cy="146461"/>
                    <a:chOff x="13096169" y="3602248"/>
                    <a:chExt cx="145820" cy="146461"/>
                  </a:xfrm>
                </p:grpSpPr>
                <p:sp>
                  <p:nvSpPr>
                    <p:cNvPr id="101" name="Rechthoek 100">
                      <a:extLst>
                        <a:ext uri="{FF2B5EF4-FFF2-40B4-BE49-F238E27FC236}">
                          <a16:creationId xmlns:a16="http://schemas.microsoft.com/office/drawing/2014/main" id="{D2DAE12E-DD7F-4E8A-8A3A-0B75855949B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96169" y="360224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2" name="Rechthoek 101">
                      <a:extLst>
                        <a:ext uri="{FF2B5EF4-FFF2-40B4-BE49-F238E27FC236}">
                          <a16:creationId xmlns:a16="http://schemas.microsoft.com/office/drawing/2014/main" id="{9621E962-F807-49DB-817C-42F252BEDB79}"/>
                        </a:ext>
                      </a:extLst>
                    </p:cNvPr>
                    <p:cNvSpPr/>
                    <p:nvPr userDrawn="1"/>
                  </p:nvSpPr>
                  <p:spPr>
                    <a:xfrm rot="5400000">
                      <a:off x="13037453" y="3661605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  <p:sp>
              <p:nvSpPr>
                <p:cNvPr id="96" name="Rechthoek 95">
                  <a:extLst>
                    <a:ext uri="{FF2B5EF4-FFF2-40B4-BE49-F238E27FC236}">
                      <a16:creationId xmlns:a16="http://schemas.microsoft.com/office/drawing/2014/main" id="{BD59B386-A0F4-4C1C-9F26-C793A166017C}"/>
                    </a:ext>
                  </a:extLst>
                </p:cNvPr>
                <p:cNvSpPr/>
                <p:nvPr userDrawn="1"/>
              </p:nvSpPr>
              <p:spPr>
                <a:xfrm>
                  <a:off x="12682980" y="3889920"/>
                  <a:ext cx="622284" cy="16117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r>
                    <a:rPr lang="nl-NL" sz="3158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Bijsnijden</a:t>
                  </a:r>
                </a:p>
              </p:txBody>
            </p:sp>
            <p:sp>
              <p:nvSpPr>
                <p:cNvPr id="97" name="Gelijkbenige driehoek 96">
                  <a:extLst>
                    <a:ext uri="{FF2B5EF4-FFF2-40B4-BE49-F238E27FC236}">
                      <a16:creationId xmlns:a16="http://schemas.microsoft.com/office/drawing/2014/main" id="{B61165A8-DBBE-4C5F-A61A-6C05B1E6E1CD}"/>
                    </a:ext>
                  </a:extLst>
                </p:cNvPr>
                <p:cNvSpPr/>
                <p:nvPr userDrawn="1"/>
              </p:nvSpPr>
              <p:spPr>
                <a:xfrm rot="10800000">
                  <a:off x="12950688" y="4093761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136" name="Instructie">
            <a:extLst>
              <a:ext uri="{FF2B5EF4-FFF2-40B4-BE49-F238E27FC236}">
                <a16:creationId xmlns:a16="http://schemas.microsoft.com/office/drawing/2014/main" id="{AE23586F-EDF8-4041-A121-12EE4F3091A7}"/>
              </a:ext>
            </a:extLst>
          </p:cNvPr>
          <p:cNvGrpSpPr/>
          <p:nvPr userDrawn="1"/>
        </p:nvGrpSpPr>
        <p:grpSpPr>
          <a:xfrm>
            <a:off x="-11761540" y="0"/>
            <a:ext cx="11164508" cy="11743958"/>
            <a:chOff x="-3426088" y="4512342"/>
            <a:chExt cx="3182755" cy="2660264"/>
          </a:xfrm>
        </p:grpSpPr>
        <p:sp>
          <p:nvSpPr>
            <p:cNvPr id="137" name="Rechthoek 127">
              <a:extLst>
                <a:ext uri="{FF2B5EF4-FFF2-40B4-BE49-F238E27FC236}">
                  <a16:creationId xmlns:a16="http://schemas.microsoft.com/office/drawing/2014/main" id="{86334EF9-7762-4B48-A926-74C6227815F9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138" name="Rechte verbindingslijn 128">
              <a:extLst>
                <a:ext uri="{FF2B5EF4-FFF2-40B4-BE49-F238E27FC236}">
                  <a16:creationId xmlns:a16="http://schemas.microsoft.com/office/drawing/2014/main" id="{9D646A08-9F80-4BF1-AAC1-7B7C40C1367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39" name="Rechthoek 130">
              <a:extLst>
                <a:ext uri="{FF2B5EF4-FFF2-40B4-BE49-F238E27FC236}">
                  <a16:creationId xmlns:a16="http://schemas.microsoft.com/office/drawing/2014/main" id="{6622125B-9088-4607-ABB0-3AB956BFF3CD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140" name="Rechthoek 133">
              <a:extLst>
                <a:ext uri="{FF2B5EF4-FFF2-40B4-BE49-F238E27FC236}">
                  <a16:creationId xmlns:a16="http://schemas.microsoft.com/office/drawing/2014/main" id="{2BFF82BB-BED7-4DA1-9510-01EA78FE2670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41" name="Rechthoek 136">
              <a:extLst>
                <a:ext uri="{FF2B5EF4-FFF2-40B4-BE49-F238E27FC236}">
                  <a16:creationId xmlns:a16="http://schemas.microsoft.com/office/drawing/2014/main" id="{34C11746-ACE8-498B-84EA-EC6FB41DDBAC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42" name="Rechthoek 139">
              <a:extLst>
                <a:ext uri="{FF2B5EF4-FFF2-40B4-BE49-F238E27FC236}">
                  <a16:creationId xmlns:a16="http://schemas.microsoft.com/office/drawing/2014/main" id="{5F442C93-DF19-4578-AB31-347B80C7DDC3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143" name="Rechte verbindingslijn 140">
              <a:extLst>
                <a:ext uri="{FF2B5EF4-FFF2-40B4-BE49-F238E27FC236}">
                  <a16:creationId xmlns:a16="http://schemas.microsoft.com/office/drawing/2014/main" id="{786C2F4B-C7F5-49D5-A362-CFD43945E9D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67" name="Afbeelding 66">
            <a:extLst>
              <a:ext uri="{FF2B5EF4-FFF2-40B4-BE49-F238E27FC236}">
                <a16:creationId xmlns:a16="http://schemas.microsoft.com/office/drawing/2014/main" id="{ABF56545-77FC-49FE-B0DB-389C796A74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009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rnpunten + Tekstvlakke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jdelijke aanduiding voor afbeelding 35">
            <a:extLst>
              <a:ext uri="{FF2B5EF4-FFF2-40B4-BE49-F238E27FC236}">
                <a16:creationId xmlns:a16="http://schemas.microsoft.com/office/drawing/2014/main" id="{DDF59742-AC42-4AAA-9941-6163D1AD1558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1742385" y="10288803"/>
            <a:ext cx="8792735" cy="9004942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881" h="2865200">
                <a:moveTo>
                  <a:pt x="1036" y="89"/>
                </a:moveTo>
                <a:lnTo>
                  <a:pt x="3319663" y="6217"/>
                </a:lnTo>
                <a:cubicBezTo>
                  <a:pt x="3430792" y="6217"/>
                  <a:pt x="3520881" y="73784"/>
                  <a:pt x="3520881" y="157131"/>
                </a:cubicBezTo>
                <a:lnTo>
                  <a:pt x="3520881" y="2714286"/>
                </a:lnTo>
                <a:cubicBezTo>
                  <a:pt x="3520881" y="2797633"/>
                  <a:pt x="3430792" y="2865200"/>
                  <a:pt x="3319663" y="2865200"/>
                </a:cubicBezTo>
                <a:lnTo>
                  <a:pt x="201219" y="2865200"/>
                </a:lnTo>
                <a:cubicBezTo>
                  <a:pt x="90089" y="2865200"/>
                  <a:pt x="0" y="2797633"/>
                  <a:pt x="0" y="2714286"/>
                </a:cubicBezTo>
                <a:lnTo>
                  <a:pt x="0" y="157131"/>
                </a:lnTo>
                <a:cubicBezTo>
                  <a:pt x="0" y="73784"/>
                  <a:pt x="211" y="-2975"/>
                  <a:pt x="1036" y="8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188000" anchor="ctr">
            <a:noAutofit/>
          </a:bodyPr>
          <a:lstStyle>
            <a:lvl1pPr marL="0" indent="0" algn="ctr"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7" name="Tijdelijke aanduiding voor afbeelding 36">
            <a:extLst>
              <a:ext uri="{FF2B5EF4-FFF2-40B4-BE49-F238E27FC236}">
                <a16:creationId xmlns:a16="http://schemas.microsoft.com/office/drawing/2014/main" id="{74727CE5-EDB8-480E-B745-73C1373713EB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11892101" y="10288803"/>
            <a:ext cx="8792735" cy="9004942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881" h="2865200">
                <a:moveTo>
                  <a:pt x="1036" y="89"/>
                </a:moveTo>
                <a:lnTo>
                  <a:pt x="3319663" y="6217"/>
                </a:lnTo>
                <a:cubicBezTo>
                  <a:pt x="3430792" y="6217"/>
                  <a:pt x="3520881" y="73784"/>
                  <a:pt x="3520881" y="157131"/>
                </a:cubicBezTo>
                <a:lnTo>
                  <a:pt x="3520881" y="2714286"/>
                </a:lnTo>
                <a:cubicBezTo>
                  <a:pt x="3520881" y="2797633"/>
                  <a:pt x="3430792" y="2865200"/>
                  <a:pt x="3319663" y="2865200"/>
                </a:cubicBezTo>
                <a:lnTo>
                  <a:pt x="201219" y="2865200"/>
                </a:lnTo>
                <a:cubicBezTo>
                  <a:pt x="90089" y="2865200"/>
                  <a:pt x="0" y="2797633"/>
                  <a:pt x="0" y="2714286"/>
                </a:cubicBezTo>
                <a:lnTo>
                  <a:pt x="0" y="157131"/>
                </a:lnTo>
                <a:cubicBezTo>
                  <a:pt x="0" y="73784"/>
                  <a:pt x="211" y="-2975"/>
                  <a:pt x="1036" y="8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188000" anchor="ctr">
            <a:noAutofit/>
          </a:bodyPr>
          <a:lstStyle>
            <a:lvl1pPr marL="0" indent="0" algn="ctr"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38" name="Tijdelijke aanduiding voor afbeelding 37">
            <a:extLst>
              <a:ext uri="{FF2B5EF4-FFF2-40B4-BE49-F238E27FC236}">
                <a16:creationId xmlns:a16="http://schemas.microsoft.com/office/drawing/2014/main" id="{B4DAE761-2905-4370-925B-2CBA8CDD4757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22041817" y="10288803"/>
            <a:ext cx="8792735" cy="9004942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881" h="2865200">
                <a:moveTo>
                  <a:pt x="1036" y="89"/>
                </a:moveTo>
                <a:lnTo>
                  <a:pt x="3319663" y="6217"/>
                </a:lnTo>
                <a:cubicBezTo>
                  <a:pt x="3430792" y="6217"/>
                  <a:pt x="3520881" y="73784"/>
                  <a:pt x="3520881" y="157131"/>
                </a:cubicBezTo>
                <a:lnTo>
                  <a:pt x="3520881" y="2714286"/>
                </a:lnTo>
                <a:cubicBezTo>
                  <a:pt x="3520881" y="2797633"/>
                  <a:pt x="3430792" y="2865200"/>
                  <a:pt x="3319663" y="2865200"/>
                </a:cubicBezTo>
                <a:lnTo>
                  <a:pt x="201219" y="2865200"/>
                </a:lnTo>
                <a:cubicBezTo>
                  <a:pt x="90089" y="2865200"/>
                  <a:pt x="0" y="2797633"/>
                  <a:pt x="0" y="2714286"/>
                </a:cubicBezTo>
                <a:lnTo>
                  <a:pt x="0" y="157131"/>
                </a:lnTo>
                <a:cubicBezTo>
                  <a:pt x="0" y="73784"/>
                  <a:pt x="211" y="-2975"/>
                  <a:pt x="1036" y="8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188000" anchor="ctr">
            <a:noAutofit/>
          </a:bodyPr>
          <a:lstStyle>
            <a:lvl1pPr marL="0" indent="0" algn="ctr"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5" name="Tijdelijke aanduiding voor tekst 5">
            <a:extLst>
              <a:ext uri="{FF2B5EF4-FFF2-40B4-BE49-F238E27FC236}">
                <a16:creationId xmlns:a16="http://schemas.microsoft.com/office/drawing/2014/main" id="{7581CA50-F401-4352-B20E-C61DC891A3E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740479" y="19884610"/>
            <a:ext cx="8792735" cy="1515884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6" name="Tijdelijke aanduiding voor tekst 5">
            <a:extLst>
              <a:ext uri="{FF2B5EF4-FFF2-40B4-BE49-F238E27FC236}">
                <a16:creationId xmlns:a16="http://schemas.microsoft.com/office/drawing/2014/main" id="{EE7615E9-55F0-4367-ADAF-BF9E9F9AFF0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1892101" y="19884610"/>
            <a:ext cx="8792735" cy="1515884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32" name="Tijdelijke aanduiding voor tekst 5">
            <a:extLst>
              <a:ext uri="{FF2B5EF4-FFF2-40B4-BE49-F238E27FC236}">
                <a16:creationId xmlns:a16="http://schemas.microsoft.com/office/drawing/2014/main" id="{1F90D83A-4F8A-4644-B6AA-08EAF0B98A5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2041817" y="19884610"/>
            <a:ext cx="8792735" cy="1515884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grpSp>
        <p:nvGrpSpPr>
          <p:cNvPr id="19" name="GRID" hidden="1"/>
          <p:cNvGrpSpPr/>
          <p:nvPr userDrawn="1"/>
        </p:nvGrpSpPr>
        <p:grpSpPr>
          <a:xfrm>
            <a:off x="5" y="0"/>
            <a:ext cx="42767261" cy="30275213"/>
            <a:chOff x="0" y="0"/>
            <a:chExt cx="12192003" cy="6858000"/>
          </a:xfrm>
        </p:grpSpPr>
        <p:sp>
          <p:nvSpPr>
            <p:cNvPr id="20" name="Rechthoek 19"/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1" name="Rechthoek 20"/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2" name="Rechthoek 21"/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4" name="Rechthoek 23"/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8" name="Rechthoek 27">
              <a:extLst>
                <a:ext uri="{FF2B5EF4-FFF2-40B4-BE49-F238E27FC236}">
                  <a16:creationId xmlns:a16="http://schemas.microsoft.com/office/drawing/2014/main" id="{6BC69531-4B5F-447E-B7A9-2951B17E6FC2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6644E39-2AF2-4EA0-9C3F-28C89D5A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8"/>
            <a:ext cx="707315" cy="101640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7" name="Tijdelijke aanduiding voor tekst 14">
            <a:extLst>
              <a:ext uri="{FF2B5EF4-FFF2-40B4-BE49-F238E27FC236}">
                <a16:creationId xmlns:a16="http://schemas.microsoft.com/office/drawing/2014/main" id="{A6BF4B27-7FC5-4896-80CE-3BA6119B83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sp>
        <p:nvSpPr>
          <p:cNvPr id="33" name="Tijdelijke aanduiding voor voettekst 4">
            <a:extLst>
              <a:ext uri="{FF2B5EF4-FFF2-40B4-BE49-F238E27FC236}">
                <a16:creationId xmlns:a16="http://schemas.microsoft.com/office/drawing/2014/main" id="{3C7CF4CB-CF25-44A3-95AE-206B86BFD6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endParaRPr lang="nl-NL" noProof="0"/>
          </a:p>
        </p:txBody>
      </p:sp>
      <p:sp>
        <p:nvSpPr>
          <p:cNvPr id="29" name="Tijdelijke aanduiding voor datum 3">
            <a:extLst>
              <a:ext uri="{FF2B5EF4-FFF2-40B4-BE49-F238E27FC236}">
                <a16:creationId xmlns:a16="http://schemas.microsoft.com/office/drawing/2014/main" id="{53600F14-A3DB-4812-872D-DFA76F4B6A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endParaRPr lang="nl-NL" noProof="0"/>
          </a:p>
        </p:txBody>
      </p:sp>
      <p:sp>
        <p:nvSpPr>
          <p:cNvPr id="155" name="Tijdelijke aanduiding voor afbeelding 37">
            <a:extLst>
              <a:ext uri="{FF2B5EF4-FFF2-40B4-BE49-F238E27FC236}">
                <a16:creationId xmlns:a16="http://schemas.microsoft.com/office/drawing/2014/main" id="{4B086C57-3BEE-4549-87B3-7562F8DF0AE6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2191528" y="10288803"/>
            <a:ext cx="8792735" cy="9004942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881" h="2865200">
                <a:moveTo>
                  <a:pt x="1036" y="89"/>
                </a:moveTo>
                <a:lnTo>
                  <a:pt x="3319663" y="6217"/>
                </a:lnTo>
                <a:cubicBezTo>
                  <a:pt x="3430792" y="6217"/>
                  <a:pt x="3520881" y="73784"/>
                  <a:pt x="3520881" y="157131"/>
                </a:cubicBezTo>
                <a:lnTo>
                  <a:pt x="3520881" y="2714286"/>
                </a:lnTo>
                <a:cubicBezTo>
                  <a:pt x="3520881" y="2797633"/>
                  <a:pt x="3430792" y="2865200"/>
                  <a:pt x="3319663" y="2865200"/>
                </a:cubicBezTo>
                <a:lnTo>
                  <a:pt x="201219" y="2865200"/>
                </a:lnTo>
                <a:cubicBezTo>
                  <a:pt x="90089" y="2865200"/>
                  <a:pt x="0" y="2797633"/>
                  <a:pt x="0" y="2714286"/>
                </a:cubicBezTo>
                <a:lnTo>
                  <a:pt x="0" y="157131"/>
                </a:lnTo>
                <a:cubicBezTo>
                  <a:pt x="0" y="73784"/>
                  <a:pt x="211" y="-2975"/>
                  <a:pt x="1036" y="8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1188000" anchor="ctr">
            <a:noAutofit/>
          </a:bodyPr>
          <a:lstStyle>
            <a:lvl1pPr marL="0" indent="0" algn="ctr"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156" name="Tijdelijke aanduiding voor tekst 5">
            <a:extLst>
              <a:ext uri="{FF2B5EF4-FFF2-40B4-BE49-F238E27FC236}">
                <a16:creationId xmlns:a16="http://schemas.microsoft.com/office/drawing/2014/main" id="{9E15389D-5806-474F-9FEF-A9CFC8A7F10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191528" y="19884610"/>
            <a:ext cx="8792735" cy="1515884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grpSp>
        <p:nvGrpSpPr>
          <p:cNvPr id="23" name="Groep 77">
            <a:extLst>
              <a:ext uri="{FF2B5EF4-FFF2-40B4-BE49-F238E27FC236}">
                <a16:creationId xmlns:a16="http://schemas.microsoft.com/office/drawing/2014/main" id="{0468A530-E655-4CD0-9279-D73BD9964B56}"/>
              </a:ext>
            </a:extLst>
          </p:cNvPr>
          <p:cNvGrpSpPr/>
          <p:nvPr userDrawn="1"/>
        </p:nvGrpSpPr>
        <p:grpSpPr>
          <a:xfrm>
            <a:off x="43467414" y="0"/>
            <a:ext cx="13065546" cy="24210246"/>
            <a:chOff x="12391601" y="0"/>
            <a:chExt cx="3724699" cy="5484152"/>
          </a:xfrm>
        </p:grpSpPr>
        <p:sp>
          <p:nvSpPr>
            <p:cNvPr id="30" name="Rechthoek 78">
              <a:extLst>
                <a:ext uri="{FF2B5EF4-FFF2-40B4-BE49-F238E27FC236}">
                  <a16:creationId xmlns:a16="http://schemas.microsoft.com/office/drawing/2014/main" id="{CB2EF92C-47CE-4B1C-8716-E252AD601198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34" name="Ovaal 79">
              <a:extLst>
                <a:ext uri="{FF2B5EF4-FFF2-40B4-BE49-F238E27FC236}">
                  <a16:creationId xmlns:a16="http://schemas.microsoft.com/office/drawing/2014/main" id="{E64DCE4A-B2F3-40EF-B3AB-99C66418E59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" name="Rechte verbindingslijn 80">
              <a:extLst>
                <a:ext uri="{FF2B5EF4-FFF2-40B4-BE49-F238E27FC236}">
                  <a16:creationId xmlns:a16="http://schemas.microsoft.com/office/drawing/2014/main" id="{6E501F87-2B4D-4305-865A-BAEE2B2BAB6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9" name="Rechte verbindingslijn 81">
              <a:extLst>
                <a:ext uri="{FF2B5EF4-FFF2-40B4-BE49-F238E27FC236}">
                  <a16:creationId xmlns:a16="http://schemas.microsoft.com/office/drawing/2014/main" id="{308FF073-FC3F-4D40-869F-C44E3F53890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0" name="Rechthoek 82">
              <a:extLst>
                <a:ext uri="{FF2B5EF4-FFF2-40B4-BE49-F238E27FC236}">
                  <a16:creationId xmlns:a16="http://schemas.microsoft.com/office/drawing/2014/main" id="{4FFC976C-D85D-41A4-975F-E5F2F9BA884F}"/>
                </a:ext>
              </a:extLst>
            </p:cNvPr>
            <p:cNvSpPr/>
            <p:nvPr userDrawn="1"/>
          </p:nvSpPr>
          <p:spPr>
            <a:xfrm>
              <a:off x="12757282" y="432552"/>
              <a:ext cx="335901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fbeelding door deze te selecteren en op 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m een nieuwe afbeelding in te voegen.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1" name="Ovaal 83">
              <a:extLst>
                <a:ext uri="{FF2B5EF4-FFF2-40B4-BE49-F238E27FC236}">
                  <a16:creationId xmlns:a16="http://schemas.microsoft.com/office/drawing/2014/main" id="{42F6A2B0-90FC-43BB-80EE-D59BC5BAA399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2" name="Rechthoek 84">
              <a:extLst>
                <a:ext uri="{FF2B5EF4-FFF2-40B4-BE49-F238E27FC236}">
                  <a16:creationId xmlns:a16="http://schemas.microsoft.com/office/drawing/2014/main" id="{10F8F89D-8788-4126-9EC5-D945BA72531D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3" name="Groep 85">
              <a:extLst>
                <a:ext uri="{FF2B5EF4-FFF2-40B4-BE49-F238E27FC236}">
                  <a16:creationId xmlns:a16="http://schemas.microsoft.com/office/drawing/2014/main" id="{0E013ED8-1A62-4B6A-85D8-E398F2415EB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77" name="Rechthoek 119">
                <a:extLst>
                  <a:ext uri="{FF2B5EF4-FFF2-40B4-BE49-F238E27FC236}">
                    <a16:creationId xmlns:a16="http://schemas.microsoft.com/office/drawing/2014/main" id="{CAD6791F-9DDA-4A28-A37B-25816D2C7BED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78" name="Rechte verbindingslijn 120">
                <a:extLst>
                  <a:ext uri="{FF2B5EF4-FFF2-40B4-BE49-F238E27FC236}">
                    <a16:creationId xmlns:a16="http://schemas.microsoft.com/office/drawing/2014/main" id="{0F2EFEF9-689C-4E65-A9BD-A96F73B337A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79" name="Gelijkbenige driehoek 121">
                <a:extLst>
                  <a:ext uri="{FF2B5EF4-FFF2-40B4-BE49-F238E27FC236}">
                    <a16:creationId xmlns:a16="http://schemas.microsoft.com/office/drawing/2014/main" id="{C81F16C2-653E-4114-839A-E93F04F37D87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44" name="Groep 86">
              <a:extLst>
                <a:ext uri="{FF2B5EF4-FFF2-40B4-BE49-F238E27FC236}">
                  <a16:creationId xmlns:a16="http://schemas.microsoft.com/office/drawing/2014/main" id="{3BB5EC83-5AF4-488B-9938-16CD2B13A485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71" name="Rechthoek 113">
                <a:extLst>
                  <a:ext uri="{FF2B5EF4-FFF2-40B4-BE49-F238E27FC236}">
                    <a16:creationId xmlns:a16="http://schemas.microsoft.com/office/drawing/2014/main" id="{D984611D-AD7C-4050-A672-CD77B8231E14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2" name="Ovaal 114">
                <a:extLst>
                  <a:ext uri="{FF2B5EF4-FFF2-40B4-BE49-F238E27FC236}">
                    <a16:creationId xmlns:a16="http://schemas.microsoft.com/office/drawing/2014/main" id="{2DDD42D3-22F4-4D2B-9167-681EFE0988C4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73" name="Vrije vorm: vorm 115">
                <a:extLst>
                  <a:ext uri="{FF2B5EF4-FFF2-40B4-BE49-F238E27FC236}">
                    <a16:creationId xmlns:a16="http://schemas.microsoft.com/office/drawing/2014/main" id="{2633247A-517D-4A61-932D-CE21137DE44D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74" name="Rechthoek: afgeronde hoeken 116">
                <a:extLst>
                  <a:ext uri="{FF2B5EF4-FFF2-40B4-BE49-F238E27FC236}">
                    <a16:creationId xmlns:a16="http://schemas.microsoft.com/office/drawing/2014/main" id="{934318F6-11A4-4025-AF46-7F2420FA5ED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75" name="Rechte verbindingslijn 117">
                <a:extLst>
                  <a:ext uri="{FF2B5EF4-FFF2-40B4-BE49-F238E27FC236}">
                    <a16:creationId xmlns:a16="http://schemas.microsoft.com/office/drawing/2014/main" id="{959C2DA5-732B-46CF-B312-9907EECEBAC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6" name="Rechte verbindingslijn 118">
                <a:extLst>
                  <a:ext uri="{FF2B5EF4-FFF2-40B4-BE49-F238E27FC236}">
                    <a16:creationId xmlns:a16="http://schemas.microsoft.com/office/drawing/2014/main" id="{7204575F-60DD-419C-AD09-C21157F2811E}"/>
                  </a:ext>
                </a:extLst>
              </p:cNvPr>
              <p:cNvCxnSpPr>
                <a:cxnSpLocks/>
                <a:stCxn id="7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grpSp>
          <p:nvGrpSpPr>
            <p:cNvPr id="45" name="Groep 87">
              <a:extLst>
                <a:ext uri="{FF2B5EF4-FFF2-40B4-BE49-F238E27FC236}">
                  <a16:creationId xmlns:a16="http://schemas.microsoft.com/office/drawing/2014/main" id="{1BDCDCA0-C8B6-423A-B6A4-BE5D008A88C1}"/>
                </a:ext>
              </a:extLst>
            </p:cNvPr>
            <p:cNvGrpSpPr/>
            <p:nvPr userDrawn="1"/>
          </p:nvGrpSpPr>
          <p:grpSpPr>
            <a:xfrm>
              <a:off x="12391601" y="2643684"/>
              <a:ext cx="3183678" cy="2840468"/>
              <a:chOff x="12952763" y="4572241"/>
              <a:chExt cx="3183678" cy="2840468"/>
            </a:xfrm>
          </p:grpSpPr>
          <p:grpSp>
            <p:nvGrpSpPr>
              <p:cNvPr id="46" name="Meer informatie">
                <a:extLst>
                  <a:ext uri="{FF2B5EF4-FFF2-40B4-BE49-F238E27FC236}">
                    <a16:creationId xmlns:a16="http://schemas.microsoft.com/office/drawing/2014/main" id="{EE8D9D7A-12CE-442A-9A5E-9A169076FB52}"/>
                  </a:ext>
                </a:extLst>
              </p:cNvPr>
              <p:cNvGrpSpPr/>
              <p:nvPr userDrawn="1"/>
            </p:nvGrpSpPr>
            <p:grpSpPr>
              <a:xfrm>
                <a:off x="12957926" y="6629436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68" name="Freeform 101">
                  <a:extLst>
                    <a:ext uri="{FF2B5EF4-FFF2-40B4-BE49-F238E27FC236}">
                      <a16:creationId xmlns:a16="http://schemas.microsoft.com/office/drawing/2014/main" id="{885E1488-C4C2-463A-94CE-D3F2769291D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3859" noProof="0"/>
                </a:p>
              </p:txBody>
            </p:sp>
            <p:sp>
              <p:nvSpPr>
                <p:cNvPr id="69" name="Rechthoek 111">
                  <a:extLst>
                    <a:ext uri="{FF2B5EF4-FFF2-40B4-BE49-F238E27FC236}">
                      <a16:creationId xmlns:a16="http://schemas.microsoft.com/office/drawing/2014/main" id="{75557234-A71B-4F6B-A9BB-B9E9BD1AE4A3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3207489" eaLnBrk="1" fontAlgn="auto" latinLnBrk="0" hangingPunct="1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Meer weten?</a:t>
                  </a:r>
                  <a:b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a naar dia </a:t>
                  </a:r>
                  <a:r>
                    <a:rPr kumimoji="0" lang="nl-NL" sz="3859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´Instructie dia: YouTube links´</a:t>
                  </a: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deze in de diavoorstelling en klik op de gewenste video link.</a:t>
                  </a:r>
                </a:p>
              </p:txBody>
            </p:sp>
            <p:cxnSp>
              <p:nvCxnSpPr>
                <p:cNvPr id="70" name="Rechte verbindingslijn 112">
                  <a:extLst>
                    <a:ext uri="{FF2B5EF4-FFF2-40B4-BE49-F238E27FC236}">
                      <a16:creationId xmlns:a16="http://schemas.microsoft.com/office/drawing/2014/main" id="{6F1932C4-9D71-457B-A6BA-9892F3F77D89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47" name="Rechte verbindingslijn 89">
                <a:extLst>
                  <a:ext uri="{FF2B5EF4-FFF2-40B4-BE49-F238E27FC236}">
                    <a16:creationId xmlns:a16="http://schemas.microsoft.com/office/drawing/2014/main" id="{EB176900-69AB-41B9-9BEE-925B239EAE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958423" y="651155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48" name="Ovaal 90">
                <a:extLst>
                  <a:ext uri="{FF2B5EF4-FFF2-40B4-BE49-F238E27FC236}">
                    <a16:creationId xmlns:a16="http://schemas.microsoft.com/office/drawing/2014/main" id="{F0924036-1C20-476C-86C4-DF0762F0BB53}"/>
                  </a:ext>
                </a:extLst>
              </p:cNvPr>
              <p:cNvSpPr/>
              <p:nvPr userDrawn="1"/>
            </p:nvSpPr>
            <p:spPr>
              <a:xfrm>
                <a:off x="12952763" y="4690403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320748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49" name="Rechthoek 91">
                <a:extLst>
                  <a:ext uri="{FF2B5EF4-FFF2-40B4-BE49-F238E27FC236}">
                    <a16:creationId xmlns:a16="http://schemas.microsoft.com/office/drawing/2014/main" id="{B23EBAB0-5449-4C3F-B731-7C013E219477}"/>
                  </a:ext>
                </a:extLst>
              </p:cNvPr>
              <p:cNvSpPr/>
              <p:nvPr userDrawn="1"/>
            </p:nvSpPr>
            <p:spPr>
              <a:xfrm>
                <a:off x="13318445" y="4756466"/>
                <a:ext cx="2817996" cy="887319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Om de afbeelding te schalen of bij te snijden, ga naar de tab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Hulpmiddelen voor afbeeldingen - Opmaak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 en klik op de knop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Bijsnijden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Schaal met de bolletjes de afbeelding en met de hoekjes het afbeeldingskader.</a:t>
                </a:r>
                <a:endPara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50" name="Rechte verbindingslijn 92">
                <a:extLst>
                  <a:ext uri="{FF2B5EF4-FFF2-40B4-BE49-F238E27FC236}">
                    <a16:creationId xmlns:a16="http://schemas.microsoft.com/office/drawing/2014/main" id="{EB445B59-B91B-4EB4-B4CF-9DC1A7F9602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958423" y="457224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51" name="Groep 93">
                <a:extLst>
                  <a:ext uri="{FF2B5EF4-FFF2-40B4-BE49-F238E27FC236}">
                    <a16:creationId xmlns:a16="http://schemas.microsoft.com/office/drawing/2014/main" id="{081846A5-6996-44AF-A2FD-5F3614EB4ACD}"/>
                  </a:ext>
                </a:extLst>
              </p:cNvPr>
              <p:cNvGrpSpPr/>
              <p:nvPr userDrawn="1"/>
            </p:nvGrpSpPr>
            <p:grpSpPr>
              <a:xfrm>
                <a:off x="13257676" y="5773610"/>
                <a:ext cx="514284" cy="612917"/>
                <a:chOff x="12682980" y="3403271"/>
                <a:chExt cx="622284" cy="741637"/>
              </a:xfrm>
            </p:grpSpPr>
            <p:grpSp>
              <p:nvGrpSpPr>
                <p:cNvPr id="52" name="Groep 94">
                  <a:extLst>
                    <a:ext uri="{FF2B5EF4-FFF2-40B4-BE49-F238E27FC236}">
                      <a16:creationId xmlns:a16="http://schemas.microsoft.com/office/drawing/2014/main" id="{1BBE9C95-950A-4E45-82E0-6271D0B4E37A}"/>
                    </a:ext>
                  </a:extLst>
                </p:cNvPr>
                <p:cNvGrpSpPr/>
                <p:nvPr userDrawn="1"/>
              </p:nvGrpSpPr>
              <p:grpSpPr>
                <a:xfrm>
                  <a:off x="12771568" y="3403271"/>
                  <a:ext cx="467138" cy="448459"/>
                  <a:chOff x="12782195" y="3403271"/>
                  <a:chExt cx="467138" cy="448459"/>
                </a:xfrm>
              </p:grpSpPr>
              <p:grpSp>
                <p:nvGrpSpPr>
                  <p:cNvPr id="55" name="Groep 97">
                    <a:extLst>
                      <a:ext uri="{FF2B5EF4-FFF2-40B4-BE49-F238E27FC236}">
                        <a16:creationId xmlns:a16="http://schemas.microsoft.com/office/drawing/2014/main" id="{7AEA0B09-140B-468B-AC61-07FD9B39ECB0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2782195" y="3403271"/>
                    <a:ext cx="412967" cy="393910"/>
                    <a:chOff x="13554906" y="3320143"/>
                    <a:chExt cx="443906" cy="423422"/>
                  </a:xfrm>
                </p:grpSpPr>
                <p:grpSp>
                  <p:nvGrpSpPr>
                    <p:cNvPr id="62" name="Groep 104">
                      <a:extLst>
                        <a:ext uri="{FF2B5EF4-FFF2-40B4-BE49-F238E27FC236}">
                          <a16:creationId xmlns:a16="http://schemas.microsoft.com/office/drawing/2014/main" id="{0354EF40-8196-4104-8A51-CD98155CBEB7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3554906" y="3320143"/>
                      <a:ext cx="443906" cy="423422"/>
                      <a:chOff x="12909684" y="1276177"/>
                      <a:chExt cx="443906" cy="423422"/>
                    </a:xfrm>
                  </p:grpSpPr>
                  <p:sp>
                    <p:nvSpPr>
                      <p:cNvPr id="65" name="Rechthoek 107">
                        <a:extLst>
                          <a:ext uri="{FF2B5EF4-FFF2-40B4-BE49-F238E27FC236}">
                            <a16:creationId xmlns:a16="http://schemas.microsoft.com/office/drawing/2014/main" id="{7621A7A9-FE6A-4BBD-A712-55AE46B42A60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2918700" y="1285299"/>
                        <a:ext cx="434890" cy="414300"/>
                      </a:xfrm>
                      <a:prstGeom prst="rect">
                        <a:avLst/>
                      </a:prstGeom>
                      <a:noFill/>
                      <a:ln w="12700">
                        <a:solidFill>
                          <a:srgbClr val="818181"/>
                        </a:solidFill>
                        <a:prstDash val="dash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2105"/>
                          </a:spcBef>
                          <a:spcAft>
                            <a:spcPts val="2105"/>
                          </a:spcAft>
                        </a:pPr>
                        <a:endParaRPr lang="nl-NL" sz="2806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66" name="Rechthoek 108">
                        <a:extLst>
                          <a:ext uri="{FF2B5EF4-FFF2-40B4-BE49-F238E27FC236}">
                            <a16:creationId xmlns:a16="http://schemas.microsoft.com/office/drawing/2014/main" id="{E9BF3FB5-9508-4AC7-8D70-ACB9EEC81C68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2909684" y="1276177"/>
                        <a:ext cx="261629" cy="257808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12700">
                        <a:solidFill>
                          <a:srgbClr val="81818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2105"/>
                          </a:spcBef>
                          <a:spcAft>
                            <a:spcPts val="2105"/>
                          </a:spcAft>
                        </a:pPr>
                        <a:endParaRPr lang="nl-NL" sz="2806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67" name="Ovaal 109">
                        <a:extLst>
                          <a:ext uri="{FF2B5EF4-FFF2-40B4-BE49-F238E27FC236}">
                            <a16:creationId xmlns:a16="http://schemas.microsoft.com/office/drawing/2014/main" id="{1EDE13F5-A9A3-4675-ACC3-8DBE694D83EF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3069071" y="1308734"/>
                        <a:ext cx="72187" cy="72188"/>
                      </a:xfrm>
                      <a:prstGeom prst="ellipse">
                        <a:avLst/>
                      </a:prstGeom>
                      <a:solidFill>
                        <a:srgbClr val="ECC679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="horz" wrap="square" lIns="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l"/>
                        <a:endParaRPr lang="nl-NL" sz="3509" b="1" noProof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  <p:pic>
                  <p:nvPicPr>
                    <p:cNvPr id="63" name="Afbeelding 105">
                      <a:extLst>
                        <a:ext uri="{FF2B5EF4-FFF2-40B4-BE49-F238E27FC236}">
                          <a16:creationId xmlns:a16="http://schemas.microsoft.com/office/drawing/2014/main" id="{2BB2B0A0-26FD-4422-922E-8256BCEB8A09}"/>
                        </a:ext>
                      </a:extLst>
                    </p:cNvPr>
                    <p:cNvPicPr>
                      <a:picLocks noChangeAspect="1"/>
                    </p:cNvPicPr>
                    <p:nvPr userDrawn="1"/>
                  </p:nvPicPr>
                  <p:blipFill>
                    <a:blip r:embed="rId2" cstate="screen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3567296" y="3424991"/>
                      <a:ext cx="173367" cy="14022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64" name="Afbeelding 106">
                      <a:extLst>
                        <a:ext uri="{FF2B5EF4-FFF2-40B4-BE49-F238E27FC236}">
                          <a16:creationId xmlns:a16="http://schemas.microsoft.com/office/drawing/2014/main" id="{5EA5B6DA-D17B-4A6F-9695-3F6C3FCFAA06}"/>
                        </a:ext>
                      </a:extLst>
                    </p:cNvPr>
                    <p:cNvPicPr>
                      <a:picLocks noChangeAspect="1"/>
                    </p:cNvPicPr>
                    <p:nvPr userDrawn="1"/>
                  </p:nvPicPr>
                  <p:blipFill>
                    <a:blip r:embed="rId4" cstate="screen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5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flipH="1">
                      <a:off x="13635598" y="3454393"/>
                      <a:ext cx="173366" cy="111424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56" name="Groep 98">
                    <a:extLst>
                      <a:ext uri="{FF2B5EF4-FFF2-40B4-BE49-F238E27FC236}">
                        <a16:creationId xmlns:a16="http://schemas.microsoft.com/office/drawing/2014/main" id="{C2700FA0-3DC9-4FB9-86A5-B6413274FA7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103513" y="3705278"/>
                    <a:ext cx="145820" cy="146452"/>
                    <a:chOff x="13096169" y="3602288"/>
                    <a:chExt cx="145820" cy="146452"/>
                  </a:xfrm>
                </p:grpSpPr>
                <p:sp>
                  <p:nvSpPr>
                    <p:cNvPr id="60" name="Rechthoek 102">
                      <a:extLst>
                        <a:ext uri="{FF2B5EF4-FFF2-40B4-BE49-F238E27FC236}">
                          <a16:creationId xmlns:a16="http://schemas.microsoft.com/office/drawing/2014/main" id="{02395FD7-CC1B-402E-BA31-B0749AC11A0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96169" y="360228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1" name="Rechthoek 103">
                      <a:extLst>
                        <a:ext uri="{FF2B5EF4-FFF2-40B4-BE49-F238E27FC236}">
                          <a16:creationId xmlns:a16="http://schemas.microsoft.com/office/drawing/2014/main" id="{D8D86DCD-B10A-4C36-8EEF-39A8008D6B25}"/>
                        </a:ext>
                      </a:extLst>
                    </p:cNvPr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grpSp>
                <p:nvGrpSpPr>
                  <p:cNvPr id="57" name="Groep 99">
                    <a:extLst>
                      <a:ext uri="{FF2B5EF4-FFF2-40B4-BE49-F238E27FC236}">
                        <a16:creationId xmlns:a16="http://schemas.microsoft.com/office/drawing/2014/main" id="{C82629AB-1182-4B1C-B862-48B42F920438}"/>
                      </a:ext>
                    </a:extLst>
                  </p:cNvPr>
                  <p:cNvGrpSpPr/>
                  <p:nvPr userDrawn="1"/>
                </p:nvGrpSpPr>
                <p:grpSpPr>
                  <a:xfrm rot="10800000">
                    <a:off x="13061402" y="3665668"/>
                    <a:ext cx="145820" cy="146461"/>
                    <a:chOff x="13096169" y="3602248"/>
                    <a:chExt cx="145820" cy="146461"/>
                  </a:xfrm>
                </p:grpSpPr>
                <p:sp>
                  <p:nvSpPr>
                    <p:cNvPr id="58" name="Rechthoek 100">
                      <a:extLst>
                        <a:ext uri="{FF2B5EF4-FFF2-40B4-BE49-F238E27FC236}">
                          <a16:creationId xmlns:a16="http://schemas.microsoft.com/office/drawing/2014/main" id="{4C042A34-DC50-40B0-99DE-8A5A1B4920F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96169" y="360224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59" name="Rechthoek 101">
                      <a:extLst>
                        <a:ext uri="{FF2B5EF4-FFF2-40B4-BE49-F238E27FC236}">
                          <a16:creationId xmlns:a16="http://schemas.microsoft.com/office/drawing/2014/main" id="{1DDE9F82-2C0C-4C21-9D1A-913D0051DF45}"/>
                        </a:ext>
                      </a:extLst>
                    </p:cNvPr>
                    <p:cNvSpPr/>
                    <p:nvPr userDrawn="1"/>
                  </p:nvSpPr>
                  <p:spPr>
                    <a:xfrm rot="5400000">
                      <a:off x="13037453" y="3661605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  <p:sp>
              <p:nvSpPr>
                <p:cNvPr id="53" name="Rechthoek 95">
                  <a:extLst>
                    <a:ext uri="{FF2B5EF4-FFF2-40B4-BE49-F238E27FC236}">
                      <a16:creationId xmlns:a16="http://schemas.microsoft.com/office/drawing/2014/main" id="{E6E57F44-B0A2-4528-B0C9-2F6A8F6F7A4D}"/>
                    </a:ext>
                  </a:extLst>
                </p:cNvPr>
                <p:cNvSpPr/>
                <p:nvPr userDrawn="1"/>
              </p:nvSpPr>
              <p:spPr>
                <a:xfrm>
                  <a:off x="12682980" y="3889920"/>
                  <a:ext cx="622284" cy="16117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r>
                    <a:rPr lang="nl-NL" sz="3158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Bijsnijden</a:t>
                  </a:r>
                </a:p>
              </p:txBody>
            </p:sp>
            <p:sp>
              <p:nvSpPr>
                <p:cNvPr id="54" name="Gelijkbenige driehoek 96">
                  <a:extLst>
                    <a:ext uri="{FF2B5EF4-FFF2-40B4-BE49-F238E27FC236}">
                      <a16:creationId xmlns:a16="http://schemas.microsoft.com/office/drawing/2014/main" id="{11B8AC6F-F74A-4A1E-B322-2B5623763CF7}"/>
                    </a:ext>
                  </a:extLst>
                </p:cNvPr>
                <p:cNvSpPr/>
                <p:nvPr userDrawn="1"/>
              </p:nvSpPr>
              <p:spPr>
                <a:xfrm rot="10800000">
                  <a:off x="12950688" y="4093761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pic>
        <p:nvPicPr>
          <p:cNvPr id="80" name="Afbeelding 79">
            <a:extLst>
              <a:ext uri="{FF2B5EF4-FFF2-40B4-BE49-F238E27FC236}">
                <a16:creationId xmlns:a16="http://schemas.microsoft.com/office/drawing/2014/main" id="{6639F2A8-E8F6-4DE3-9FA2-A221B750E3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  <p:grpSp>
        <p:nvGrpSpPr>
          <p:cNvPr id="81" name="Instructie">
            <a:extLst>
              <a:ext uri="{FF2B5EF4-FFF2-40B4-BE49-F238E27FC236}">
                <a16:creationId xmlns:a16="http://schemas.microsoft.com/office/drawing/2014/main" id="{7D0604FF-8B88-4A6C-AE3D-EF159F49580B}"/>
              </a:ext>
            </a:extLst>
          </p:cNvPr>
          <p:cNvGrpSpPr/>
          <p:nvPr userDrawn="1"/>
        </p:nvGrpSpPr>
        <p:grpSpPr>
          <a:xfrm>
            <a:off x="-11761540" y="0"/>
            <a:ext cx="11164508" cy="11743958"/>
            <a:chOff x="-3426088" y="4512342"/>
            <a:chExt cx="3182755" cy="2660264"/>
          </a:xfrm>
        </p:grpSpPr>
        <p:sp>
          <p:nvSpPr>
            <p:cNvPr id="82" name="Rechthoek 127">
              <a:extLst>
                <a:ext uri="{FF2B5EF4-FFF2-40B4-BE49-F238E27FC236}">
                  <a16:creationId xmlns:a16="http://schemas.microsoft.com/office/drawing/2014/main" id="{BF5AAC15-CCCB-403E-A283-66CEE40F0C07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83" name="Rechte verbindingslijn 128">
              <a:extLst>
                <a:ext uri="{FF2B5EF4-FFF2-40B4-BE49-F238E27FC236}">
                  <a16:creationId xmlns:a16="http://schemas.microsoft.com/office/drawing/2014/main" id="{8667BB0D-DE62-447D-9BE0-395814812DD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84" name="Rechthoek 130">
              <a:extLst>
                <a:ext uri="{FF2B5EF4-FFF2-40B4-BE49-F238E27FC236}">
                  <a16:creationId xmlns:a16="http://schemas.microsoft.com/office/drawing/2014/main" id="{00D4CEB4-F52F-4829-AF7E-DE2DF96A2706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85" name="Rechthoek 133">
              <a:extLst>
                <a:ext uri="{FF2B5EF4-FFF2-40B4-BE49-F238E27FC236}">
                  <a16:creationId xmlns:a16="http://schemas.microsoft.com/office/drawing/2014/main" id="{5A1D17C0-9BAE-421A-BF68-3DC91B34E90E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6" name="Rechthoek 136">
              <a:extLst>
                <a:ext uri="{FF2B5EF4-FFF2-40B4-BE49-F238E27FC236}">
                  <a16:creationId xmlns:a16="http://schemas.microsoft.com/office/drawing/2014/main" id="{6B51F6D5-BBA0-4366-B67D-88CCA73266C6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7" name="Rechthoek 139">
              <a:extLst>
                <a:ext uri="{FF2B5EF4-FFF2-40B4-BE49-F238E27FC236}">
                  <a16:creationId xmlns:a16="http://schemas.microsoft.com/office/drawing/2014/main" id="{8B49CDC0-8B02-4340-BC83-610569B95BE3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88" name="Rechte verbindingslijn 140">
              <a:extLst>
                <a:ext uri="{FF2B5EF4-FFF2-40B4-BE49-F238E27FC236}">
                  <a16:creationId xmlns:a16="http://schemas.microsoft.com/office/drawing/2014/main" id="{CF4C8A17-FDC3-46DA-8F4A-21774820140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270456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100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10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10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7" grpId="0" animBg="1"/>
      <p:bldP spid="38" grpId="0" animBg="1"/>
      <p:bldP spid="25" grpId="0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2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2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" grpId="0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2" grpId="0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3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3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5" grpId="0" animBg="1"/>
      <p:bldP spid="156" grpId="0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5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5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rnpunten + Tekstvlakke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jdelijke aanduiding voor afbeelding 35">
            <a:extLst>
              <a:ext uri="{FF2B5EF4-FFF2-40B4-BE49-F238E27FC236}">
                <a16:creationId xmlns:a16="http://schemas.microsoft.com/office/drawing/2014/main" id="{DDF59742-AC42-4AAA-9941-6163D1AD1558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1742383" y="5815907"/>
            <a:ext cx="12350720" cy="6929700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958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82707"/>
              <a:gd name="connsiteX1" fmla="*/ 3386338 w 3520881"/>
              <a:gd name="connsiteY1" fmla="*/ 6216 h 2882707"/>
              <a:gd name="connsiteX2" fmla="*/ 3520881 w 3520881"/>
              <a:gd name="connsiteY2" fmla="*/ 157131 h 2882707"/>
              <a:gd name="connsiteX3" fmla="*/ 3520881 w 3520881"/>
              <a:gd name="connsiteY3" fmla="*/ 2714286 h 2882707"/>
              <a:gd name="connsiteX4" fmla="*/ 3395863 w 3520881"/>
              <a:gd name="connsiteY4" fmla="*/ 2865200 h 2882707"/>
              <a:gd name="connsiteX5" fmla="*/ 125019 w 3520881"/>
              <a:gd name="connsiteY5" fmla="*/ 2882707 h 2882707"/>
              <a:gd name="connsiteX6" fmla="*/ 0 w 3520881"/>
              <a:gd name="connsiteY6" fmla="*/ 2714286 h 2882707"/>
              <a:gd name="connsiteX7" fmla="*/ 0 w 3520881"/>
              <a:gd name="connsiteY7" fmla="*/ 157131 h 2882707"/>
              <a:gd name="connsiteX8" fmla="*/ 1036 w 3520881"/>
              <a:gd name="connsiteY8" fmla="*/ 89 h 2882707"/>
              <a:gd name="connsiteX0" fmla="*/ 1036 w 3522188"/>
              <a:gd name="connsiteY0" fmla="*/ 2627 h 2885245"/>
              <a:gd name="connsiteX1" fmla="*/ 3429201 w 3522188"/>
              <a:gd name="connsiteY1" fmla="*/ 0 h 2885245"/>
              <a:gd name="connsiteX2" fmla="*/ 3520881 w 3522188"/>
              <a:gd name="connsiteY2" fmla="*/ 159669 h 2885245"/>
              <a:gd name="connsiteX3" fmla="*/ 3520881 w 3522188"/>
              <a:gd name="connsiteY3" fmla="*/ 2716824 h 2885245"/>
              <a:gd name="connsiteX4" fmla="*/ 3395863 w 3522188"/>
              <a:gd name="connsiteY4" fmla="*/ 2867738 h 2885245"/>
              <a:gd name="connsiteX5" fmla="*/ 125019 w 3522188"/>
              <a:gd name="connsiteY5" fmla="*/ 2885245 h 2885245"/>
              <a:gd name="connsiteX6" fmla="*/ 0 w 3522188"/>
              <a:gd name="connsiteY6" fmla="*/ 2716824 h 2885245"/>
              <a:gd name="connsiteX7" fmla="*/ 0 w 3522188"/>
              <a:gd name="connsiteY7" fmla="*/ 159669 h 2885245"/>
              <a:gd name="connsiteX8" fmla="*/ 1036 w 3522188"/>
              <a:gd name="connsiteY8" fmla="*/ 2627 h 2885245"/>
              <a:gd name="connsiteX0" fmla="*/ 1036 w 3520918"/>
              <a:gd name="connsiteY0" fmla="*/ 2627 h 2885245"/>
              <a:gd name="connsiteX1" fmla="*/ 3414913 w 3520918"/>
              <a:gd name="connsiteY1" fmla="*/ 0 h 2885245"/>
              <a:gd name="connsiteX2" fmla="*/ 3520881 w 3520918"/>
              <a:gd name="connsiteY2" fmla="*/ 159669 h 2885245"/>
              <a:gd name="connsiteX3" fmla="*/ 3520881 w 3520918"/>
              <a:gd name="connsiteY3" fmla="*/ 2716824 h 2885245"/>
              <a:gd name="connsiteX4" fmla="*/ 3395863 w 3520918"/>
              <a:gd name="connsiteY4" fmla="*/ 2867738 h 2885245"/>
              <a:gd name="connsiteX5" fmla="*/ 125019 w 3520918"/>
              <a:gd name="connsiteY5" fmla="*/ 2885245 h 2885245"/>
              <a:gd name="connsiteX6" fmla="*/ 0 w 3520918"/>
              <a:gd name="connsiteY6" fmla="*/ 2716824 h 2885245"/>
              <a:gd name="connsiteX7" fmla="*/ 0 w 3520918"/>
              <a:gd name="connsiteY7" fmla="*/ 159669 h 2885245"/>
              <a:gd name="connsiteX8" fmla="*/ 1036 w 3520918"/>
              <a:gd name="connsiteY8" fmla="*/ 2627 h 2885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918" h="2885245">
                <a:moveTo>
                  <a:pt x="1036" y="2627"/>
                </a:moveTo>
                <a:lnTo>
                  <a:pt x="3414913" y="0"/>
                </a:lnTo>
                <a:cubicBezTo>
                  <a:pt x="3526042" y="0"/>
                  <a:pt x="3520881" y="76322"/>
                  <a:pt x="3520881" y="159669"/>
                </a:cubicBezTo>
                <a:lnTo>
                  <a:pt x="3520881" y="2716824"/>
                </a:lnTo>
                <a:cubicBezTo>
                  <a:pt x="3520881" y="2800171"/>
                  <a:pt x="3506992" y="2867738"/>
                  <a:pt x="3395863" y="2867738"/>
                </a:cubicBezTo>
                <a:lnTo>
                  <a:pt x="125019" y="2885245"/>
                </a:lnTo>
                <a:cubicBezTo>
                  <a:pt x="13889" y="2885245"/>
                  <a:pt x="0" y="2800171"/>
                  <a:pt x="0" y="2716824"/>
                </a:cubicBezTo>
                <a:lnTo>
                  <a:pt x="0" y="159669"/>
                </a:lnTo>
                <a:cubicBezTo>
                  <a:pt x="0" y="76322"/>
                  <a:pt x="211" y="-437"/>
                  <a:pt x="1036" y="262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972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5" name="Tijdelijke aanduiding voor tekst 5">
            <a:extLst>
              <a:ext uri="{FF2B5EF4-FFF2-40B4-BE49-F238E27FC236}">
                <a16:creationId xmlns:a16="http://schemas.microsoft.com/office/drawing/2014/main" id="{7581CA50-F401-4352-B20E-C61DC891A3E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740476" y="13257591"/>
            <a:ext cx="12352499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6" name="Tijdelijke aanduiding voor tekst 5">
            <a:extLst>
              <a:ext uri="{FF2B5EF4-FFF2-40B4-BE49-F238E27FC236}">
                <a16:creationId xmlns:a16="http://schemas.microsoft.com/office/drawing/2014/main" id="{EE7615E9-55F0-4367-ADAF-BF9E9F9AFF0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265724" y="13257591"/>
            <a:ext cx="12352499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32" name="Tijdelijke aanduiding voor tekst 5">
            <a:extLst>
              <a:ext uri="{FF2B5EF4-FFF2-40B4-BE49-F238E27FC236}">
                <a16:creationId xmlns:a16="http://schemas.microsoft.com/office/drawing/2014/main" id="{1F90D83A-4F8A-4644-B6AA-08EAF0B98A5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8807971" y="13257591"/>
            <a:ext cx="12352499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grpSp>
        <p:nvGrpSpPr>
          <p:cNvPr id="19" name="GRID" hidden="1"/>
          <p:cNvGrpSpPr/>
          <p:nvPr userDrawn="1"/>
        </p:nvGrpSpPr>
        <p:grpSpPr>
          <a:xfrm>
            <a:off x="5" y="0"/>
            <a:ext cx="42767261" cy="30275213"/>
            <a:chOff x="0" y="0"/>
            <a:chExt cx="12192003" cy="6858000"/>
          </a:xfrm>
        </p:grpSpPr>
        <p:sp>
          <p:nvSpPr>
            <p:cNvPr id="20" name="Rechthoek 19"/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1" name="Rechthoek 20"/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2" name="Rechthoek 21"/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4" name="Rechthoek 23"/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8" name="Rechthoek 27">
              <a:extLst>
                <a:ext uri="{FF2B5EF4-FFF2-40B4-BE49-F238E27FC236}">
                  <a16:creationId xmlns:a16="http://schemas.microsoft.com/office/drawing/2014/main" id="{6BC69531-4B5F-447E-B7A9-2951B17E6FC2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6644E39-2AF2-4EA0-9C3F-28C89D5A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8"/>
            <a:ext cx="707315" cy="101640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7" name="Tijdelijke aanduiding voor tekst 14">
            <a:extLst>
              <a:ext uri="{FF2B5EF4-FFF2-40B4-BE49-F238E27FC236}">
                <a16:creationId xmlns:a16="http://schemas.microsoft.com/office/drawing/2014/main" id="{A6BF4B27-7FC5-4896-80CE-3BA6119B83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sp>
        <p:nvSpPr>
          <p:cNvPr id="33" name="Tijdelijke aanduiding voor voettekst 4">
            <a:extLst>
              <a:ext uri="{FF2B5EF4-FFF2-40B4-BE49-F238E27FC236}">
                <a16:creationId xmlns:a16="http://schemas.microsoft.com/office/drawing/2014/main" id="{3C7CF4CB-CF25-44A3-95AE-206B86BFD6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endParaRPr lang="nl-NL" noProof="0"/>
          </a:p>
        </p:txBody>
      </p:sp>
      <p:sp>
        <p:nvSpPr>
          <p:cNvPr id="29" name="Tijdelijke aanduiding voor datum 3">
            <a:extLst>
              <a:ext uri="{FF2B5EF4-FFF2-40B4-BE49-F238E27FC236}">
                <a16:creationId xmlns:a16="http://schemas.microsoft.com/office/drawing/2014/main" id="{53600F14-A3DB-4812-872D-DFA76F4B6A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endParaRPr lang="nl-NL" noProof="0"/>
          </a:p>
        </p:txBody>
      </p:sp>
      <p:sp>
        <p:nvSpPr>
          <p:cNvPr id="170" name="Tijdelijke aanduiding voor tekst 5">
            <a:extLst>
              <a:ext uri="{FF2B5EF4-FFF2-40B4-BE49-F238E27FC236}">
                <a16:creationId xmlns:a16="http://schemas.microsoft.com/office/drawing/2014/main" id="{3F0188AC-8892-4C7B-8E2B-B715F4DDB33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740476" y="24130217"/>
            <a:ext cx="12352499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71" name="Tijdelijke aanduiding voor tekst 5">
            <a:extLst>
              <a:ext uri="{FF2B5EF4-FFF2-40B4-BE49-F238E27FC236}">
                <a16:creationId xmlns:a16="http://schemas.microsoft.com/office/drawing/2014/main" id="{BCD28633-05C1-4036-ACD0-8B909BE0A8A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5265724" y="24130217"/>
            <a:ext cx="12352499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72" name="Tijdelijke aanduiding voor tekst 5">
            <a:extLst>
              <a:ext uri="{FF2B5EF4-FFF2-40B4-BE49-F238E27FC236}">
                <a16:creationId xmlns:a16="http://schemas.microsoft.com/office/drawing/2014/main" id="{FFCDB378-C3AB-408C-9AD4-E299B638AF03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8807971" y="24130217"/>
            <a:ext cx="12352499" cy="2129595"/>
          </a:xfrm>
          <a:custGeom>
            <a:avLst/>
            <a:gdLst>
              <a:gd name="connsiteX0" fmla="*/ 0 w 3520800"/>
              <a:gd name="connsiteY0" fmla="*/ 80402 h 482400"/>
              <a:gd name="connsiteX1" fmla="*/ 80402 w 3520800"/>
              <a:gd name="connsiteY1" fmla="*/ 0 h 482400"/>
              <a:gd name="connsiteX2" fmla="*/ 3440398 w 3520800"/>
              <a:gd name="connsiteY2" fmla="*/ 0 h 482400"/>
              <a:gd name="connsiteX3" fmla="*/ 3520800 w 3520800"/>
              <a:gd name="connsiteY3" fmla="*/ 80402 h 482400"/>
              <a:gd name="connsiteX4" fmla="*/ 3520800 w 3520800"/>
              <a:gd name="connsiteY4" fmla="*/ 401998 h 482400"/>
              <a:gd name="connsiteX5" fmla="*/ 3440398 w 3520800"/>
              <a:gd name="connsiteY5" fmla="*/ 482400 h 482400"/>
              <a:gd name="connsiteX6" fmla="*/ 80402 w 3520800"/>
              <a:gd name="connsiteY6" fmla="*/ 482400 h 482400"/>
              <a:gd name="connsiteX7" fmla="*/ 0 w 3520800"/>
              <a:gd name="connsiteY7" fmla="*/ 401998 h 482400"/>
              <a:gd name="connsiteX8" fmla="*/ 0 w 3520800"/>
              <a:gd name="connsiteY8" fmla="*/ 80402 h 482400"/>
              <a:gd name="connsiteX0" fmla="*/ 187267 w 3708067"/>
              <a:gd name="connsiteY0" fmla="*/ 80402 h 482400"/>
              <a:gd name="connsiteX1" fmla="*/ 204706 w 3708067"/>
              <a:gd name="connsiteY1" fmla="*/ 25957 h 482400"/>
              <a:gd name="connsiteX2" fmla="*/ 267669 w 3708067"/>
              <a:gd name="connsiteY2" fmla="*/ 0 h 482400"/>
              <a:gd name="connsiteX3" fmla="*/ 3627665 w 3708067"/>
              <a:gd name="connsiteY3" fmla="*/ 0 h 482400"/>
              <a:gd name="connsiteX4" fmla="*/ 3708067 w 3708067"/>
              <a:gd name="connsiteY4" fmla="*/ 80402 h 482400"/>
              <a:gd name="connsiteX5" fmla="*/ 3708067 w 3708067"/>
              <a:gd name="connsiteY5" fmla="*/ 401998 h 482400"/>
              <a:gd name="connsiteX6" fmla="*/ 3627665 w 3708067"/>
              <a:gd name="connsiteY6" fmla="*/ 482400 h 482400"/>
              <a:gd name="connsiteX7" fmla="*/ 267669 w 3708067"/>
              <a:gd name="connsiteY7" fmla="*/ 482400 h 482400"/>
              <a:gd name="connsiteX8" fmla="*/ 187267 w 3708067"/>
              <a:gd name="connsiteY8" fmla="*/ 401998 h 482400"/>
              <a:gd name="connsiteX9" fmla="*/ 187267 w 3708067"/>
              <a:gd name="connsiteY9" fmla="*/ 80402 h 482400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0 w 3520800"/>
              <a:gd name="connsiteY0" fmla="*/ 80739 h 482737"/>
              <a:gd name="connsiteX1" fmla="*/ 17439 w 3520800"/>
              <a:gd name="connsiteY1" fmla="*/ 26294 h 482737"/>
              <a:gd name="connsiteX2" fmla="*/ 80402 w 3520800"/>
              <a:gd name="connsiteY2" fmla="*/ 337 h 482737"/>
              <a:gd name="connsiteX3" fmla="*/ 3440398 w 3520800"/>
              <a:gd name="connsiteY3" fmla="*/ 337 h 482737"/>
              <a:gd name="connsiteX4" fmla="*/ 3520800 w 3520800"/>
              <a:gd name="connsiteY4" fmla="*/ 80739 h 482737"/>
              <a:gd name="connsiteX5" fmla="*/ 3520800 w 3520800"/>
              <a:gd name="connsiteY5" fmla="*/ 402335 h 482737"/>
              <a:gd name="connsiteX6" fmla="*/ 3440398 w 3520800"/>
              <a:gd name="connsiteY6" fmla="*/ 482737 h 482737"/>
              <a:gd name="connsiteX7" fmla="*/ 80402 w 3520800"/>
              <a:gd name="connsiteY7" fmla="*/ 482737 h 482737"/>
              <a:gd name="connsiteX8" fmla="*/ 0 w 3520800"/>
              <a:gd name="connsiteY8" fmla="*/ 402335 h 482737"/>
              <a:gd name="connsiteX9" fmla="*/ 0 w 3520800"/>
              <a:gd name="connsiteY9" fmla="*/ 80739 h 482737"/>
              <a:gd name="connsiteX0" fmla="*/ 193403 w 3714203"/>
              <a:gd name="connsiteY0" fmla="*/ 80402 h 482400"/>
              <a:gd name="connsiteX1" fmla="*/ 194173 w 3714203"/>
              <a:gd name="connsiteY1" fmla="*/ 16432 h 482400"/>
              <a:gd name="connsiteX2" fmla="*/ 273805 w 3714203"/>
              <a:gd name="connsiteY2" fmla="*/ 0 h 482400"/>
              <a:gd name="connsiteX3" fmla="*/ 3633801 w 3714203"/>
              <a:gd name="connsiteY3" fmla="*/ 0 h 482400"/>
              <a:gd name="connsiteX4" fmla="*/ 3714203 w 3714203"/>
              <a:gd name="connsiteY4" fmla="*/ 80402 h 482400"/>
              <a:gd name="connsiteX5" fmla="*/ 3714203 w 3714203"/>
              <a:gd name="connsiteY5" fmla="*/ 401998 h 482400"/>
              <a:gd name="connsiteX6" fmla="*/ 3633801 w 3714203"/>
              <a:gd name="connsiteY6" fmla="*/ 482400 h 482400"/>
              <a:gd name="connsiteX7" fmla="*/ 273805 w 3714203"/>
              <a:gd name="connsiteY7" fmla="*/ 482400 h 482400"/>
              <a:gd name="connsiteX8" fmla="*/ 193403 w 3714203"/>
              <a:gd name="connsiteY8" fmla="*/ 401998 h 482400"/>
              <a:gd name="connsiteX9" fmla="*/ 193403 w 3714203"/>
              <a:gd name="connsiteY9" fmla="*/ 80402 h 48240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6007 w 3526807"/>
              <a:gd name="connsiteY0" fmla="*/ 80832 h 482830"/>
              <a:gd name="connsiteX1" fmla="*/ 6777 w 3526807"/>
              <a:gd name="connsiteY1" fmla="*/ 16862 h 482830"/>
              <a:gd name="connsiteX2" fmla="*/ 86409 w 3526807"/>
              <a:gd name="connsiteY2" fmla="*/ 430 h 482830"/>
              <a:gd name="connsiteX3" fmla="*/ 3446405 w 3526807"/>
              <a:gd name="connsiteY3" fmla="*/ 430 h 482830"/>
              <a:gd name="connsiteX4" fmla="*/ 3526807 w 3526807"/>
              <a:gd name="connsiteY4" fmla="*/ 80832 h 482830"/>
              <a:gd name="connsiteX5" fmla="*/ 3526807 w 3526807"/>
              <a:gd name="connsiteY5" fmla="*/ 402428 h 482830"/>
              <a:gd name="connsiteX6" fmla="*/ 3446405 w 3526807"/>
              <a:gd name="connsiteY6" fmla="*/ 482830 h 482830"/>
              <a:gd name="connsiteX7" fmla="*/ 86409 w 3526807"/>
              <a:gd name="connsiteY7" fmla="*/ 482830 h 482830"/>
              <a:gd name="connsiteX8" fmla="*/ 6007 w 3526807"/>
              <a:gd name="connsiteY8" fmla="*/ 402428 h 482830"/>
              <a:gd name="connsiteX9" fmla="*/ 6007 w 3526807"/>
              <a:gd name="connsiteY9" fmla="*/ 80832 h 482830"/>
              <a:gd name="connsiteX0" fmla="*/ 10292 w 3531092"/>
              <a:gd name="connsiteY0" fmla="*/ 81330 h 483328"/>
              <a:gd name="connsiteX1" fmla="*/ 11062 w 3531092"/>
              <a:gd name="connsiteY1" fmla="*/ 17360 h 483328"/>
              <a:gd name="connsiteX2" fmla="*/ 90694 w 3531092"/>
              <a:gd name="connsiteY2" fmla="*/ 928 h 483328"/>
              <a:gd name="connsiteX3" fmla="*/ 3450690 w 3531092"/>
              <a:gd name="connsiteY3" fmla="*/ 928 h 483328"/>
              <a:gd name="connsiteX4" fmla="*/ 3531092 w 3531092"/>
              <a:gd name="connsiteY4" fmla="*/ 81330 h 483328"/>
              <a:gd name="connsiteX5" fmla="*/ 3531092 w 3531092"/>
              <a:gd name="connsiteY5" fmla="*/ 402926 h 483328"/>
              <a:gd name="connsiteX6" fmla="*/ 3450690 w 3531092"/>
              <a:gd name="connsiteY6" fmla="*/ 483328 h 483328"/>
              <a:gd name="connsiteX7" fmla="*/ 90694 w 3531092"/>
              <a:gd name="connsiteY7" fmla="*/ 483328 h 483328"/>
              <a:gd name="connsiteX8" fmla="*/ 10292 w 3531092"/>
              <a:gd name="connsiteY8" fmla="*/ 402926 h 483328"/>
              <a:gd name="connsiteX9" fmla="*/ 10292 w 3531092"/>
              <a:gd name="connsiteY9" fmla="*/ 81330 h 483328"/>
              <a:gd name="connsiteX0" fmla="*/ 10297 w 3531097"/>
              <a:gd name="connsiteY0" fmla="*/ 80402 h 482400"/>
              <a:gd name="connsiteX1" fmla="*/ 11067 w 3531097"/>
              <a:gd name="connsiteY1" fmla="*/ 16432 h 482400"/>
              <a:gd name="connsiteX2" fmla="*/ 90699 w 3531097"/>
              <a:gd name="connsiteY2" fmla="*/ 0 h 482400"/>
              <a:gd name="connsiteX3" fmla="*/ 3450695 w 3531097"/>
              <a:gd name="connsiteY3" fmla="*/ 0 h 482400"/>
              <a:gd name="connsiteX4" fmla="*/ 3531097 w 3531097"/>
              <a:gd name="connsiteY4" fmla="*/ 80402 h 482400"/>
              <a:gd name="connsiteX5" fmla="*/ 3531097 w 3531097"/>
              <a:gd name="connsiteY5" fmla="*/ 401998 h 482400"/>
              <a:gd name="connsiteX6" fmla="*/ 3450695 w 3531097"/>
              <a:gd name="connsiteY6" fmla="*/ 482400 h 482400"/>
              <a:gd name="connsiteX7" fmla="*/ 90699 w 3531097"/>
              <a:gd name="connsiteY7" fmla="*/ 482400 h 482400"/>
              <a:gd name="connsiteX8" fmla="*/ 10297 w 3531097"/>
              <a:gd name="connsiteY8" fmla="*/ 401998 h 482400"/>
              <a:gd name="connsiteX9" fmla="*/ 10297 w 3531097"/>
              <a:gd name="connsiteY9" fmla="*/ 80402 h 482400"/>
              <a:gd name="connsiteX0" fmla="*/ 5633 w 3526433"/>
              <a:gd name="connsiteY0" fmla="*/ 80402 h 482400"/>
              <a:gd name="connsiteX1" fmla="*/ 6403 w 3526433"/>
              <a:gd name="connsiteY1" fmla="*/ 16432 h 482400"/>
              <a:gd name="connsiteX2" fmla="*/ 86035 w 3526433"/>
              <a:gd name="connsiteY2" fmla="*/ 0 h 482400"/>
              <a:gd name="connsiteX3" fmla="*/ 3446031 w 3526433"/>
              <a:gd name="connsiteY3" fmla="*/ 0 h 482400"/>
              <a:gd name="connsiteX4" fmla="*/ 3526433 w 3526433"/>
              <a:gd name="connsiteY4" fmla="*/ 80402 h 482400"/>
              <a:gd name="connsiteX5" fmla="*/ 3526433 w 3526433"/>
              <a:gd name="connsiteY5" fmla="*/ 401998 h 482400"/>
              <a:gd name="connsiteX6" fmla="*/ 3446031 w 3526433"/>
              <a:gd name="connsiteY6" fmla="*/ 482400 h 482400"/>
              <a:gd name="connsiteX7" fmla="*/ 86035 w 3526433"/>
              <a:gd name="connsiteY7" fmla="*/ 482400 h 482400"/>
              <a:gd name="connsiteX8" fmla="*/ 5633 w 3526433"/>
              <a:gd name="connsiteY8" fmla="*/ 401998 h 482400"/>
              <a:gd name="connsiteX9" fmla="*/ 5633 w 3526433"/>
              <a:gd name="connsiteY9" fmla="*/ 80402 h 482400"/>
              <a:gd name="connsiteX0" fmla="*/ 619 w 3521419"/>
              <a:gd name="connsiteY0" fmla="*/ 93422 h 495420"/>
              <a:gd name="connsiteX1" fmla="*/ 1389 w 3521419"/>
              <a:gd name="connsiteY1" fmla="*/ 29452 h 495420"/>
              <a:gd name="connsiteX2" fmla="*/ 81021 w 3521419"/>
              <a:gd name="connsiteY2" fmla="*/ 13020 h 495420"/>
              <a:gd name="connsiteX3" fmla="*/ 3441017 w 3521419"/>
              <a:gd name="connsiteY3" fmla="*/ 13020 h 495420"/>
              <a:gd name="connsiteX4" fmla="*/ 3521419 w 3521419"/>
              <a:gd name="connsiteY4" fmla="*/ 93422 h 495420"/>
              <a:gd name="connsiteX5" fmla="*/ 3521419 w 3521419"/>
              <a:gd name="connsiteY5" fmla="*/ 415018 h 495420"/>
              <a:gd name="connsiteX6" fmla="*/ 3441017 w 3521419"/>
              <a:gd name="connsiteY6" fmla="*/ 495420 h 495420"/>
              <a:gd name="connsiteX7" fmla="*/ 81021 w 3521419"/>
              <a:gd name="connsiteY7" fmla="*/ 495420 h 495420"/>
              <a:gd name="connsiteX8" fmla="*/ 619 w 3521419"/>
              <a:gd name="connsiteY8" fmla="*/ 415018 h 495420"/>
              <a:gd name="connsiteX9" fmla="*/ 619 w 3521419"/>
              <a:gd name="connsiteY9" fmla="*/ 93422 h 495420"/>
              <a:gd name="connsiteX0" fmla="*/ 625 w 3521425"/>
              <a:gd name="connsiteY0" fmla="*/ 80402 h 482400"/>
              <a:gd name="connsiteX1" fmla="*/ 1395 w 3521425"/>
              <a:gd name="connsiteY1" fmla="*/ 16432 h 482400"/>
              <a:gd name="connsiteX2" fmla="*/ 81027 w 3521425"/>
              <a:gd name="connsiteY2" fmla="*/ 0 h 482400"/>
              <a:gd name="connsiteX3" fmla="*/ 3441023 w 3521425"/>
              <a:gd name="connsiteY3" fmla="*/ 0 h 482400"/>
              <a:gd name="connsiteX4" fmla="*/ 3521425 w 3521425"/>
              <a:gd name="connsiteY4" fmla="*/ 80402 h 482400"/>
              <a:gd name="connsiteX5" fmla="*/ 3521425 w 3521425"/>
              <a:gd name="connsiteY5" fmla="*/ 401998 h 482400"/>
              <a:gd name="connsiteX6" fmla="*/ 3441023 w 3521425"/>
              <a:gd name="connsiteY6" fmla="*/ 482400 h 482400"/>
              <a:gd name="connsiteX7" fmla="*/ 81027 w 3521425"/>
              <a:gd name="connsiteY7" fmla="*/ 482400 h 482400"/>
              <a:gd name="connsiteX8" fmla="*/ 625 w 3521425"/>
              <a:gd name="connsiteY8" fmla="*/ 401998 h 482400"/>
              <a:gd name="connsiteX9" fmla="*/ 625 w 3521425"/>
              <a:gd name="connsiteY9" fmla="*/ 80402 h 48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521425" h="482400">
                <a:moveTo>
                  <a:pt x="625" y="80402"/>
                </a:moveTo>
                <a:cubicBezTo>
                  <a:pt x="753" y="16141"/>
                  <a:pt x="-99" y="27450"/>
                  <a:pt x="1395" y="16432"/>
                </a:cubicBezTo>
                <a:cubicBezTo>
                  <a:pt x="3941" y="-2347"/>
                  <a:pt x="-23185" y="735"/>
                  <a:pt x="81027" y="0"/>
                </a:cubicBezTo>
                <a:lnTo>
                  <a:pt x="3441023" y="0"/>
                </a:lnTo>
                <a:cubicBezTo>
                  <a:pt x="3485428" y="0"/>
                  <a:pt x="3521425" y="35997"/>
                  <a:pt x="3521425" y="80402"/>
                </a:cubicBezTo>
                <a:lnTo>
                  <a:pt x="3521425" y="401998"/>
                </a:lnTo>
                <a:cubicBezTo>
                  <a:pt x="3521425" y="446403"/>
                  <a:pt x="3485428" y="482400"/>
                  <a:pt x="3441023" y="482400"/>
                </a:cubicBezTo>
                <a:lnTo>
                  <a:pt x="81027" y="482400"/>
                </a:lnTo>
                <a:cubicBezTo>
                  <a:pt x="36622" y="482400"/>
                  <a:pt x="625" y="446403"/>
                  <a:pt x="625" y="401998"/>
                </a:cubicBezTo>
                <a:lnTo>
                  <a:pt x="625" y="804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lIns="144000" anchor="ctr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 baseline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73" name="Tijdelijke aanduiding voor afbeelding 35">
            <a:extLst>
              <a:ext uri="{FF2B5EF4-FFF2-40B4-BE49-F238E27FC236}">
                <a16:creationId xmlns:a16="http://schemas.microsoft.com/office/drawing/2014/main" id="{CEF46CD6-D59A-4DA6-83B8-A8A76F0275F7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5267499" y="5815907"/>
            <a:ext cx="12350720" cy="6929700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958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82707"/>
              <a:gd name="connsiteX1" fmla="*/ 3386338 w 3520881"/>
              <a:gd name="connsiteY1" fmla="*/ 6216 h 2882707"/>
              <a:gd name="connsiteX2" fmla="*/ 3520881 w 3520881"/>
              <a:gd name="connsiteY2" fmla="*/ 157131 h 2882707"/>
              <a:gd name="connsiteX3" fmla="*/ 3520881 w 3520881"/>
              <a:gd name="connsiteY3" fmla="*/ 2714286 h 2882707"/>
              <a:gd name="connsiteX4" fmla="*/ 3395863 w 3520881"/>
              <a:gd name="connsiteY4" fmla="*/ 2865200 h 2882707"/>
              <a:gd name="connsiteX5" fmla="*/ 125019 w 3520881"/>
              <a:gd name="connsiteY5" fmla="*/ 2882707 h 2882707"/>
              <a:gd name="connsiteX6" fmla="*/ 0 w 3520881"/>
              <a:gd name="connsiteY6" fmla="*/ 2714286 h 2882707"/>
              <a:gd name="connsiteX7" fmla="*/ 0 w 3520881"/>
              <a:gd name="connsiteY7" fmla="*/ 157131 h 2882707"/>
              <a:gd name="connsiteX8" fmla="*/ 1036 w 3520881"/>
              <a:gd name="connsiteY8" fmla="*/ 89 h 2882707"/>
              <a:gd name="connsiteX0" fmla="*/ 1036 w 3522188"/>
              <a:gd name="connsiteY0" fmla="*/ 2627 h 2885245"/>
              <a:gd name="connsiteX1" fmla="*/ 3429201 w 3522188"/>
              <a:gd name="connsiteY1" fmla="*/ 0 h 2885245"/>
              <a:gd name="connsiteX2" fmla="*/ 3520881 w 3522188"/>
              <a:gd name="connsiteY2" fmla="*/ 159669 h 2885245"/>
              <a:gd name="connsiteX3" fmla="*/ 3520881 w 3522188"/>
              <a:gd name="connsiteY3" fmla="*/ 2716824 h 2885245"/>
              <a:gd name="connsiteX4" fmla="*/ 3395863 w 3522188"/>
              <a:gd name="connsiteY4" fmla="*/ 2867738 h 2885245"/>
              <a:gd name="connsiteX5" fmla="*/ 125019 w 3522188"/>
              <a:gd name="connsiteY5" fmla="*/ 2885245 h 2885245"/>
              <a:gd name="connsiteX6" fmla="*/ 0 w 3522188"/>
              <a:gd name="connsiteY6" fmla="*/ 2716824 h 2885245"/>
              <a:gd name="connsiteX7" fmla="*/ 0 w 3522188"/>
              <a:gd name="connsiteY7" fmla="*/ 159669 h 2885245"/>
              <a:gd name="connsiteX8" fmla="*/ 1036 w 3522188"/>
              <a:gd name="connsiteY8" fmla="*/ 2627 h 2885245"/>
              <a:gd name="connsiteX0" fmla="*/ 1036 w 3520918"/>
              <a:gd name="connsiteY0" fmla="*/ 2627 h 2885245"/>
              <a:gd name="connsiteX1" fmla="*/ 3414913 w 3520918"/>
              <a:gd name="connsiteY1" fmla="*/ 0 h 2885245"/>
              <a:gd name="connsiteX2" fmla="*/ 3520881 w 3520918"/>
              <a:gd name="connsiteY2" fmla="*/ 159669 h 2885245"/>
              <a:gd name="connsiteX3" fmla="*/ 3520881 w 3520918"/>
              <a:gd name="connsiteY3" fmla="*/ 2716824 h 2885245"/>
              <a:gd name="connsiteX4" fmla="*/ 3395863 w 3520918"/>
              <a:gd name="connsiteY4" fmla="*/ 2867738 h 2885245"/>
              <a:gd name="connsiteX5" fmla="*/ 125019 w 3520918"/>
              <a:gd name="connsiteY5" fmla="*/ 2885245 h 2885245"/>
              <a:gd name="connsiteX6" fmla="*/ 0 w 3520918"/>
              <a:gd name="connsiteY6" fmla="*/ 2716824 h 2885245"/>
              <a:gd name="connsiteX7" fmla="*/ 0 w 3520918"/>
              <a:gd name="connsiteY7" fmla="*/ 159669 h 2885245"/>
              <a:gd name="connsiteX8" fmla="*/ 1036 w 3520918"/>
              <a:gd name="connsiteY8" fmla="*/ 2627 h 2885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918" h="2885245">
                <a:moveTo>
                  <a:pt x="1036" y="2627"/>
                </a:moveTo>
                <a:lnTo>
                  <a:pt x="3414913" y="0"/>
                </a:lnTo>
                <a:cubicBezTo>
                  <a:pt x="3526042" y="0"/>
                  <a:pt x="3520881" y="76322"/>
                  <a:pt x="3520881" y="159669"/>
                </a:cubicBezTo>
                <a:lnTo>
                  <a:pt x="3520881" y="2716824"/>
                </a:lnTo>
                <a:cubicBezTo>
                  <a:pt x="3520881" y="2800171"/>
                  <a:pt x="3506992" y="2867738"/>
                  <a:pt x="3395863" y="2867738"/>
                </a:cubicBezTo>
                <a:lnTo>
                  <a:pt x="125019" y="2885245"/>
                </a:lnTo>
                <a:cubicBezTo>
                  <a:pt x="13889" y="2885245"/>
                  <a:pt x="0" y="2800171"/>
                  <a:pt x="0" y="2716824"/>
                </a:cubicBezTo>
                <a:lnTo>
                  <a:pt x="0" y="159669"/>
                </a:lnTo>
                <a:cubicBezTo>
                  <a:pt x="0" y="76322"/>
                  <a:pt x="211" y="-437"/>
                  <a:pt x="1036" y="262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972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174" name="Tijdelijke aanduiding voor afbeelding 35">
            <a:extLst>
              <a:ext uri="{FF2B5EF4-FFF2-40B4-BE49-F238E27FC236}">
                <a16:creationId xmlns:a16="http://schemas.microsoft.com/office/drawing/2014/main" id="{F620ACD4-13AF-4B66-AAF5-56B1F26AF5D4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28809745" y="5815907"/>
            <a:ext cx="12350720" cy="6929700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958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82707"/>
              <a:gd name="connsiteX1" fmla="*/ 3386338 w 3520881"/>
              <a:gd name="connsiteY1" fmla="*/ 6216 h 2882707"/>
              <a:gd name="connsiteX2" fmla="*/ 3520881 w 3520881"/>
              <a:gd name="connsiteY2" fmla="*/ 157131 h 2882707"/>
              <a:gd name="connsiteX3" fmla="*/ 3520881 w 3520881"/>
              <a:gd name="connsiteY3" fmla="*/ 2714286 h 2882707"/>
              <a:gd name="connsiteX4" fmla="*/ 3395863 w 3520881"/>
              <a:gd name="connsiteY4" fmla="*/ 2865200 h 2882707"/>
              <a:gd name="connsiteX5" fmla="*/ 125019 w 3520881"/>
              <a:gd name="connsiteY5" fmla="*/ 2882707 h 2882707"/>
              <a:gd name="connsiteX6" fmla="*/ 0 w 3520881"/>
              <a:gd name="connsiteY6" fmla="*/ 2714286 h 2882707"/>
              <a:gd name="connsiteX7" fmla="*/ 0 w 3520881"/>
              <a:gd name="connsiteY7" fmla="*/ 157131 h 2882707"/>
              <a:gd name="connsiteX8" fmla="*/ 1036 w 3520881"/>
              <a:gd name="connsiteY8" fmla="*/ 89 h 2882707"/>
              <a:gd name="connsiteX0" fmla="*/ 1036 w 3522188"/>
              <a:gd name="connsiteY0" fmla="*/ 2627 h 2885245"/>
              <a:gd name="connsiteX1" fmla="*/ 3429201 w 3522188"/>
              <a:gd name="connsiteY1" fmla="*/ 0 h 2885245"/>
              <a:gd name="connsiteX2" fmla="*/ 3520881 w 3522188"/>
              <a:gd name="connsiteY2" fmla="*/ 159669 h 2885245"/>
              <a:gd name="connsiteX3" fmla="*/ 3520881 w 3522188"/>
              <a:gd name="connsiteY3" fmla="*/ 2716824 h 2885245"/>
              <a:gd name="connsiteX4" fmla="*/ 3395863 w 3522188"/>
              <a:gd name="connsiteY4" fmla="*/ 2867738 h 2885245"/>
              <a:gd name="connsiteX5" fmla="*/ 125019 w 3522188"/>
              <a:gd name="connsiteY5" fmla="*/ 2885245 h 2885245"/>
              <a:gd name="connsiteX6" fmla="*/ 0 w 3522188"/>
              <a:gd name="connsiteY6" fmla="*/ 2716824 h 2885245"/>
              <a:gd name="connsiteX7" fmla="*/ 0 w 3522188"/>
              <a:gd name="connsiteY7" fmla="*/ 159669 h 2885245"/>
              <a:gd name="connsiteX8" fmla="*/ 1036 w 3522188"/>
              <a:gd name="connsiteY8" fmla="*/ 2627 h 2885245"/>
              <a:gd name="connsiteX0" fmla="*/ 1036 w 3520918"/>
              <a:gd name="connsiteY0" fmla="*/ 2627 h 2885245"/>
              <a:gd name="connsiteX1" fmla="*/ 3414913 w 3520918"/>
              <a:gd name="connsiteY1" fmla="*/ 0 h 2885245"/>
              <a:gd name="connsiteX2" fmla="*/ 3520881 w 3520918"/>
              <a:gd name="connsiteY2" fmla="*/ 159669 h 2885245"/>
              <a:gd name="connsiteX3" fmla="*/ 3520881 w 3520918"/>
              <a:gd name="connsiteY3" fmla="*/ 2716824 h 2885245"/>
              <a:gd name="connsiteX4" fmla="*/ 3395863 w 3520918"/>
              <a:gd name="connsiteY4" fmla="*/ 2867738 h 2885245"/>
              <a:gd name="connsiteX5" fmla="*/ 125019 w 3520918"/>
              <a:gd name="connsiteY5" fmla="*/ 2885245 h 2885245"/>
              <a:gd name="connsiteX6" fmla="*/ 0 w 3520918"/>
              <a:gd name="connsiteY6" fmla="*/ 2716824 h 2885245"/>
              <a:gd name="connsiteX7" fmla="*/ 0 w 3520918"/>
              <a:gd name="connsiteY7" fmla="*/ 159669 h 2885245"/>
              <a:gd name="connsiteX8" fmla="*/ 1036 w 3520918"/>
              <a:gd name="connsiteY8" fmla="*/ 2627 h 2885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918" h="2885245">
                <a:moveTo>
                  <a:pt x="1036" y="2627"/>
                </a:moveTo>
                <a:lnTo>
                  <a:pt x="3414913" y="0"/>
                </a:lnTo>
                <a:cubicBezTo>
                  <a:pt x="3526042" y="0"/>
                  <a:pt x="3520881" y="76322"/>
                  <a:pt x="3520881" y="159669"/>
                </a:cubicBezTo>
                <a:lnTo>
                  <a:pt x="3520881" y="2716824"/>
                </a:lnTo>
                <a:cubicBezTo>
                  <a:pt x="3520881" y="2800171"/>
                  <a:pt x="3506992" y="2867738"/>
                  <a:pt x="3395863" y="2867738"/>
                </a:cubicBezTo>
                <a:lnTo>
                  <a:pt x="125019" y="2885245"/>
                </a:lnTo>
                <a:cubicBezTo>
                  <a:pt x="13889" y="2885245"/>
                  <a:pt x="0" y="2800171"/>
                  <a:pt x="0" y="2716824"/>
                </a:cubicBezTo>
                <a:lnTo>
                  <a:pt x="0" y="159669"/>
                </a:lnTo>
                <a:cubicBezTo>
                  <a:pt x="0" y="76322"/>
                  <a:pt x="211" y="-437"/>
                  <a:pt x="1036" y="262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972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175" name="Tijdelijke aanduiding voor afbeelding 35">
            <a:extLst>
              <a:ext uri="{FF2B5EF4-FFF2-40B4-BE49-F238E27FC236}">
                <a16:creationId xmlns:a16="http://schemas.microsoft.com/office/drawing/2014/main" id="{D24E1274-C596-458A-AA45-713DA34AEAEF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1742383" y="16696707"/>
            <a:ext cx="12350720" cy="6929700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958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82707"/>
              <a:gd name="connsiteX1" fmla="*/ 3386338 w 3520881"/>
              <a:gd name="connsiteY1" fmla="*/ 6216 h 2882707"/>
              <a:gd name="connsiteX2" fmla="*/ 3520881 w 3520881"/>
              <a:gd name="connsiteY2" fmla="*/ 157131 h 2882707"/>
              <a:gd name="connsiteX3" fmla="*/ 3520881 w 3520881"/>
              <a:gd name="connsiteY3" fmla="*/ 2714286 h 2882707"/>
              <a:gd name="connsiteX4" fmla="*/ 3395863 w 3520881"/>
              <a:gd name="connsiteY4" fmla="*/ 2865200 h 2882707"/>
              <a:gd name="connsiteX5" fmla="*/ 125019 w 3520881"/>
              <a:gd name="connsiteY5" fmla="*/ 2882707 h 2882707"/>
              <a:gd name="connsiteX6" fmla="*/ 0 w 3520881"/>
              <a:gd name="connsiteY6" fmla="*/ 2714286 h 2882707"/>
              <a:gd name="connsiteX7" fmla="*/ 0 w 3520881"/>
              <a:gd name="connsiteY7" fmla="*/ 157131 h 2882707"/>
              <a:gd name="connsiteX8" fmla="*/ 1036 w 3520881"/>
              <a:gd name="connsiteY8" fmla="*/ 89 h 2882707"/>
              <a:gd name="connsiteX0" fmla="*/ 1036 w 3522188"/>
              <a:gd name="connsiteY0" fmla="*/ 2627 h 2885245"/>
              <a:gd name="connsiteX1" fmla="*/ 3429201 w 3522188"/>
              <a:gd name="connsiteY1" fmla="*/ 0 h 2885245"/>
              <a:gd name="connsiteX2" fmla="*/ 3520881 w 3522188"/>
              <a:gd name="connsiteY2" fmla="*/ 159669 h 2885245"/>
              <a:gd name="connsiteX3" fmla="*/ 3520881 w 3522188"/>
              <a:gd name="connsiteY3" fmla="*/ 2716824 h 2885245"/>
              <a:gd name="connsiteX4" fmla="*/ 3395863 w 3522188"/>
              <a:gd name="connsiteY4" fmla="*/ 2867738 h 2885245"/>
              <a:gd name="connsiteX5" fmla="*/ 125019 w 3522188"/>
              <a:gd name="connsiteY5" fmla="*/ 2885245 h 2885245"/>
              <a:gd name="connsiteX6" fmla="*/ 0 w 3522188"/>
              <a:gd name="connsiteY6" fmla="*/ 2716824 h 2885245"/>
              <a:gd name="connsiteX7" fmla="*/ 0 w 3522188"/>
              <a:gd name="connsiteY7" fmla="*/ 159669 h 2885245"/>
              <a:gd name="connsiteX8" fmla="*/ 1036 w 3522188"/>
              <a:gd name="connsiteY8" fmla="*/ 2627 h 2885245"/>
              <a:gd name="connsiteX0" fmla="*/ 1036 w 3520918"/>
              <a:gd name="connsiteY0" fmla="*/ 2627 h 2885245"/>
              <a:gd name="connsiteX1" fmla="*/ 3414913 w 3520918"/>
              <a:gd name="connsiteY1" fmla="*/ 0 h 2885245"/>
              <a:gd name="connsiteX2" fmla="*/ 3520881 w 3520918"/>
              <a:gd name="connsiteY2" fmla="*/ 159669 h 2885245"/>
              <a:gd name="connsiteX3" fmla="*/ 3520881 w 3520918"/>
              <a:gd name="connsiteY3" fmla="*/ 2716824 h 2885245"/>
              <a:gd name="connsiteX4" fmla="*/ 3395863 w 3520918"/>
              <a:gd name="connsiteY4" fmla="*/ 2867738 h 2885245"/>
              <a:gd name="connsiteX5" fmla="*/ 125019 w 3520918"/>
              <a:gd name="connsiteY5" fmla="*/ 2885245 h 2885245"/>
              <a:gd name="connsiteX6" fmla="*/ 0 w 3520918"/>
              <a:gd name="connsiteY6" fmla="*/ 2716824 h 2885245"/>
              <a:gd name="connsiteX7" fmla="*/ 0 w 3520918"/>
              <a:gd name="connsiteY7" fmla="*/ 159669 h 2885245"/>
              <a:gd name="connsiteX8" fmla="*/ 1036 w 3520918"/>
              <a:gd name="connsiteY8" fmla="*/ 2627 h 2885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918" h="2885245">
                <a:moveTo>
                  <a:pt x="1036" y="2627"/>
                </a:moveTo>
                <a:lnTo>
                  <a:pt x="3414913" y="0"/>
                </a:lnTo>
                <a:cubicBezTo>
                  <a:pt x="3526042" y="0"/>
                  <a:pt x="3520881" y="76322"/>
                  <a:pt x="3520881" y="159669"/>
                </a:cubicBezTo>
                <a:lnTo>
                  <a:pt x="3520881" y="2716824"/>
                </a:lnTo>
                <a:cubicBezTo>
                  <a:pt x="3520881" y="2800171"/>
                  <a:pt x="3506992" y="2867738"/>
                  <a:pt x="3395863" y="2867738"/>
                </a:cubicBezTo>
                <a:lnTo>
                  <a:pt x="125019" y="2885245"/>
                </a:lnTo>
                <a:cubicBezTo>
                  <a:pt x="13889" y="2885245"/>
                  <a:pt x="0" y="2800171"/>
                  <a:pt x="0" y="2716824"/>
                </a:cubicBezTo>
                <a:lnTo>
                  <a:pt x="0" y="159669"/>
                </a:lnTo>
                <a:cubicBezTo>
                  <a:pt x="0" y="76322"/>
                  <a:pt x="211" y="-437"/>
                  <a:pt x="1036" y="262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972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176" name="Tijdelijke aanduiding voor afbeelding 35">
            <a:extLst>
              <a:ext uri="{FF2B5EF4-FFF2-40B4-BE49-F238E27FC236}">
                <a16:creationId xmlns:a16="http://schemas.microsoft.com/office/drawing/2014/main" id="{936A94BE-D794-43E5-987F-0D0A37508FAA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15267499" y="16696707"/>
            <a:ext cx="12350720" cy="6929700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958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82707"/>
              <a:gd name="connsiteX1" fmla="*/ 3386338 w 3520881"/>
              <a:gd name="connsiteY1" fmla="*/ 6216 h 2882707"/>
              <a:gd name="connsiteX2" fmla="*/ 3520881 w 3520881"/>
              <a:gd name="connsiteY2" fmla="*/ 157131 h 2882707"/>
              <a:gd name="connsiteX3" fmla="*/ 3520881 w 3520881"/>
              <a:gd name="connsiteY3" fmla="*/ 2714286 h 2882707"/>
              <a:gd name="connsiteX4" fmla="*/ 3395863 w 3520881"/>
              <a:gd name="connsiteY4" fmla="*/ 2865200 h 2882707"/>
              <a:gd name="connsiteX5" fmla="*/ 125019 w 3520881"/>
              <a:gd name="connsiteY5" fmla="*/ 2882707 h 2882707"/>
              <a:gd name="connsiteX6" fmla="*/ 0 w 3520881"/>
              <a:gd name="connsiteY6" fmla="*/ 2714286 h 2882707"/>
              <a:gd name="connsiteX7" fmla="*/ 0 w 3520881"/>
              <a:gd name="connsiteY7" fmla="*/ 157131 h 2882707"/>
              <a:gd name="connsiteX8" fmla="*/ 1036 w 3520881"/>
              <a:gd name="connsiteY8" fmla="*/ 89 h 2882707"/>
              <a:gd name="connsiteX0" fmla="*/ 1036 w 3522188"/>
              <a:gd name="connsiteY0" fmla="*/ 2627 h 2885245"/>
              <a:gd name="connsiteX1" fmla="*/ 3429201 w 3522188"/>
              <a:gd name="connsiteY1" fmla="*/ 0 h 2885245"/>
              <a:gd name="connsiteX2" fmla="*/ 3520881 w 3522188"/>
              <a:gd name="connsiteY2" fmla="*/ 159669 h 2885245"/>
              <a:gd name="connsiteX3" fmla="*/ 3520881 w 3522188"/>
              <a:gd name="connsiteY3" fmla="*/ 2716824 h 2885245"/>
              <a:gd name="connsiteX4" fmla="*/ 3395863 w 3522188"/>
              <a:gd name="connsiteY4" fmla="*/ 2867738 h 2885245"/>
              <a:gd name="connsiteX5" fmla="*/ 125019 w 3522188"/>
              <a:gd name="connsiteY5" fmla="*/ 2885245 h 2885245"/>
              <a:gd name="connsiteX6" fmla="*/ 0 w 3522188"/>
              <a:gd name="connsiteY6" fmla="*/ 2716824 h 2885245"/>
              <a:gd name="connsiteX7" fmla="*/ 0 w 3522188"/>
              <a:gd name="connsiteY7" fmla="*/ 159669 h 2885245"/>
              <a:gd name="connsiteX8" fmla="*/ 1036 w 3522188"/>
              <a:gd name="connsiteY8" fmla="*/ 2627 h 2885245"/>
              <a:gd name="connsiteX0" fmla="*/ 1036 w 3520918"/>
              <a:gd name="connsiteY0" fmla="*/ 2627 h 2885245"/>
              <a:gd name="connsiteX1" fmla="*/ 3414913 w 3520918"/>
              <a:gd name="connsiteY1" fmla="*/ 0 h 2885245"/>
              <a:gd name="connsiteX2" fmla="*/ 3520881 w 3520918"/>
              <a:gd name="connsiteY2" fmla="*/ 159669 h 2885245"/>
              <a:gd name="connsiteX3" fmla="*/ 3520881 w 3520918"/>
              <a:gd name="connsiteY3" fmla="*/ 2716824 h 2885245"/>
              <a:gd name="connsiteX4" fmla="*/ 3395863 w 3520918"/>
              <a:gd name="connsiteY4" fmla="*/ 2867738 h 2885245"/>
              <a:gd name="connsiteX5" fmla="*/ 125019 w 3520918"/>
              <a:gd name="connsiteY5" fmla="*/ 2885245 h 2885245"/>
              <a:gd name="connsiteX6" fmla="*/ 0 w 3520918"/>
              <a:gd name="connsiteY6" fmla="*/ 2716824 h 2885245"/>
              <a:gd name="connsiteX7" fmla="*/ 0 w 3520918"/>
              <a:gd name="connsiteY7" fmla="*/ 159669 h 2885245"/>
              <a:gd name="connsiteX8" fmla="*/ 1036 w 3520918"/>
              <a:gd name="connsiteY8" fmla="*/ 2627 h 2885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918" h="2885245">
                <a:moveTo>
                  <a:pt x="1036" y="2627"/>
                </a:moveTo>
                <a:lnTo>
                  <a:pt x="3414913" y="0"/>
                </a:lnTo>
                <a:cubicBezTo>
                  <a:pt x="3526042" y="0"/>
                  <a:pt x="3520881" y="76322"/>
                  <a:pt x="3520881" y="159669"/>
                </a:cubicBezTo>
                <a:lnTo>
                  <a:pt x="3520881" y="2716824"/>
                </a:lnTo>
                <a:cubicBezTo>
                  <a:pt x="3520881" y="2800171"/>
                  <a:pt x="3506992" y="2867738"/>
                  <a:pt x="3395863" y="2867738"/>
                </a:cubicBezTo>
                <a:lnTo>
                  <a:pt x="125019" y="2885245"/>
                </a:lnTo>
                <a:cubicBezTo>
                  <a:pt x="13889" y="2885245"/>
                  <a:pt x="0" y="2800171"/>
                  <a:pt x="0" y="2716824"/>
                </a:cubicBezTo>
                <a:lnTo>
                  <a:pt x="0" y="159669"/>
                </a:lnTo>
                <a:cubicBezTo>
                  <a:pt x="0" y="76322"/>
                  <a:pt x="211" y="-437"/>
                  <a:pt x="1036" y="262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972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177" name="Tijdelijke aanduiding voor afbeelding 35">
            <a:extLst>
              <a:ext uri="{FF2B5EF4-FFF2-40B4-BE49-F238E27FC236}">
                <a16:creationId xmlns:a16="http://schemas.microsoft.com/office/drawing/2014/main" id="{E5BA7F73-6327-420C-A063-660A2696DB9E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28809745" y="16696707"/>
            <a:ext cx="12350720" cy="6929700"/>
          </a:xfrm>
          <a:custGeom>
            <a:avLst/>
            <a:gdLst>
              <a:gd name="connsiteX0" fmla="*/ 1036 w 3520881"/>
              <a:gd name="connsiteY0" fmla="*/ 89 h 2865200"/>
              <a:gd name="connsiteX1" fmla="*/ 3319663 w 3520881"/>
              <a:gd name="connsiteY1" fmla="*/ 6217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196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65200"/>
              <a:gd name="connsiteX1" fmla="*/ 3386338 w 3520881"/>
              <a:gd name="connsiteY1" fmla="*/ 6216 h 2865200"/>
              <a:gd name="connsiteX2" fmla="*/ 3520881 w 3520881"/>
              <a:gd name="connsiteY2" fmla="*/ 157131 h 2865200"/>
              <a:gd name="connsiteX3" fmla="*/ 3520881 w 3520881"/>
              <a:gd name="connsiteY3" fmla="*/ 2714286 h 2865200"/>
              <a:gd name="connsiteX4" fmla="*/ 3395863 w 3520881"/>
              <a:gd name="connsiteY4" fmla="*/ 2865200 h 2865200"/>
              <a:gd name="connsiteX5" fmla="*/ 201219 w 3520881"/>
              <a:gd name="connsiteY5" fmla="*/ 2865200 h 2865200"/>
              <a:gd name="connsiteX6" fmla="*/ 0 w 3520881"/>
              <a:gd name="connsiteY6" fmla="*/ 2714286 h 2865200"/>
              <a:gd name="connsiteX7" fmla="*/ 0 w 3520881"/>
              <a:gd name="connsiteY7" fmla="*/ 157131 h 2865200"/>
              <a:gd name="connsiteX8" fmla="*/ 1036 w 3520881"/>
              <a:gd name="connsiteY8" fmla="*/ 89 h 2865200"/>
              <a:gd name="connsiteX0" fmla="*/ 1036 w 3520881"/>
              <a:gd name="connsiteY0" fmla="*/ 89 h 2882707"/>
              <a:gd name="connsiteX1" fmla="*/ 3386338 w 3520881"/>
              <a:gd name="connsiteY1" fmla="*/ 6216 h 2882707"/>
              <a:gd name="connsiteX2" fmla="*/ 3520881 w 3520881"/>
              <a:gd name="connsiteY2" fmla="*/ 157131 h 2882707"/>
              <a:gd name="connsiteX3" fmla="*/ 3520881 w 3520881"/>
              <a:gd name="connsiteY3" fmla="*/ 2714286 h 2882707"/>
              <a:gd name="connsiteX4" fmla="*/ 3395863 w 3520881"/>
              <a:gd name="connsiteY4" fmla="*/ 2865200 h 2882707"/>
              <a:gd name="connsiteX5" fmla="*/ 125019 w 3520881"/>
              <a:gd name="connsiteY5" fmla="*/ 2882707 h 2882707"/>
              <a:gd name="connsiteX6" fmla="*/ 0 w 3520881"/>
              <a:gd name="connsiteY6" fmla="*/ 2714286 h 2882707"/>
              <a:gd name="connsiteX7" fmla="*/ 0 w 3520881"/>
              <a:gd name="connsiteY7" fmla="*/ 157131 h 2882707"/>
              <a:gd name="connsiteX8" fmla="*/ 1036 w 3520881"/>
              <a:gd name="connsiteY8" fmla="*/ 89 h 2882707"/>
              <a:gd name="connsiteX0" fmla="*/ 1036 w 3522188"/>
              <a:gd name="connsiteY0" fmla="*/ 2627 h 2885245"/>
              <a:gd name="connsiteX1" fmla="*/ 3429201 w 3522188"/>
              <a:gd name="connsiteY1" fmla="*/ 0 h 2885245"/>
              <a:gd name="connsiteX2" fmla="*/ 3520881 w 3522188"/>
              <a:gd name="connsiteY2" fmla="*/ 159669 h 2885245"/>
              <a:gd name="connsiteX3" fmla="*/ 3520881 w 3522188"/>
              <a:gd name="connsiteY3" fmla="*/ 2716824 h 2885245"/>
              <a:gd name="connsiteX4" fmla="*/ 3395863 w 3522188"/>
              <a:gd name="connsiteY4" fmla="*/ 2867738 h 2885245"/>
              <a:gd name="connsiteX5" fmla="*/ 125019 w 3522188"/>
              <a:gd name="connsiteY5" fmla="*/ 2885245 h 2885245"/>
              <a:gd name="connsiteX6" fmla="*/ 0 w 3522188"/>
              <a:gd name="connsiteY6" fmla="*/ 2716824 h 2885245"/>
              <a:gd name="connsiteX7" fmla="*/ 0 w 3522188"/>
              <a:gd name="connsiteY7" fmla="*/ 159669 h 2885245"/>
              <a:gd name="connsiteX8" fmla="*/ 1036 w 3522188"/>
              <a:gd name="connsiteY8" fmla="*/ 2627 h 2885245"/>
              <a:gd name="connsiteX0" fmla="*/ 1036 w 3520918"/>
              <a:gd name="connsiteY0" fmla="*/ 2627 h 2885245"/>
              <a:gd name="connsiteX1" fmla="*/ 3414913 w 3520918"/>
              <a:gd name="connsiteY1" fmla="*/ 0 h 2885245"/>
              <a:gd name="connsiteX2" fmla="*/ 3520881 w 3520918"/>
              <a:gd name="connsiteY2" fmla="*/ 159669 h 2885245"/>
              <a:gd name="connsiteX3" fmla="*/ 3520881 w 3520918"/>
              <a:gd name="connsiteY3" fmla="*/ 2716824 h 2885245"/>
              <a:gd name="connsiteX4" fmla="*/ 3395863 w 3520918"/>
              <a:gd name="connsiteY4" fmla="*/ 2867738 h 2885245"/>
              <a:gd name="connsiteX5" fmla="*/ 125019 w 3520918"/>
              <a:gd name="connsiteY5" fmla="*/ 2885245 h 2885245"/>
              <a:gd name="connsiteX6" fmla="*/ 0 w 3520918"/>
              <a:gd name="connsiteY6" fmla="*/ 2716824 h 2885245"/>
              <a:gd name="connsiteX7" fmla="*/ 0 w 3520918"/>
              <a:gd name="connsiteY7" fmla="*/ 159669 h 2885245"/>
              <a:gd name="connsiteX8" fmla="*/ 1036 w 3520918"/>
              <a:gd name="connsiteY8" fmla="*/ 2627 h 2885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20918" h="2885245">
                <a:moveTo>
                  <a:pt x="1036" y="2627"/>
                </a:moveTo>
                <a:lnTo>
                  <a:pt x="3414913" y="0"/>
                </a:lnTo>
                <a:cubicBezTo>
                  <a:pt x="3526042" y="0"/>
                  <a:pt x="3520881" y="76322"/>
                  <a:pt x="3520881" y="159669"/>
                </a:cubicBezTo>
                <a:lnTo>
                  <a:pt x="3520881" y="2716824"/>
                </a:lnTo>
                <a:cubicBezTo>
                  <a:pt x="3520881" y="2800171"/>
                  <a:pt x="3506992" y="2867738"/>
                  <a:pt x="3395863" y="2867738"/>
                </a:cubicBezTo>
                <a:lnTo>
                  <a:pt x="125019" y="2885245"/>
                </a:lnTo>
                <a:cubicBezTo>
                  <a:pt x="13889" y="2885245"/>
                  <a:pt x="0" y="2800171"/>
                  <a:pt x="0" y="2716824"/>
                </a:cubicBezTo>
                <a:lnTo>
                  <a:pt x="0" y="159669"/>
                </a:lnTo>
                <a:cubicBezTo>
                  <a:pt x="0" y="76322"/>
                  <a:pt x="211" y="-437"/>
                  <a:pt x="1036" y="262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972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grpSp>
        <p:nvGrpSpPr>
          <p:cNvPr id="30" name="Groep 77">
            <a:extLst>
              <a:ext uri="{FF2B5EF4-FFF2-40B4-BE49-F238E27FC236}">
                <a16:creationId xmlns:a16="http://schemas.microsoft.com/office/drawing/2014/main" id="{7FB7A082-7B56-4D47-8A59-636070D8C349}"/>
              </a:ext>
            </a:extLst>
          </p:cNvPr>
          <p:cNvGrpSpPr/>
          <p:nvPr userDrawn="1"/>
        </p:nvGrpSpPr>
        <p:grpSpPr>
          <a:xfrm>
            <a:off x="43467414" y="0"/>
            <a:ext cx="13065546" cy="24210246"/>
            <a:chOff x="12391601" y="0"/>
            <a:chExt cx="3724699" cy="5484152"/>
          </a:xfrm>
        </p:grpSpPr>
        <p:sp>
          <p:nvSpPr>
            <p:cNvPr id="34" name="Rechthoek 78">
              <a:extLst>
                <a:ext uri="{FF2B5EF4-FFF2-40B4-BE49-F238E27FC236}">
                  <a16:creationId xmlns:a16="http://schemas.microsoft.com/office/drawing/2014/main" id="{A3C6F6A9-8543-4A32-BC78-6E24E5375DCF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35" name="Ovaal 79">
              <a:extLst>
                <a:ext uri="{FF2B5EF4-FFF2-40B4-BE49-F238E27FC236}">
                  <a16:creationId xmlns:a16="http://schemas.microsoft.com/office/drawing/2014/main" id="{5507D03B-F415-4C78-9C38-FC872CF2BDE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" name="Rechte verbindingslijn 80">
              <a:extLst>
                <a:ext uri="{FF2B5EF4-FFF2-40B4-BE49-F238E27FC236}">
                  <a16:creationId xmlns:a16="http://schemas.microsoft.com/office/drawing/2014/main" id="{52FCC001-8172-4459-84D1-B8191107E7D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8" name="Rechte verbindingslijn 81">
              <a:extLst>
                <a:ext uri="{FF2B5EF4-FFF2-40B4-BE49-F238E27FC236}">
                  <a16:creationId xmlns:a16="http://schemas.microsoft.com/office/drawing/2014/main" id="{026E533A-E5BA-4AED-A381-EE7BD56FE5E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9" name="Rechthoek 82">
              <a:extLst>
                <a:ext uri="{FF2B5EF4-FFF2-40B4-BE49-F238E27FC236}">
                  <a16:creationId xmlns:a16="http://schemas.microsoft.com/office/drawing/2014/main" id="{ADA5BF47-17CA-4065-888D-2F787A8089B5}"/>
                </a:ext>
              </a:extLst>
            </p:cNvPr>
            <p:cNvSpPr/>
            <p:nvPr userDrawn="1"/>
          </p:nvSpPr>
          <p:spPr>
            <a:xfrm>
              <a:off x="12757282" y="432552"/>
              <a:ext cx="335901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fbeelding door deze te selecteren en op 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m een nieuwe afbeelding in te voegen.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0" name="Ovaal 83">
              <a:extLst>
                <a:ext uri="{FF2B5EF4-FFF2-40B4-BE49-F238E27FC236}">
                  <a16:creationId xmlns:a16="http://schemas.microsoft.com/office/drawing/2014/main" id="{C43D33E2-DCBF-4B77-95D4-5CFF220A200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1" name="Rechthoek 84">
              <a:extLst>
                <a:ext uri="{FF2B5EF4-FFF2-40B4-BE49-F238E27FC236}">
                  <a16:creationId xmlns:a16="http://schemas.microsoft.com/office/drawing/2014/main" id="{D0A224A0-DE92-4EC3-9892-7883B699A55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2" name="Groep 85">
              <a:extLst>
                <a:ext uri="{FF2B5EF4-FFF2-40B4-BE49-F238E27FC236}">
                  <a16:creationId xmlns:a16="http://schemas.microsoft.com/office/drawing/2014/main" id="{8818E2C1-2871-4A78-875B-1999AA852CEE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76" name="Rechthoek 119">
                <a:extLst>
                  <a:ext uri="{FF2B5EF4-FFF2-40B4-BE49-F238E27FC236}">
                    <a16:creationId xmlns:a16="http://schemas.microsoft.com/office/drawing/2014/main" id="{20E1018B-3072-4865-9261-9D30EA2E972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77" name="Rechte verbindingslijn 120">
                <a:extLst>
                  <a:ext uri="{FF2B5EF4-FFF2-40B4-BE49-F238E27FC236}">
                    <a16:creationId xmlns:a16="http://schemas.microsoft.com/office/drawing/2014/main" id="{0F90AF25-53A8-4E4C-9525-FDCB981D1F1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78" name="Gelijkbenige driehoek 121">
                <a:extLst>
                  <a:ext uri="{FF2B5EF4-FFF2-40B4-BE49-F238E27FC236}">
                    <a16:creationId xmlns:a16="http://schemas.microsoft.com/office/drawing/2014/main" id="{C97633D9-9A61-4B6F-B9C9-1A80D892538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43" name="Groep 86">
              <a:extLst>
                <a:ext uri="{FF2B5EF4-FFF2-40B4-BE49-F238E27FC236}">
                  <a16:creationId xmlns:a16="http://schemas.microsoft.com/office/drawing/2014/main" id="{71DAE5EE-3170-4B58-B062-69C84764C8F5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70" name="Rechthoek 113">
                <a:extLst>
                  <a:ext uri="{FF2B5EF4-FFF2-40B4-BE49-F238E27FC236}">
                    <a16:creationId xmlns:a16="http://schemas.microsoft.com/office/drawing/2014/main" id="{48659AA0-F397-4A27-8EFB-273794EA337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1" name="Ovaal 114">
                <a:extLst>
                  <a:ext uri="{FF2B5EF4-FFF2-40B4-BE49-F238E27FC236}">
                    <a16:creationId xmlns:a16="http://schemas.microsoft.com/office/drawing/2014/main" id="{42760525-FA29-424D-B56A-D41EBB5EDD93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72" name="Vrije vorm: vorm 115">
                <a:extLst>
                  <a:ext uri="{FF2B5EF4-FFF2-40B4-BE49-F238E27FC236}">
                    <a16:creationId xmlns:a16="http://schemas.microsoft.com/office/drawing/2014/main" id="{97A96654-BC05-4498-936A-B700F911B79A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73" name="Rechthoek: afgeronde hoeken 116">
                <a:extLst>
                  <a:ext uri="{FF2B5EF4-FFF2-40B4-BE49-F238E27FC236}">
                    <a16:creationId xmlns:a16="http://schemas.microsoft.com/office/drawing/2014/main" id="{23435A2C-E1C0-413D-9896-476F9970744D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74" name="Rechte verbindingslijn 117">
                <a:extLst>
                  <a:ext uri="{FF2B5EF4-FFF2-40B4-BE49-F238E27FC236}">
                    <a16:creationId xmlns:a16="http://schemas.microsoft.com/office/drawing/2014/main" id="{1FB12761-E5F7-4E84-BCA3-DBB8EAE4246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5" name="Rechte verbindingslijn 118">
                <a:extLst>
                  <a:ext uri="{FF2B5EF4-FFF2-40B4-BE49-F238E27FC236}">
                    <a16:creationId xmlns:a16="http://schemas.microsoft.com/office/drawing/2014/main" id="{4A397193-DCC7-4B0C-8D3C-96E5CD50F370}"/>
                  </a:ext>
                </a:extLst>
              </p:cNvPr>
              <p:cNvCxnSpPr>
                <a:cxnSpLocks/>
                <a:stCxn id="73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grpSp>
          <p:nvGrpSpPr>
            <p:cNvPr id="44" name="Groep 87">
              <a:extLst>
                <a:ext uri="{FF2B5EF4-FFF2-40B4-BE49-F238E27FC236}">
                  <a16:creationId xmlns:a16="http://schemas.microsoft.com/office/drawing/2014/main" id="{3D1C8F19-F1A0-4D7D-979C-AAA8D94EB9AE}"/>
                </a:ext>
              </a:extLst>
            </p:cNvPr>
            <p:cNvGrpSpPr/>
            <p:nvPr userDrawn="1"/>
          </p:nvGrpSpPr>
          <p:grpSpPr>
            <a:xfrm>
              <a:off x="12391601" y="2643684"/>
              <a:ext cx="3183678" cy="2840468"/>
              <a:chOff x="12952763" y="4572241"/>
              <a:chExt cx="3183678" cy="2840468"/>
            </a:xfrm>
          </p:grpSpPr>
          <p:grpSp>
            <p:nvGrpSpPr>
              <p:cNvPr id="45" name="Meer informatie">
                <a:extLst>
                  <a:ext uri="{FF2B5EF4-FFF2-40B4-BE49-F238E27FC236}">
                    <a16:creationId xmlns:a16="http://schemas.microsoft.com/office/drawing/2014/main" id="{C2049CED-EBBF-4C2D-80B8-559C2A7A5721}"/>
                  </a:ext>
                </a:extLst>
              </p:cNvPr>
              <p:cNvGrpSpPr/>
              <p:nvPr userDrawn="1"/>
            </p:nvGrpSpPr>
            <p:grpSpPr>
              <a:xfrm>
                <a:off x="12957926" y="6629436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67" name="Freeform 101">
                  <a:extLst>
                    <a:ext uri="{FF2B5EF4-FFF2-40B4-BE49-F238E27FC236}">
                      <a16:creationId xmlns:a16="http://schemas.microsoft.com/office/drawing/2014/main" id="{671C6C67-1839-45FF-A02D-BFEC7E4151A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3859" noProof="0"/>
                </a:p>
              </p:txBody>
            </p:sp>
            <p:sp>
              <p:nvSpPr>
                <p:cNvPr id="68" name="Rechthoek 111">
                  <a:extLst>
                    <a:ext uri="{FF2B5EF4-FFF2-40B4-BE49-F238E27FC236}">
                      <a16:creationId xmlns:a16="http://schemas.microsoft.com/office/drawing/2014/main" id="{747274C4-B69D-4818-855A-1CFE00B7783F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3207489" eaLnBrk="1" fontAlgn="auto" latinLnBrk="0" hangingPunct="1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Meer weten?</a:t>
                  </a:r>
                  <a:b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a naar dia </a:t>
                  </a:r>
                  <a:r>
                    <a:rPr kumimoji="0" lang="nl-NL" sz="3859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´Instructie dia: YouTube links´</a:t>
                  </a: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deze in de diavoorstelling en klik op de gewenste video link.</a:t>
                  </a:r>
                </a:p>
              </p:txBody>
            </p:sp>
            <p:cxnSp>
              <p:nvCxnSpPr>
                <p:cNvPr id="69" name="Rechte verbindingslijn 112">
                  <a:extLst>
                    <a:ext uri="{FF2B5EF4-FFF2-40B4-BE49-F238E27FC236}">
                      <a16:creationId xmlns:a16="http://schemas.microsoft.com/office/drawing/2014/main" id="{0984CF39-D099-4E5C-B7A9-4FBCD08FD26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46" name="Rechte verbindingslijn 89">
                <a:extLst>
                  <a:ext uri="{FF2B5EF4-FFF2-40B4-BE49-F238E27FC236}">
                    <a16:creationId xmlns:a16="http://schemas.microsoft.com/office/drawing/2014/main" id="{9553DC39-109E-4225-A711-5B670DC1492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958423" y="651155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47" name="Ovaal 90">
                <a:extLst>
                  <a:ext uri="{FF2B5EF4-FFF2-40B4-BE49-F238E27FC236}">
                    <a16:creationId xmlns:a16="http://schemas.microsoft.com/office/drawing/2014/main" id="{3DBA209E-0536-492B-986F-3A861EA6327E}"/>
                  </a:ext>
                </a:extLst>
              </p:cNvPr>
              <p:cNvSpPr/>
              <p:nvPr userDrawn="1"/>
            </p:nvSpPr>
            <p:spPr>
              <a:xfrm>
                <a:off x="12952763" y="4690403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320748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48" name="Rechthoek 91">
                <a:extLst>
                  <a:ext uri="{FF2B5EF4-FFF2-40B4-BE49-F238E27FC236}">
                    <a16:creationId xmlns:a16="http://schemas.microsoft.com/office/drawing/2014/main" id="{3D1B9EDB-BD7D-42E6-B49D-764578988CC5}"/>
                  </a:ext>
                </a:extLst>
              </p:cNvPr>
              <p:cNvSpPr/>
              <p:nvPr userDrawn="1"/>
            </p:nvSpPr>
            <p:spPr>
              <a:xfrm>
                <a:off x="13318445" y="4756466"/>
                <a:ext cx="2817996" cy="887319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Om de afbeelding te schalen of bij te snijden, ga naar de tab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Hulpmiddelen voor afbeeldingen - Opmaak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 en klik op de knop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Bijsnijden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Schaal met de bolletjes de afbeelding en met de hoekjes het afbeeldingskader.</a:t>
                </a:r>
                <a:endPara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49" name="Rechte verbindingslijn 92">
                <a:extLst>
                  <a:ext uri="{FF2B5EF4-FFF2-40B4-BE49-F238E27FC236}">
                    <a16:creationId xmlns:a16="http://schemas.microsoft.com/office/drawing/2014/main" id="{6DF15216-1283-441F-AF58-77D24140812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958423" y="457224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50" name="Groep 93">
                <a:extLst>
                  <a:ext uri="{FF2B5EF4-FFF2-40B4-BE49-F238E27FC236}">
                    <a16:creationId xmlns:a16="http://schemas.microsoft.com/office/drawing/2014/main" id="{D02A907B-7086-4178-8951-0E3990A332D5}"/>
                  </a:ext>
                </a:extLst>
              </p:cNvPr>
              <p:cNvGrpSpPr/>
              <p:nvPr userDrawn="1"/>
            </p:nvGrpSpPr>
            <p:grpSpPr>
              <a:xfrm>
                <a:off x="13257676" y="5773610"/>
                <a:ext cx="514284" cy="612917"/>
                <a:chOff x="12682980" y="3403271"/>
                <a:chExt cx="622284" cy="741637"/>
              </a:xfrm>
            </p:grpSpPr>
            <p:grpSp>
              <p:nvGrpSpPr>
                <p:cNvPr id="51" name="Groep 94">
                  <a:extLst>
                    <a:ext uri="{FF2B5EF4-FFF2-40B4-BE49-F238E27FC236}">
                      <a16:creationId xmlns:a16="http://schemas.microsoft.com/office/drawing/2014/main" id="{C7AB5EB0-8275-48C2-AD2B-43047AD2C3CB}"/>
                    </a:ext>
                  </a:extLst>
                </p:cNvPr>
                <p:cNvGrpSpPr/>
                <p:nvPr userDrawn="1"/>
              </p:nvGrpSpPr>
              <p:grpSpPr>
                <a:xfrm>
                  <a:off x="12771568" y="3403271"/>
                  <a:ext cx="467138" cy="448459"/>
                  <a:chOff x="12782195" y="3403271"/>
                  <a:chExt cx="467138" cy="448459"/>
                </a:xfrm>
              </p:grpSpPr>
              <p:grpSp>
                <p:nvGrpSpPr>
                  <p:cNvPr id="54" name="Groep 97">
                    <a:extLst>
                      <a:ext uri="{FF2B5EF4-FFF2-40B4-BE49-F238E27FC236}">
                        <a16:creationId xmlns:a16="http://schemas.microsoft.com/office/drawing/2014/main" id="{BC65DB95-F806-4DC5-B0C9-90A42812E12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2782195" y="3403271"/>
                    <a:ext cx="412967" cy="393910"/>
                    <a:chOff x="13554906" y="3320143"/>
                    <a:chExt cx="443906" cy="423422"/>
                  </a:xfrm>
                </p:grpSpPr>
                <p:grpSp>
                  <p:nvGrpSpPr>
                    <p:cNvPr id="61" name="Groep 104">
                      <a:extLst>
                        <a:ext uri="{FF2B5EF4-FFF2-40B4-BE49-F238E27FC236}">
                          <a16:creationId xmlns:a16="http://schemas.microsoft.com/office/drawing/2014/main" id="{5C7A9F0D-81CE-4704-B89E-DCEE3416F49E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3554906" y="3320143"/>
                      <a:ext cx="443906" cy="423422"/>
                      <a:chOff x="12909684" y="1276177"/>
                      <a:chExt cx="443906" cy="423422"/>
                    </a:xfrm>
                  </p:grpSpPr>
                  <p:sp>
                    <p:nvSpPr>
                      <p:cNvPr id="64" name="Rechthoek 107">
                        <a:extLst>
                          <a:ext uri="{FF2B5EF4-FFF2-40B4-BE49-F238E27FC236}">
                            <a16:creationId xmlns:a16="http://schemas.microsoft.com/office/drawing/2014/main" id="{531E2706-17D6-4BB9-95D3-0FB1DF3813E4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2918700" y="1285299"/>
                        <a:ext cx="434890" cy="414300"/>
                      </a:xfrm>
                      <a:prstGeom prst="rect">
                        <a:avLst/>
                      </a:prstGeom>
                      <a:noFill/>
                      <a:ln w="12700">
                        <a:solidFill>
                          <a:srgbClr val="818181"/>
                        </a:solidFill>
                        <a:prstDash val="dash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2105"/>
                          </a:spcBef>
                          <a:spcAft>
                            <a:spcPts val="2105"/>
                          </a:spcAft>
                        </a:pPr>
                        <a:endParaRPr lang="nl-NL" sz="2806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65" name="Rechthoek 108">
                        <a:extLst>
                          <a:ext uri="{FF2B5EF4-FFF2-40B4-BE49-F238E27FC236}">
                            <a16:creationId xmlns:a16="http://schemas.microsoft.com/office/drawing/2014/main" id="{AFFD0FF9-3BF3-4525-9791-DE4663486D65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2909684" y="1276177"/>
                        <a:ext cx="261629" cy="257808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12700">
                        <a:solidFill>
                          <a:srgbClr val="81818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2105"/>
                          </a:spcBef>
                          <a:spcAft>
                            <a:spcPts val="2105"/>
                          </a:spcAft>
                        </a:pPr>
                        <a:endParaRPr lang="nl-NL" sz="2806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66" name="Ovaal 109">
                        <a:extLst>
                          <a:ext uri="{FF2B5EF4-FFF2-40B4-BE49-F238E27FC236}">
                            <a16:creationId xmlns:a16="http://schemas.microsoft.com/office/drawing/2014/main" id="{3989BB42-E495-4291-9515-167435A610A7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3069071" y="1308734"/>
                        <a:ext cx="72187" cy="72188"/>
                      </a:xfrm>
                      <a:prstGeom prst="ellipse">
                        <a:avLst/>
                      </a:prstGeom>
                      <a:solidFill>
                        <a:srgbClr val="ECC679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="horz" wrap="square" lIns="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l"/>
                        <a:endParaRPr lang="nl-NL" sz="3509" b="1" noProof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  <p:pic>
                  <p:nvPicPr>
                    <p:cNvPr id="62" name="Afbeelding 105">
                      <a:extLst>
                        <a:ext uri="{FF2B5EF4-FFF2-40B4-BE49-F238E27FC236}">
                          <a16:creationId xmlns:a16="http://schemas.microsoft.com/office/drawing/2014/main" id="{8933B5C9-7442-4E09-A33D-EFBFF871A8B1}"/>
                        </a:ext>
                      </a:extLst>
                    </p:cNvPr>
                    <p:cNvPicPr>
                      <a:picLocks noChangeAspect="1"/>
                    </p:cNvPicPr>
                    <p:nvPr userDrawn="1"/>
                  </p:nvPicPr>
                  <p:blipFill>
                    <a:blip r:embed="rId2" cstate="screen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3567296" y="3424991"/>
                      <a:ext cx="173367" cy="14022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63" name="Afbeelding 106">
                      <a:extLst>
                        <a:ext uri="{FF2B5EF4-FFF2-40B4-BE49-F238E27FC236}">
                          <a16:creationId xmlns:a16="http://schemas.microsoft.com/office/drawing/2014/main" id="{0081EB06-F1B0-4455-AA9B-4A693599FBCB}"/>
                        </a:ext>
                      </a:extLst>
                    </p:cNvPr>
                    <p:cNvPicPr>
                      <a:picLocks noChangeAspect="1"/>
                    </p:cNvPicPr>
                    <p:nvPr userDrawn="1"/>
                  </p:nvPicPr>
                  <p:blipFill>
                    <a:blip r:embed="rId4" cstate="screen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5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flipH="1">
                      <a:off x="13635598" y="3454393"/>
                      <a:ext cx="173366" cy="111424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55" name="Groep 98">
                    <a:extLst>
                      <a:ext uri="{FF2B5EF4-FFF2-40B4-BE49-F238E27FC236}">
                        <a16:creationId xmlns:a16="http://schemas.microsoft.com/office/drawing/2014/main" id="{A55642DD-6F47-4176-B9AF-7FB23EBB392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103513" y="3705278"/>
                    <a:ext cx="145820" cy="146452"/>
                    <a:chOff x="13096169" y="3602288"/>
                    <a:chExt cx="145820" cy="146452"/>
                  </a:xfrm>
                </p:grpSpPr>
                <p:sp>
                  <p:nvSpPr>
                    <p:cNvPr id="59" name="Rechthoek 102">
                      <a:extLst>
                        <a:ext uri="{FF2B5EF4-FFF2-40B4-BE49-F238E27FC236}">
                          <a16:creationId xmlns:a16="http://schemas.microsoft.com/office/drawing/2014/main" id="{8D454A61-AD7E-452F-BFCE-1AB74E96D20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96169" y="360228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0" name="Rechthoek 103">
                      <a:extLst>
                        <a:ext uri="{FF2B5EF4-FFF2-40B4-BE49-F238E27FC236}">
                          <a16:creationId xmlns:a16="http://schemas.microsoft.com/office/drawing/2014/main" id="{E436B1EC-4B74-4D84-A20E-1C690F824932}"/>
                        </a:ext>
                      </a:extLst>
                    </p:cNvPr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grpSp>
                <p:nvGrpSpPr>
                  <p:cNvPr id="56" name="Groep 99">
                    <a:extLst>
                      <a:ext uri="{FF2B5EF4-FFF2-40B4-BE49-F238E27FC236}">
                        <a16:creationId xmlns:a16="http://schemas.microsoft.com/office/drawing/2014/main" id="{BD74EB39-5FA1-4374-A24F-AECE8A2FF61C}"/>
                      </a:ext>
                    </a:extLst>
                  </p:cNvPr>
                  <p:cNvGrpSpPr/>
                  <p:nvPr userDrawn="1"/>
                </p:nvGrpSpPr>
                <p:grpSpPr>
                  <a:xfrm rot="10800000">
                    <a:off x="13061402" y="3665668"/>
                    <a:ext cx="145820" cy="146461"/>
                    <a:chOff x="13096169" y="3602248"/>
                    <a:chExt cx="145820" cy="146461"/>
                  </a:xfrm>
                </p:grpSpPr>
                <p:sp>
                  <p:nvSpPr>
                    <p:cNvPr id="57" name="Rechthoek 100">
                      <a:extLst>
                        <a:ext uri="{FF2B5EF4-FFF2-40B4-BE49-F238E27FC236}">
                          <a16:creationId xmlns:a16="http://schemas.microsoft.com/office/drawing/2014/main" id="{810562A6-8E67-483D-A859-5A001C48B76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96169" y="360224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58" name="Rechthoek 101">
                      <a:extLst>
                        <a:ext uri="{FF2B5EF4-FFF2-40B4-BE49-F238E27FC236}">
                          <a16:creationId xmlns:a16="http://schemas.microsoft.com/office/drawing/2014/main" id="{7BAAA463-B34B-4C1B-90D7-4C7606F42C15}"/>
                        </a:ext>
                      </a:extLst>
                    </p:cNvPr>
                    <p:cNvSpPr/>
                    <p:nvPr userDrawn="1"/>
                  </p:nvSpPr>
                  <p:spPr>
                    <a:xfrm rot="5400000">
                      <a:off x="13037453" y="3661605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  <p:sp>
              <p:nvSpPr>
                <p:cNvPr id="52" name="Rechthoek 95">
                  <a:extLst>
                    <a:ext uri="{FF2B5EF4-FFF2-40B4-BE49-F238E27FC236}">
                      <a16:creationId xmlns:a16="http://schemas.microsoft.com/office/drawing/2014/main" id="{C20629BC-E436-45EC-8C8C-F0B0CDC0C933}"/>
                    </a:ext>
                  </a:extLst>
                </p:cNvPr>
                <p:cNvSpPr/>
                <p:nvPr userDrawn="1"/>
              </p:nvSpPr>
              <p:spPr>
                <a:xfrm>
                  <a:off x="12682980" y="3889920"/>
                  <a:ext cx="622284" cy="16117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r>
                    <a:rPr lang="nl-NL" sz="3158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Bijsnijden</a:t>
                  </a:r>
                </a:p>
              </p:txBody>
            </p:sp>
            <p:sp>
              <p:nvSpPr>
                <p:cNvPr id="53" name="Gelijkbenige driehoek 96">
                  <a:extLst>
                    <a:ext uri="{FF2B5EF4-FFF2-40B4-BE49-F238E27FC236}">
                      <a16:creationId xmlns:a16="http://schemas.microsoft.com/office/drawing/2014/main" id="{2392616C-C884-469B-9BDD-930D09DE92BA}"/>
                    </a:ext>
                  </a:extLst>
                </p:cNvPr>
                <p:cNvSpPr/>
                <p:nvPr userDrawn="1"/>
              </p:nvSpPr>
              <p:spPr>
                <a:xfrm rot="10800000">
                  <a:off x="12950688" y="4093761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pic>
        <p:nvPicPr>
          <p:cNvPr id="79" name="Afbeelding 78">
            <a:extLst>
              <a:ext uri="{FF2B5EF4-FFF2-40B4-BE49-F238E27FC236}">
                <a16:creationId xmlns:a16="http://schemas.microsoft.com/office/drawing/2014/main" id="{FFEF7835-07BB-4DA8-AB27-DB859E6A8D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  <p:grpSp>
        <p:nvGrpSpPr>
          <p:cNvPr id="80" name="Instructie">
            <a:extLst>
              <a:ext uri="{FF2B5EF4-FFF2-40B4-BE49-F238E27FC236}">
                <a16:creationId xmlns:a16="http://schemas.microsoft.com/office/drawing/2014/main" id="{770C3081-02B2-4EA5-B67E-7C9629472DC2}"/>
              </a:ext>
            </a:extLst>
          </p:cNvPr>
          <p:cNvGrpSpPr/>
          <p:nvPr userDrawn="1"/>
        </p:nvGrpSpPr>
        <p:grpSpPr>
          <a:xfrm>
            <a:off x="-11761540" y="0"/>
            <a:ext cx="11164508" cy="11743958"/>
            <a:chOff x="-3426088" y="4512342"/>
            <a:chExt cx="3182755" cy="2660264"/>
          </a:xfrm>
        </p:grpSpPr>
        <p:sp>
          <p:nvSpPr>
            <p:cNvPr id="81" name="Rechthoek 127">
              <a:extLst>
                <a:ext uri="{FF2B5EF4-FFF2-40B4-BE49-F238E27FC236}">
                  <a16:creationId xmlns:a16="http://schemas.microsoft.com/office/drawing/2014/main" id="{EB5E83EA-A25A-49D3-B271-48BFD8BD7063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82" name="Rechte verbindingslijn 128">
              <a:extLst>
                <a:ext uri="{FF2B5EF4-FFF2-40B4-BE49-F238E27FC236}">
                  <a16:creationId xmlns:a16="http://schemas.microsoft.com/office/drawing/2014/main" id="{3E5F842F-7DCD-432E-ABDF-93B5971CA5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83" name="Rechthoek 130">
              <a:extLst>
                <a:ext uri="{FF2B5EF4-FFF2-40B4-BE49-F238E27FC236}">
                  <a16:creationId xmlns:a16="http://schemas.microsoft.com/office/drawing/2014/main" id="{C8F58CF4-9698-4C7C-8A5C-B043340A293D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84" name="Rechthoek 133">
              <a:extLst>
                <a:ext uri="{FF2B5EF4-FFF2-40B4-BE49-F238E27FC236}">
                  <a16:creationId xmlns:a16="http://schemas.microsoft.com/office/drawing/2014/main" id="{C62687C3-1FCB-48A1-B3EE-DA002621F05B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5" name="Rechthoek 136">
              <a:extLst>
                <a:ext uri="{FF2B5EF4-FFF2-40B4-BE49-F238E27FC236}">
                  <a16:creationId xmlns:a16="http://schemas.microsoft.com/office/drawing/2014/main" id="{E4EFD6C9-34C8-4845-A321-7F3FFC9619F9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6" name="Rechthoek 139">
              <a:extLst>
                <a:ext uri="{FF2B5EF4-FFF2-40B4-BE49-F238E27FC236}">
                  <a16:creationId xmlns:a16="http://schemas.microsoft.com/office/drawing/2014/main" id="{83AD7091-D037-45FA-BE47-881DB08D6ED1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87" name="Rechte verbindingslijn 140">
              <a:extLst>
                <a:ext uri="{FF2B5EF4-FFF2-40B4-BE49-F238E27FC236}">
                  <a16:creationId xmlns:a16="http://schemas.microsoft.com/office/drawing/2014/main" id="{AD87EEF8-DF38-4DCF-8FBD-1D9DA299A57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615755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25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2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0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1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2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3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3" grpId="0" animBg="1"/>
      <p:bldP spid="174" grpId="0" animBg="1"/>
      <p:bldP spid="175" grpId="0" animBg="1"/>
      <p:bldP spid="176" grpId="0" animBg="1"/>
      <p:bldP spid="177" grpId="0" animBg="1"/>
    </p:bld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rnpunten + Ico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5B16B44F-53F8-4476-BF86-4B2D1AD65ECB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9" y="27329718"/>
            <a:ext cx="834509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9B18BDE9-18FD-4C97-9F64-E73C2C770EF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57139" y="10897677"/>
            <a:ext cx="11802765" cy="13168314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087536" y="0"/>
                </a:lnTo>
                <a:cubicBezTo>
                  <a:pt x="32406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240614" y="2982912"/>
                  <a:pt x="3087536" y="2982912"/>
                </a:cubicBezTo>
                <a:lnTo>
                  <a:pt x="281143" y="2982912"/>
                </a:lnTo>
                <a:cubicBezTo>
                  <a:pt x="12806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>
              <a:defRPr sz="4911">
                <a:solidFill>
                  <a:schemeClr val="bg1"/>
                </a:solidFill>
              </a:defRPr>
            </a:lvl1pPr>
            <a:lvl2pPr>
              <a:defRPr sz="4911">
                <a:solidFill>
                  <a:schemeClr val="bg1"/>
                </a:solidFill>
              </a:defRPr>
            </a:lvl2pPr>
            <a:lvl3pPr>
              <a:defRPr sz="4911">
                <a:solidFill>
                  <a:schemeClr val="bg1"/>
                </a:solidFill>
              </a:defRPr>
            </a:lvl3pPr>
            <a:lvl4pPr>
              <a:defRPr sz="4911">
                <a:solidFill>
                  <a:schemeClr val="bg1"/>
                </a:solidFill>
              </a:defRPr>
            </a:lvl4pPr>
            <a:lvl5pPr>
              <a:defRPr sz="5612"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21" name="Tijdelijke aanduiding voor tekst 3">
            <a:extLst>
              <a:ext uri="{FF2B5EF4-FFF2-40B4-BE49-F238E27FC236}">
                <a16:creationId xmlns:a16="http://schemas.microsoft.com/office/drawing/2014/main" id="{548B21C5-7247-47FE-96DC-CDF5B1CD27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482243" y="10897677"/>
            <a:ext cx="11802765" cy="13168314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087536" y="0"/>
                </a:lnTo>
                <a:cubicBezTo>
                  <a:pt x="32406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240614" y="2982912"/>
                  <a:pt x="3087536" y="2982912"/>
                </a:cubicBezTo>
                <a:lnTo>
                  <a:pt x="281143" y="2982912"/>
                </a:lnTo>
                <a:cubicBezTo>
                  <a:pt x="12806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>
              <a:defRPr sz="4911">
                <a:solidFill>
                  <a:schemeClr val="bg1"/>
                </a:solidFill>
              </a:defRPr>
            </a:lvl1pPr>
            <a:lvl2pPr>
              <a:defRPr sz="4911">
                <a:solidFill>
                  <a:schemeClr val="bg1"/>
                </a:solidFill>
              </a:defRPr>
            </a:lvl2pPr>
            <a:lvl3pPr>
              <a:defRPr sz="4911">
                <a:solidFill>
                  <a:schemeClr val="bg1"/>
                </a:solidFill>
              </a:defRPr>
            </a:lvl3pPr>
            <a:lvl4pPr>
              <a:defRPr sz="4911">
                <a:solidFill>
                  <a:schemeClr val="bg1"/>
                </a:solidFill>
              </a:defRPr>
            </a:lvl4pPr>
            <a:lvl5pPr>
              <a:defRPr sz="5612"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24" name="Tijdelijke aanduiding voor tekst 3">
            <a:extLst>
              <a:ext uri="{FF2B5EF4-FFF2-40B4-BE49-F238E27FC236}">
                <a16:creationId xmlns:a16="http://schemas.microsoft.com/office/drawing/2014/main" id="{DDC7D301-B09D-45A2-84F5-FAC25F143C2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207348" y="10897677"/>
            <a:ext cx="11802765" cy="13168314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087536" y="0"/>
                </a:lnTo>
                <a:cubicBezTo>
                  <a:pt x="32406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240614" y="2982912"/>
                  <a:pt x="3087536" y="2982912"/>
                </a:cubicBezTo>
                <a:lnTo>
                  <a:pt x="281143" y="2982912"/>
                </a:lnTo>
                <a:cubicBezTo>
                  <a:pt x="12806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>
              <a:defRPr sz="4911">
                <a:solidFill>
                  <a:schemeClr val="bg1"/>
                </a:solidFill>
              </a:defRPr>
            </a:lvl1pPr>
            <a:lvl2pPr>
              <a:defRPr sz="4911">
                <a:solidFill>
                  <a:schemeClr val="bg1"/>
                </a:solidFill>
              </a:defRPr>
            </a:lvl2pPr>
            <a:lvl3pPr>
              <a:defRPr sz="4911">
                <a:solidFill>
                  <a:schemeClr val="bg1"/>
                </a:solidFill>
              </a:defRPr>
            </a:lvl3pPr>
            <a:lvl4pPr>
              <a:defRPr sz="4911">
                <a:solidFill>
                  <a:schemeClr val="bg1"/>
                </a:solidFill>
              </a:defRPr>
            </a:lvl4pPr>
            <a:lvl5pPr>
              <a:defRPr sz="5612"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id="{3B2874ED-CC7F-4F0C-BB1D-75A9CC43DC3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9699110" y="8777721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 sz="351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nl-NL" noProof="0"/>
          </a:p>
        </p:txBody>
      </p:sp>
      <p:sp>
        <p:nvSpPr>
          <p:cNvPr id="48" name="Tijdelijke aanduiding voor tekst 14">
            <a:extLst>
              <a:ext uri="{FF2B5EF4-FFF2-40B4-BE49-F238E27FC236}">
                <a16:creationId xmlns:a16="http://schemas.microsoft.com/office/drawing/2014/main" id="{F1653C5F-83B0-4357-9779-FCA8C005D7E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974001" y="8777721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 sz="351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nl-NL" noProof="0"/>
          </a:p>
        </p:txBody>
      </p:sp>
      <p:sp>
        <p:nvSpPr>
          <p:cNvPr id="50" name="Tijdelijke aanduiding voor tekst 14">
            <a:extLst>
              <a:ext uri="{FF2B5EF4-FFF2-40B4-BE49-F238E27FC236}">
                <a16:creationId xmlns:a16="http://schemas.microsoft.com/office/drawing/2014/main" id="{3AA2D7D9-83DC-4599-894C-1EA7D9983FA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424213" y="8777721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 sz="351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nl-NL" noProof="0"/>
          </a:p>
        </p:txBody>
      </p:sp>
      <p:pic>
        <p:nvPicPr>
          <p:cNvPr id="285" name="Afbeelding 284">
            <a:extLst>
              <a:ext uri="{FF2B5EF4-FFF2-40B4-BE49-F238E27FC236}">
                <a16:creationId xmlns:a16="http://schemas.microsoft.com/office/drawing/2014/main" id="{3BD56D34-C124-47A1-AAB3-51268E6794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  <p:grpSp>
        <p:nvGrpSpPr>
          <p:cNvPr id="297" name="Meer informatie">
            <a:extLst>
              <a:ext uri="{FF2B5EF4-FFF2-40B4-BE49-F238E27FC236}">
                <a16:creationId xmlns:a16="http://schemas.microsoft.com/office/drawing/2014/main" id="{69FCEAEE-2275-42B9-AB43-7996341B291E}"/>
              </a:ext>
            </a:extLst>
          </p:cNvPr>
          <p:cNvGrpSpPr/>
          <p:nvPr userDrawn="1"/>
        </p:nvGrpSpPr>
        <p:grpSpPr>
          <a:xfrm>
            <a:off x="43487270" y="1774577"/>
            <a:ext cx="11147891" cy="3644433"/>
            <a:chOff x="-3740989" y="3458473"/>
            <a:chExt cx="3178018" cy="825544"/>
          </a:xfrm>
        </p:grpSpPr>
        <p:sp>
          <p:nvSpPr>
            <p:cNvPr id="298" name="Rechthoek 297">
              <a:extLst>
                <a:ext uri="{FF2B5EF4-FFF2-40B4-BE49-F238E27FC236}">
                  <a16:creationId xmlns:a16="http://schemas.microsoft.com/office/drawing/2014/main" id="{B25CB412-679D-4563-95CD-4519C627EF32}"/>
                </a:ext>
              </a:extLst>
            </p:cNvPr>
            <p:cNvSpPr/>
            <p:nvPr userDrawn="1"/>
          </p:nvSpPr>
          <p:spPr>
            <a:xfrm>
              <a:off x="-3740989" y="3458473"/>
              <a:ext cx="2863716" cy="5921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conen vind je in de slide bibliotheek.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opieer (Ctrl-c) de icoon uit de bibliotheek en plak (Ctrl-v) deze op de gewenste plek. Iconen zijn aanpasbaar qua kleur en formaat.</a:t>
              </a:r>
            </a:p>
          </p:txBody>
        </p:sp>
        <p:cxnSp>
          <p:nvCxnSpPr>
            <p:cNvPr id="299" name="Rechte verbindingslijn 298">
              <a:extLst>
                <a:ext uri="{FF2B5EF4-FFF2-40B4-BE49-F238E27FC236}">
                  <a16:creationId xmlns:a16="http://schemas.microsoft.com/office/drawing/2014/main" id="{3C6B4A04-D8DF-4CA5-AC7B-2CDF9800DE4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740987" y="4284017"/>
              <a:ext cx="3178016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300" name="Rechthoek 299">
            <a:extLst>
              <a:ext uri="{FF2B5EF4-FFF2-40B4-BE49-F238E27FC236}">
                <a16:creationId xmlns:a16="http://schemas.microsoft.com/office/drawing/2014/main" id="{F89205DE-C3DD-4906-977D-F5869FC3C688}"/>
              </a:ext>
            </a:extLst>
          </p:cNvPr>
          <p:cNvSpPr/>
          <p:nvPr userDrawn="1"/>
        </p:nvSpPr>
        <p:spPr>
          <a:xfrm>
            <a:off x="43487272" y="5"/>
            <a:ext cx="11147884" cy="84588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defTabSz="3207489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rPr>
              <a:t>ICOON invoegen / veranderen</a:t>
            </a:r>
          </a:p>
        </p:txBody>
      </p:sp>
      <p:cxnSp>
        <p:nvCxnSpPr>
          <p:cNvPr id="301" name="Rechte verbindingslijn 300">
            <a:extLst>
              <a:ext uri="{FF2B5EF4-FFF2-40B4-BE49-F238E27FC236}">
                <a16:creationId xmlns:a16="http://schemas.microsoft.com/office/drawing/2014/main" id="{CF5A1158-976E-4157-B03D-2FF7CBCE5D0D}"/>
              </a:ext>
            </a:extLst>
          </p:cNvPr>
          <p:cNvCxnSpPr>
            <a:cxnSpLocks/>
          </p:cNvCxnSpPr>
          <p:nvPr userDrawn="1"/>
        </p:nvCxnSpPr>
        <p:spPr>
          <a:xfrm>
            <a:off x="43487269" y="1066718"/>
            <a:ext cx="11147888" cy="0"/>
          </a:xfrm>
          <a:prstGeom prst="line">
            <a:avLst/>
          </a:prstGeom>
          <a:noFill/>
          <a:ln w="3175" cap="flat" cmpd="sng" algn="ctr">
            <a:solidFill>
              <a:schemeClr val="accent1"/>
            </a:solidFill>
            <a:prstDash val="solid"/>
          </a:ln>
          <a:effectLst/>
        </p:spPr>
      </p:cxnSp>
      <p:grpSp>
        <p:nvGrpSpPr>
          <p:cNvPr id="302" name="Instructie">
            <a:extLst>
              <a:ext uri="{FF2B5EF4-FFF2-40B4-BE49-F238E27FC236}">
                <a16:creationId xmlns:a16="http://schemas.microsoft.com/office/drawing/2014/main" id="{152CEB51-48C8-4B7C-B7C9-39A86C65F4D2}"/>
              </a:ext>
            </a:extLst>
          </p:cNvPr>
          <p:cNvGrpSpPr/>
          <p:nvPr userDrawn="1"/>
        </p:nvGrpSpPr>
        <p:grpSpPr>
          <a:xfrm>
            <a:off x="43506534" y="6474547"/>
            <a:ext cx="11164508" cy="11743958"/>
            <a:chOff x="-3426088" y="4512342"/>
            <a:chExt cx="3182755" cy="2660264"/>
          </a:xfrm>
        </p:grpSpPr>
        <p:sp>
          <p:nvSpPr>
            <p:cNvPr id="303" name="Rechthoek 127">
              <a:extLst>
                <a:ext uri="{FF2B5EF4-FFF2-40B4-BE49-F238E27FC236}">
                  <a16:creationId xmlns:a16="http://schemas.microsoft.com/office/drawing/2014/main" id="{76F2455F-F82D-4E88-8010-21D7723C32A2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304" name="Rechte verbindingslijn 128">
              <a:extLst>
                <a:ext uri="{FF2B5EF4-FFF2-40B4-BE49-F238E27FC236}">
                  <a16:creationId xmlns:a16="http://schemas.microsoft.com/office/drawing/2014/main" id="{0B3E4862-C4AA-407C-966A-E8EBDE30B35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05" name="Rechthoek 130">
              <a:extLst>
                <a:ext uri="{FF2B5EF4-FFF2-40B4-BE49-F238E27FC236}">
                  <a16:creationId xmlns:a16="http://schemas.microsoft.com/office/drawing/2014/main" id="{591A4179-76F7-41B9-9617-1E08CC4C4B60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306" name="Rechthoek 133">
              <a:extLst>
                <a:ext uri="{FF2B5EF4-FFF2-40B4-BE49-F238E27FC236}">
                  <a16:creationId xmlns:a16="http://schemas.microsoft.com/office/drawing/2014/main" id="{1A70AE91-902A-4C2E-B515-48E694909317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307" name="Rechthoek 136">
              <a:extLst>
                <a:ext uri="{FF2B5EF4-FFF2-40B4-BE49-F238E27FC236}">
                  <a16:creationId xmlns:a16="http://schemas.microsoft.com/office/drawing/2014/main" id="{5925F747-3FA0-47E9-93E3-A81C74A4898E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308" name="Rechthoek 139">
              <a:extLst>
                <a:ext uri="{FF2B5EF4-FFF2-40B4-BE49-F238E27FC236}">
                  <a16:creationId xmlns:a16="http://schemas.microsoft.com/office/drawing/2014/main" id="{97BA09BA-A822-4E82-9039-7A968C36BB47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309" name="Rechte verbindingslijn 140">
              <a:extLst>
                <a:ext uri="{FF2B5EF4-FFF2-40B4-BE49-F238E27FC236}">
                  <a16:creationId xmlns:a16="http://schemas.microsoft.com/office/drawing/2014/main" id="{0DA6D147-A7F8-4D34-8B2A-2524551C85E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310" name="Groep 101">
            <a:extLst>
              <a:ext uri="{FF2B5EF4-FFF2-40B4-BE49-F238E27FC236}">
                <a16:creationId xmlns:a16="http://schemas.microsoft.com/office/drawing/2014/main" id="{82885683-4B8E-4B6E-8614-5197C14275A8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311" name="Rechthoek 102">
              <a:extLst>
                <a:ext uri="{FF2B5EF4-FFF2-40B4-BE49-F238E27FC236}">
                  <a16:creationId xmlns:a16="http://schemas.microsoft.com/office/drawing/2014/main" id="{13495BBB-F6EA-4A12-B089-66752A7E72AC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312" name="Ovaal 103">
              <a:extLst>
                <a:ext uri="{FF2B5EF4-FFF2-40B4-BE49-F238E27FC236}">
                  <a16:creationId xmlns:a16="http://schemas.microsoft.com/office/drawing/2014/main" id="{DF8731A8-AC67-456D-BB6D-C9FE5C2A4B5C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13" name="Rechte verbindingslijn 104">
              <a:extLst>
                <a:ext uri="{FF2B5EF4-FFF2-40B4-BE49-F238E27FC236}">
                  <a16:creationId xmlns:a16="http://schemas.microsoft.com/office/drawing/2014/main" id="{E9A5108C-BE33-4E02-BC2E-A2F400E2CCD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14" name="Groep 105">
              <a:extLst>
                <a:ext uri="{FF2B5EF4-FFF2-40B4-BE49-F238E27FC236}">
                  <a16:creationId xmlns:a16="http://schemas.microsoft.com/office/drawing/2014/main" id="{83496DC3-8D19-4D2D-BC64-CD3AFF0DC24B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339" name="Rechthoek 130">
                <a:extLst>
                  <a:ext uri="{FF2B5EF4-FFF2-40B4-BE49-F238E27FC236}">
                    <a16:creationId xmlns:a16="http://schemas.microsoft.com/office/drawing/2014/main" id="{9B5B1577-32F2-415E-A250-E59240C4B612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340" name="Rechte verbindingslijn 131">
                <a:extLst>
                  <a:ext uri="{FF2B5EF4-FFF2-40B4-BE49-F238E27FC236}">
                    <a16:creationId xmlns:a16="http://schemas.microsoft.com/office/drawing/2014/main" id="{5FC98B63-D584-44C1-B07C-B7875B3BB8F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1" name="Rechte verbindingslijn 132">
                <a:extLst>
                  <a:ext uri="{FF2B5EF4-FFF2-40B4-BE49-F238E27FC236}">
                    <a16:creationId xmlns:a16="http://schemas.microsoft.com/office/drawing/2014/main" id="{D7C39E6E-E41B-4B78-AEA4-AD388ABFDE6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42" name="Rechthoek 133">
                <a:extLst>
                  <a:ext uri="{FF2B5EF4-FFF2-40B4-BE49-F238E27FC236}">
                    <a16:creationId xmlns:a16="http://schemas.microsoft.com/office/drawing/2014/main" id="{C3B8BE2A-65A8-41EB-B679-E21300F57730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43" name="Groep 134">
                <a:extLst>
                  <a:ext uri="{FF2B5EF4-FFF2-40B4-BE49-F238E27FC236}">
                    <a16:creationId xmlns:a16="http://schemas.microsoft.com/office/drawing/2014/main" id="{7467A5F6-1915-4F14-9025-28B4BD8C052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87" name="Groep 175">
                  <a:extLst>
                    <a:ext uri="{FF2B5EF4-FFF2-40B4-BE49-F238E27FC236}">
                      <a16:creationId xmlns:a16="http://schemas.microsoft.com/office/drawing/2014/main" id="{20AE23E3-37FE-48F2-A6FE-39DFEBFAF80F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91" name="Rechte verbindingslijn 179">
                    <a:extLst>
                      <a:ext uri="{FF2B5EF4-FFF2-40B4-BE49-F238E27FC236}">
                        <a16:creationId xmlns:a16="http://schemas.microsoft.com/office/drawing/2014/main" id="{7FD0C23E-7659-46A0-B1C8-31A7BA78D82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92" name="Rechte verbindingslijn 180">
                    <a:extLst>
                      <a:ext uri="{FF2B5EF4-FFF2-40B4-BE49-F238E27FC236}">
                        <a16:creationId xmlns:a16="http://schemas.microsoft.com/office/drawing/2014/main" id="{2D599BE0-9EDE-4963-943E-12D2D456607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93" name="Rechte verbindingslijn 181">
                    <a:extLst>
                      <a:ext uri="{FF2B5EF4-FFF2-40B4-BE49-F238E27FC236}">
                        <a16:creationId xmlns:a16="http://schemas.microsoft.com/office/drawing/2014/main" id="{86228B0B-E5C7-4418-AD1D-A4011339B3A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94" name="Rechte verbindingslijn 182">
                    <a:extLst>
                      <a:ext uri="{FF2B5EF4-FFF2-40B4-BE49-F238E27FC236}">
                        <a16:creationId xmlns:a16="http://schemas.microsoft.com/office/drawing/2014/main" id="{14180E14-59B9-42D9-B950-6ECD4B0AB2B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95" name="Rechte verbindingslijn 183">
                    <a:extLst>
                      <a:ext uri="{FF2B5EF4-FFF2-40B4-BE49-F238E27FC236}">
                        <a16:creationId xmlns:a16="http://schemas.microsoft.com/office/drawing/2014/main" id="{448D9DB9-BF2F-4212-B26A-E2C6220445F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88" name="Groep 176">
                  <a:extLst>
                    <a:ext uri="{FF2B5EF4-FFF2-40B4-BE49-F238E27FC236}">
                      <a16:creationId xmlns:a16="http://schemas.microsoft.com/office/drawing/2014/main" id="{DDE9B3B2-5058-41A6-830F-1EF9EF7A4DB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89" name="Rechthoek 177">
                    <a:extLst>
                      <a:ext uri="{FF2B5EF4-FFF2-40B4-BE49-F238E27FC236}">
                        <a16:creationId xmlns:a16="http://schemas.microsoft.com/office/drawing/2014/main" id="{01F2A6EC-B4FE-4CEE-840D-A89666751A0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90" name="Pijl: punthaak 178">
                    <a:extLst>
                      <a:ext uri="{FF2B5EF4-FFF2-40B4-BE49-F238E27FC236}">
                        <a16:creationId xmlns:a16="http://schemas.microsoft.com/office/drawing/2014/main" id="{0336D1B9-6624-4126-8B63-022272C3102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344" name="Groep 135">
                <a:extLst>
                  <a:ext uri="{FF2B5EF4-FFF2-40B4-BE49-F238E27FC236}">
                    <a16:creationId xmlns:a16="http://schemas.microsoft.com/office/drawing/2014/main" id="{0579ABEE-C712-44AA-93AA-A3A9DEC4EAF5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373" name="Groep 166">
                  <a:extLst>
                    <a:ext uri="{FF2B5EF4-FFF2-40B4-BE49-F238E27FC236}">
                      <a16:creationId xmlns:a16="http://schemas.microsoft.com/office/drawing/2014/main" id="{392C42FB-0217-4AF3-A038-DAEE71F9EDBF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382" name="Rechte verbindingslijn 170">
                    <a:extLst>
                      <a:ext uri="{FF2B5EF4-FFF2-40B4-BE49-F238E27FC236}">
                        <a16:creationId xmlns:a16="http://schemas.microsoft.com/office/drawing/2014/main" id="{9A82879A-93C2-4D1F-A4B5-6215FE77103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83" name="Rechte verbindingslijn 171">
                    <a:extLst>
                      <a:ext uri="{FF2B5EF4-FFF2-40B4-BE49-F238E27FC236}">
                        <a16:creationId xmlns:a16="http://schemas.microsoft.com/office/drawing/2014/main" id="{3B6A35FD-E776-444C-A7DE-7E47D9AC1AF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84" name="Rechte verbindingslijn 172">
                    <a:extLst>
                      <a:ext uri="{FF2B5EF4-FFF2-40B4-BE49-F238E27FC236}">
                        <a16:creationId xmlns:a16="http://schemas.microsoft.com/office/drawing/2014/main" id="{6711B7D0-526D-4A88-8315-698DA291D98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85" name="Rechte verbindingslijn 173">
                    <a:extLst>
                      <a:ext uri="{FF2B5EF4-FFF2-40B4-BE49-F238E27FC236}">
                        <a16:creationId xmlns:a16="http://schemas.microsoft.com/office/drawing/2014/main" id="{D153E1BC-F0D9-4763-8D1A-7F8F1665FA5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86" name="Rechte verbindingslijn 174">
                    <a:extLst>
                      <a:ext uri="{FF2B5EF4-FFF2-40B4-BE49-F238E27FC236}">
                        <a16:creationId xmlns:a16="http://schemas.microsoft.com/office/drawing/2014/main" id="{CED8E919-6FC7-4417-A11C-703F5702F25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74" name="Groep 167">
                  <a:extLst>
                    <a:ext uri="{FF2B5EF4-FFF2-40B4-BE49-F238E27FC236}">
                      <a16:creationId xmlns:a16="http://schemas.microsoft.com/office/drawing/2014/main" id="{CC39733F-2CE8-406C-8375-67A606BEA4B3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75" name="Rechthoek 168">
                    <a:extLst>
                      <a:ext uri="{FF2B5EF4-FFF2-40B4-BE49-F238E27FC236}">
                        <a16:creationId xmlns:a16="http://schemas.microsoft.com/office/drawing/2014/main" id="{135F9509-2EEE-4D69-936B-E319B13157D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81" name="Pijl: punthaak 169">
                    <a:extLst>
                      <a:ext uri="{FF2B5EF4-FFF2-40B4-BE49-F238E27FC236}">
                        <a16:creationId xmlns:a16="http://schemas.microsoft.com/office/drawing/2014/main" id="{F6E38C57-07CC-449D-A8A7-110544A16D39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345" name="Rechte verbindingslijn 136">
                <a:extLst>
                  <a:ext uri="{FF2B5EF4-FFF2-40B4-BE49-F238E27FC236}">
                    <a16:creationId xmlns:a16="http://schemas.microsoft.com/office/drawing/2014/main" id="{F5B3EBAF-2C40-4835-9329-88153F4F6F7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346" name="Rechte verbindingslijn 137">
                <a:extLst>
                  <a:ext uri="{FF2B5EF4-FFF2-40B4-BE49-F238E27FC236}">
                    <a16:creationId xmlns:a16="http://schemas.microsoft.com/office/drawing/2014/main" id="{5C2E5B54-BE5C-4A72-9503-6EAFC4536A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347" name="Groep 138">
                <a:extLst>
                  <a:ext uri="{FF2B5EF4-FFF2-40B4-BE49-F238E27FC236}">
                    <a16:creationId xmlns:a16="http://schemas.microsoft.com/office/drawing/2014/main" id="{EFA61254-F7CC-4512-89AD-6CBC10CB6E2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362" name="Rechthoek 155">
                  <a:extLst>
                    <a:ext uri="{FF2B5EF4-FFF2-40B4-BE49-F238E27FC236}">
                      <a16:creationId xmlns:a16="http://schemas.microsoft.com/office/drawing/2014/main" id="{E34292FF-3A72-4B91-AC6A-5C3B9BE7228D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63" name="Groep 156">
                  <a:extLst>
                    <a:ext uri="{FF2B5EF4-FFF2-40B4-BE49-F238E27FC236}">
                      <a16:creationId xmlns:a16="http://schemas.microsoft.com/office/drawing/2014/main" id="{F137E10A-FCBB-42BB-9713-B6AF60D49E8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364" name="Groep 157">
                    <a:extLst>
                      <a:ext uri="{FF2B5EF4-FFF2-40B4-BE49-F238E27FC236}">
                        <a16:creationId xmlns:a16="http://schemas.microsoft.com/office/drawing/2014/main" id="{F2231DD6-4081-4C4D-9F2E-2AB9F33213C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368" name="Rechte verbindingslijn 161">
                      <a:extLst>
                        <a:ext uri="{FF2B5EF4-FFF2-40B4-BE49-F238E27FC236}">
                          <a16:creationId xmlns:a16="http://schemas.microsoft.com/office/drawing/2014/main" id="{AA35EB10-5C19-457E-937F-3C3141D9B73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69" name="Rechte verbindingslijn 162">
                      <a:extLst>
                        <a:ext uri="{FF2B5EF4-FFF2-40B4-BE49-F238E27FC236}">
                          <a16:creationId xmlns:a16="http://schemas.microsoft.com/office/drawing/2014/main" id="{6E0FDC50-140D-4A0C-B7DC-372A0038B59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70" name="Rechte verbindingslijn 163">
                      <a:extLst>
                        <a:ext uri="{FF2B5EF4-FFF2-40B4-BE49-F238E27FC236}">
                          <a16:creationId xmlns:a16="http://schemas.microsoft.com/office/drawing/2014/main" id="{62CB0A80-717C-4653-BFAF-4E27C3A833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71" name="Rechte verbindingslijn 164">
                      <a:extLst>
                        <a:ext uri="{FF2B5EF4-FFF2-40B4-BE49-F238E27FC236}">
                          <a16:creationId xmlns:a16="http://schemas.microsoft.com/office/drawing/2014/main" id="{704F4B05-02BC-4170-9482-760B768CF3A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72" name="Rechte verbindingslijn 165">
                      <a:extLst>
                        <a:ext uri="{FF2B5EF4-FFF2-40B4-BE49-F238E27FC236}">
                          <a16:creationId xmlns:a16="http://schemas.microsoft.com/office/drawing/2014/main" id="{80747397-F595-462C-AEE3-0CB2A846827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65" name="Groep 158">
                    <a:extLst>
                      <a:ext uri="{FF2B5EF4-FFF2-40B4-BE49-F238E27FC236}">
                        <a16:creationId xmlns:a16="http://schemas.microsoft.com/office/drawing/2014/main" id="{15DA2067-931A-4FDE-803B-F8B11ED97E4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66" name="Rechthoek 159">
                      <a:extLst>
                        <a:ext uri="{FF2B5EF4-FFF2-40B4-BE49-F238E27FC236}">
                          <a16:creationId xmlns:a16="http://schemas.microsoft.com/office/drawing/2014/main" id="{A73FBEFB-AE93-4F05-A734-05EE56DA761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67" name="Pijl: punthaak 160">
                      <a:extLst>
                        <a:ext uri="{FF2B5EF4-FFF2-40B4-BE49-F238E27FC236}">
                          <a16:creationId xmlns:a16="http://schemas.microsoft.com/office/drawing/2014/main" id="{C704214C-F2EB-4B40-B7C3-C51CAB485871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348" name="Groep 139">
                <a:extLst>
                  <a:ext uri="{FF2B5EF4-FFF2-40B4-BE49-F238E27FC236}">
                    <a16:creationId xmlns:a16="http://schemas.microsoft.com/office/drawing/2014/main" id="{94FF3B3A-06AF-4AA3-888E-F302476FDB93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351" name="Rechthoek 142">
                  <a:extLst>
                    <a:ext uri="{FF2B5EF4-FFF2-40B4-BE49-F238E27FC236}">
                      <a16:creationId xmlns:a16="http://schemas.microsoft.com/office/drawing/2014/main" id="{EB8A0F31-DD84-49C4-9939-6C11D18CEDF7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52" name="Groep 143">
                  <a:extLst>
                    <a:ext uri="{FF2B5EF4-FFF2-40B4-BE49-F238E27FC236}">
                      <a16:creationId xmlns:a16="http://schemas.microsoft.com/office/drawing/2014/main" id="{5FD3D869-DEB8-447D-816C-4CB16C887356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353" name="Groep 144">
                    <a:extLst>
                      <a:ext uri="{FF2B5EF4-FFF2-40B4-BE49-F238E27FC236}">
                        <a16:creationId xmlns:a16="http://schemas.microsoft.com/office/drawing/2014/main" id="{4F263D9E-1DBA-41BA-B7DD-30DC8435AA8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357" name="Rechte verbindingslijn 150">
                      <a:extLst>
                        <a:ext uri="{FF2B5EF4-FFF2-40B4-BE49-F238E27FC236}">
                          <a16:creationId xmlns:a16="http://schemas.microsoft.com/office/drawing/2014/main" id="{ED657FC2-B3A0-42C6-A3AD-C53E5E50C67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58" name="Rechte verbindingslijn 151">
                      <a:extLst>
                        <a:ext uri="{FF2B5EF4-FFF2-40B4-BE49-F238E27FC236}">
                          <a16:creationId xmlns:a16="http://schemas.microsoft.com/office/drawing/2014/main" id="{68CCE9A7-EA2A-4FC5-9D9B-71D1AD4CF1F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59" name="Rechte verbindingslijn 152">
                      <a:extLst>
                        <a:ext uri="{FF2B5EF4-FFF2-40B4-BE49-F238E27FC236}">
                          <a16:creationId xmlns:a16="http://schemas.microsoft.com/office/drawing/2014/main" id="{ABFB228D-07ED-4CAB-9276-8F4F754E65A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60" name="Rechte verbindingslijn 153">
                      <a:extLst>
                        <a:ext uri="{FF2B5EF4-FFF2-40B4-BE49-F238E27FC236}">
                          <a16:creationId xmlns:a16="http://schemas.microsoft.com/office/drawing/2014/main" id="{F2D4D4C7-97A0-4CCF-8287-93BA6175539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61" name="Rechte verbindingslijn 154">
                      <a:extLst>
                        <a:ext uri="{FF2B5EF4-FFF2-40B4-BE49-F238E27FC236}">
                          <a16:creationId xmlns:a16="http://schemas.microsoft.com/office/drawing/2014/main" id="{5DB8E6E3-7B06-49F9-80F1-BFFF487E72E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54" name="Groep 147">
                    <a:extLst>
                      <a:ext uri="{FF2B5EF4-FFF2-40B4-BE49-F238E27FC236}">
                        <a16:creationId xmlns:a16="http://schemas.microsoft.com/office/drawing/2014/main" id="{FC9F8231-7E98-465E-A499-071987F35586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55" name="Rechthoek 148">
                      <a:extLst>
                        <a:ext uri="{FF2B5EF4-FFF2-40B4-BE49-F238E27FC236}">
                          <a16:creationId xmlns:a16="http://schemas.microsoft.com/office/drawing/2014/main" id="{F9D9A11E-87B6-434C-BF89-4A7B9700FA7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56" name="Pijl: punthaak 149">
                      <a:extLst>
                        <a:ext uri="{FF2B5EF4-FFF2-40B4-BE49-F238E27FC236}">
                          <a16:creationId xmlns:a16="http://schemas.microsoft.com/office/drawing/2014/main" id="{2B1449D1-322F-4006-A49A-ADA3CF359FC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349" name="Rechthoek 140">
                <a:extLst>
                  <a:ext uri="{FF2B5EF4-FFF2-40B4-BE49-F238E27FC236}">
                    <a16:creationId xmlns:a16="http://schemas.microsoft.com/office/drawing/2014/main" id="{C9A42063-5C60-49C1-AFFA-621DC38E572C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350" name="Rechthoek 141">
                <a:extLst>
                  <a:ext uri="{FF2B5EF4-FFF2-40B4-BE49-F238E27FC236}">
                    <a16:creationId xmlns:a16="http://schemas.microsoft.com/office/drawing/2014/main" id="{DAF1A558-D03B-44EC-A586-2E02800A5DE1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315" name="Rechte verbindingslijn 106">
              <a:extLst>
                <a:ext uri="{FF2B5EF4-FFF2-40B4-BE49-F238E27FC236}">
                  <a16:creationId xmlns:a16="http://schemas.microsoft.com/office/drawing/2014/main" id="{B0D03FFD-EC8E-42D1-95DD-67F6C8E23B4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16" name="Rechthoek 107">
              <a:extLst>
                <a:ext uri="{FF2B5EF4-FFF2-40B4-BE49-F238E27FC236}">
                  <a16:creationId xmlns:a16="http://schemas.microsoft.com/office/drawing/2014/main" id="{52B2A17A-BCB9-4E4B-A6EC-A716B4BB55C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317" name="Ovaal 108">
              <a:extLst>
                <a:ext uri="{FF2B5EF4-FFF2-40B4-BE49-F238E27FC236}">
                  <a16:creationId xmlns:a16="http://schemas.microsoft.com/office/drawing/2014/main" id="{4F6CA278-408C-42D6-A391-AE3CA9CA5FAF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18" name="Rechthoek 109">
              <a:extLst>
                <a:ext uri="{FF2B5EF4-FFF2-40B4-BE49-F238E27FC236}">
                  <a16:creationId xmlns:a16="http://schemas.microsoft.com/office/drawing/2014/main" id="{919C7443-9933-4217-8F5F-C2C7F94B6E96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319" name="Ovaal 110">
              <a:extLst>
                <a:ext uri="{FF2B5EF4-FFF2-40B4-BE49-F238E27FC236}">
                  <a16:creationId xmlns:a16="http://schemas.microsoft.com/office/drawing/2014/main" id="{0DCA9EF9-2EA7-4367-BB9E-A06D615AFAF0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20" name="Rechthoek 111">
              <a:extLst>
                <a:ext uri="{FF2B5EF4-FFF2-40B4-BE49-F238E27FC236}">
                  <a16:creationId xmlns:a16="http://schemas.microsoft.com/office/drawing/2014/main" id="{5543933C-DE48-4B34-9A15-A18E4CB6B3C5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21" name="Ovaal 112">
              <a:extLst>
                <a:ext uri="{FF2B5EF4-FFF2-40B4-BE49-F238E27FC236}">
                  <a16:creationId xmlns:a16="http://schemas.microsoft.com/office/drawing/2014/main" id="{47A3080B-B3A1-4747-BB7D-67B62ACAB0A4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322" name="Rechthoek 113">
              <a:extLst>
                <a:ext uri="{FF2B5EF4-FFF2-40B4-BE49-F238E27FC236}">
                  <a16:creationId xmlns:a16="http://schemas.microsoft.com/office/drawing/2014/main" id="{98CFCBEE-F625-4557-BB5D-D0B725392755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323" name="Ovaal 114">
              <a:extLst>
                <a:ext uri="{FF2B5EF4-FFF2-40B4-BE49-F238E27FC236}">
                  <a16:creationId xmlns:a16="http://schemas.microsoft.com/office/drawing/2014/main" id="{A4972FA8-4EB2-42AC-A32C-6FA0479B9F57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324" name="Rechthoek 115">
              <a:extLst>
                <a:ext uri="{FF2B5EF4-FFF2-40B4-BE49-F238E27FC236}">
                  <a16:creationId xmlns:a16="http://schemas.microsoft.com/office/drawing/2014/main" id="{E405107A-B042-4158-9E71-197A3D586166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325" name="Rechte verbindingslijn 116">
              <a:extLst>
                <a:ext uri="{FF2B5EF4-FFF2-40B4-BE49-F238E27FC236}">
                  <a16:creationId xmlns:a16="http://schemas.microsoft.com/office/drawing/2014/main" id="{C5FEBCCD-36F1-44C7-8F49-4C3F22F95DD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26" name="Meer informatie">
              <a:extLst>
                <a:ext uri="{FF2B5EF4-FFF2-40B4-BE49-F238E27FC236}">
                  <a16:creationId xmlns:a16="http://schemas.microsoft.com/office/drawing/2014/main" id="{F1B2E75A-50A7-41BE-B464-0BC56D3A8C0B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336" name="Freeform 101">
                <a:extLst>
                  <a:ext uri="{FF2B5EF4-FFF2-40B4-BE49-F238E27FC236}">
                    <a16:creationId xmlns:a16="http://schemas.microsoft.com/office/drawing/2014/main" id="{563307BD-E073-4F2C-A48B-8F6364F765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337" name="Rechthoek 128">
                <a:extLst>
                  <a:ext uri="{FF2B5EF4-FFF2-40B4-BE49-F238E27FC236}">
                    <a16:creationId xmlns:a16="http://schemas.microsoft.com/office/drawing/2014/main" id="{2CD41DAC-BD0A-41BB-89AC-112D7951CA55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338" name="Rechte verbindingslijn 129">
                <a:extLst>
                  <a:ext uri="{FF2B5EF4-FFF2-40B4-BE49-F238E27FC236}">
                    <a16:creationId xmlns:a16="http://schemas.microsoft.com/office/drawing/2014/main" id="{586B4E8A-76DA-4300-87F7-C26443339D4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27" name="Rechthoek 118">
              <a:extLst>
                <a:ext uri="{FF2B5EF4-FFF2-40B4-BE49-F238E27FC236}">
                  <a16:creationId xmlns:a16="http://schemas.microsoft.com/office/drawing/2014/main" id="{71A0633D-A3B1-4F12-B39D-FCBDCF33B6EC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328" name="Ovaal 119">
              <a:extLst>
                <a:ext uri="{FF2B5EF4-FFF2-40B4-BE49-F238E27FC236}">
                  <a16:creationId xmlns:a16="http://schemas.microsoft.com/office/drawing/2014/main" id="{FC368FAE-A5A9-4EFC-80D9-619EA4BA7432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329" name="Rechthoek 120">
              <a:extLst>
                <a:ext uri="{FF2B5EF4-FFF2-40B4-BE49-F238E27FC236}">
                  <a16:creationId xmlns:a16="http://schemas.microsoft.com/office/drawing/2014/main" id="{84410A19-B9B6-4BBF-9B8B-6DF659F1AE29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330" name="Ovaal 121">
              <a:extLst>
                <a:ext uri="{FF2B5EF4-FFF2-40B4-BE49-F238E27FC236}">
                  <a16:creationId xmlns:a16="http://schemas.microsoft.com/office/drawing/2014/main" id="{8F7B5A33-26BC-436A-8A53-D1D272A6DE29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331" name="Rechthoek 122">
              <a:extLst>
                <a:ext uri="{FF2B5EF4-FFF2-40B4-BE49-F238E27FC236}">
                  <a16:creationId xmlns:a16="http://schemas.microsoft.com/office/drawing/2014/main" id="{6CDF8D89-AA1A-4F80-A5E0-A4C8492DC6A4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332" name="Ovaal 123">
              <a:extLst>
                <a:ext uri="{FF2B5EF4-FFF2-40B4-BE49-F238E27FC236}">
                  <a16:creationId xmlns:a16="http://schemas.microsoft.com/office/drawing/2014/main" id="{775AA4EE-9A81-4146-92AC-7A705BAA7813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333" name="Rechthoek 124">
              <a:extLst>
                <a:ext uri="{FF2B5EF4-FFF2-40B4-BE49-F238E27FC236}">
                  <a16:creationId xmlns:a16="http://schemas.microsoft.com/office/drawing/2014/main" id="{E6474284-C655-44E5-A56B-45B27193E44C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334" name="Rechthoek 125">
              <a:extLst>
                <a:ext uri="{FF2B5EF4-FFF2-40B4-BE49-F238E27FC236}">
                  <a16:creationId xmlns:a16="http://schemas.microsoft.com/office/drawing/2014/main" id="{0B41130A-DA03-4915-8C3C-DB2912DEAB5C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335" name="Ovaal 126">
              <a:extLst>
                <a:ext uri="{FF2B5EF4-FFF2-40B4-BE49-F238E27FC236}">
                  <a16:creationId xmlns:a16="http://schemas.microsoft.com/office/drawing/2014/main" id="{D5373442-6EF1-4D97-9202-485DB24F9960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39087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Foto 25%/75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jdelijke aanduiding voor afbeelding 9">
            <a:extLst>
              <a:ext uri="{FF2B5EF4-FFF2-40B4-BE49-F238E27FC236}">
                <a16:creationId xmlns:a16="http://schemas.microsoft.com/office/drawing/2014/main" id="{9A5BC6B5-1D0E-4188-AFCB-6E3ED1DEF1F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7808956" y="5"/>
            <a:ext cx="24956942" cy="30306750"/>
          </a:xfrm>
          <a:solidFill>
            <a:schemeClr val="bg1">
              <a:lumMod val="95000"/>
            </a:schemeClr>
          </a:solidFill>
        </p:spPr>
        <p:txBody>
          <a:bodyPr tIns="1260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677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40" name="Titel 1">
            <a:extLst>
              <a:ext uri="{FF2B5EF4-FFF2-40B4-BE49-F238E27FC236}">
                <a16:creationId xmlns:a16="http://schemas.microsoft.com/office/drawing/2014/main" id="{66B7AAC1-E359-4778-A0B1-A6417129C9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78" y="1766065"/>
            <a:ext cx="32281087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41" name="Tijdelijke aanduiding voor tekst 14">
            <a:extLst>
              <a:ext uri="{FF2B5EF4-FFF2-40B4-BE49-F238E27FC236}">
                <a16:creationId xmlns:a16="http://schemas.microsoft.com/office/drawing/2014/main" id="{E72B3531-34B4-4628-B8C4-9BDACE48A2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78" y="3469430"/>
            <a:ext cx="32281087" cy="1195424"/>
          </a:xfrm>
        </p:spPr>
        <p:txBody>
          <a:bodyPr>
            <a:noAutofit/>
          </a:bodyPr>
          <a:lstStyle>
            <a:lvl1pPr marL="0" indent="0">
              <a:buNone/>
              <a:defRPr sz="2794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50" name="Tijdelijke aanduiding voor voettekst 4">
            <a:extLst>
              <a:ext uri="{FF2B5EF4-FFF2-40B4-BE49-F238E27FC236}">
                <a16:creationId xmlns:a16="http://schemas.microsoft.com/office/drawing/2014/main" id="{A09270D3-9B17-4316-B7B6-C7B06757C4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7" y="27345278"/>
            <a:ext cx="18027561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51" name="Tijdelijke aanduiding voor dianummer 5">
            <a:extLst>
              <a:ext uri="{FF2B5EF4-FFF2-40B4-BE49-F238E27FC236}">
                <a16:creationId xmlns:a16="http://schemas.microsoft.com/office/drawing/2014/main" id="{29AED214-F757-4754-B7D3-9AC75D03D5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7"/>
            <a:ext cx="857529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19" name="Tijdelijke aanduiding voor datum 3">
            <a:extLst>
              <a:ext uri="{FF2B5EF4-FFF2-40B4-BE49-F238E27FC236}">
                <a16:creationId xmlns:a16="http://schemas.microsoft.com/office/drawing/2014/main" id="{0AEE7348-CAF6-4BB8-9EF6-AA8E5C2958D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50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4B87A2C-4DDA-4D72-8940-56FC5F8DE267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142" name="Tijdelijke aanduiding voor tekst 4">
            <a:extLst>
              <a:ext uri="{FF2B5EF4-FFF2-40B4-BE49-F238E27FC236}">
                <a16:creationId xmlns:a16="http://schemas.microsoft.com/office/drawing/2014/main" id="{E67291DA-A1B8-4533-97BA-4D19DA14FDC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742376" y="6476685"/>
            <a:ext cx="13885873" cy="1907433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bullet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bullet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sp>
        <p:nvSpPr>
          <p:cNvPr id="228" name="Tijdelijke aanduiding voor tekst 3">
            <a:extLst>
              <a:ext uri="{FF2B5EF4-FFF2-40B4-BE49-F238E27FC236}">
                <a16:creationId xmlns:a16="http://schemas.microsoft.com/office/drawing/2014/main" id="{B4F78CBF-9872-475F-8C41-7E5DA6A65BC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504420" y="1449454"/>
            <a:ext cx="6635240" cy="3534584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248"/>
            </a:lvl1pPr>
          </a:lstStyle>
          <a:p>
            <a:pPr lvl="0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07475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rnpunten + Iconen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err="1"/>
              <a:t>Koptitel</a:t>
            </a:r>
            <a:endParaRPr lang="en-US" noProof="0"/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err="1"/>
              <a:t>Ondertitel</a:t>
            </a:r>
            <a:endParaRPr lang="en-US"/>
          </a:p>
        </p:txBody>
      </p:sp>
      <p:grpSp>
        <p:nvGrpSpPr>
          <p:cNvPr id="38" name="GRID" hidden="1">
            <a:extLst>
              <a:ext uri="{FF2B5EF4-FFF2-40B4-BE49-F238E27FC236}">
                <a16:creationId xmlns:a16="http://schemas.microsoft.com/office/drawing/2014/main" id="{51D5F7E8-69F8-47AD-81F5-1645C97607C1}"/>
              </a:ext>
            </a:extLst>
          </p:cNvPr>
          <p:cNvGrpSpPr/>
          <p:nvPr userDrawn="1"/>
        </p:nvGrpSpPr>
        <p:grpSpPr>
          <a:xfrm>
            <a:off x="5" y="0"/>
            <a:ext cx="42767261" cy="30275213"/>
            <a:chOff x="0" y="0"/>
            <a:chExt cx="12192003" cy="6858000"/>
          </a:xfrm>
        </p:grpSpPr>
        <p:sp>
          <p:nvSpPr>
            <p:cNvPr id="39" name="Rechthoek 38">
              <a:extLst>
                <a:ext uri="{FF2B5EF4-FFF2-40B4-BE49-F238E27FC236}">
                  <a16:creationId xmlns:a16="http://schemas.microsoft.com/office/drawing/2014/main" id="{71DB2C92-E6A8-4532-98F6-C917E7F5CD17}"/>
                </a:ext>
              </a:extLst>
            </p:cNvPr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0" name="Rechthoek 39">
              <a:extLst>
                <a:ext uri="{FF2B5EF4-FFF2-40B4-BE49-F238E27FC236}">
                  <a16:creationId xmlns:a16="http://schemas.microsoft.com/office/drawing/2014/main" id="{1283F161-5F8A-45E1-A9F2-F823FC1CB0A5}"/>
                </a:ext>
              </a:extLst>
            </p:cNvPr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1" name="Rechthoek 40">
              <a:extLst>
                <a:ext uri="{FF2B5EF4-FFF2-40B4-BE49-F238E27FC236}">
                  <a16:creationId xmlns:a16="http://schemas.microsoft.com/office/drawing/2014/main" id="{E25AE021-76F4-4113-9019-FB3CB3351AD2}"/>
                </a:ext>
              </a:extLst>
            </p:cNvPr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2" name="Rechthoek 41">
              <a:extLst>
                <a:ext uri="{FF2B5EF4-FFF2-40B4-BE49-F238E27FC236}">
                  <a16:creationId xmlns:a16="http://schemas.microsoft.com/office/drawing/2014/main" id="{4F56F574-960D-4395-B98C-5F49ED9EF418}"/>
                </a:ext>
              </a:extLst>
            </p:cNvPr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34E307D0-CCA0-4BDF-BC5F-E19838E9F7DA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4" name="Rechthoek 43">
              <a:extLst>
                <a:ext uri="{FF2B5EF4-FFF2-40B4-BE49-F238E27FC236}">
                  <a16:creationId xmlns:a16="http://schemas.microsoft.com/office/drawing/2014/main" id="{2AEE0B25-FBCC-4048-A2C0-6D97C3E7FEB7}"/>
                </a:ext>
              </a:extLst>
            </p:cNvPr>
            <p:cNvSpPr/>
            <p:nvPr userDrawn="1"/>
          </p:nvSpPr>
          <p:spPr>
            <a:xfrm rot="5400000">
              <a:off x="5895976" y="-108104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8"/>
            <a:ext cx="707315" cy="1016405"/>
          </a:xfrm>
        </p:spPr>
        <p:txBody>
          <a:bodyPr/>
          <a:lstStyle/>
          <a:p>
            <a:fld id="{55B2A88A-B7BD-41B1-9FCB-9BE633251ACA}" type="slidenum">
              <a:rPr lang="en-US" noProof="0" smtClean="0"/>
              <a:t>‹nr.›</a:t>
            </a:fld>
            <a:endParaRPr lang="en-US" noProof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9B18BDE9-18FD-4C97-9F64-E73C2C770EF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57138" y="10288803"/>
            <a:ext cx="8777982" cy="9793572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087536" y="0"/>
                </a:lnTo>
                <a:cubicBezTo>
                  <a:pt x="32406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240614" y="2982912"/>
                  <a:pt x="3087536" y="2982912"/>
                </a:cubicBezTo>
                <a:lnTo>
                  <a:pt x="281143" y="2982912"/>
                </a:lnTo>
                <a:cubicBezTo>
                  <a:pt x="12806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4209">
                <a:solidFill>
                  <a:schemeClr val="bg1"/>
                </a:solidFill>
              </a:defRPr>
            </a:lvl2pPr>
            <a:lvl3pPr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48" name="Tijdelijke aanduiding voor tekst 14">
            <a:extLst>
              <a:ext uri="{FF2B5EF4-FFF2-40B4-BE49-F238E27FC236}">
                <a16:creationId xmlns:a16="http://schemas.microsoft.com/office/drawing/2014/main" id="{F1653C5F-83B0-4357-9779-FCA8C005D7E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61610" y="8083434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0" name="Tijdelijke aanduiding voor tekst 3">
            <a:extLst>
              <a:ext uri="{FF2B5EF4-FFF2-40B4-BE49-F238E27FC236}">
                <a16:creationId xmlns:a16="http://schemas.microsoft.com/office/drawing/2014/main" id="{2CDDE61D-7900-4D30-8C50-19D730DC4B3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176292" y="10288803"/>
            <a:ext cx="8777982" cy="9793572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087536" y="0"/>
                </a:lnTo>
                <a:cubicBezTo>
                  <a:pt x="32406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240614" y="2982912"/>
                  <a:pt x="3087536" y="2982912"/>
                </a:cubicBezTo>
                <a:lnTo>
                  <a:pt x="281143" y="2982912"/>
                </a:lnTo>
                <a:cubicBezTo>
                  <a:pt x="12806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defRPr sz="4209">
                <a:solidFill>
                  <a:schemeClr val="bg1"/>
                </a:solidFill>
              </a:defRPr>
            </a:lvl2pPr>
            <a:lvl3pPr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31" name="Tijdelijke aanduiding voor tekst 14">
            <a:extLst>
              <a:ext uri="{FF2B5EF4-FFF2-40B4-BE49-F238E27FC236}">
                <a16:creationId xmlns:a16="http://schemas.microsoft.com/office/drawing/2014/main" id="{7BCA5047-285E-4616-AF7C-30C41FBE50D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4880762" y="8083434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3" name="Tijdelijke aanduiding voor tekst 3">
            <a:extLst>
              <a:ext uri="{FF2B5EF4-FFF2-40B4-BE49-F238E27FC236}">
                <a16:creationId xmlns:a16="http://schemas.microsoft.com/office/drawing/2014/main" id="{33196E6E-959A-406E-A275-32D18E41825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896856" y="10288803"/>
            <a:ext cx="8777982" cy="9793572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087536" y="0"/>
                </a:lnTo>
                <a:cubicBezTo>
                  <a:pt x="32406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240614" y="2982912"/>
                  <a:pt x="3087536" y="2982912"/>
                </a:cubicBezTo>
                <a:lnTo>
                  <a:pt x="281143" y="2982912"/>
                </a:lnTo>
                <a:cubicBezTo>
                  <a:pt x="12806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4209">
                <a:solidFill>
                  <a:schemeClr val="bg1"/>
                </a:solidFill>
              </a:defRPr>
            </a:lvl2pPr>
            <a:lvl3pPr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34" name="Tijdelijke aanduiding voor tekst 14">
            <a:extLst>
              <a:ext uri="{FF2B5EF4-FFF2-40B4-BE49-F238E27FC236}">
                <a16:creationId xmlns:a16="http://schemas.microsoft.com/office/drawing/2014/main" id="{2BC9E580-784A-425F-A45F-E9BAE702C3A4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4601328" y="8083434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7" name="Tijdelijke aanduiding voor tekst 3">
            <a:extLst>
              <a:ext uri="{FF2B5EF4-FFF2-40B4-BE49-F238E27FC236}">
                <a16:creationId xmlns:a16="http://schemas.microsoft.com/office/drawing/2014/main" id="{20A32965-12AC-4768-9A3A-36933D48FA46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2036574" y="10288803"/>
            <a:ext cx="8777982" cy="9793572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087536" y="0"/>
                </a:lnTo>
                <a:cubicBezTo>
                  <a:pt x="32406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240614" y="2982912"/>
                  <a:pt x="3087536" y="2982912"/>
                </a:cubicBezTo>
                <a:lnTo>
                  <a:pt x="281143" y="2982912"/>
                </a:lnTo>
                <a:cubicBezTo>
                  <a:pt x="12806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4209">
                <a:solidFill>
                  <a:schemeClr val="bg1"/>
                </a:solidFill>
              </a:defRPr>
            </a:lvl2pPr>
            <a:lvl3pPr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52" name="Tijdelijke aanduiding voor tekst 14">
            <a:extLst>
              <a:ext uri="{FF2B5EF4-FFF2-40B4-BE49-F238E27FC236}">
                <a16:creationId xmlns:a16="http://schemas.microsoft.com/office/drawing/2014/main" id="{64B43F51-91B8-44C7-88A8-99F45ADD7CB4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24741045" y="8083434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pic>
        <p:nvPicPr>
          <p:cNvPr id="24" name="Afbeelding 23">
            <a:extLst>
              <a:ext uri="{FF2B5EF4-FFF2-40B4-BE49-F238E27FC236}">
                <a16:creationId xmlns:a16="http://schemas.microsoft.com/office/drawing/2014/main" id="{9808A347-7021-4A95-A1A8-D23F88DBAE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  <p:grpSp>
        <p:nvGrpSpPr>
          <p:cNvPr id="25" name="Meer informatie">
            <a:extLst>
              <a:ext uri="{FF2B5EF4-FFF2-40B4-BE49-F238E27FC236}">
                <a16:creationId xmlns:a16="http://schemas.microsoft.com/office/drawing/2014/main" id="{690213C6-0742-45BA-8B4E-4C0A92C3C5FD}"/>
              </a:ext>
            </a:extLst>
          </p:cNvPr>
          <p:cNvGrpSpPr/>
          <p:nvPr userDrawn="1"/>
        </p:nvGrpSpPr>
        <p:grpSpPr>
          <a:xfrm>
            <a:off x="43487270" y="1774577"/>
            <a:ext cx="11147891" cy="3644433"/>
            <a:chOff x="-3740989" y="3458473"/>
            <a:chExt cx="3178018" cy="825544"/>
          </a:xfrm>
        </p:grpSpPr>
        <p:sp>
          <p:nvSpPr>
            <p:cNvPr id="26" name="Rechthoek 25">
              <a:extLst>
                <a:ext uri="{FF2B5EF4-FFF2-40B4-BE49-F238E27FC236}">
                  <a16:creationId xmlns:a16="http://schemas.microsoft.com/office/drawing/2014/main" id="{3BE197EF-126A-4B46-9B26-8400360B7CBF}"/>
                </a:ext>
              </a:extLst>
            </p:cNvPr>
            <p:cNvSpPr/>
            <p:nvPr userDrawn="1"/>
          </p:nvSpPr>
          <p:spPr>
            <a:xfrm>
              <a:off x="-3740989" y="3458473"/>
              <a:ext cx="2863716" cy="5921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conen vind je in de slide bibliotheek.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opieer (Ctrl-c) de icoon uit de bibliotheek en plak (Ctrl-v) deze op de gewenste plek. Iconen zijn aanpasbaar qua kleur en formaat.</a:t>
              </a:r>
            </a:p>
          </p:txBody>
        </p:sp>
        <p:cxnSp>
          <p:nvCxnSpPr>
            <p:cNvPr id="27" name="Rechte verbindingslijn 26">
              <a:extLst>
                <a:ext uri="{FF2B5EF4-FFF2-40B4-BE49-F238E27FC236}">
                  <a16:creationId xmlns:a16="http://schemas.microsoft.com/office/drawing/2014/main" id="{33F136FD-3FEC-49F3-8795-9972066703F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740987" y="4284017"/>
              <a:ext cx="3178016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8" name="Rechthoek 27">
            <a:extLst>
              <a:ext uri="{FF2B5EF4-FFF2-40B4-BE49-F238E27FC236}">
                <a16:creationId xmlns:a16="http://schemas.microsoft.com/office/drawing/2014/main" id="{8F8FF5C8-DEE6-4FE5-99DF-FA8EA5753A2D}"/>
              </a:ext>
            </a:extLst>
          </p:cNvPr>
          <p:cNvSpPr/>
          <p:nvPr userDrawn="1"/>
        </p:nvSpPr>
        <p:spPr>
          <a:xfrm>
            <a:off x="43487272" y="5"/>
            <a:ext cx="11147884" cy="84588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defTabSz="3207489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rPr>
              <a:t>ICOON invoegen / veranderen</a:t>
            </a:r>
          </a:p>
        </p:txBody>
      </p:sp>
      <p:cxnSp>
        <p:nvCxnSpPr>
          <p:cNvPr id="32" name="Rechte verbindingslijn 31">
            <a:extLst>
              <a:ext uri="{FF2B5EF4-FFF2-40B4-BE49-F238E27FC236}">
                <a16:creationId xmlns:a16="http://schemas.microsoft.com/office/drawing/2014/main" id="{3860E628-0CFC-43D4-998E-60ECE6AFFA74}"/>
              </a:ext>
            </a:extLst>
          </p:cNvPr>
          <p:cNvCxnSpPr>
            <a:cxnSpLocks/>
          </p:cNvCxnSpPr>
          <p:nvPr userDrawn="1"/>
        </p:nvCxnSpPr>
        <p:spPr>
          <a:xfrm>
            <a:off x="43487269" y="1066718"/>
            <a:ext cx="11147888" cy="0"/>
          </a:xfrm>
          <a:prstGeom prst="line">
            <a:avLst/>
          </a:prstGeom>
          <a:noFill/>
          <a:ln w="3175" cap="flat" cmpd="sng" algn="ctr">
            <a:solidFill>
              <a:schemeClr val="accent1"/>
            </a:solidFill>
            <a:prstDash val="solid"/>
          </a:ln>
          <a:effectLst/>
        </p:spPr>
      </p:cxnSp>
      <p:grpSp>
        <p:nvGrpSpPr>
          <p:cNvPr id="35" name="Instructie">
            <a:extLst>
              <a:ext uri="{FF2B5EF4-FFF2-40B4-BE49-F238E27FC236}">
                <a16:creationId xmlns:a16="http://schemas.microsoft.com/office/drawing/2014/main" id="{FADC590A-80D0-4F8E-AB42-3D1236AFE0BF}"/>
              </a:ext>
            </a:extLst>
          </p:cNvPr>
          <p:cNvGrpSpPr/>
          <p:nvPr userDrawn="1"/>
        </p:nvGrpSpPr>
        <p:grpSpPr>
          <a:xfrm>
            <a:off x="43506534" y="6474547"/>
            <a:ext cx="11164508" cy="11743958"/>
            <a:chOff x="-3426088" y="4512342"/>
            <a:chExt cx="3182755" cy="2660264"/>
          </a:xfrm>
        </p:grpSpPr>
        <p:sp>
          <p:nvSpPr>
            <p:cNvPr id="36" name="Rechthoek 127">
              <a:extLst>
                <a:ext uri="{FF2B5EF4-FFF2-40B4-BE49-F238E27FC236}">
                  <a16:creationId xmlns:a16="http://schemas.microsoft.com/office/drawing/2014/main" id="{45F1DBA5-C73D-47EC-ADFF-A0F5C04EEAD4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49" name="Rechte verbindingslijn 128">
              <a:extLst>
                <a:ext uri="{FF2B5EF4-FFF2-40B4-BE49-F238E27FC236}">
                  <a16:creationId xmlns:a16="http://schemas.microsoft.com/office/drawing/2014/main" id="{77783C23-AFCD-49BD-A92D-5F7D4448FD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50" name="Rechthoek 130">
              <a:extLst>
                <a:ext uri="{FF2B5EF4-FFF2-40B4-BE49-F238E27FC236}">
                  <a16:creationId xmlns:a16="http://schemas.microsoft.com/office/drawing/2014/main" id="{42C611A4-79B2-4229-8F2A-1E8AC3A31A20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51" name="Rechthoek 133">
              <a:extLst>
                <a:ext uri="{FF2B5EF4-FFF2-40B4-BE49-F238E27FC236}">
                  <a16:creationId xmlns:a16="http://schemas.microsoft.com/office/drawing/2014/main" id="{6440ACFB-64B8-408A-B4F1-1B6AD802422F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53" name="Rechthoek 136">
              <a:extLst>
                <a:ext uri="{FF2B5EF4-FFF2-40B4-BE49-F238E27FC236}">
                  <a16:creationId xmlns:a16="http://schemas.microsoft.com/office/drawing/2014/main" id="{EF5C14F0-DB8F-444D-9146-49F9485E0E0D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54" name="Rechthoek 139">
              <a:extLst>
                <a:ext uri="{FF2B5EF4-FFF2-40B4-BE49-F238E27FC236}">
                  <a16:creationId xmlns:a16="http://schemas.microsoft.com/office/drawing/2014/main" id="{AEB7FAB6-F4A9-4846-B64C-DD3D29A78C76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55" name="Rechte verbindingslijn 140">
              <a:extLst>
                <a:ext uri="{FF2B5EF4-FFF2-40B4-BE49-F238E27FC236}">
                  <a16:creationId xmlns:a16="http://schemas.microsoft.com/office/drawing/2014/main" id="{A372F14B-991C-4BFB-9008-D41A0C5D7D6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56" name="Groep 101">
            <a:extLst>
              <a:ext uri="{FF2B5EF4-FFF2-40B4-BE49-F238E27FC236}">
                <a16:creationId xmlns:a16="http://schemas.microsoft.com/office/drawing/2014/main" id="{F32B50C5-F5DF-40DC-9D58-EECC0E8BAB16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57" name="Rechthoek 102">
              <a:extLst>
                <a:ext uri="{FF2B5EF4-FFF2-40B4-BE49-F238E27FC236}">
                  <a16:creationId xmlns:a16="http://schemas.microsoft.com/office/drawing/2014/main" id="{CBDF2DBA-2D25-4165-91FC-6142F217B2B3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58" name="Ovaal 103">
              <a:extLst>
                <a:ext uri="{FF2B5EF4-FFF2-40B4-BE49-F238E27FC236}">
                  <a16:creationId xmlns:a16="http://schemas.microsoft.com/office/drawing/2014/main" id="{D29A10E2-9C95-40AE-89E2-B52D5740CB0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59" name="Rechte verbindingslijn 104">
              <a:extLst>
                <a:ext uri="{FF2B5EF4-FFF2-40B4-BE49-F238E27FC236}">
                  <a16:creationId xmlns:a16="http://schemas.microsoft.com/office/drawing/2014/main" id="{97E88656-A2DF-433D-9E92-D5FFBDBC3B1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60" name="Groep 105">
              <a:extLst>
                <a:ext uri="{FF2B5EF4-FFF2-40B4-BE49-F238E27FC236}">
                  <a16:creationId xmlns:a16="http://schemas.microsoft.com/office/drawing/2014/main" id="{EB18F6F1-E75A-4350-BBCE-10C44D6D53B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85" name="Rechthoek 130">
                <a:extLst>
                  <a:ext uri="{FF2B5EF4-FFF2-40B4-BE49-F238E27FC236}">
                    <a16:creationId xmlns:a16="http://schemas.microsoft.com/office/drawing/2014/main" id="{DE9CD6B4-5F8A-48A0-AB14-32D4B8055E08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86" name="Rechte verbindingslijn 131">
                <a:extLst>
                  <a:ext uri="{FF2B5EF4-FFF2-40B4-BE49-F238E27FC236}">
                    <a16:creationId xmlns:a16="http://schemas.microsoft.com/office/drawing/2014/main" id="{E0EEF84F-9952-4683-9FE0-946C1D2FF74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Rechte verbindingslijn 132">
                <a:extLst>
                  <a:ext uri="{FF2B5EF4-FFF2-40B4-BE49-F238E27FC236}">
                    <a16:creationId xmlns:a16="http://schemas.microsoft.com/office/drawing/2014/main" id="{5D75A59A-D3EA-43ED-BB28-A0DCF4FFC69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8" name="Rechthoek 133">
                <a:extLst>
                  <a:ext uri="{FF2B5EF4-FFF2-40B4-BE49-F238E27FC236}">
                    <a16:creationId xmlns:a16="http://schemas.microsoft.com/office/drawing/2014/main" id="{5C18C196-60F5-408F-B1D7-0FE87AF2C820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89" name="Groep 134">
                <a:extLst>
                  <a:ext uri="{FF2B5EF4-FFF2-40B4-BE49-F238E27FC236}">
                    <a16:creationId xmlns:a16="http://schemas.microsoft.com/office/drawing/2014/main" id="{19940C93-7077-4061-997B-B9764262BFC3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28" name="Groep 175">
                  <a:extLst>
                    <a:ext uri="{FF2B5EF4-FFF2-40B4-BE49-F238E27FC236}">
                      <a16:creationId xmlns:a16="http://schemas.microsoft.com/office/drawing/2014/main" id="{6F673296-7E0C-45FA-8B6C-5AD450A6B2F6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32" name="Rechte verbindingslijn 179">
                    <a:extLst>
                      <a:ext uri="{FF2B5EF4-FFF2-40B4-BE49-F238E27FC236}">
                        <a16:creationId xmlns:a16="http://schemas.microsoft.com/office/drawing/2014/main" id="{BD7C17A5-AF6B-4DA9-817C-CA9F0CC4DA3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33" name="Rechte verbindingslijn 180">
                    <a:extLst>
                      <a:ext uri="{FF2B5EF4-FFF2-40B4-BE49-F238E27FC236}">
                        <a16:creationId xmlns:a16="http://schemas.microsoft.com/office/drawing/2014/main" id="{19BC700F-4443-4FF9-A02F-0B5AF41D159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34" name="Rechte verbindingslijn 181">
                    <a:extLst>
                      <a:ext uri="{FF2B5EF4-FFF2-40B4-BE49-F238E27FC236}">
                        <a16:creationId xmlns:a16="http://schemas.microsoft.com/office/drawing/2014/main" id="{DBEE842F-D90D-492F-BAFD-C74D0E885AC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35" name="Rechte verbindingslijn 182">
                    <a:extLst>
                      <a:ext uri="{FF2B5EF4-FFF2-40B4-BE49-F238E27FC236}">
                        <a16:creationId xmlns:a16="http://schemas.microsoft.com/office/drawing/2014/main" id="{EBCB2C7B-9D3E-4486-92F4-FF162407DF6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36" name="Rechte verbindingslijn 183">
                    <a:extLst>
                      <a:ext uri="{FF2B5EF4-FFF2-40B4-BE49-F238E27FC236}">
                        <a16:creationId xmlns:a16="http://schemas.microsoft.com/office/drawing/2014/main" id="{A114EA34-F6AA-4148-AEC2-89F096140E9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29" name="Groep 176">
                  <a:extLst>
                    <a:ext uri="{FF2B5EF4-FFF2-40B4-BE49-F238E27FC236}">
                      <a16:creationId xmlns:a16="http://schemas.microsoft.com/office/drawing/2014/main" id="{092CE0FA-4384-4F8C-AAC6-ACA9FDCD7CBA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30" name="Rechthoek 177">
                    <a:extLst>
                      <a:ext uri="{FF2B5EF4-FFF2-40B4-BE49-F238E27FC236}">
                        <a16:creationId xmlns:a16="http://schemas.microsoft.com/office/drawing/2014/main" id="{6FD58914-CDDA-4DD2-8396-637426CA28F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1" name="Pijl: punthaak 178">
                    <a:extLst>
                      <a:ext uri="{FF2B5EF4-FFF2-40B4-BE49-F238E27FC236}">
                        <a16:creationId xmlns:a16="http://schemas.microsoft.com/office/drawing/2014/main" id="{957093B8-0EEC-4A99-814E-A4CB94DD16F0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90" name="Groep 135">
                <a:extLst>
                  <a:ext uri="{FF2B5EF4-FFF2-40B4-BE49-F238E27FC236}">
                    <a16:creationId xmlns:a16="http://schemas.microsoft.com/office/drawing/2014/main" id="{CD1001C2-E5EE-420E-8536-85CD39EA1C77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19" name="Groep 166">
                  <a:extLst>
                    <a:ext uri="{FF2B5EF4-FFF2-40B4-BE49-F238E27FC236}">
                      <a16:creationId xmlns:a16="http://schemas.microsoft.com/office/drawing/2014/main" id="{DE132F0C-0A9F-4EC9-891C-E9F9B68D8E1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23" name="Rechte verbindingslijn 170">
                    <a:extLst>
                      <a:ext uri="{FF2B5EF4-FFF2-40B4-BE49-F238E27FC236}">
                        <a16:creationId xmlns:a16="http://schemas.microsoft.com/office/drawing/2014/main" id="{55DCCA61-D15C-4390-8DFC-78785E15B69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24" name="Rechte verbindingslijn 171">
                    <a:extLst>
                      <a:ext uri="{FF2B5EF4-FFF2-40B4-BE49-F238E27FC236}">
                        <a16:creationId xmlns:a16="http://schemas.microsoft.com/office/drawing/2014/main" id="{87498E5D-7C35-4D4D-B5C5-774175558A5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25" name="Rechte verbindingslijn 172">
                    <a:extLst>
                      <a:ext uri="{FF2B5EF4-FFF2-40B4-BE49-F238E27FC236}">
                        <a16:creationId xmlns:a16="http://schemas.microsoft.com/office/drawing/2014/main" id="{A528AA5A-9228-4951-A983-E27FB75A76D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26" name="Rechte verbindingslijn 173">
                    <a:extLst>
                      <a:ext uri="{FF2B5EF4-FFF2-40B4-BE49-F238E27FC236}">
                        <a16:creationId xmlns:a16="http://schemas.microsoft.com/office/drawing/2014/main" id="{A5307FF5-A085-439D-BF7E-6AFA877379B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27" name="Rechte verbindingslijn 174">
                    <a:extLst>
                      <a:ext uri="{FF2B5EF4-FFF2-40B4-BE49-F238E27FC236}">
                        <a16:creationId xmlns:a16="http://schemas.microsoft.com/office/drawing/2014/main" id="{C2B4688C-BDE5-42D1-8B89-4A2301AC8CB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20" name="Groep 167">
                  <a:extLst>
                    <a:ext uri="{FF2B5EF4-FFF2-40B4-BE49-F238E27FC236}">
                      <a16:creationId xmlns:a16="http://schemas.microsoft.com/office/drawing/2014/main" id="{D52C410B-8B34-4FA6-BF77-63EB359B0C38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21" name="Rechthoek 168">
                    <a:extLst>
                      <a:ext uri="{FF2B5EF4-FFF2-40B4-BE49-F238E27FC236}">
                        <a16:creationId xmlns:a16="http://schemas.microsoft.com/office/drawing/2014/main" id="{D36549A7-0C35-4226-A84B-01396765238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22" name="Pijl: punthaak 169">
                    <a:extLst>
                      <a:ext uri="{FF2B5EF4-FFF2-40B4-BE49-F238E27FC236}">
                        <a16:creationId xmlns:a16="http://schemas.microsoft.com/office/drawing/2014/main" id="{A14BBA7E-5CFD-4DF3-BF01-3E874BB67F9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91" name="Rechte verbindingslijn 136">
                <a:extLst>
                  <a:ext uri="{FF2B5EF4-FFF2-40B4-BE49-F238E27FC236}">
                    <a16:creationId xmlns:a16="http://schemas.microsoft.com/office/drawing/2014/main" id="{4B1B2E33-BF7F-4EEC-B96B-0E17879752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92" name="Rechte verbindingslijn 137">
                <a:extLst>
                  <a:ext uri="{FF2B5EF4-FFF2-40B4-BE49-F238E27FC236}">
                    <a16:creationId xmlns:a16="http://schemas.microsoft.com/office/drawing/2014/main" id="{0D92B8CF-B343-45CD-89D3-5D51D0F2446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93" name="Groep 138">
                <a:extLst>
                  <a:ext uri="{FF2B5EF4-FFF2-40B4-BE49-F238E27FC236}">
                    <a16:creationId xmlns:a16="http://schemas.microsoft.com/office/drawing/2014/main" id="{74D5AAE5-B6F5-4376-A410-133105F88F82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08" name="Rechthoek 155">
                  <a:extLst>
                    <a:ext uri="{FF2B5EF4-FFF2-40B4-BE49-F238E27FC236}">
                      <a16:creationId xmlns:a16="http://schemas.microsoft.com/office/drawing/2014/main" id="{2D36C82B-4D15-41ED-BBC2-2A6364E2A10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09" name="Groep 156">
                  <a:extLst>
                    <a:ext uri="{FF2B5EF4-FFF2-40B4-BE49-F238E27FC236}">
                      <a16:creationId xmlns:a16="http://schemas.microsoft.com/office/drawing/2014/main" id="{3D1C3FFD-BFEF-4D75-A980-D84DCF889C0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10" name="Groep 157">
                    <a:extLst>
                      <a:ext uri="{FF2B5EF4-FFF2-40B4-BE49-F238E27FC236}">
                        <a16:creationId xmlns:a16="http://schemas.microsoft.com/office/drawing/2014/main" id="{7DCA84F5-3106-409F-903D-F0A920BB85C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14" name="Rechte verbindingslijn 161">
                      <a:extLst>
                        <a:ext uri="{FF2B5EF4-FFF2-40B4-BE49-F238E27FC236}">
                          <a16:creationId xmlns:a16="http://schemas.microsoft.com/office/drawing/2014/main" id="{504B250A-971C-4E4D-8870-73794C3093F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15" name="Rechte verbindingslijn 162">
                      <a:extLst>
                        <a:ext uri="{FF2B5EF4-FFF2-40B4-BE49-F238E27FC236}">
                          <a16:creationId xmlns:a16="http://schemas.microsoft.com/office/drawing/2014/main" id="{D81D121E-61BB-43EF-8463-86E1B47ED6E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16" name="Rechte verbindingslijn 163">
                      <a:extLst>
                        <a:ext uri="{FF2B5EF4-FFF2-40B4-BE49-F238E27FC236}">
                          <a16:creationId xmlns:a16="http://schemas.microsoft.com/office/drawing/2014/main" id="{D570ABC2-7B44-45A9-97DD-BA0996A9EAB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17" name="Rechte verbindingslijn 164">
                      <a:extLst>
                        <a:ext uri="{FF2B5EF4-FFF2-40B4-BE49-F238E27FC236}">
                          <a16:creationId xmlns:a16="http://schemas.microsoft.com/office/drawing/2014/main" id="{F34E07C9-EA9F-4D6A-9E85-7AA72F6ED4F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18" name="Rechte verbindingslijn 165">
                      <a:extLst>
                        <a:ext uri="{FF2B5EF4-FFF2-40B4-BE49-F238E27FC236}">
                          <a16:creationId xmlns:a16="http://schemas.microsoft.com/office/drawing/2014/main" id="{D273A663-9681-4A43-90E1-73BBE6FCC34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11" name="Groep 158">
                    <a:extLst>
                      <a:ext uri="{FF2B5EF4-FFF2-40B4-BE49-F238E27FC236}">
                        <a16:creationId xmlns:a16="http://schemas.microsoft.com/office/drawing/2014/main" id="{7EE673A5-2FC3-4498-9B5B-4CE47F62CA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12" name="Rechthoek 159">
                      <a:extLst>
                        <a:ext uri="{FF2B5EF4-FFF2-40B4-BE49-F238E27FC236}">
                          <a16:creationId xmlns:a16="http://schemas.microsoft.com/office/drawing/2014/main" id="{6E328675-3F18-45C1-ACEB-51CB6C5583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13" name="Pijl: punthaak 160">
                      <a:extLst>
                        <a:ext uri="{FF2B5EF4-FFF2-40B4-BE49-F238E27FC236}">
                          <a16:creationId xmlns:a16="http://schemas.microsoft.com/office/drawing/2014/main" id="{39C8C05C-D314-4B55-B63B-73FEA3BA398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94" name="Groep 139">
                <a:extLst>
                  <a:ext uri="{FF2B5EF4-FFF2-40B4-BE49-F238E27FC236}">
                    <a16:creationId xmlns:a16="http://schemas.microsoft.com/office/drawing/2014/main" id="{ACE6E3A3-7D2D-40D7-82A9-A99F5F52FD61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97" name="Rechthoek 142">
                  <a:extLst>
                    <a:ext uri="{FF2B5EF4-FFF2-40B4-BE49-F238E27FC236}">
                      <a16:creationId xmlns:a16="http://schemas.microsoft.com/office/drawing/2014/main" id="{6865F25F-7BC9-49F3-A5BF-19EEAF178EE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98" name="Groep 143">
                  <a:extLst>
                    <a:ext uri="{FF2B5EF4-FFF2-40B4-BE49-F238E27FC236}">
                      <a16:creationId xmlns:a16="http://schemas.microsoft.com/office/drawing/2014/main" id="{B03AEB2F-8C18-4473-A080-67CF8665523B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99" name="Groep 144">
                    <a:extLst>
                      <a:ext uri="{FF2B5EF4-FFF2-40B4-BE49-F238E27FC236}">
                        <a16:creationId xmlns:a16="http://schemas.microsoft.com/office/drawing/2014/main" id="{800277B1-44E7-44AA-B7A5-1E56A45968B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03" name="Rechte verbindingslijn 150">
                      <a:extLst>
                        <a:ext uri="{FF2B5EF4-FFF2-40B4-BE49-F238E27FC236}">
                          <a16:creationId xmlns:a16="http://schemas.microsoft.com/office/drawing/2014/main" id="{23496289-7EAF-413D-89FC-B83F32DAB1E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4" name="Rechte verbindingslijn 151">
                      <a:extLst>
                        <a:ext uri="{FF2B5EF4-FFF2-40B4-BE49-F238E27FC236}">
                          <a16:creationId xmlns:a16="http://schemas.microsoft.com/office/drawing/2014/main" id="{1389E0CD-2D67-4F2F-B340-3E596BCF048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5" name="Rechte verbindingslijn 152">
                      <a:extLst>
                        <a:ext uri="{FF2B5EF4-FFF2-40B4-BE49-F238E27FC236}">
                          <a16:creationId xmlns:a16="http://schemas.microsoft.com/office/drawing/2014/main" id="{CD7D94CC-9D52-40FB-B902-642E41391D2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6" name="Rechte verbindingslijn 153">
                      <a:extLst>
                        <a:ext uri="{FF2B5EF4-FFF2-40B4-BE49-F238E27FC236}">
                          <a16:creationId xmlns:a16="http://schemas.microsoft.com/office/drawing/2014/main" id="{2C919970-1422-40B1-B7EC-0761913B368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07" name="Rechte verbindingslijn 154">
                      <a:extLst>
                        <a:ext uri="{FF2B5EF4-FFF2-40B4-BE49-F238E27FC236}">
                          <a16:creationId xmlns:a16="http://schemas.microsoft.com/office/drawing/2014/main" id="{A297A80B-847C-4411-AF8B-D8CB7AB1C80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00" name="Groep 147">
                    <a:extLst>
                      <a:ext uri="{FF2B5EF4-FFF2-40B4-BE49-F238E27FC236}">
                        <a16:creationId xmlns:a16="http://schemas.microsoft.com/office/drawing/2014/main" id="{0534B01F-59A0-4609-BE61-E17E7F6B01A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01" name="Rechthoek 148">
                      <a:extLst>
                        <a:ext uri="{FF2B5EF4-FFF2-40B4-BE49-F238E27FC236}">
                          <a16:creationId xmlns:a16="http://schemas.microsoft.com/office/drawing/2014/main" id="{8A826474-1F20-453B-ACCF-31C11B7DFAA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2" name="Pijl: punthaak 149">
                      <a:extLst>
                        <a:ext uri="{FF2B5EF4-FFF2-40B4-BE49-F238E27FC236}">
                          <a16:creationId xmlns:a16="http://schemas.microsoft.com/office/drawing/2014/main" id="{B6F09AC9-9599-4102-9C26-104E31B18398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95" name="Rechthoek 140">
                <a:extLst>
                  <a:ext uri="{FF2B5EF4-FFF2-40B4-BE49-F238E27FC236}">
                    <a16:creationId xmlns:a16="http://schemas.microsoft.com/office/drawing/2014/main" id="{4471D6F0-E944-4471-9D6B-287F00F1422A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96" name="Rechthoek 141">
                <a:extLst>
                  <a:ext uri="{FF2B5EF4-FFF2-40B4-BE49-F238E27FC236}">
                    <a16:creationId xmlns:a16="http://schemas.microsoft.com/office/drawing/2014/main" id="{DE151E76-5636-4227-8FA2-A1A570A6E735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61" name="Rechte verbindingslijn 106">
              <a:extLst>
                <a:ext uri="{FF2B5EF4-FFF2-40B4-BE49-F238E27FC236}">
                  <a16:creationId xmlns:a16="http://schemas.microsoft.com/office/drawing/2014/main" id="{508F624B-421E-4D3D-9896-1F9D83DBC91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62" name="Rechthoek 107">
              <a:extLst>
                <a:ext uri="{FF2B5EF4-FFF2-40B4-BE49-F238E27FC236}">
                  <a16:creationId xmlns:a16="http://schemas.microsoft.com/office/drawing/2014/main" id="{BC36AB0E-7EE0-4671-A263-301FC979D0EC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63" name="Ovaal 108">
              <a:extLst>
                <a:ext uri="{FF2B5EF4-FFF2-40B4-BE49-F238E27FC236}">
                  <a16:creationId xmlns:a16="http://schemas.microsoft.com/office/drawing/2014/main" id="{5B98D948-9ABC-4964-81CA-9A17AA10B300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64" name="Rechthoek 109">
              <a:extLst>
                <a:ext uri="{FF2B5EF4-FFF2-40B4-BE49-F238E27FC236}">
                  <a16:creationId xmlns:a16="http://schemas.microsoft.com/office/drawing/2014/main" id="{577D5868-7C9B-4E25-B1D7-EA6FEF97EBE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65" name="Ovaal 110">
              <a:extLst>
                <a:ext uri="{FF2B5EF4-FFF2-40B4-BE49-F238E27FC236}">
                  <a16:creationId xmlns:a16="http://schemas.microsoft.com/office/drawing/2014/main" id="{CD9CFDF3-365E-44E2-BE31-A4460983B826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66" name="Rechthoek 111">
              <a:extLst>
                <a:ext uri="{FF2B5EF4-FFF2-40B4-BE49-F238E27FC236}">
                  <a16:creationId xmlns:a16="http://schemas.microsoft.com/office/drawing/2014/main" id="{0ED96630-D614-4315-ADE6-74ACF1BC149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67" name="Ovaal 112">
              <a:extLst>
                <a:ext uri="{FF2B5EF4-FFF2-40B4-BE49-F238E27FC236}">
                  <a16:creationId xmlns:a16="http://schemas.microsoft.com/office/drawing/2014/main" id="{AEBEFB1B-DBFD-4B2F-9F55-60ABEBACF993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68" name="Rechthoek 113">
              <a:extLst>
                <a:ext uri="{FF2B5EF4-FFF2-40B4-BE49-F238E27FC236}">
                  <a16:creationId xmlns:a16="http://schemas.microsoft.com/office/drawing/2014/main" id="{B1756332-2CB5-4FEB-B69E-ED3F3B748909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69" name="Ovaal 114">
              <a:extLst>
                <a:ext uri="{FF2B5EF4-FFF2-40B4-BE49-F238E27FC236}">
                  <a16:creationId xmlns:a16="http://schemas.microsoft.com/office/drawing/2014/main" id="{682E0D15-6D5E-42B9-BDAE-C1FA036D02D0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70" name="Rechthoek 115">
              <a:extLst>
                <a:ext uri="{FF2B5EF4-FFF2-40B4-BE49-F238E27FC236}">
                  <a16:creationId xmlns:a16="http://schemas.microsoft.com/office/drawing/2014/main" id="{E6702AD8-7BA1-4B14-91A3-A6097EC40CC3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71" name="Rechte verbindingslijn 116">
              <a:extLst>
                <a:ext uri="{FF2B5EF4-FFF2-40B4-BE49-F238E27FC236}">
                  <a16:creationId xmlns:a16="http://schemas.microsoft.com/office/drawing/2014/main" id="{8F2B8678-6E3C-4988-B2F0-3F9A81ED0B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72" name="Meer informatie">
              <a:extLst>
                <a:ext uri="{FF2B5EF4-FFF2-40B4-BE49-F238E27FC236}">
                  <a16:creationId xmlns:a16="http://schemas.microsoft.com/office/drawing/2014/main" id="{22415663-4564-4CAA-9C80-25A86A0FA9F6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82" name="Freeform 101">
                <a:extLst>
                  <a:ext uri="{FF2B5EF4-FFF2-40B4-BE49-F238E27FC236}">
                    <a16:creationId xmlns:a16="http://schemas.microsoft.com/office/drawing/2014/main" id="{86CBE978-7A27-4139-927B-2196A01054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83" name="Rechthoek 128">
                <a:extLst>
                  <a:ext uri="{FF2B5EF4-FFF2-40B4-BE49-F238E27FC236}">
                    <a16:creationId xmlns:a16="http://schemas.microsoft.com/office/drawing/2014/main" id="{00D54B3E-70D6-4045-9366-81395E5FC684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84" name="Rechte verbindingslijn 129">
                <a:extLst>
                  <a:ext uri="{FF2B5EF4-FFF2-40B4-BE49-F238E27FC236}">
                    <a16:creationId xmlns:a16="http://schemas.microsoft.com/office/drawing/2014/main" id="{67E8CD67-AFDA-4DE3-91A6-686326BB4AD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73" name="Rechthoek 118">
              <a:extLst>
                <a:ext uri="{FF2B5EF4-FFF2-40B4-BE49-F238E27FC236}">
                  <a16:creationId xmlns:a16="http://schemas.microsoft.com/office/drawing/2014/main" id="{B24C4619-CB64-40EC-AB2A-9286FAE49061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74" name="Ovaal 119">
              <a:extLst>
                <a:ext uri="{FF2B5EF4-FFF2-40B4-BE49-F238E27FC236}">
                  <a16:creationId xmlns:a16="http://schemas.microsoft.com/office/drawing/2014/main" id="{529B5E54-B1C8-40AA-8F75-8BE43203321B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75" name="Rechthoek 120">
              <a:extLst>
                <a:ext uri="{FF2B5EF4-FFF2-40B4-BE49-F238E27FC236}">
                  <a16:creationId xmlns:a16="http://schemas.microsoft.com/office/drawing/2014/main" id="{F1A27840-C9C1-46EC-A99D-D2655C5E5074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76" name="Ovaal 121">
              <a:extLst>
                <a:ext uri="{FF2B5EF4-FFF2-40B4-BE49-F238E27FC236}">
                  <a16:creationId xmlns:a16="http://schemas.microsoft.com/office/drawing/2014/main" id="{7CF30C22-57E4-40FA-B7E9-35CE66C5CC7E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77" name="Rechthoek 122">
              <a:extLst>
                <a:ext uri="{FF2B5EF4-FFF2-40B4-BE49-F238E27FC236}">
                  <a16:creationId xmlns:a16="http://schemas.microsoft.com/office/drawing/2014/main" id="{76BBA366-5089-4662-94BD-6333C8A43CB9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78" name="Ovaal 123">
              <a:extLst>
                <a:ext uri="{FF2B5EF4-FFF2-40B4-BE49-F238E27FC236}">
                  <a16:creationId xmlns:a16="http://schemas.microsoft.com/office/drawing/2014/main" id="{7209C35B-1477-433B-8787-AC8C65833602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79" name="Rechthoek 124">
              <a:extLst>
                <a:ext uri="{FF2B5EF4-FFF2-40B4-BE49-F238E27FC236}">
                  <a16:creationId xmlns:a16="http://schemas.microsoft.com/office/drawing/2014/main" id="{7E11705F-BE32-40EE-807B-EE55642F1BED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0" name="Rechthoek 125">
              <a:extLst>
                <a:ext uri="{FF2B5EF4-FFF2-40B4-BE49-F238E27FC236}">
                  <a16:creationId xmlns:a16="http://schemas.microsoft.com/office/drawing/2014/main" id="{43C05CBA-CAC3-4EF0-97AA-DDE2A2C06CB1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81" name="Ovaal 126">
              <a:extLst>
                <a:ext uri="{FF2B5EF4-FFF2-40B4-BE49-F238E27FC236}">
                  <a16:creationId xmlns:a16="http://schemas.microsoft.com/office/drawing/2014/main" id="{72AB5AB0-4EB7-4D44-8A18-BB13EE6E97B7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26546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rnpunten + Iconen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Tijdelijke aanduiding voor tekst 3">
            <a:extLst>
              <a:ext uri="{FF2B5EF4-FFF2-40B4-BE49-F238E27FC236}">
                <a16:creationId xmlns:a16="http://schemas.microsoft.com/office/drawing/2014/main" id="{60C96555-1A50-4EF0-87CB-9ACB58C9E0F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9207348" y="18619120"/>
            <a:ext cx="11802765" cy="7631866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18278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17319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176436" y="0"/>
                </a:lnTo>
                <a:cubicBezTo>
                  <a:pt x="33295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354914" y="2982912"/>
                  <a:pt x="3201836" y="2982912"/>
                </a:cubicBezTo>
                <a:lnTo>
                  <a:pt x="173193" y="2982912"/>
                </a:lnTo>
                <a:cubicBezTo>
                  <a:pt x="2011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>
              <a:spcAft>
                <a:spcPts val="0"/>
              </a:spcAft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defRPr sz="4209">
                <a:solidFill>
                  <a:schemeClr val="bg1"/>
                </a:solidFill>
              </a:defRPr>
            </a:lvl2pPr>
            <a:lvl3pPr marL="0" indent="0"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54" name="Tijdelijke aanduiding voor tekst 3">
            <a:extLst>
              <a:ext uri="{FF2B5EF4-FFF2-40B4-BE49-F238E27FC236}">
                <a16:creationId xmlns:a16="http://schemas.microsoft.com/office/drawing/2014/main" id="{B8B199D0-5FCA-4521-BEA6-F6144A03151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5482243" y="18619120"/>
            <a:ext cx="11802765" cy="7631866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18278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17319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176436" y="0"/>
                </a:lnTo>
                <a:cubicBezTo>
                  <a:pt x="33295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354914" y="2982912"/>
                  <a:pt x="3201836" y="2982912"/>
                </a:cubicBezTo>
                <a:lnTo>
                  <a:pt x="173193" y="2982912"/>
                </a:lnTo>
                <a:cubicBezTo>
                  <a:pt x="2011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defRPr sz="4209">
                <a:solidFill>
                  <a:schemeClr val="bg1"/>
                </a:solidFill>
              </a:defRPr>
            </a:lvl2pPr>
            <a:lvl3pPr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53" name="Tijdelijke aanduiding voor tekst 3">
            <a:extLst>
              <a:ext uri="{FF2B5EF4-FFF2-40B4-BE49-F238E27FC236}">
                <a16:creationId xmlns:a16="http://schemas.microsoft.com/office/drawing/2014/main" id="{BC18145F-6353-4193-8C5D-F21499B241C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757139" y="18619120"/>
            <a:ext cx="11802765" cy="7631866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18278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17319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176436" y="0"/>
                </a:lnTo>
                <a:cubicBezTo>
                  <a:pt x="33295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354914" y="2982912"/>
                  <a:pt x="3201836" y="2982912"/>
                </a:cubicBezTo>
                <a:lnTo>
                  <a:pt x="173193" y="2982912"/>
                </a:lnTo>
                <a:cubicBezTo>
                  <a:pt x="2011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defRPr sz="4209">
                <a:solidFill>
                  <a:schemeClr val="bg1"/>
                </a:solidFill>
              </a:defRPr>
            </a:lvl2pPr>
            <a:lvl3pPr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52" name="Tijdelijke aanduiding voor tekst 3">
            <a:extLst>
              <a:ext uri="{FF2B5EF4-FFF2-40B4-BE49-F238E27FC236}">
                <a16:creationId xmlns:a16="http://schemas.microsoft.com/office/drawing/2014/main" id="{74701542-138A-4340-8C2F-BB14933495A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9207348" y="7970563"/>
            <a:ext cx="11802765" cy="7631866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18278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17319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176436" y="0"/>
                </a:lnTo>
                <a:cubicBezTo>
                  <a:pt x="33295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354914" y="2982912"/>
                  <a:pt x="3201836" y="2982912"/>
                </a:cubicBezTo>
                <a:lnTo>
                  <a:pt x="173193" y="2982912"/>
                </a:lnTo>
                <a:cubicBezTo>
                  <a:pt x="2011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defRPr sz="4209">
                <a:solidFill>
                  <a:schemeClr val="bg1"/>
                </a:solidFill>
              </a:defRPr>
            </a:lvl2pPr>
            <a:lvl3pPr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37" name="Tijdelijke aanduiding voor tekst 3">
            <a:extLst>
              <a:ext uri="{FF2B5EF4-FFF2-40B4-BE49-F238E27FC236}">
                <a16:creationId xmlns:a16="http://schemas.microsoft.com/office/drawing/2014/main" id="{392E85A5-D697-48B7-A85B-E3E96885C72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5482243" y="7970563"/>
            <a:ext cx="11802765" cy="7631866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18278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17319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176436" y="0"/>
                </a:lnTo>
                <a:cubicBezTo>
                  <a:pt x="33295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354914" y="2982912"/>
                  <a:pt x="3201836" y="2982912"/>
                </a:cubicBezTo>
                <a:lnTo>
                  <a:pt x="173193" y="2982912"/>
                </a:lnTo>
                <a:cubicBezTo>
                  <a:pt x="2011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defRPr sz="4209">
                <a:solidFill>
                  <a:schemeClr val="bg1"/>
                </a:solidFill>
              </a:defRPr>
            </a:lvl2pPr>
            <a:lvl3pPr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err="1"/>
              <a:t>Koptitel</a:t>
            </a:r>
            <a:endParaRPr lang="en-US" noProof="0"/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err="1"/>
              <a:t>Ondertitel</a:t>
            </a:r>
            <a:endParaRPr lang="en-US"/>
          </a:p>
        </p:txBody>
      </p:sp>
      <p:grpSp>
        <p:nvGrpSpPr>
          <p:cNvPr id="38" name="GRID" hidden="1">
            <a:extLst>
              <a:ext uri="{FF2B5EF4-FFF2-40B4-BE49-F238E27FC236}">
                <a16:creationId xmlns:a16="http://schemas.microsoft.com/office/drawing/2014/main" id="{51D5F7E8-69F8-47AD-81F5-1645C97607C1}"/>
              </a:ext>
            </a:extLst>
          </p:cNvPr>
          <p:cNvGrpSpPr/>
          <p:nvPr userDrawn="1"/>
        </p:nvGrpSpPr>
        <p:grpSpPr>
          <a:xfrm>
            <a:off x="5" y="0"/>
            <a:ext cx="42767261" cy="30275213"/>
            <a:chOff x="0" y="0"/>
            <a:chExt cx="12192003" cy="6858000"/>
          </a:xfrm>
        </p:grpSpPr>
        <p:sp>
          <p:nvSpPr>
            <p:cNvPr id="39" name="Rechthoek 38">
              <a:extLst>
                <a:ext uri="{FF2B5EF4-FFF2-40B4-BE49-F238E27FC236}">
                  <a16:creationId xmlns:a16="http://schemas.microsoft.com/office/drawing/2014/main" id="{71DB2C92-E6A8-4532-98F6-C917E7F5CD17}"/>
                </a:ext>
              </a:extLst>
            </p:cNvPr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0" name="Rechthoek 39">
              <a:extLst>
                <a:ext uri="{FF2B5EF4-FFF2-40B4-BE49-F238E27FC236}">
                  <a16:creationId xmlns:a16="http://schemas.microsoft.com/office/drawing/2014/main" id="{1283F161-5F8A-45E1-A9F2-F823FC1CB0A5}"/>
                </a:ext>
              </a:extLst>
            </p:cNvPr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1" name="Rechthoek 40">
              <a:extLst>
                <a:ext uri="{FF2B5EF4-FFF2-40B4-BE49-F238E27FC236}">
                  <a16:creationId xmlns:a16="http://schemas.microsoft.com/office/drawing/2014/main" id="{E25AE021-76F4-4113-9019-FB3CB3351AD2}"/>
                </a:ext>
              </a:extLst>
            </p:cNvPr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2" name="Rechthoek 41">
              <a:extLst>
                <a:ext uri="{FF2B5EF4-FFF2-40B4-BE49-F238E27FC236}">
                  <a16:creationId xmlns:a16="http://schemas.microsoft.com/office/drawing/2014/main" id="{4F56F574-960D-4395-B98C-5F49ED9EF418}"/>
                </a:ext>
              </a:extLst>
            </p:cNvPr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34E307D0-CCA0-4BDF-BC5F-E19838E9F7DA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4" name="Rechthoek 43">
              <a:extLst>
                <a:ext uri="{FF2B5EF4-FFF2-40B4-BE49-F238E27FC236}">
                  <a16:creationId xmlns:a16="http://schemas.microsoft.com/office/drawing/2014/main" id="{2AEE0B25-FBCC-4048-A2C0-6D97C3E7FEB7}"/>
                </a:ext>
              </a:extLst>
            </p:cNvPr>
            <p:cNvSpPr/>
            <p:nvPr userDrawn="1"/>
          </p:nvSpPr>
          <p:spPr>
            <a:xfrm rot="5400000">
              <a:off x="5895976" y="-108104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8"/>
            <a:ext cx="707315" cy="1016405"/>
          </a:xfrm>
        </p:spPr>
        <p:txBody>
          <a:bodyPr/>
          <a:lstStyle/>
          <a:p>
            <a:fld id="{55B2A88A-B7BD-41B1-9FCB-9BE633251ACA}" type="slidenum">
              <a:rPr lang="en-US" noProof="0" smtClean="0"/>
              <a:t>‹nr.›</a:t>
            </a:fld>
            <a:endParaRPr lang="en-US" noProof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9B18BDE9-18FD-4C97-9F64-E73C2C770EF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57139" y="7970563"/>
            <a:ext cx="11802765" cy="7631866"/>
          </a:xfrm>
          <a:custGeom>
            <a:avLst/>
            <a:gdLst>
              <a:gd name="connsiteX0" fmla="*/ 0 w 3360737"/>
              <a:gd name="connsiteY0" fmla="*/ 277172 h 2982912"/>
              <a:gd name="connsiteX1" fmla="*/ 277172 w 3360737"/>
              <a:gd name="connsiteY1" fmla="*/ 0 h 2982912"/>
              <a:gd name="connsiteX2" fmla="*/ 3083565 w 3360737"/>
              <a:gd name="connsiteY2" fmla="*/ 0 h 2982912"/>
              <a:gd name="connsiteX3" fmla="*/ 3360737 w 3360737"/>
              <a:gd name="connsiteY3" fmla="*/ 277172 h 2982912"/>
              <a:gd name="connsiteX4" fmla="*/ 3360737 w 3360737"/>
              <a:gd name="connsiteY4" fmla="*/ 2705740 h 2982912"/>
              <a:gd name="connsiteX5" fmla="*/ 3083565 w 3360737"/>
              <a:gd name="connsiteY5" fmla="*/ 2982912 h 2982912"/>
              <a:gd name="connsiteX6" fmla="*/ 277172 w 3360737"/>
              <a:gd name="connsiteY6" fmla="*/ 2982912 h 2982912"/>
              <a:gd name="connsiteX7" fmla="*/ 0 w 3360737"/>
              <a:gd name="connsiteY7" fmla="*/ 2705740 h 2982912"/>
              <a:gd name="connsiteX8" fmla="*/ 0 w 3360737"/>
              <a:gd name="connsiteY8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0 w 3360737"/>
              <a:gd name="connsiteY0" fmla="*/ 277172 h 2982912"/>
              <a:gd name="connsiteX1" fmla="*/ 110331 w 3360737"/>
              <a:gd name="connsiteY1" fmla="*/ 48418 h 2982912"/>
              <a:gd name="connsiteX2" fmla="*/ 277172 w 3360737"/>
              <a:gd name="connsiteY2" fmla="*/ 0 h 2982912"/>
              <a:gd name="connsiteX3" fmla="*/ 3083565 w 3360737"/>
              <a:gd name="connsiteY3" fmla="*/ 0 h 2982912"/>
              <a:gd name="connsiteX4" fmla="*/ 3360737 w 3360737"/>
              <a:gd name="connsiteY4" fmla="*/ 277172 h 2982912"/>
              <a:gd name="connsiteX5" fmla="*/ 3360737 w 3360737"/>
              <a:gd name="connsiteY5" fmla="*/ 2705740 h 2982912"/>
              <a:gd name="connsiteX6" fmla="*/ 3083565 w 3360737"/>
              <a:gd name="connsiteY6" fmla="*/ 2982912 h 2982912"/>
              <a:gd name="connsiteX7" fmla="*/ 277172 w 3360737"/>
              <a:gd name="connsiteY7" fmla="*/ 2982912 h 2982912"/>
              <a:gd name="connsiteX8" fmla="*/ 0 w 3360737"/>
              <a:gd name="connsiteY8" fmla="*/ 2705740 h 2982912"/>
              <a:gd name="connsiteX9" fmla="*/ 0 w 3360737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5 w 3360742"/>
              <a:gd name="connsiteY0" fmla="*/ 277172 h 2982912"/>
              <a:gd name="connsiteX1" fmla="*/ 110336 w 3360742"/>
              <a:gd name="connsiteY1" fmla="*/ 48418 h 2982912"/>
              <a:gd name="connsiteX2" fmla="*/ 277177 w 3360742"/>
              <a:gd name="connsiteY2" fmla="*/ 0 h 2982912"/>
              <a:gd name="connsiteX3" fmla="*/ 3083570 w 3360742"/>
              <a:gd name="connsiteY3" fmla="*/ 0 h 2982912"/>
              <a:gd name="connsiteX4" fmla="*/ 3360742 w 3360742"/>
              <a:gd name="connsiteY4" fmla="*/ 277172 h 2982912"/>
              <a:gd name="connsiteX5" fmla="*/ 3360742 w 3360742"/>
              <a:gd name="connsiteY5" fmla="*/ 2705740 h 2982912"/>
              <a:gd name="connsiteX6" fmla="*/ 3083570 w 3360742"/>
              <a:gd name="connsiteY6" fmla="*/ 2982912 h 2982912"/>
              <a:gd name="connsiteX7" fmla="*/ 277177 w 3360742"/>
              <a:gd name="connsiteY7" fmla="*/ 2982912 h 2982912"/>
              <a:gd name="connsiteX8" fmla="*/ 5 w 3360742"/>
              <a:gd name="connsiteY8" fmla="*/ 2705740 h 2982912"/>
              <a:gd name="connsiteX9" fmla="*/ 5 w 3360742"/>
              <a:gd name="connsiteY9" fmla="*/ 277172 h 2982912"/>
              <a:gd name="connsiteX0" fmla="*/ 698 w 3361435"/>
              <a:gd name="connsiteY0" fmla="*/ 277172 h 2982912"/>
              <a:gd name="connsiteX1" fmla="*/ 39591 w 3361435"/>
              <a:gd name="connsiteY1" fmla="*/ 12699 h 2982912"/>
              <a:gd name="connsiteX2" fmla="*/ 277870 w 3361435"/>
              <a:gd name="connsiteY2" fmla="*/ 0 h 2982912"/>
              <a:gd name="connsiteX3" fmla="*/ 3084263 w 3361435"/>
              <a:gd name="connsiteY3" fmla="*/ 0 h 2982912"/>
              <a:gd name="connsiteX4" fmla="*/ 3361435 w 3361435"/>
              <a:gd name="connsiteY4" fmla="*/ 277172 h 2982912"/>
              <a:gd name="connsiteX5" fmla="*/ 3361435 w 3361435"/>
              <a:gd name="connsiteY5" fmla="*/ 2705740 h 2982912"/>
              <a:gd name="connsiteX6" fmla="*/ 3084263 w 3361435"/>
              <a:gd name="connsiteY6" fmla="*/ 2982912 h 2982912"/>
              <a:gd name="connsiteX7" fmla="*/ 277870 w 3361435"/>
              <a:gd name="connsiteY7" fmla="*/ 2982912 h 2982912"/>
              <a:gd name="connsiteX8" fmla="*/ 698 w 3361435"/>
              <a:gd name="connsiteY8" fmla="*/ 2705740 h 2982912"/>
              <a:gd name="connsiteX9" fmla="*/ 698 w 3361435"/>
              <a:gd name="connsiteY9" fmla="*/ 277172 h 2982912"/>
              <a:gd name="connsiteX0" fmla="*/ 8 w 3360745"/>
              <a:gd name="connsiteY0" fmla="*/ 277172 h 2982912"/>
              <a:gd name="connsiteX1" fmla="*/ 38901 w 3360745"/>
              <a:gd name="connsiteY1" fmla="*/ 12699 h 2982912"/>
              <a:gd name="connsiteX2" fmla="*/ 277180 w 3360745"/>
              <a:gd name="connsiteY2" fmla="*/ 0 h 2982912"/>
              <a:gd name="connsiteX3" fmla="*/ 3083573 w 3360745"/>
              <a:gd name="connsiteY3" fmla="*/ 0 h 2982912"/>
              <a:gd name="connsiteX4" fmla="*/ 3360745 w 3360745"/>
              <a:gd name="connsiteY4" fmla="*/ 277172 h 2982912"/>
              <a:gd name="connsiteX5" fmla="*/ 3360745 w 3360745"/>
              <a:gd name="connsiteY5" fmla="*/ 2705740 h 2982912"/>
              <a:gd name="connsiteX6" fmla="*/ 3083573 w 3360745"/>
              <a:gd name="connsiteY6" fmla="*/ 2982912 h 2982912"/>
              <a:gd name="connsiteX7" fmla="*/ 277180 w 3360745"/>
              <a:gd name="connsiteY7" fmla="*/ 2982912 h 2982912"/>
              <a:gd name="connsiteX8" fmla="*/ 8 w 3360745"/>
              <a:gd name="connsiteY8" fmla="*/ 2705740 h 2982912"/>
              <a:gd name="connsiteX9" fmla="*/ 8 w 3360745"/>
              <a:gd name="connsiteY9" fmla="*/ 277172 h 2982912"/>
              <a:gd name="connsiteX0" fmla="*/ 4 w 3360741"/>
              <a:gd name="connsiteY0" fmla="*/ 312116 h 3017856"/>
              <a:gd name="connsiteX1" fmla="*/ 96047 w 3360741"/>
              <a:gd name="connsiteY1" fmla="*/ 18 h 3017856"/>
              <a:gd name="connsiteX2" fmla="*/ 277176 w 3360741"/>
              <a:gd name="connsiteY2" fmla="*/ 34944 h 3017856"/>
              <a:gd name="connsiteX3" fmla="*/ 3083569 w 3360741"/>
              <a:gd name="connsiteY3" fmla="*/ 34944 h 3017856"/>
              <a:gd name="connsiteX4" fmla="*/ 3360741 w 3360741"/>
              <a:gd name="connsiteY4" fmla="*/ 312116 h 3017856"/>
              <a:gd name="connsiteX5" fmla="*/ 3360741 w 3360741"/>
              <a:gd name="connsiteY5" fmla="*/ 2740684 h 3017856"/>
              <a:gd name="connsiteX6" fmla="*/ 3083569 w 3360741"/>
              <a:gd name="connsiteY6" fmla="*/ 3017856 h 3017856"/>
              <a:gd name="connsiteX7" fmla="*/ 277176 w 3360741"/>
              <a:gd name="connsiteY7" fmla="*/ 3017856 h 3017856"/>
              <a:gd name="connsiteX8" fmla="*/ 4 w 3360741"/>
              <a:gd name="connsiteY8" fmla="*/ 2740684 h 3017856"/>
              <a:gd name="connsiteX9" fmla="*/ 4 w 3360741"/>
              <a:gd name="connsiteY9" fmla="*/ 312116 h 3017856"/>
              <a:gd name="connsiteX0" fmla="*/ 1589 w 3362326"/>
              <a:gd name="connsiteY0" fmla="*/ 278928 h 2984668"/>
              <a:gd name="connsiteX1" fmla="*/ 0 w 3362326"/>
              <a:gd name="connsiteY1" fmla="*/ 167 h 2984668"/>
              <a:gd name="connsiteX2" fmla="*/ 278761 w 3362326"/>
              <a:gd name="connsiteY2" fmla="*/ 1756 h 2984668"/>
              <a:gd name="connsiteX3" fmla="*/ 3085154 w 3362326"/>
              <a:gd name="connsiteY3" fmla="*/ 1756 h 2984668"/>
              <a:gd name="connsiteX4" fmla="*/ 3362326 w 3362326"/>
              <a:gd name="connsiteY4" fmla="*/ 278928 h 2984668"/>
              <a:gd name="connsiteX5" fmla="*/ 3362326 w 3362326"/>
              <a:gd name="connsiteY5" fmla="*/ 2707496 h 2984668"/>
              <a:gd name="connsiteX6" fmla="*/ 3085154 w 3362326"/>
              <a:gd name="connsiteY6" fmla="*/ 2984668 h 2984668"/>
              <a:gd name="connsiteX7" fmla="*/ 278761 w 3362326"/>
              <a:gd name="connsiteY7" fmla="*/ 2984668 h 2984668"/>
              <a:gd name="connsiteX8" fmla="*/ 1589 w 3362326"/>
              <a:gd name="connsiteY8" fmla="*/ 2707496 h 2984668"/>
              <a:gd name="connsiteX9" fmla="*/ 1589 w 3362326"/>
              <a:gd name="connsiteY9" fmla="*/ 278928 h 2984668"/>
              <a:gd name="connsiteX0" fmla="*/ 3971 w 3364708"/>
              <a:gd name="connsiteY0" fmla="*/ 278928 h 2984668"/>
              <a:gd name="connsiteX1" fmla="*/ 0 w 3364708"/>
              <a:gd name="connsiteY1" fmla="*/ 167 h 2984668"/>
              <a:gd name="connsiteX2" fmla="*/ 281143 w 3364708"/>
              <a:gd name="connsiteY2" fmla="*/ 1756 h 2984668"/>
              <a:gd name="connsiteX3" fmla="*/ 3087536 w 3364708"/>
              <a:gd name="connsiteY3" fmla="*/ 1756 h 2984668"/>
              <a:gd name="connsiteX4" fmla="*/ 3364708 w 3364708"/>
              <a:gd name="connsiteY4" fmla="*/ 278928 h 2984668"/>
              <a:gd name="connsiteX5" fmla="*/ 3364708 w 3364708"/>
              <a:gd name="connsiteY5" fmla="*/ 2707496 h 2984668"/>
              <a:gd name="connsiteX6" fmla="*/ 3087536 w 3364708"/>
              <a:gd name="connsiteY6" fmla="*/ 2984668 h 2984668"/>
              <a:gd name="connsiteX7" fmla="*/ 281143 w 3364708"/>
              <a:gd name="connsiteY7" fmla="*/ 2984668 h 2984668"/>
              <a:gd name="connsiteX8" fmla="*/ 3971 w 3364708"/>
              <a:gd name="connsiteY8" fmla="*/ 2707496 h 2984668"/>
              <a:gd name="connsiteX9" fmla="*/ 3971 w 3364708"/>
              <a:gd name="connsiteY9" fmla="*/ 278928 h 2984668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1590 w 3362327"/>
              <a:gd name="connsiteY0" fmla="*/ 277172 h 2982912"/>
              <a:gd name="connsiteX1" fmla="*/ 0 w 3362327"/>
              <a:gd name="connsiteY1" fmla="*/ 792 h 2982912"/>
              <a:gd name="connsiteX2" fmla="*/ 278762 w 3362327"/>
              <a:gd name="connsiteY2" fmla="*/ 0 h 2982912"/>
              <a:gd name="connsiteX3" fmla="*/ 3085155 w 3362327"/>
              <a:gd name="connsiteY3" fmla="*/ 0 h 2982912"/>
              <a:gd name="connsiteX4" fmla="*/ 3362327 w 3362327"/>
              <a:gd name="connsiteY4" fmla="*/ 277172 h 2982912"/>
              <a:gd name="connsiteX5" fmla="*/ 3362327 w 3362327"/>
              <a:gd name="connsiteY5" fmla="*/ 2705740 h 2982912"/>
              <a:gd name="connsiteX6" fmla="*/ 3085155 w 3362327"/>
              <a:gd name="connsiteY6" fmla="*/ 2982912 h 2982912"/>
              <a:gd name="connsiteX7" fmla="*/ 278762 w 3362327"/>
              <a:gd name="connsiteY7" fmla="*/ 2982912 h 2982912"/>
              <a:gd name="connsiteX8" fmla="*/ 1590 w 3362327"/>
              <a:gd name="connsiteY8" fmla="*/ 2705740 h 2982912"/>
              <a:gd name="connsiteX9" fmla="*/ 1590 w 3362327"/>
              <a:gd name="connsiteY9" fmla="*/ 277172 h 2982912"/>
              <a:gd name="connsiteX0" fmla="*/ 3971 w 3364708"/>
              <a:gd name="connsiteY0" fmla="*/ 277172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9" fmla="*/ 3971 w 3364708"/>
              <a:gd name="connsiteY9" fmla="*/ 277172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0875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0875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18278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281143 w 3364708"/>
              <a:gd name="connsiteY7" fmla="*/ 2982912 h 2982912"/>
              <a:gd name="connsiteX8" fmla="*/ 3971 w 3364708"/>
              <a:gd name="connsiteY8" fmla="*/ 2705740 h 2982912"/>
              <a:gd name="connsiteX0" fmla="*/ 3971 w 3364708"/>
              <a:gd name="connsiteY0" fmla="*/ 2705740 h 2982912"/>
              <a:gd name="connsiteX1" fmla="*/ 0 w 3364708"/>
              <a:gd name="connsiteY1" fmla="*/ 792 h 2982912"/>
              <a:gd name="connsiteX2" fmla="*/ 281143 w 3364708"/>
              <a:gd name="connsiteY2" fmla="*/ 0 h 2982912"/>
              <a:gd name="connsiteX3" fmla="*/ 3176436 w 3364708"/>
              <a:gd name="connsiteY3" fmla="*/ 0 h 2982912"/>
              <a:gd name="connsiteX4" fmla="*/ 3364708 w 3364708"/>
              <a:gd name="connsiteY4" fmla="*/ 277172 h 2982912"/>
              <a:gd name="connsiteX5" fmla="*/ 3364708 w 3364708"/>
              <a:gd name="connsiteY5" fmla="*/ 2705740 h 2982912"/>
              <a:gd name="connsiteX6" fmla="*/ 3201836 w 3364708"/>
              <a:gd name="connsiteY6" fmla="*/ 2982912 h 2982912"/>
              <a:gd name="connsiteX7" fmla="*/ 173193 w 3364708"/>
              <a:gd name="connsiteY7" fmla="*/ 2982912 h 2982912"/>
              <a:gd name="connsiteX8" fmla="*/ 3971 w 3364708"/>
              <a:gd name="connsiteY8" fmla="*/ 2705740 h 298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64708" h="2982912">
                <a:moveTo>
                  <a:pt x="3971" y="2705740"/>
                </a:moveTo>
                <a:cubicBezTo>
                  <a:pt x="2647" y="1804091"/>
                  <a:pt x="1324" y="902441"/>
                  <a:pt x="0" y="792"/>
                </a:cubicBezTo>
                <a:cubicBezTo>
                  <a:pt x="5714" y="-159"/>
                  <a:pt x="245185" y="926"/>
                  <a:pt x="281143" y="0"/>
                </a:cubicBezTo>
                <a:lnTo>
                  <a:pt x="3176436" y="0"/>
                </a:lnTo>
                <a:cubicBezTo>
                  <a:pt x="3329514" y="0"/>
                  <a:pt x="3364708" y="124094"/>
                  <a:pt x="3364708" y="277172"/>
                </a:cubicBezTo>
                <a:lnTo>
                  <a:pt x="3364708" y="2705740"/>
                </a:lnTo>
                <a:cubicBezTo>
                  <a:pt x="3364708" y="2858818"/>
                  <a:pt x="3354914" y="2982912"/>
                  <a:pt x="3201836" y="2982912"/>
                </a:cubicBezTo>
                <a:lnTo>
                  <a:pt x="173193" y="2982912"/>
                </a:lnTo>
                <a:cubicBezTo>
                  <a:pt x="20115" y="2982912"/>
                  <a:pt x="3971" y="2858818"/>
                  <a:pt x="3971" y="27057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360000" tIns="648000" rIns="360000" bIns="360000"/>
          <a:lstStyle>
            <a:lvl1pPr marL="0" indent="0">
              <a:spcAft>
                <a:spcPts val="0"/>
              </a:spcAft>
              <a:buNone/>
              <a:defRPr sz="4911" b="1">
                <a:solidFill>
                  <a:schemeClr val="bg1"/>
                </a:solidFill>
              </a:defRPr>
            </a:lvl1pPr>
            <a:lvl2pPr marL="0" indent="0">
              <a:buNone/>
              <a:defRPr sz="4209" b="0">
                <a:solidFill>
                  <a:schemeClr val="bg1"/>
                </a:solidFill>
              </a:defRPr>
            </a:lvl2pPr>
            <a:lvl3pPr>
              <a:defRPr sz="4209">
                <a:solidFill>
                  <a:schemeClr val="bg1"/>
                </a:solidFill>
              </a:defRPr>
            </a:lvl3pPr>
            <a:lvl4pPr>
              <a:defRPr sz="4209">
                <a:solidFill>
                  <a:schemeClr val="bg1"/>
                </a:solidFill>
              </a:defRPr>
            </a:lvl4pPr>
            <a:lvl5pPr>
              <a:defRPr sz="4209"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 om tekst in te voegen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id="{3B2874ED-CC7F-4F0C-BB1D-75A9CC43DC3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9699110" y="5850604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48" name="Tijdelijke aanduiding voor tekst 14">
            <a:extLst>
              <a:ext uri="{FF2B5EF4-FFF2-40B4-BE49-F238E27FC236}">
                <a16:creationId xmlns:a16="http://schemas.microsoft.com/office/drawing/2014/main" id="{F1653C5F-83B0-4357-9779-FCA8C005D7E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974001" y="5850604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50" name="Tijdelijke aanduiding voor tekst 14">
            <a:extLst>
              <a:ext uri="{FF2B5EF4-FFF2-40B4-BE49-F238E27FC236}">
                <a16:creationId xmlns:a16="http://schemas.microsoft.com/office/drawing/2014/main" id="{3AA2D7D9-83DC-4599-894C-1EA7D9983FA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424213" y="5850604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0" name="Tijdelijke aanduiding voor tekst 14">
            <a:extLst>
              <a:ext uri="{FF2B5EF4-FFF2-40B4-BE49-F238E27FC236}">
                <a16:creationId xmlns:a16="http://schemas.microsoft.com/office/drawing/2014/main" id="{5F6EF29C-6547-44C1-BD48-1D3581117F6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9699110" y="16499158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2" name="Tijdelijke aanduiding voor tekst 14">
            <a:extLst>
              <a:ext uri="{FF2B5EF4-FFF2-40B4-BE49-F238E27FC236}">
                <a16:creationId xmlns:a16="http://schemas.microsoft.com/office/drawing/2014/main" id="{1A143C27-038F-4761-B827-CC3711286E6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974001" y="16499158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4" name="Tijdelijke aanduiding voor tekst 14">
            <a:extLst>
              <a:ext uri="{FF2B5EF4-FFF2-40B4-BE49-F238E27FC236}">
                <a16:creationId xmlns:a16="http://schemas.microsoft.com/office/drawing/2014/main" id="{0069A324-1E9A-44F6-A036-D73045802C0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424213" y="16499158"/>
            <a:ext cx="3369036" cy="423992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pic>
        <p:nvPicPr>
          <p:cNvPr id="27" name="Afbeelding 26">
            <a:extLst>
              <a:ext uri="{FF2B5EF4-FFF2-40B4-BE49-F238E27FC236}">
                <a16:creationId xmlns:a16="http://schemas.microsoft.com/office/drawing/2014/main" id="{25B00D5A-DF64-4D2B-976E-01DD75975A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  <p:grpSp>
        <p:nvGrpSpPr>
          <p:cNvPr id="28" name="Meer informatie">
            <a:extLst>
              <a:ext uri="{FF2B5EF4-FFF2-40B4-BE49-F238E27FC236}">
                <a16:creationId xmlns:a16="http://schemas.microsoft.com/office/drawing/2014/main" id="{B211D095-6E04-4B6C-8256-FAB55971D7FF}"/>
              </a:ext>
            </a:extLst>
          </p:cNvPr>
          <p:cNvGrpSpPr/>
          <p:nvPr userDrawn="1"/>
        </p:nvGrpSpPr>
        <p:grpSpPr>
          <a:xfrm>
            <a:off x="43487270" y="1774577"/>
            <a:ext cx="11147891" cy="3644433"/>
            <a:chOff x="-3740989" y="3458473"/>
            <a:chExt cx="3178018" cy="825544"/>
          </a:xfrm>
        </p:grpSpPr>
        <p:sp>
          <p:nvSpPr>
            <p:cNvPr id="31" name="Rechthoek 30">
              <a:extLst>
                <a:ext uri="{FF2B5EF4-FFF2-40B4-BE49-F238E27FC236}">
                  <a16:creationId xmlns:a16="http://schemas.microsoft.com/office/drawing/2014/main" id="{60072D39-BEE6-4966-87E8-9075C139E9A2}"/>
                </a:ext>
              </a:extLst>
            </p:cNvPr>
            <p:cNvSpPr/>
            <p:nvPr userDrawn="1"/>
          </p:nvSpPr>
          <p:spPr>
            <a:xfrm>
              <a:off x="-3740989" y="3458473"/>
              <a:ext cx="2863716" cy="5921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conen vind je in de slide bibliotheek.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opieer (Ctrl-c) de icoon uit de bibliotheek en plak (Ctrl-v) deze op de gewenste plek. Iconen zijn aanpasbaar qua kleur en formaat.</a:t>
              </a:r>
            </a:p>
          </p:txBody>
        </p:sp>
        <p:cxnSp>
          <p:nvCxnSpPr>
            <p:cNvPr id="33" name="Rechte verbindingslijn 32">
              <a:extLst>
                <a:ext uri="{FF2B5EF4-FFF2-40B4-BE49-F238E27FC236}">
                  <a16:creationId xmlns:a16="http://schemas.microsoft.com/office/drawing/2014/main" id="{98F35C15-FA78-4FD2-BE90-5C642C2EC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740987" y="4284017"/>
              <a:ext cx="3178016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35" name="Rechthoek 34">
            <a:extLst>
              <a:ext uri="{FF2B5EF4-FFF2-40B4-BE49-F238E27FC236}">
                <a16:creationId xmlns:a16="http://schemas.microsoft.com/office/drawing/2014/main" id="{080C5F42-8A3D-43B3-9E23-117B0328BB36}"/>
              </a:ext>
            </a:extLst>
          </p:cNvPr>
          <p:cNvSpPr/>
          <p:nvPr userDrawn="1"/>
        </p:nvSpPr>
        <p:spPr>
          <a:xfrm>
            <a:off x="43487272" y="5"/>
            <a:ext cx="11147884" cy="84588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defTabSz="3207489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rPr>
              <a:t>ICOON invoegen / veranderen</a:t>
            </a:r>
          </a:p>
        </p:txBody>
      </p:sp>
      <p:cxnSp>
        <p:nvCxnSpPr>
          <p:cNvPr id="36" name="Rechte verbindingslijn 35">
            <a:extLst>
              <a:ext uri="{FF2B5EF4-FFF2-40B4-BE49-F238E27FC236}">
                <a16:creationId xmlns:a16="http://schemas.microsoft.com/office/drawing/2014/main" id="{7C23CC42-5404-4D76-B4D6-55351E684119}"/>
              </a:ext>
            </a:extLst>
          </p:cNvPr>
          <p:cNvCxnSpPr>
            <a:cxnSpLocks/>
          </p:cNvCxnSpPr>
          <p:nvPr userDrawn="1"/>
        </p:nvCxnSpPr>
        <p:spPr>
          <a:xfrm>
            <a:off x="43487269" y="1066718"/>
            <a:ext cx="11147888" cy="0"/>
          </a:xfrm>
          <a:prstGeom prst="line">
            <a:avLst/>
          </a:prstGeom>
          <a:noFill/>
          <a:ln w="3175" cap="flat" cmpd="sng" algn="ctr">
            <a:solidFill>
              <a:schemeClr val="accent1"/>
            </a:solidFill>
            <a:prstDash val="solid"/>
          </a:ln>
          <a:effectLst/>
        </p:spPr>
      </p:cxnSp>
      <p:grpSp>
        <p:nvGrpSpPr>
          <p:cNvPr id="49" name="Instructie">
            <a:extLst>
              <a:ext uri="{FF2B5EF4-FFF2-40B4-BE49-F238E27FC236}">
                <a16:creationId xmlns:a16="http://schemas.microsoft.com/office/drawing/2014/main" id="{84C45357-DFCF-4F76-BC41-34F926A3A9A7}"/>
              </a:ext>
            </a:extLst>
          </p:cNvPr>
          <p:cNvGrpSpPr/>
          <p:nvPr userDrawn="1"/>
        </p:nvGrpSpPr>
        <p:grpSpPr>
          <a:xfrm>
            <a:off x="43506534" y="6474547"/>
            <a:ext cx="11164508" cy="11743958"/>
            <a:chOff x="-3426088" y="4512342"/>
            <a:chExt cx="3182755" cy="2660264"/>
          </a:xfrm>
        </p:grpSpPr>
        <p:sp>
          <p:nvSpPr>
            <p:cNvPr id="51" name="Rechthoek 127">
              <a:extLst>
                <a:ext uri="{FF2B5EF4-FFF2-40B4-BE49-F238E27FC236}">
                  <a16:creationId xmlns:a16="http://schemas.microsoft.com/office/drawing/2014/main" id="{D2E6B0D1-F979-42BF-BC6B-61CB1231C0BB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56" name="Rechte verbindingslijn 128">
              <a:extLst>
                <a:ext uri="{FF2B5EF4-FFF2-40B4-BE49-F238E27FC236}">
                  <a16:creationId xmlns:a16="http://schemas.microsoft.com/office/drawing/2014/main" id="{BAF7CF6F-CE8F-40FE-9458-7A849629B6B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57" name="Rechthoek 130">
              <a:extLst>
                <a:ext uri="{FF2B5EF4-FFF2-40B4-BE49-F238E27FC236}">
                  <a16:creationId xmlns:a16="http://schemas.microsoft.com/office/drawing/2014/main" id="{06FD592A-2FF6-46E0-942B-4D5C5D18D17B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58" name="Rechthoek 133">
              <a:extLst>
                <a:ext uri="{FF2B5EF4-FFF2-40B4-BE49-F238E27FC236}">
                  <a16:creationId xmlns:a16="http://schemas.microsoft.com/office/drawing/2014/main" id="{2511FE0C-7A37-475E-B962-4A6E8F0FFAF3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59" name="Rechthoek 136">
              <a:extLst>
                <a:ext uri="{FF2B5EF4-FFF2-40B4-BE49-F238E27FC236}">
                  <a16:creationId xmlns:a16="http://schemas.microsoft.com/office/drawing/2014/main" id="{47FFBC3C-B880-4FF4-97EB-3A1E9C5B6563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60" name="Rechthoek 139">
              <a:extLst>
                <a:ext uri="{FF2B5EF4-FFF2-40B4-BE49-F238E27FC236}">
                  <a16:creationId xmlns:a16="http://schemas.microsoft.com/office/drawing/2014/main" id="{50B90ADC-79FE-46AE-9866-25A58D743D68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61" name="Rechte verbindingslijn 140">
              <a:extLst>
                <a:ext uri="{FF2B5EF4-FFF2-40B4-BE49-F238E27FC236}">
                  <a16:creationId xmlns:a16="http://schemas.microsoft.com/office/drawing/2014/main" id="{9D160473-0A2C-48FE-B32A-923B4897C68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62" name="Groep 101">
            <a:extLst>
              <a:ext uri="{FF2B5EF4-FFF2-40B4-BE49-F238E27FC236}">
                <a16:creationId xmlns:a16="http://schemas.microsoft.com/office/drawing/2014/main" id="{B1F7A270-671C-4267-BBDA-0035FFBCA6AC}"/>
              </a:ext>
            </a:extLst>
          </p:cNvPr>
          <p:cNvGrpSpPr/>
          <p:nvPr userDrawn="1"/>
        </p:nvGrpSpPr>
        <p:grpSpPr>
          <a:xfrm>
            <a:off x="-12058266" y="6336"/>
            <a:ext cx="11229655" cy="26966673"/>
            <a:chOff x="-3437547" y="1434"/>
            <a:chExt cx="3201327" cy="6108543"/>
          </a:xfrm>
        </p:grpSpPr>
        <p:sp>
          <p:nvSpPr>
            <p:cNvPr id="63" name="Rechthoek 102">
              <a:extLst>
                <a:ext uri="{FF2B5EF4-FFF2-40B4-BE49-F238E27FC236}">
                  <a16:creationId xmlns:a16="http://schemas.microsoft.com/office/drawing/2014/main" id="{D9180A54-5B43-490E-A53A-653C88885B2B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4911" b="1" i="0" u="none" strike="noStrike" kern="0" cap="all" spc="0" normalizeH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4911" b="1" i="0" u="none" strike="noStrike" kern="0" cap="all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64" name="Ovaal 103">
              <a:extLst>
                <a:ext uri="{FF2B5EF4-FFF2-40B4-BE49-F238E27FC236}">
                  <a16:creationId xmlns:a16="http://schemas.microsoft.com/office/drawing/2014/main" id="{996DE116-E9C4-4404-B963-906BF309C28A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65" name="Rechte verbindingslijn 104">
              <a:extLst>
                <a:ext uri="{FF2B5EF4-FFF2-40B4-BE49-F238E27FC236}">
                  <a16:creationId xmlns:a16="http://schemas.microsoft.com/office/drawing/2014/main" id="{4903706A-252E-4D8B-9568-4A2FAA703A8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66" name="Groep 105">
              <a:extLst>
                <a:ext uri="{FF2B5EF4-FFF2-40B4-BE49-F238E27FC236}">
                  <a16:creationId xmlns:a16="http://schemas.microsoft.com/office/drawing/2014/main" id="{35C796B2-FF99-4DAE-BA18-C0082B6F453F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91" name="Rechthoek 130">
                <a:extLst>
                  <a:ext uri="{FF2B5EF4-FFF2-40B4-BE49-F238E27FC236}">
                    <a16:creationId xmlns:a16="http://schemas.microsoft.com/office/drawing/2014/main" id="{E1C77F3A-7187-4291-809D-7DA097DC42A8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nl-NL" sz="2806" b="0" noProof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92" name="Rechte verbindingslijn 131">
                <a:extLst>
                  <a:ext uri="{FF2B5EF4-FFF2-40B4-BE49-F238E27FC236}">
                    <a16:creationId xmlns:a16="http://schemas.microsoft.com/office/drawing/2014/main" id="{D0B95EA4-D908-430B-B7E1-4E0E5963BFB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Rechte verbindingslijn 132">
                <a:extLst>
                  <a:ext uri="{FF2B5EF4-FFF2-40B4-BE49-F238E27FC236}">
                    <a16:creationId xmlns:a16="http://schemas.microsoft.com/office/drawing/2014/main" id="{757CCB11-4D5E-41DD-AA87-AA628B64CFE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4" name="Rechthoek 133">
                <a:extLst>
                  <a:ext uri="{FF2B5EF4-FFF2-40B4-BE49-F238E27FC236}">
                    <a16:creationId xmlns:a16="http://schemas.microsoft.com/office/drawing/2014/main" id="{DF9DB130-3285-4F68-A573-3AFEDB708E0A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95" name="Groep 134">
                <a:extLst>
                  <a:ext uri="{FF2B5EF4-FFF2-40B4-BE49-F238E27FC236}">
                    <a16:creationId xmlns:a16="http://schemas.microsoft.com/office/drawing/2014/main" id="{CCE4BC02-DCE2-41D7-81FF-9C63014D89B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34" name="Groep 175">
                  <a:extLst>
                    <a:ext uri="{FF2B5EF4-FFF2-40B4-BE49-F238E27FC236}">
                      <a16:creationId xmlns:a16="http://schemas.microsoft.com/office/drawing/2014/main" id="{3DEB43C1-EE4B-4FE2-8EAB-85DBC10AB6AF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38" name="Rechte verbindingslijn 179">
                    <a:extLst>
                      <a:ext uri="{FF2B5EF4-FFF2-40B4-BE49-F238E27FC236}">
                        <a16:creationId xmlns:a16="http://schemas.microsoft.com/office/drawing/2014/main" id="{5B859433-CB36-45B6-9AA6-CA3923B1838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39" name="Rechte verbindingslijn 180">
                    <a:extLst>
                      <a:ext uri="{FF2B5EF4-FFF2-40B4-BE49-F238E27FC236}">
                        <a16:creationId xmlns:a16="http://schemas.microsoft.com/office/drawing/2014/main" id="{C5C9F23F-FBC3-4A08-93CB-C2DE0AE1E96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40" name="Rechte verbindingslijn 181">
                    <a:extLst>
                      <a:ext uri="{FF2B5EF4-FFF2-40B4-BE49-F238E27FC236}">
                        <a16:creationId xmlns:a16="http://schemas.microsoft.com/office/drawing/2014/main" id="{46393340-2F27-43C8-8C71-58478D6277B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41" name="Rechte verbindingslijn 182">
                    <a:extLst>
                      <a:ext uri="{FF2B5EF4-FFF2-40B4-BE49-F238E27FC236}">
                        <a16:creationId xmlns:a16="http://schemas.microsoft.com/office/drawing/2014/main" id="{922840FB-823D-428B-8FB4-22C980D555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42" name="Rechte verbindingslijn 183">
                    <a:extLst>
                      <a:ext uri="{FF2B5EF4-FFF2-40B4-BE49-F238E27FC236}">
                        <a16:creationId xmlns:a16="http://schemas.microsoft.com/office/drawing/2014/main" id="{534C9287-6A81-477F-BFB7-44B914D012B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35" name="Groep 176">
                  <a:extLst>
                    <a:ext uri="{FF2B5EF4-FFF2-40B4-BE49-F238E27FC236}">
                      <a16:creationId xmlns:a16="http://schemas.microsoft.com/office/drawing/2014/main" id="{6B9A8CB6-A532-43EC-B4F6-4F6BA72D4D7A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36" name="Rechthoek 177">
                    <a:extLst>
                      <a:ext uri="{FF2B5EF4-FFF2-40B4-BE49-F238E27FC236}">
                        <a16:creationId xmlns:a16="http://schemas.microsoft.com/office/drawing/2014/main" id="{FC67B8D5-72EF-4F49-978F-84478A0AB0E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7" name="Pijl: punthaak 178">
                    <a:extLst>
                      <a:ext uri="{FF2B5EF4-FFF2-40B4-BE49-F238E27FC236}">
                        <a16:creationId xmlns:a16="http://schemas.microsoft.com/office/drawing/2014/main" id="{2944A143-0FC8-4FAA-885E-3BC67042ECA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96" name="Groep 135">
                <a:extLst>
                  <a:ext uri="{FF2B5EF4-FFF2-40B4-BE49-F238E27FC236}">
                    <a16:creationId xmlns:a16="http://schemas.microsoft.com/office/drawing/2014/main" id="{7C01E7F2-7723-4236-8FAF-10018B34049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25" name="Groep 166">
                  <a:extLst>
                    <a:ext uri="{FF2B5EF4-FFF2-40B4-BE49-F238E27FC236}">
                      <a16:creationId xmlns:a16="http://schemas.microsoft.com/office/drawing/2014/main" id="{7C355541-9AB8-4A38-B5B4-A863BAB71FC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29" name="Rechte verbindingslijn 170">
                    <a:extLst>
                      <a:ext uri="{FF2B5EF4-FFF2-40B4-BE49-F238E27FC236}">
                        <a16:creationId xmlns:a16="http://schemas.microsoft.com/office/drawing/2014/main" id="{0C7B1BE3-B446-4866-8BC5-75FEF4B415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30" name="Rechte verbindingslijn 171">
                    <a:extLst>
                      <a:ext uri="{FF2B5EF4-FFF2-40B4-BE49-F238E27FC236}">
                        <a16:creationId xmlns:a16="http://schemas.microsoft.com/office/drawing/2014/main" id="{65F5DBED-5D29-4DA8-A5FE-9BB3648B02A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31" name="Rechte verbindingslijn 172">
                    <a:extLst>
                      <a:ext uri="{FF2B5EF4-FFF2-40B4-BE49-F238E27FC236}">
                        <a16:creationId xmlns:a16="http://schemas.microsoft.com/office/drawing/2014/main" id="{8CD5840A-4D92-4551-BFF3-7ABEBD473FA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32" name="Rechte verbindingslijn 173">
                    <a:extLst>
                      <a:ext uri="{FF2B5EF4-FFF2-40B4-BE49-F238E27FC236}">
                        <a16:creationId xmlns:a16="http://schemas.microsoft.com/office/drawing/2014/main" id="{32B12BA8-973D-4396-853F-25D1CFD9091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33" name="Rechte verbindingslijn 174">
                    <a:extLst>
                      <a:ext uri="{FF2B5EF4-FFF2-40B4-BE49-F238E27FC236}">
                        <a16:creationId xmlns:a16="http://schemas.microsoft.com/office/drawing/2014/main" id="{3E0635CB-B06B-4FFC-8EBE-F97AF5F9E44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26" name="Groep 167">
                  <a:extLst>
                    <a:ext uri="{FF2B5EF4-FFF2-40B4-BE49-F238E27FC236}">
                      <a16:creationId xmlns:a16="http://schemas.microsoft.com/office/drawing/2014/main" id="{86BC2F15-6B53-4276-8112-49005BFBE176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27" name="Rechthoek 168">
                    <a:extLst>
                      <a:ext uri="{FF2B5EF4-FFF2-40B4-BE49-F238E27FC236}">
                        <a16:creationId xmlns:a16="http://schemas.microsoft.com/office/drawing/2014/main" id="{8882A2EB-8BF7-453C-A553-33A113F153D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28" name="Pijl: punthaak 169">
                    <a:extLst>
                      <a:ext uri="{FF2B5EF4-FFF2-40B4-BE49-F238E27FC236}">
                        <a16:creationId xmlns:a16="http://schemas.microsoft.com/office/drawing/2014/main" id="{30942C0B-8409-477B-A2D7-E9B50D96439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97" name="Rechte verbindingslijn 136">
                <a:extLst>
                  <a:ext uri="{FF2B5EF4-FFF2-40B4-BE49-F238E27FC236}">
                    <a16:creationId xmlns:a16="http://schemas.microsoft.com/office/drawing/2014/main" id="{F3CEAC1C-B495-4DC3-9915-3BD63B71DF4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98" name="Rechte verbindingslijn 137">
                <a:extLst>
                  <a:ext uri="{FF2B5EF4-FFF2-40B4-BE49-F238E27FC236}">
                    <a16:creationId xmlns:a16="http://schemas.microsoft.com/office/drawing/2014/main" id="{0BE711FA-B4EE-4A63-99BD-4D945C6AFAC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99" name="Groep 138">
                <a:extLst>
                  <a:ext uri="{FF2B5EF4-FFF2-40B4-BE49-F238E27FC236}">
                    <a16:creationId xmlns:a16="http://schemas.microsoft.com/office/drawing/2014/main" id="{A529A53A-5AE1-452F-BF03-561B5448F93D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14" name="Rechthoek 155">
                  <a:extLst>
                    <a:ext uri="{FF2B5EF4-FFF2-40B4-BE49-F238E27FC236}">
                      <a16:creationId xmlns:a16="http://schemas.microsoft.com/office/drawing/2014/main" id="{A1FE5C75-52AB-4C2E-818A-A663492DBD28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15" name="Groep 156">
                  <a:extLst>
                    <a:ext uri="{FF2B5EF4-FFF2-40B4-BE49-F238E27FC236}">
                      <a16:creationId xmlns:a16="http://schemas.microsoft.com/office/drawing/2014/main" id="{B53C4B73-119F-45DA-9253-5F3D0E4C1E97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16" name="Groep 157">
                    <a:extLst>
                      <a:ext uri="{FF2B5EF4-FFF2-40B4-BE49-F238E27FC236}">
                        <a16:creationId xmlns:a16="http://schemas.microsoft.com/office/drawing/2014/main" id="{1E243FBA-E698-4B70-A74B-9D9AF05C415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20" name="Rechte verbindingslijn 161">
                      <a:extLst>
                        <a:ext uri="{FF2B5EF4-FFF2-40B4-BE49-F238E27FC236}">
                          <a16:creationId xmlns:a16="http://schemas.microsoft.com/office/drawing/2014/main" id="{FCDD65F6-4686-42A6-94C4-B808A5A5AB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21" name="Rechte verbindingslijn 162">
                      <a:extLst>
                        <a:ext uri="{FF2B5EF4-FFF2-40B4-BE49-F238E27FC236}">
                          <a16:creationId xmlns:a16="http://schemas.microsoft.com/office/drawing/2014/main" id="{7663C596-279A-4139-86FD-DD13027EA4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22" name="Rechte verbindingslijn 163">
                      <a:extLst>
                        <a:ext uri="{FF2B5EF4-FFF2-40B4-BE49-F238E27FC236}">
                          <a16:creationId xmlns:a16="http://schemas.microsoft.com/office/drawing/2014/main" id="{B8E03594-A6D4-4D77-9F8F-D4BF9ED1596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23" name="Rechte verbindingslijn 164">
                      <a:extLst>
                        <a:ext uri="{FF2B5EF4-FFF2-40B4-BE49-F238E27FC236}">
                          <a16:creationId xmlns:a16="http://schemas.microsoft.com/office/drawing/2014/main" id="{10290EA1-5471-4579-9BB5-000E69A0D27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24" name="Rechte verbindingslijn 165">
                      <a:extLst>
                        <a:ext uri="{FF2B5EF4-FFF2-40B4-BE49-F238E27FC236}">
                          <a16:creationId xmlns:a16="http://schemas.microsoft.com/office/drawing/2014/main" id="{474814A8-B6FA-4BAA-8C05-04420C8735A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17" name="Groep 158">
                    <a:extLst>
                      <a:ext uri="{FF2B5EF4-FFF2-40B4-BE49-F238E27FC236}">
                        <a16:creationId xmlns:a16="http://schemas.microsoft.com/office/drawing/2014/main" id="{BFA7D0FB-BD64-45E6-BDBD-127F4E48720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18" name="Rechthoek 159">
                      <a:extLst>
                        <a:ext uri="{FF2B5EF4-FFF2-40B4-BE49-F238E27FC236}">
                          <a16:creationId xmlns:a16="http://schemas.microsoft.com/office/drawing/2014/main" id="{56611162-5336-484A-AF94-3C75704062E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19" name="Pijl: punthaak 160">
                      <a:extLst>
                        <a:ext uri="{FF2B5EF4-FFF2-40B4-BE49-F238E27FC236}">
                          <a16:creationId xmlns:a16="http://schemas.microsoft.com/office/drawing/2014/main" id="{B4157AE8-3542-4949-8D48-20D7261AC23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00" name="Groep 139">
                <a:extLst>
                  <a:ext uri="{FF2B5EF4-FFF2-40B4-BE49-F238E27FC236}">
                    <a16:creationId xmlns:a16="http://schemas.microsoft.com/office/drawing/2014/main" id="{78D254F3-BAC7-4C79-8701-744566242F4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03" name="Rechthoek 142">
                  <a:extLst>
                    <a:ext uri="{FF2B5EF4-FFF2-40B4-BE49-F238E27FC236}">
                      <a16:creationId xmlns:a16="http://schemas.microsoft.com/office/drawing/2014/main" id="{9BCC1D21-36C9-4F0D-818F-8D0FDCA59D06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sz="3683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04" name="Groep 143">
                  <a:extLst>
                    <a:ext uri="{FF2B5EF4-FFF2-40B4-BE49-F238E27FC236}">
                      <a16:creationId xmlns:a16="http://schemas.microsoft.com/office/drawing/2014/main" id="{17803CF1-43CF-42CC-BBCC-280BEBF4B306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05" name="Groep 144">
                    <a:extLst>
                      <a:ext uri="{FF2B5EF4-FFF2-40B4-BE49-F238E27FC236}">
                        <a16:creationId xmlns:a16="http://schemas.microsoft.com/office/drawing/2014/main" id="{72A26BDF-A9A8-4AC5-BBA5-01A4BF7AF52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09" name="Rechte verbindingslijn 150">
                      <a:extLst>
                        <a:ext uri="{FF2B5EF4-FFF2-40B4-BE49-F238E27FC236}">
                          <a16:creationId xmlns:a16="http://schemas.microsoft.com/office/drawing/2014/main" id="{D6487E92-BDD5-4B32-B766-66DE1CD2A27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10" name="Rechte verbindingslijn 151">
                      <a:extLst>
                        <a:ext uri="{FF2B5EF4-FFF2-40B4-BE49-F238E27FC236}">
                          <a16:creationId xmlns:a16="http://schemas.microsoft.com/office/drawing/2014/main" id="{21C6834E-B46E-42FE-99B0-37C6B62CA4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11" name="Rechte verbindingslijn 152">
                      <a:extLst>
                        <a:ext uri="{FF2B5EF4-FFF2-40B4-BE49-F238E27FC236}">
                          <a16:creationId xmlns:a16="http://schemas.microsoft.com/office/drawing/2014/main" id="{81E69DF8-8971-40FB-94F4-019A72680E4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12" name="Rechte verbindingslijn 153">
                      <a:extLst>
                        <a:ext uri="{FF2B5EF4-FFF2-40B4-BE49-F238E27FC236}">
                          <a16:creationId xmlns:a16="http://schemas.microsoft.com/office/drawing/2014/main" id="{7D5677A4-6CD9-407A-B890-AF7C464768A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13" name="Rechte verbindingslijn 154">
                      <a:extLst>
                        <a:ext uri="{FF2B5EF4-FFF2-40B4-BE49-F238E27FC236}">
                          <a16:creationId xmlns:a16="http://schemas.microsoft.com/office/drawing/2014/main" id="{2419D456-8B72-48E4-BA64-C525022CB92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06" name="Groep 147">
                    <a:extLst>
                      <a:ext uri="{FF2B5EF4-FFF2-40B4-BE49-F238E27FC236}">
                        <a16:creationId xmlns:a16="http://schemas.microsoft.com/office/drawing/2014/main" id="{A16B9D23-C565-4012-9866-765010E7FF36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07" name="Rechthoek 148">
                      <a:extLst>
                        <a:ext uri="{FF2B5EF4-FFF2-40B4-BE49-F238E27FC236}">
                          <a16:creationId xmlns:a16="http://schemas.microsoft.com/office/drawing/2014/main" id="{512EC848-259E-432E-AEC3-7C7F8DAE08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8" name="Pijl: punthaak 149">
                      <a:extLst>
                        <a:ext uri="{FF2B5EF4-FFF2-40B4-BE49-F238E27FC236}">
                          <a16:creationId xmlns:a16="http://schemas.microsoft.com/office/drawing/2014/main" id="{78FB5E6E-E4AC-443D-BA8B-7EE108EDBC2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01" name="Rechthoek 140">
                <a:extLst>
                  <a:ext uri="{FF2B5EF4-FFF2-40B4-BE49-F238E27FC236}">
                    <a16:creationId xmlns:a16="http://schemas.microsoft.com/office/drawing/2014/main" id="{1E8D725B-1F5C-4FAC-B91D-E8B14A8C9B05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102" name="Rechthoek 141">
                <a:extLst>
                  <a:ext uri="{FF2B5EF4-FFF2-40B4-BE49-F238E27FC236}">
                    <a16:creationId xmlns:a16="http://schemas.microsoft.com/office/drawing/2014/main" id="{F76808FA-F419-4AD2-BCF1-EE67337B8A96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67" name="Rechte verbindingslijn 106">
              <a:extLst>
                <a:ext uri="{FF2B5EF4-FFF2-40B4-BE49-F238E27FC236}">
                  <a16:creationId xmlns:a16="http://schemas.microsoft.com/office/drawing/2014/main" id="{6E448821-8776-473C-B784-40DBCCB172C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68" name="Rechthoek 107">
              <a:extLst>
                <a:ext uri="{FF2B5EF4-FFF2-40B4-BE49-F238E27FC236}">
                  <a16:creationId xmlns:a16="http://schemas.microsoft.com/office/drawing/2014/main" id="{E548EE63-F8F7-4E1A-A0B2-F37F12F8175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lvl="0"/>
              <a:r>
                <a:rPr lang="nl-NL" sz="3859" b="1" noProof="0">
                  <a:solidFill>
                    <a:schemeClr val="tx2"/>
                  </a:solidFill>
                </a:rPr>
                <a:t>Header</a:t>
              </a:r>
            </a:p>
          </p:txBody>
        </p:sp>
        <p:sp>
          <p:nvSpPr>
            <p:cNvPr id="69" name="Ovaal 108">
              <a:extLst>
                <a:ext uri="{FF2B5EF4-FFF2-40B4-BE49-F238E27FC236}">
                  <a16:creationId xmlns:a16="http://schemas.microsoft.com/office/drawing/2014/main" id="{E60FA7F1-5B5F-4AF5-BE27-2A5C184C3105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70" name="Rechthoek 109">
              <a:extLst>
                <a:ext uri="{FF2B5EF4-FFF2-40B4-BE49-F238E27FC236}">
                  <a16:creationId xmlns:a16="http://schemas.microsoft.com/office/drawing/2014/main" id="{04E28943-68C6-471F-9583-950F5B8C7D0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tte tekst</a:t>
              </a:r>
            </a:p>
          </p:txBody>
        </p:sp>
        <p:sp>
          <p:nvSpPr>
            <p:cNvPr id="71" name="Ovaal 110">
              <a:extLst>
                <a:ext uri="{FF2B5EF4-FFF2-40B4-BE49-F238E27FC236}">
                  <a16:creationId xmlns:a16="http://schemas.microsoft.com/office/drawing/2014/main" id="{9CB1A87A-1C59-4795-BCBB-45CBFCCD6536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72" name="Rechthoek 111">
              <a:extLst>
                <a:ext uri="{FF2B5EF4-FFF2-40B4-BE49-F238E27FC236}">
                  <a16:creationId xmlns:a16="http://schemas.microsoft.com/office/drawing/2014/main" id="{A2E4D557-0D13-4A75-A8D5-CAB14ED38053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34816" marR="0" lvl="0" indent="-634816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3859" noProof="0"/>
                <a:t>Der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73" name="Ovaal 112">
              <a:extLst>
                <a:ext uri="{FF2B5EF4-FFF2-40B4-BE49-F238E27FC236}">
                  <a16:creationId xmlns:a16="http://schemas.microsoft.com/office/drawing/2014/main" id="{47E0E0FC-FA8E-443E-BC07-8ED6F0641D36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74" name="Rechthoek 113">
              <a:extLst>
                <a:ext uri="{FF2B5EF4-FFF2-40B4-BE49-F238E27FC236}">
                  <a16:creationId xmlns:a16="http://schemas.microsoft.com/office/drawing/2014/main" id="{7664C5CD-C658-446B-910F-F3A1E2BDA7F5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601404" marR="0" lvl="0" indent="-601404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erde Niveau</a:t>
              </a:r>
            </a:p>
          </p:txBody>
        </p:sp>
        <p:sp>
          <p:nvSpPr>
            <p:cNvPr id="75" name="Ovaal 114">
              <a:extLst>
                <a:ext uri="{FF2B5EF4-FFF2-40B4-BE49-F238E27FC236}">
                  <a16:creationId xmlns:a16="http://schemas.microsoft.com/office/drawing/2014/main" id="{A726B91C-933E-4287-9C06-8F842872C82E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76" name="Rechthoek 115">
              <a:extLst>
                <a:ext uri="{FF2B5EF4-FFF2-40B4-BE49-F238E27FC236}">
                  <a16:creationId xmlns:a16="http://schemas.microsoft.com/office/drawing/2014/main" id="{F19BA1D4-5360-4E5D-8BA7-DCB270E9C2CD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801872" marR="0" lvl="0" indent="-801872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tx2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nl-NL" sz="4209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jfde Niveau</a:t>
              </a:r>
            </a:p>
          </p:txBody>
        </p:sp>
        <p:cxnSp>
          <p:nvCxnSpPr>
            <p:cNvPr id="77" name="Rechte verbindingslijn 116">
              <a:extLst>
                <a:ext uri="{FF2B5EF4-FFF2-40B4-BE49-F238E27FC236}">
                  <a16:creationId xmlns:a16="http://schemas.microsoft.com/office/drawing/2014/main" id="{A53103BC-831E-4FD4-880F-4EF5B4F48DB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198455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78" name="Meer informatie">
              <a:extLst>
                <a:ext uri="{FF2B5EF4-FFF2-40B4-BE49-F238E27FC236}">
                  <a16:creationId xmlns:a16="http://schemas.microsoft.com/office/drawing/2014/main" id="{C5505D44-F076-4C35-91C2-321564EBA043}"/>
                </a:ext>
              </a:extLst>
            </p:cNvPr>
            <p:cNvGrpSpPr/>
            <p:nvPr userDrawn="1"/>
          </p:nvGrpSpPr>
          <p:grpSpPr>
            <a:xfrm>
              <a:off x="-3421298" y="5326704"/>
              <a:ext cx="3178515" cy="783273"/>
              <a:chOff x="-3741486" y="3359148"/>
              <a:chExt cx="3178515" cy="783273"/>
            </a:xfrm>
          </p:grpSpPr>
          <p:sp>
            <p:nvSpPr>
              <p:cNvPr id="88" name="Freeform 101">
                <a:extLst>
                  <a:ext uri="{FF2B5EF4-FFF2-40B4-BE49-F238E27FC236}">
                    <a16:creationId xmlns:a16="http://schemas.microsoft.com/office/drawing/2014/main" id="{4E903E40-675E-4F9D-ABB6-715A6FF455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89" name="Rechthoek 128">
                <a:extLst>
                  <a:ext uri="{FF2B5EF4-FFF2-40B4-BE49-F238E27FC236}">
                    <a16:creationId xmlns:a16="http://schemas.microsoft.com/office/drawing/2014/main" id="{4BD03939-6BA1-4CFB-A6EC-B872929174D9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90" name="Rechte verbindingslijn 129">
                <a:extLst>
                  <a:ext uri="{FF2B5EF4-FFF2-40B4-BE49-F238E27FC236}">
                    <a16:creationId xmlns:a16="http://schemas.microsoft.com/office/drawing/2014/main" id="{0D0C5345-52E2-4E26-B090-E7194BED5D3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79" name="Rechthoek 118">
              <a:extLst>
                <a:ext uri="{FF2B5EF4-FFF2-40B4-BE49-F238E27FC236}">
                  <a16:creationId xmlns:a16="http://schemas.microsoft.com/office/drawing/2014/main" id="{A5FBB76B-617E-4D3A-B69D-5441B1134AE6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tart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  <p:sp>
          <p:nvSpPr>
            <p:cNvPr id="80" name="Ovaal 119">
              <a:extLst>
                <a:ext uri="{FF2B5EF4-FFF2-40B4-BE49-F238E27FC236}">
                  <a16:creationId xmlns:a16="http://schemas.microsoft.com/office/drawing/2014/main" id="{6ADEC0F5-9D22-4F14-93DC-42DF1E9E4364}"/>
                </a:ext>
              </a:extLst>
            </p:cNvPr>
            <p:cNvSpPr/>
            <p:nvPr userDrawn="1"/>
          </p:nvSpPr>
          <p:spPr>
            <a:xfrm>
              <a:off x="-3425006" y="3615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81" name="Rechthoek 120">
              <a:extLst>
                <a:ext uri="{FF2B5EF4-FFF2-40B4-BE49-F238E27FC236}">
                  <a16:creationId xmlns:a16="http://schemas.microsoft.com/office/drawing/2014/main" id="{C668D701-BE8B-4D56-AD79-BAA165406F95}"/>
                </a:ext>
              </a:extLst>
            </p:cNvPr>
            <p:cNvSpPr/>
            <p:nvPr userDrawn="1"/>
          </p:nvSpPr>
          <p:spPr>
            <a:xfrm>
              <a:off x="-3059324" y="361509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252927" marR="0" lvl="0" indent="-634816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s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2" name="Ovaal 121">
              <a:extLst>
                <a:ext uri="{FF2B5EF4-FFF2-40B4-BE49-F238E27FC236}">
                  <a16:creationId xmlns:a16="http://schemas.microsoft.com/office/drawing/2014/main" id="{C68D0364-BA2C-40E8-974B-1626C7992103}"/>
                </a:ext>
              </a:extLst>
            </p:cNvPr>
            <p:cNvSpPr/>
            <p:nvPr userDrawn="1"/>
          </p:nvSpPr>
          <p:spPr>
            <a:xfrm>
              <a:off x="-3425006" y="399978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83" name="Rechthoek 122">
              <a:extLst>
                <a:ext uri="{FF2B5EF4-FFF2-40B4-BE49-F238E27FC236}">
                  <a16:creationId xmlns:a16="http://schemas.microsoft.com/office/drawing/2014/main" id="{5A0781F7-177E-4959-B0BC-5F64CD098837}"/>
                </a:ext>
              </a:extLst>
            </p:cNvPr>
            <p:cNvSpPr/>
            <p:nvPr userDrawn="1"/>
          </p:nvSpPr>
          <p:spPr>
            <a:xfrm>
              <a:off x="-3059324" y="4381577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98880" marR="0" lvl="7" indent="-1264064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chemeClr val="bg2"/>
                </a:buClr>
                <a:buSzTx/>
                <a:buFont typeface="Wingdings" panose="05000000000000000000" pitchFamily="2" charset="2"/>
                <a:buChar char="à"/>
                <a:tabLst/>
                <a:defRPr/>
              </a:pPr>
              <a:r>
                <a:rPr kumimoji="0" lang="nl-NL" sz="3683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Achtste Niveau</a:t>
              </a:r>
            </a:p>
          </p:txBody>
        </p:sp>
        <p:sp>
          <p:nvSpPr>
            <p:cNvPr id="84" name="Ovaal 123">
              <a:extLst>
                <a:ext uri="{FF2B5EF4-FFF2-40B4-BE49-F238E27FC236}">
                  <a16:creationId xmlns:a16="http://schemas.microsoft.com/office/drawing/2014/main" id="{F392F83F-F78D-4921-93A1-22545A285E2D}"/>
                </a:ext>
              </a:extLst>
            </p:cNvPr>
            <p:cNvSpPr/>
            <p:nvPr userDrawn="1"/>
          </p:nvSpPr>
          <p:spPr>
            <a:xfrm>
              <a:off x="-3425006" y="4379717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85" name="Rechthoek 124">
              <a:extLst>
                <a:ext uri="{FF2B5EF4-FFF2-40B4-BE49-F238E27FC236}">
                  <a16:creationId xmlns:a16="http://schemas.microsoft.com/office/drawing/2014/main" id="{56151DAF-F0EA-427A-A749-F6CE092BB98B}"/>
                </a:ext>
              </a:extLst>
            </p:cNvPr>
            <p:cNvSpPr/>
            <p:nvPr userDrawn="1"/>
          </p:nvSpPr>
          <p:spPr>
            <a:xfrm>
              <a:off x="-3059324" y="401408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3207489" rtl="0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rgbClr val="8BB63B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evende Niveau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86" name="Rechthoek 125">
              <a:extLst>
                <a:ext uri="{FF2B5EF4-FFF2-40B4-BE49-F238E27FC236}">
                  <a16:creationId xmlns:a16="http://schemas.microsoft.com/office/drawing/2014/main" id="{04F862D1-33F7-4D3B-B638-70020878F0FC}"/>
                </a:ext>
              </a:extLst>
            </p:cNvPr>
            <p:cNvSpPr/>
            <p:nvPr userDrawn="1"/>
          </p:nvSpPr>
          <p:spPr>
            <a:xfrm>
              <a:off x="-3059324" y="4769016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7" indent="0" algn="l" defTabSz="32074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4209"/>
                </a:spcAft>
                <a:buClr>
                  <a:srgbClr val="8BB63B"/>
                </a:buClr>
                <a:buSzTx/>
                <a:buFont typeface="+mj-lt"/>
                <a:buNone/>
                <a:tabLst/>
                <a:defRPr/>
              </a:pPr>
              <a:r>
                <a:rPr kumimoji="0" lang="nl-NL" sz="5612" b="0" i="0" u="none" strike="noStrike" kern="120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n-lt"/>
                  <a:ea typeface="+mn-ea"/>
                  <a:cs typeface="Calibri Light" panose="020F0302020204030204" pitchFamily="34" charset="0"/>
                </a:rPr>
                <a:t>Negende Niveau</a:t>
              </a:r>
            </a:p>
          </p:txBody>
        </p:sp>
        <p:sp>
          <p:nvSpPr>
            <p:cNvPr id="87" name="Ovaal 126">
              <a:extLst>
                <a:ext uri="{FF2B5EF4-FFF2-40B4-BE49-F238E27FC236}">
                  <a16:creationId xmlns:a16="http://schemas.microsoft.com/office/drawing/2014/main" id="{77C613CF-21BA-413A-B914-EB4F245DABD8}"/>
                </a:ext>
              </a:extLst>
            </p:cNvPr>
            <p:cNvSpPr/>
            <p:nvPr userDrawn="1"/>
          </p:nvSpPr>
          <p:spPr>
            <a:xfrm>
              <a:off x="-3425006" y="476715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05792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kaders + Uitleg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grpSp>
        <p:nvGrpSpPr>
          <p:cNvPr id="38" name="GRID" hidden="1">
            <a:extLst>
              <a:ext uri="{FF2B5EF4-FFF2-40B4-BE49-F238E27FC236}">
                <a16:creationId xmlns:a16="http://schemas.microsoft.com/office/drawing/2014/main" id="{51D5F7E8-69F8-47AD-81F5-1645C97607C1}"/>
              </a:ext>
            </a:extLst>
          </p:cNvPr>
          <p:cNvGrpSpPr/>
          <p:nvPr userDrawn="1"/>
        </p:nvGrpSpPr>
        <p:grpSpPr>
          <a:xfrm>
            <a:off x="5" y="0"/>
            <a:ext cx="42767261" cy="30275213"/>
            <a:chOff x="0" y="0"/>
            <a:chExt cx="12192003" cy="6858000"/>
          </a:xfrm>
        </p:grpSpPr>
        <p:sp>
          <p:nvSpPr>
            <p:cNvPr id="39" name="Rechthoek 38">
              <a:extLst>
                <a:ext uri="{FF2B5EF4-FFF2-40B4-BE49-F238E27FC236}">
                  <a16:creationId xmlns:a16="http://schemas.microsoft.com/office/drawing/2014/main" id="{71DB2C92-E6A8-4532-98F6-C917E7F5CD17}"/>
                </a:ext>
              </a:extLst>
            </p:cNvPr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0" name="Rechthoek 39">
              <a:extLst>
                <a:ext uri="{FF2B5EF4-FFF2-40B4-BE49-F238E27FC236}">
                  <a16:creationId xmlns:a16="http://schemas.microsoft.com/office/drawing/2014/main" id="{1283F161-5F8A-45E1-A9F2-F823FC1CB0A5}"/>
                </a:ext>
              </a:extLst>
            </p:cNvPr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1" name="Rechthoek 40">
              <a:extLst>
                <a:ext uri="{FF2B5EF4-FFF2-40B4-BE49-F238E27FC236}">
                  <a16:creationId xmlns:a16="http://schemas.microsoft.com/office/drawing/2014/main" id="{E25AE021-76F4-4113-9019-FB3CB3351AD2}"/>
                </a:ext>
              </a:extLst>
            </p:cNvPr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2" name="Rechthoek 41">
              <a:extLst>
                <a:ext uri="{FF2B5EF4-FFF2-40B4-BE49-F238E27FC236}">
                  <a16:creationId xmlns:a16="http://schemas.microsoft.com/office/drawing/2014/main" id="{4F56F574-960D-4395-B98C-5F49ED9EF418}"/>
                </a:ext>
              </a:extLst>
            </p:cNvPr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34E307D0-CCA0-4BDF-BC5F-E19838E9F7DA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4" name="Rechthoek 43">
              <a:extLst>
                <a:ext uri="{FF2B5EF4-FFF2-40B4-BE49-F238E27FC236}">
                  <a16:creationId xmlns:a16="http://schemas.microsoft.com/office/drawing/2014/main" id="{2AEE0B25-FBCC-4048-A2C0-6D97C3E7FEB7}"/>
                </a:ext>
              </a:extLst>
            </p:cNvPr>
            <p:cNvSpPr/>
            <p:nvPr userDrawn="1"/>
          </p:nvSpPr>
          <p:spPr>
            <a:xfrm rot="5400000">
              <a:off x="5895976" y="-108104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FF4C18EE-AB1E-4734-B490-93DC11E51DED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Voettekst</a:t>
            </a:r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9" y="27329718"/>
            <a:ext cx="834509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0D7B9878-B8FD-4C53-84A0-30824F06295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33803" y="6316510"/>
            <a:ext cx="25627524" cy="5476873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089185" y="2382"/>
                </a:lnTo>
                <a:cubicBezTo>
                  <a:pt x="7208841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08841" y="1240632"/>
                  <a:pt x="7089185" y="1240632"/>
                </a:cubicBezTo>
                <a:lnTo>
                  <a:pt x="216824" y="1240632"/>
                </a:lnTo>
                <a:cubicBezTo>
                  <a:pt x="9716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>
              <a:spcAft>
                <a:spcPts val="0"/>
              </a:spcAft>
              <a:defRPr sz="4209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7F82B2D1-AD00-49E7-AE45-05F1D50B110A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696814" y="6310557"/>
            <a:ext cx="5345254" cy="5474264"/>
          </a:xfrm>
          <a:custGeom>
            <a:avLst/>
            <a:gdLst>
              <a:gd name="connsiteX0" fmla="*/ 0 w 1525587"/>
              <a:gd name="connsiteY0" fmla="*/ 161658 h 1241425"/>
              <a:gd name="connsiteX1" fmla="*/ 161658 w 1525587"/>
              <a:gd name="connsiteY1" fmla="*/ 0 h 1241425"/>
              <a:gd name="connsiteX2" fmla="*/ 1363929 w 1525587"/>
              <a:gd name="connsiteY2" fmla="*/ 0 h 1241425"/>
              <a:gd name="connsiteX3" fmla="*/ 1525587 w 1525587"/>
              <a:gd name="connsiteY3" fmla="*/ 161658 h 1241425"/>
              <a:gd name="connsiteX4" fmla="*/ 1525587 w 1525587"/>
              <a:gd name="connsiteY4" fmla="*/ 1079767 h 1241425"/>
              <a:gd name="connsiteX5" fmla="*/ 1363929 w 1525587"/>
              <a:gd name="connsiteY5" fmla="*/ 1241425 h 1241425"/>
              <a:gd name="connsiteX6" fmla="*/ 161658 w 1525587"/>
              <a:gd name="connsiteY6" fmla="*/ 1241425 h 1241425"/>
              <a:gd name="connsiteX7" fmla="*/ 0 w 1525587"/>
              <a:gd name="connsiteY7" fmla="*/ 1079767 h 1241425"/>
              <a:gd name="connsiteX8" fmla="*/ 0 w 1525587"/>
              <a:gd name="connsiteY8" fmla="*/ 161658 h 1241425"/>
              <a:gd name="connsiteX0" fmla="*/ 0 w 1525587"/>
              <a:gd name="connsiteY0" fmla="*/ 161658 h 1241425"/>
              <a:gd name="connsiteX1" fmla="*/ 42862 w 1525587"/>
              <a:gd name="connsiteY1" fmla="*/ 48418 h 1241425"/>
              <a:gd name="connsiteX2" fmla="*/ 161658 w 1525587"/>
              <a:gd name="connsiteY2" fmla="*/ 0 h 1241425"/>
              <a:gd name="connsiteX3" fmla="*/ 1363929 w 1525587"/>
              <a:gd name="connsiteY3" fmla="*/ 0 h 1241425"/>
              <a:gd name="connsiteX4" fmla="*/ 1525587 w 1525587"/>
              <a:gd name="connsiteY4" fmla="*/ 161658 h 1241425"/>
              <a:gd name="connsiteX5" fmla="*/ 1525587 w 1525587"/>
              <a:gd name="connsiteY5" fmla="*/ 1079767 h 1241425"/>
              <a:gd name="connsiteX6" fmla="*/ 1363929 w 1525587"/>
              <a:gd name="connsiteY6" fmla="*/ 1241425 h 1241425"/>
              <a:gd name="connsiteX7" fmla="*/ 161658 w 1525587"/>
              <a:gd name="connsiteY7" fmla="*/ 1241425 h 1241425"/>
              <a:gd name="connsiteX8" fmla="*/ 0 w 1525587"/>
              <a:gd name="connsiteY8" fmla="*/ 1079767 h 1241425"/>
              <a:gd name="connsiteX9" fmla="*/ 0 w 1525587"/>
              <a:gd name="connsiteY9" fmla="*/ 161658 h 1241425"/>
              <a:gd name="connsiteX0" fmla="*/ 8672 w 1534259"/>
              <a:gd name="connsiteY0" fmla="*/ 165982 h 1245749"/>
              <a:gd name="connsiteX1" fmla="*/ 11053 w 1534259"/>
              <a:gd name="connsiteY1" fmla="*/ 12261 h 1245749"/>
              <a:gd name="connsiteX2" fmla="*/ 170330 w 1534259"/>
              <a:gd name="connsiteY2" fmla="*/ 4324 h 1245749"/>
              <a:gd name="connsiteX3" fmla="*/ 1372601 w 1534259"/>
              <a:gd name="connsiteY3" fmla="*/ 4324 h 1245749"/>
              <a:gd name="connsiteX4" fmla="*/ 1534259 w 1534259"/>
              <a:gd name="connsiteY4" fmla="*/ 165982 h 1245749"/>
              <a:gd name="connsiteX5" fmla="*/ 1534259 w 1534259"/>
              <a:gd name="connsiteY5" fmla="*/ 1084091 h 1245749"/>
              <a:gd name="connsiteX6" fmla="*/ 1372601 w 1534259"/>
              <a:gd name="connsiteY6" fmla="*/ 1245749 h 1245749"/>
              <a:gd name="connsiteX7" fmla="*/ 170330 w 1534259"/>
              <a:gd name="connsiteY7" fmla="*/ 1245749 h 1245749"/>
              <a:gd name="connsiteX8" fmla="*/ 8672 w 1534259"/>
              <a:gd name="connsiteY8" fmla="*/ 1084091 h 1245749"/>
              <a:gd name="connsiteX9" fmla="*/ 8672 w 1534259"/>
              <a:gd name="connsiteY9" fmla="*/ 165982 h 1245749"/>
              <a:gd name="connsiteX0" fmla="*/ 8672 w 1534259"/>
              <a:gd name="connsiteY0" fmla="*/ 167890 h 1247657"/>
              <a:gd name="connsiteX1" fmla="*/ 11053 w 1534259"/>
              <a:gd name="connsiteY1" fmla="*/ 14169 h 1247657"/>
              <a:gd name="connsiteX2" fmla="*/ 170330 w 1534259"/>
              <a:gd name="connsiteY2" fmla="*/ 6232 h 1247657"/>
              <a:gd name="connsiteX3" fmla="*/ 1372601 w 1534259"/>
              <a:gd name="connsiteY3" fmla="*/ 6232 h 1247657"/>
              <a:gd name="connsiteX4" fmla="*/ 1534259 w 1534259"/>
              <a:gd name="connsiteY4" fmla="*/ 167890 h 1247657"/>
              <a:gd name="connsiteX5" fmla="*/ 1534259 w 1534259"/>
              <a:gd name="connsiteY5" fmla="*/ 1085999 h 1247657"/>
              <a:gd name="connsiteX6" fmla="*/ 1372601 w 1534259"/>
              <a:gd name="connsiteY6" fmla="*/ 1247657 h 1247657"/>
              <a:gd name="connsiteX7" fmla="*/ 170330 w 1534259"/>
              <a:gd name="connsiteY7" fmla="*/ 1247657 h 1247657"/>
              <a:gd name="connsiteX8" fmla="*/ 8672 w 1534259"/>
              <a:gd name="connsiteY8" fmla="*/ 1085999 h 1247657"/>
              <a:gd name="connsiteX9" fmla="*/ 8672 w 1534259"/>
              <a:gd name="connsiteY9" fmla="*/ 167890 h 1247657"/>
              <a:gd name="connsiteX0" fmla="*/ 8672 w 1534259"/>
              <a:gd name="connsiteY0" fmla="*/ 161658 h 1241425"/>
              <a:gd name="connsiteX1" fmla="*/ 11053 w 1534259"/>
              <a:gd name="connsiteY1" fmla="*/ 7937 h 1241425"/>
              <a:gd name="connsiteX2" fmla="*/ 170330 w 1534259"/>
              <a:gd name="connsiteY2" fmla="*/ 0 h 1241425"/>
              <a:gd name="connsiteX3" fmla="*/ 1372601 w 1534259"/>
              <a:gd name="connsiteY3" fmla="*/ 0 h 1241425"/>
              <a:gd name="connsiteX4" fmla="*/ 1534259 w 1534259"/>
              <a:gd name="connsiteY4" fmla="*/ 161658 h 1241425"/>
              <a:gd name="connsiteX5" fmla="*/ 1534259 w 1534259"/>
              <a:gd name="connsiteY5" fmla="*/ 1079767 h 1241425"/>
              <a:gd name="connsiteX6" fmla="*/ 1372601 w 1534259"/>
              <a:gd name="connsiteY6" fmla="*/ 1241425 h 1241425"/>
              <a:gd name="connsiteX7" fmla="*/ 170330 w 1534259"/>
              <a:gd name="connsiteY7" fmla="*/ 1241425 h 1241425"/>
              <a:gd name="connsiteX8" fmla="*/ 8672 w 1534259"/>
              <a:gd name="connsiteY8" fmla="*/ 1079767 h 1241425"/>
              <a:gd name="connsiteX9" fmla="*/ 8672 w 1534259"/>
              <a:gd name="connsiteY9" fmla="*/ 161658 h 124142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3668 h 1243435"/>
              <a:gd name="connsiteX1" fmla="*/ 10644 w 1535715"/>
              <a:gd name="connsiteY1" fmla="*/ 0 h 1243435"/>
              <a:gd name="connsiteX2" fmla="*/ 171786 w 1535715"/>
              <a:gd name="connsiteY2" fmla="*/ 2010 h 1243435"/>
              <a:gd name="connsiteX3" fmla="*/ 1374057 w 1535715"/>
              <a:gd name="connsiteY3" fmla="*/ 2010 h 1243435"/>
              <a:gd name="connsiteX4" fmla="*/ 1535715 w 1535715"/>
              <a:gd name="connsiteY4" fmla="*/ 163668 h 1243435"/>
              <a:gd name="connsiteX5" fmla="*/ 1535715 w 1535715"/>
              <a:gd name="connsiteY5" fmla="*/ 1081777 h 1243435"/>
              <a:gd name="connsiteX6" fmla="*/ 1374057 w 1535715"/>
              <a:gd name="connsiteY6" fmla="*/ 1243435 h 1243435"/>
              <a:gd name="connsiteX7" fmla="*/ 171786 w 1535715"/>
              <a:gd name="connsiteY7" fmla="*/ 1243435 h 1243435"/>
              <a:gd name="connsiteX8" fmla="*/ 10128 w 1535715"/>
              <a:gd name="connsiteY8" fmla="*/ 1081777 h 1243435"/>
              <a:gd name="connsiteX9" fmla="*/ 10128 w 1535715"/>
              <a:gd name="connsiteY9" fmla="*/ 163668 h 124343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1808 w 1537395"/>
              <a:gd name="connsiteY0" fmla="*/ 161803 h 1241570"/>
              <a:gd name="connsiteX1" fmla="*/ 12324 w 1537395"/>
              <a:gd name="connsiteY1" fmla="*/ 0 h 1241570"/>
              <a:gd name="connsiteX2" fmla="*/ 173466 w 1537395"/>
              <a:gd name="connsiteY2" fmla="*/ 145 h 1241570"/>
              <a:gd name="connsiteX3" fmla="*/ 1375737 w 1537395"/>
              <a:gd name="connsiteY3" fmla="*/ 145 h 1241570"/>
              <a:gd name="connsiteX4" fmla="*/ 1537395 w 1537395"/>
              <a:gd name="connsiteY4" fmla="*/ 161803 h 1241570"/>
              <a:gd name="connsiteX5" fmla="*/ 1537395 w 1537395"/>
              <a:gd name="connsiteY5" fmla="*/ 1079912 h 1241570"/>
              <a:gd name="connsiteX6" fmla="*/ 1375737 w 1537395"/>
              <a:gd name="connsiteY6" fmla="*/ 1241570 h 1241570"/>
              <a:gd name="connsiteX7" fmla="*/ 173466 w 1537395"/>
              <a:gd name="connsiteY7" fmla="*/ 1241570 h 1241570"/>
              <a:gd name="connsiteX8" fmla="*/ 11808 w 1537395"/>
              <a:gd name="connsiteY8" fmla="*/ 1079912 h 1241570"/>
              <a:gd name="connsiteX9" fmla="*/ 11808 w 1537395"/>
              <a:gd name="connsiteY9" fmla="*/ 161803 h 1241570"/>
              <a:gd name="connsiteX0" fmla="*/ 346 w 1525933"/>
              <a:gd name="connsiteY0" fmla="*/ 161803 h 1241570"/>
              <a:gd name="connsiteX1" fmla="*/ 862 w 1525933"/>
              <a:gd name="connsiteY1" fmla="*/ 0 h 1241570"/>
              <a:gd name="connsiteX2" fmla="*/ 162004 w 1525933"/>
              <a:gd name="connsiteY2" fmla="*/ 145 h 1241570"/>
              <a:gd name="connsiteX3" fmla="*/ 1364275 w 1525933"/>
              <a:gd name="connsiteY3" fmla="*/ 145 h 1241570"/>
              <a:gd name="connsiteX4" fmla="*/ 1525933 w 1525933"/>
              <a:gd name="connsiteY4" fmla="*/ 161803 h 1241570"/>
              <a:gd name="connsiteX5" fmla="*/ 1525933 w 1525933"/>
              <a:gd name="connsiteY5" fmla="*/ 1079912 h 1241570"/>
              <a:gd name="connsiteX6" fmla="*/ 1364275 w 1525933"/>
              <a:gd name="connsiteY6" fmla="*/ 1241570 h 1241570"/>
              <a:gd name="connsiteX7" fmla="*/ 162004 w 1525933"/>
              <a:gd name="connsiteY7" fmla="*/ 1241570 h 1241570"/>
              <a:gd name="connsiteX8" fmla="*/ 346 w 1525933"/>
              <a:gd name="connsiteY8" fmla="*/ 1079912 h 1241570"/>
              <a:gd name="connsiteX9" fmla="*/ 346 w 1525933"/>
              <a:gd name="connsiteY9" fmla="*/ 161803 h 1241570"/>
              <a:gd name="connsiteX0" fmla="*/ 872 w 1526459"/>
              <a:gd name="connsiteY0" fmla="*/ 161803 h 1241570"/>
              <a:gd name="connsiteX1" fmla="*/ 1388 w 1526459"/>
              <a:gd name="connsiteY1" fmla="*/ 0 h 1241570"/>
              <a:gd name="connsiteX2" fmla="*/ 162530 w 1526459"/>
              <a:gd name="connsiteY2" fmla="*/ 145 h 1241570"/>
              <a:gd name="connsiteX3" fmla="*/ 1364801 w 1526459"/>
              <a:gd name="connsiteY3" fmla="*/ 145 h 1241570"/>
              <a:gd name="connsiteX4" fmla="*/ 1526459 w 1526459"/>
              <a:gd name="connsiteY4" fmla="*/ 161803 h 1241570"/>
              <a:gd name="connsiteX5" fmla="*/ 1526459 w 1526459"/>
              <a:gd name="connsiteY5" fmla="*/ 1079912 h 1241570"/>
              <a:gd name="connsiteX6" fmla="*/ 1364801 w 1526459"/>
              <a:gd name="connsiteY6" fmla="*/ 1241570 h 1241570"/>
              <a:gd name="connsiteX7" fmla="*/ 162530 w 1526459"/>
              <a:gd name="connsiteY7" fmla="*/ 1241570 h 1241570"/>
              <a:gd name="connsiteX8" fmla="*/ 872 w 1526459"/>
              <a:gd name="connsiteY8" fmla="*/ 1079912 h 1241570"/>
              <a:gd name="connsiteX9" fmla="*/ 872 w 1526459"/>
              <a:gd name="connsiteY9" fmla="*/ 161803 h 1241570"/>
              <a:gd name="connsiteX0" fmla="*/ 470 w 1526057"/>
              <a:gd name="connsiteY0" fmla="*/ 161803 h 1241570"/>
              <a:gd name="connsiteX1" fmla="*/ 986 w 1526057"/>
              <a:gd name="connsiteY1" fmla="*/ 0 h 1241570"/>
              <a:gd name="connsiteX2" fmla="*/ 162128 w 1526057"/>
              <a:gd name="connsiteY2" fmla="*/ 145 h 1241570"/>
              <a:gd name="connsiteX3" fmla="*/ 1364399 w 1526057"/>
              <a:gd name="connsiteY3" fmla="*/ 145 h 1241570"/>
              <a:gd name="connsiteX4" fmla="*/ 1526057 w 1526057"/>
              <a:gd name="connsiteY4" fmla="*/ 161803 h 1241570"/>
              <a:gd name="connsiteX5" fmla="*/ 1526057 w 1526057"/>
              <a:gd name="connsiteY5" fmla="*/ 1079912 h 1241570"/>
              <a:gd name="connsiteX6" fmla="*/ 1364399 w 1526057"/>
              <a:gd name="connsiteY6" fmla="*/ 1241570 h 1241570"/>
              <a:gd name="connsiteX7" fmla="*/ 162128 w 1526057"/>
              <a:gd name="connsiteY7" fmla="*/ 1241570 h 1241570"/>
              <a:gd name="connsiteX8" fmla="*/ 470 w 1526057"/>
              <a:gd name="connsiteY8" fmla="*/ 1079912 h 1241570"/>
              <a:gd name="connsiteX9" fmla="*/ 470 w 1526057"/>
              <a:gd name="connsiteY9" fmla="*/ 161803 h 1241570"/>
              <a:gd name="connsiteX0" fmla="*/ 649 w 1526236"/>
              <a:gd name="connsiteY0" fmla="*/ 161803 h 1241570"/>
              <a:gd name="connsiteX1" fmla="*/ 1165 w 1526236"/>
              <a:gd name="connsiteY1" fmla="*/ 0 h 1241570"/>
              <a:gd name="connsiteX2" fmla="*/ 162307 w 1526236"/>
              <a:gd name="connsiteY2" fmla="*/ 145 h 1241570"/>
              <a:gd name="connsiteX3" fmla="*/ 1364578 w 1526236"/>
              <a:gd name="connsiteY3" fmla="*/ 145 h 1241570"/>
              <a:gd name="connsiteX4" fmla="*/ 1526236 w 1526236"/>
              <a:gd name="connsiteY4" fmla="*/ 161803 h 1241570"/>
              <a:gd name="connsiteX5" fmla="*/ 1526236 w 1526236"/>
              <a:gd name="connsiteY5" fmla="*/ 1079912 h 1241570"/>
              <a:gd name="connsiteX6" fmla="*/ 1364578 w 1526236"/>
              <a:gd name="connsiteY6" fmla="*/ 1241570 h 1241570"/>
              <a:gd name="connsiteX7" fmla="*/ 162307 w 1526236"/>
              <a:gd name="connsiteY7" fmla="*/ 1241570 h 1241570"/>
              <a:gd name="connsiteX8" fmla="*/ 649 w 1526236"/>
              <a:gd name="connsiteY8" fmla="*/ 1079912 h 1241570"/>
              <a:gd name="connsiteX9" fmla="*/ 649 w 1526236"/>
              <a:gd name="connsiteY9" fmla="*/ 161803 h 1241570"/>
              <a:gd name="connsiteX0" fmla="*/ 268 w 1525855"/>
              <a:gd name="connsiteY0" fmla="*/ 161803 h 1241570"/>
              <a:gd name="connsiteX1" fmla="*/ 784 w 1525855"/>
              <a:gd name="connsiteY1" fmla="*/ 0 h 1241570"/>
              <a:gd name="connsiteX2" fmla="*/ 161926 w 1525855"/>
              <a:gd name="connsiteY2" fmla="*/ 145 h 1241570"/>
              <a:gd name="connsiteX3" fmla="*/ 1364197 w 1525855"/>
              <a:gd name="connsiteY3" fmla="*/ 145 h 1241570"/>
              <a:gd name="connsiteX4" fmla="*/ 1525855 w 1525855"/>
              <a:gd name="connsiteY4" fmla="*/ 161803 h 1241570"/>
              <a:gd name="connsiteX5" fmla="*/ 1525855 w 1525855"/>
              <a:gd name="connsiteY5" fmla="*/ 1079912 h 1241570"/>
              <a:gd name="connsiteX6" fmla="*/ 1364197 w 1525855"/>
              <a:gd name="connsiteY6" fmla="*/ 1241570 h 1241570"/>
              <a:gd name="connsiteX7" fmla="*/ 161926 w 1525855"/>
              <a:gd name="connsiteY7" fmla="*/ 1241570 h 1241570"/>
              <a:gd name="connsiteX8" fmla="*/ 268 w 1525855"/>
              <a:gd name="connsiteY8" fmla="*/ 1079912 h 1241570"/>
              <a:gd name="connsiteX9" fmla="*/ 268 w 1525855"/>
              <a:gd name="connsiteY9" fmla="*/ 161803 h 1241570"/>
              <a:gd name="connsiteX0" fmla="*/ 359 w 1525946"/>
              <a:gd name="connsiteY0" fmla="*/ 161803 h 1241570"/>
              <a:gd name="connsiteX1" fmla="*/ 253 w 1525946"/>
              <a:gd name="connsiteY1" fmla="*/ 0 h 1241570"/>
              <a:gd name="connsiteX2" fmla="*/ 162017 w 1525946"/>
              <a:gd name="connsiteY2" fmla="*/ 145 h 1241570"/>
              <a:gd name="connsiteX3" fmla="*/ 1364288 w 1525946"/>
              <a:gd name="connsiteY3" fmla="*/ 145 h 1241570"/>
              <a:gd name="connsiteX4" fmla="*/ 1525946 w 1525946"/>
              <a:gd name="connsiteY4" fmla="*/ 161803 h 1241570"/>
              <a:gd name="connsiteX5" fmla="*/ 1525946 w 1525946"/>
              <a:gd name="connsiteY5" fmla="*/ 1079912 h 1241570"/>
              <a:gd name="connsiteX6" fmla="*/ 1364288 w 1525946"/>
              <a:gd name="connsiteY6" fmla="*/ 1241570 h 1241570"/>
              <a:gd name="connsiteX7" fmla="*/ 162017 w 1525946"/>
              <a:gd name="connsiteY7" fmla="*/ 1241570 h 1241570"/>
              <a:gd name="connsiteX8" fmla="*/ 359 w 1525946"/>
              <a:gd name="connsiteY8" fmla="*/ 1079912 h 1241570"/>
              <a:gd name="connsiteX9" fmla="*/ 359 w 1525946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364035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25693" h="1241570">
                <a:moveTo>
                  <a:pt x="106" y="161803"/>
                </a:moveTo>
                <a:cubicBezTo>
                  <a:pt x="-210" y="159620"/>
                  <a:pt x="409" y="7672"/>
                  <a:pt x="0" y="0"/>
                </a:cubicBezTo>
                <a:cubicBezTo>
                  <a:pt x="6219" y="388"/>
                  <a:pt x="110655" y="450"/>
                  <a:pt x="161764" y="145"/>
                </a:cubicBezTo>
                <a:lnTo>
                  <a:pt x="1364035" y="145"/>
                </a:lnTo>
                <a:cubicBezTo>
                  <a:pt x="1453316" y="145"/>
                  <a:pt x="1525693" y="72522"/>
                  <a:pt x="1525693" y="161803"/>
                </a:cubicBezTo>
                <a:lnTo>
                  <a:pt x="1525693" y="1079912"/>
                </a:lnTo>
                <a:cubicBezTo>
                  <a:pt x="1525693" y="1169193"/>
                  <a:pt x="1453316" y="1241570"/>
                  <a:pt x="1364035" y="1241570"/>
                </a:cubicBezTo>
                <a:lnTo>
                  <a:pt x="161764" y="1241570"/>
                </a:lnTo>
                <a:cubicBezTo>
                  <a:pt x="72483" y="1241570"/>
                  <a:pt x="106" y="1169193"/>
                  <a:pt x="106" y="1079912"/>
                </a:cubicBezTo>
                <a:lnTo>
                  <a:pt x="106" y="1618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tIns="0" bIns="252000" anchor="b"/>
          <a:lstStyle>
            <a:lvl1pPr marL="0" indent="0" algn="ctr">
              <a:buNone/>
              <a:defRPr sz="2806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nl-NL" noProof="0"/>
          </a:p>
        </p:txBody>
      </p:sp>
      <p:sp>
        <p:nvSpPr>
          <p:cNvPr id="30" name="Tijdelijke aanduiding voor tekst 2">
            <a:extLst>
              <a:ext uri="{FF2B5EF4-FFF2-40B4-BE49-F238E27FC236}">
                <a16:creationId xmlns:a16="http://schemas.microsoft.com/office/drawing/2014/main" id="{9D2AC618-ACAD-484E-BBCB-91B7EBF7B70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533803" y="13275428"/>
            <a:ext cx="25627524" cy="5476873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089185" y="2382"/>
                </a:lnTo>
                <a:cubicBezTo>
                  <a:pt x="7208841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08841" y="1240632"/>
                  <a:pt x="7089185" y="1240632"/>
                </a:cubicBezTo>
                <a:lnTo>
                  <a:pt x="216824" y="1240632"/>
                </a:lnTo>
                <a:cubicBezTo>
                  <a:pt x="9716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>
              <a:spcAft>
                <a:spcPts val="0"/>
              </a:spcAft>
              <a:defRPr sz="4209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31" name="Tijdelijke aanduiding voor afbeelding 6">
            <a:extLst>
              <a:ext uri="{FF2B5EF4-FFF2-40B4-BE49-F238E27FC236}">
                <a16:creationId xmlns:a16="http://schemas.microsoft.com/office/drawing/2014/main" id="{6EAA7FFB-E40E-4744-8AF0-0E4BEE5C22A0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1696814" y="13269468"/>
            <a:ext cx="5345254" cy="5474264"/>
          </a:xfrm>
          <a:custGeom>
            <a:avLst/>
            <a:gdLst>
              <a:gd name="connsiteX0" fmla="*/ 0 w 1525587"/>
              <a:gd name="connsiteY0" fmla="*/ 161658 h 1241425"/>
              <a:gd name="connsiteX1" fmla="*/ 161658 w 1525587"/>
              <a:gd name="connsiteY1" fmla="*/ 0 h 1241425"/>
              <a:gd name="connsiteX2" fmla="*/ 1363929 w 1525587"/>
              <a:gd name="connsiteY2" fmla="*/ 0 h 1241425"/>
              <a:gd name="connsiteX3" fmla="*/ 1525587 w 1525587"/>
              <a:gd name="connsiteY3" fmla="*/ 161658 h 1241425"/>
              <a:gd name="connsiteX4" fmla="*/ 1525587 w 1525587"/>
              <a:gd name="connsiteY4" fmla="*/ 1079767 h 1241425"/>
              <a:gd name="connsiteX5" fmla="*/ 1363929 w 1525587"/>
              <a:gd name="connsiteY5" fmla="*/ 1241425 h 1241425"/>
              <a:gd name="connsiteX6" fmla="*/ 161658 w 1525587"/>
              <a:gd name="connsiteY6" fmla="*/ 1241425 h 1241425"/>
              <a:gd name="connsiteX7" fmla="*/ 0 w 1525587"/>
              <a:gd name="connsiteY7" fmla="*/ 1079767 h 1241425"/>
              <a:gd name="connsiteX8" fmla="*/ 0 w 1525587"/>
              <a:gd name="connsiteY8" fmla="*/ 161658 h 1241425"/>
              <a:gd name="connsiteX0" fmla="*/ 0 w 1525587"/>
              <a:gd name="connsiteY0" fmla="*/ 161658 h 1241425"/>
              <a:gd name="connsiteX1" fmla="*/ 42862 w 1525587"/>
              <a:gd name="connsiteY1" fmla="*/ 48418 h 1241425"/>
              <a:gd name="connsiteX2" fmla="*/ 161658 w 1525587"/>
              <a:gd name="connsiteY2" fmla="*/ 0 h 1241425"/>
              <a:gd name="connsiteX3" fmla="*/ 1363929 w 1525587"/>
              <a:gd name="connsiteY3" fmla="*/ 0 h 1241425"/>
              <a:gd name="connsiteX4" fmla="*/ 1525587 w 1525587"/>
              <a:gd name="connsiteY4" fmla="*/ 161658 h 1241425"/>
              <a:gd name="connsiteX5" fmla="*/ 1525587 w 1525587"/>
              <a:gd name="connsiteY5" fmla="*/ 1079767 h 1241425"/>
              <a:gd name="connsiteX6" fmla="*/ 1363929 w 1525587"/>
              <a:gd name="connsiteY6" fmla="*/ 1241425 h 1241425"/>
              <a:gd name="connsiteX7" fmla="*/ 161658 w 1525587"/>
              <a:gd name="connsiteY7" fmla="*/ 1241425 h 1241425"/>
              <a:gd name="connsiteX8" fmla="*/ 0 w 1525587"/>
              <a:gd name="connsiteY8" fmla="*/ 1079767 h 1241425"/>
              <a:gd name="connsiteX9" fmla="*/ 0 w 1525587"/>
              <a:gd name="connsiteY9" fmla="*/ 161658 h 1241425"/>
              <a:gd name="connsiteX0" fmla="*/ 8672 w 1534259"/>
              <a:gd name="connsiteY0" fmla="*/ 165982 h 1245749"/>
              <a:gd name="connsiteX1" fmla="*/ 11053 w 1534259"/>
              <a:gd name="connsiteY1" fmla="*/ 12261 h 1245749"/>
              <a:gd name="connsiteX2" fmla="*/ 170330 w 1534259"/>
              <a:gd name="connsiteY2" fmla="*/ 4324 h 1245749"/>
              <a:gd name="connsiteX3" fmla="*/ 1372601 w 1534259"/>
              <a:gd name="connsiteY3" fmla="*/ 4324 h 1245749"/>
              <a:gd name="connsiteX4" fmla="*/ 1534259 w 1534259"/>
              <a:gd name="connsiteY4" fmla="*/ 165982 h 1245749"/>
              <a:gd name="connsiteX5" fmla="*/ 1534259 w 1534259"/>
              <a:gd name="connsiteY5" fmla="*/ 1084091 h 1245749"/>
              <a:gd name="connsiteX6" fmla="*/ 1372601 w 1534259"/>
              <a:gd name="connsiteY6" fmla="*/ 1245749 h 1245749"/>
              <a:gd name="connsiteX7" fmla="*/ 170330 w 1534259"/>
              <a:gd name="connsiteY7" fmla="*/ 1245749 h 1245749"/>
              <a:gd name="connsiteX8" fmla="*/ 8672 w 1534259"/>
              <a:gd name="connsiteY8" fmla="*/ 1084091 h 1245749"/>
              <a:gd name="connsiteX9" fmla="*/ 8672 w 1534259"/>
              <a:gd name="connsiteY9" fmla="*/ 165982 h 1245749"/>
              <a:gd name="connsiteX0" fmla="*/ 8672 w 1534259"/>
              <a:gd name="connsiteY0" fmla="*/ 167890 h 1247657"/>
              <a:gd name="connsiteX1" fmla="*/ 11053 w 1534259"/>
              <a:gd name="connsiteY1" fmla="*/ 14169 h 1247657"/>
              <a:gd name="connsiteX2" fmla="*/ 170330 w 1534259"/>
              <a:gd name="connsiteY2" fmla="*/ 6232 h 1247657"/>
              <a:gd name="connsiteX3" fmla="*/ 1372601 w 1534259"/>
              <a:gd name="connsiteY3" fmla="*/ 6232 h 1247657"/>
              <a:gd name="connsiteX4" fmla="*/ 1534259 w 1534259"/>
              <a:gd name="connsiteY4" fmla="*/ 167890 h 1247657"/>
              <a:gd name="connsiteX5" fmla="*/ 1534259 w 1534259"/>
              <a:gd name="connsiteY5" fmla="*/ 1085999 h 1247657"/>
              <a:gd name="connsiteX6" fmla="*/ 1372601 w 1534259"/>
              <a:gd name="connsiteY6" fmla="*/ 1247657 h 1247657"/>
              <a:gd name="connsiteX7" fmla="*/ 170330 w 1534259"/>
              <a:gd name="connsiteY7" fmla="*/ 1247657 h 1247657"/>
              <a:gd name="connsiteX8" fmla="*/ 8672 w 1534259"/>
              <a:gd name="connsiteY8" fmla="*/ 1085999 h 1247657"/>
              <a:gd name="connsiteX9" fmla="*/ 8672 w 1534259"/>
              <a:gd name="connsiteY9" fmla="*/ 167890 h 1247657"/>
              <a:gd name="connsiteX0" fmla="*/ 8672 w 1534259"/>
              <a:gd name="connsiteY0" fmla="*/ 161658 h 1241425"/>
              <a:gd name="connsiteX1" fmla="*/ 11053 w 1534259"/>
              <a:gd name="connsiteY1" fmla="*/ 7937 h 1241425"/>
              <a:gd name="connsiteX2" fmla="*/ 170330 w 1534259"/>
              <a:gd name="connsiteY2" fmla="*/ 0 h 1241425"/>
              <a:gd name="connsiteX3" fmla="*/ 1372601 w 1534259"/>
              <a:gd name="connsiteY3" fmla="*/ 0 h 1241425"/>
              <a:gd name="connsiteX4" fmla="*/ 1534259 w 1534259"/>
              <a:gd name="connsiteY4" fmla="*/ 161658 h 1241425"/>
              <a:gd name="connsiteX5" fmla="*/ 1534259 w 1534259"/>
              <a:gd name="connsiteY5" fmla="*/ 1079767 h 1241425"/>
              <a:gd name="connsiteX6" fmla="*/ 1372601 w 1534259"/>
              <a:gd name="connsiteY6" fmla="*/ 1241425 h 1241425"/>
              <a:gd name="connsiteX7" fmla="*/ 170330 w 1534259"/>
              <a:gd name="connsiteY7" fmla="*/ 1241425 h 1241425"/>
              <a:gd name="connsiteX8" fmla="*/ 8672 w 1534259"/>
              <a:gd name="connsiteY8" fmla="*/ 1079767 h 1241425"/>
              <a:gd name="connsiteX9" fmla="*/ 8672 w 1534259"/>
              <a:gd name="connsiteY9" fmla="*/ 161658 h 124142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3668 h 1243435"/>
              <a:gd name="connsiteX1" fmla="*/ 10644 w 1535715"/>
              <a:gd name="connsiteY1" fmla="*/ 0 h 1243435"/>
              <a:gd name="connsiteX2" fmla="*/ 171786 w 1535715"/>
              <a:gd name="connsiteY2" fmla="*/ 2010 h 1243435"/>
              <a:gd name="connsiteX3" fmla="*/ 1374057 w 1535715"/>
              <a:gd name="connsiteY3" fmla="*/ 2010 h 1243435"/>
              <a:gd name="connsiteX4" fmla="*/ 1535715 w 1535715"/>
              <a:gd name="connsiteY4" fmla="*/ 163668 h 1243435"/>
              <a:gd name="connsiteX5" fmla="*/ 1535715 w 1535715"/>
              <a:gd name="connsiteY5" fmla="*/ 1081777 h 1243435"/>
              <a:gd name="connsiteX6" fmla="*/ 1374057 w 1535715"/>
              <a:gd name="connsiteY6" fmla="*/ 1243435 h 1243435"/>
              <a:gd name="connsiteX7" fmla="*/ 171786 w 1535715"/>
              <a:gd name="connsiteY7" fmla="*/ 1243435 h 1243435"/>
              <a:gd name="connsiteX8" fmla="*/ 10128 w 1535715"/>
              <a:gd name="connsiteY8" fmla="*/ 1081777 h 1243435"/>
              <a:gd name="connsiteX9" fmla="*/ 10128 w 1535715"/>
              <a:gd name="connsiteY9" fmla="*/ 163668 h 124343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1808 w 1537395"/>
              <a:gd name="connsiteY0" fmla="*/ 161803 h 1241570"/>
              <a:gd name="connsiteX1" fmla="*/ 12324 w 1537395"/>
              <a:gd name="connsiteY1" fmla="*/ 0 h 1241570"/>
              <a:gd name="connsiteX2" fmla="*/ 173466 w 1537395"/>
              <a:gd name="connsiteY2" fmla="*/ 145 h 1241570"/>
              <a:gd name="connsiteX3" fmla="*/ 1375737 w 1537395"/>
              <a:gd name="connsiteY3" fmla="*/ 145 h 1241570"/>
              <a:gd name="connsiteX4" fmla="*/ 1537395 w 1537395"/>
              <a:gd name="connsiteY4" fmla="*/ 161803 h 1241570"/>
              <a:gd name="connsiteX5" fmla="*/ 1537395 w 1537395"/>
              <a:gd name="connsiteY5" fmla="*/ 1079912 h 1241570"/>
              <a:gd name="connsiteX6" fmla="*/ 1375737 w 1537395"/>
              <a:gd name="connsiteY6" fmla="*/ 1241570 h 1241570"/>
              <a:gd name="connsiteX7" fmla="*/ 173466 w 1537395"/>
              <a:gd name="connsiteY7" fmla="*/ 1241570 h 1241570"/>
              <a:gd name="connsiteX8" fmla="*/ 11808 w 1537395"/>
              <a:gd name="connsiteY8" fmla="*/ 1079912 h 1241570"/>
              <a:gd name="connsiteX9" fmla="*/ 11808 w 1537395"/>
              <a:gd name="connsiteY9" fmla="*/ 161803 h 1241570"/>
              <a:gd name="connsiteX0" fmla="*/ 346 w 1525933"/>
              <a:gd name="connsiteY0" fmla="*/ 161803 h 1241570"/>
              <a:gd name="connsiteX1" fmla="*/ 862 w 1525933"/>
              <a:gd name="connsiteY1" fmla="*/ 0 h 1241570"/>
              <a:gd name="connsiteX2" fmla="*/ 162004 w 1525933"/>
              <a:gd name="connsiteY2" fmla="*/ 145 h 1241570"/>
              <a:gd name="connsiteX3" fmla="*/ 1364275 w 1525933"/>
              <a:gd name="connsiteY3" fmla="*/ 145 h 1241570"/>
              <a:gd name="connsiteX4" fmla="*/ 1525933 w 1525933"/>
              <a:gd name="connsiteY4" fmla="*/ 161803 h 1241570"/>
              <a:gd name="connsiteX5" fmla="*/ 1525933 w 1525933"/>
              <a:gd name="connsiteY5" fmla="*/ 1079912 h 1241570"/>
              <a:gd name="connsiteX6" fmla="*/ 1364275 w 1525933"/>
              <a:gd name="connsiteY6" fmla="*/ 1241570 h 1241570"/>
              <a:gd name="connsiteX7" fmla="*/ 162004 w 1525933"/>
              <a:gd name="connsiteY7" fmla="*/ 1241570 h 1241570"/>
              <a:gd name="connsiteX8" fmla="*/ 346 w 1525933"/>
              <a:gd name="connsiteY8" fmla="*/ 1079912 h 1241570"/>
              <a:gd name="connsiteX9" fmla="*/ 346 w 1525933"/>
              <a:gd name="connsiteY9" fmla="*/ 161803 h 1241570"/>
              <a:gd name="connsiteX0" fmla="*/ 872 w 1526459"/>
              <a:gd name="connsiteY0" fmla="*/ 161803 h 1241570"/>
              <a:gd name="connsiteX1" fmla="*/ 1388 w 1526459"/>
              <a:gd name="connsiteY1" fmla="*/ 0 h 1241570"/>
              <a:gd name="connsiteX2" fmla="*/ 162530 w 1526459"/>
              <a:gd name="connsiteY2" fmla="*/ 145 h 1241570"/>
              <a:gd name="connsiteX3" fmla="*/ 1364801 w 1526459"/>
              <a:gd name="connsiteY3" fmla="*/ 145 h 1241570"/>
              <a:gd name="connsiteX4" fmla="*/ 1526459 w 1526459"/>
              <a:gd name="connsiteY4" fmla="*/ 161803 h 1241570"/>
              <a:gd name="connsiteX5" fmla="*/ 1526459 w 1526459"/>
              <a:gd name="connsiteY5" fmla="*/ 1079912 h 1241570"/>
              <a:gd name="connsiteX6" fmla="*/ 1364801 w 1526459"/>
              <a:gd name="connsiteY6" fmla="*/ 1241570 h 1241570"/>
              <a:gd name="connsiteX7" fmla="*/ 162530 w 1526459"/>
              <a:gd name="connsiteY7" fmla="*/ 1241570 h 1241570"/>
              <a:gd name="connsiteX8" fmla="*/ 872 w 1526459"/>
              <a:gd name="connsiteY8" fmla="*/ 1079912 h 1241570"/>
              <a:gd name="connsiteX9" fmla="*/ 872 w 1526459"/>
              <a:gd name="connsiteY9" fmla="*/ 161803 h 1241570"/>
              <a:gd name="connsiteX0" fmla="*/ 470 w 1526057"/>
              <a:gd name="connsiteY0" fmla="*/ 161803 h 1241570"/>
              <a:gd name="connsiteX1" fmla="*/ 986 w 1526057"/>
              <a:gd name="connsiteY1" fmla="*/ 0 h 1241570"/>
              <a:gd name="connsiteX2" fmla="*/ 162128 w 1526057"/>
              <a:gd name="connsiteY2" fmla="*/ 145 h 1241570"/>
              <a:gd name="connsiteX3" fmla="*/ 1364399 w 1526057"/>
              <a:gd name="connsiteY3" fmla="*/ 145 h 1241570"/>
              <a:gd name="connsiteX4" fmla="*/ 1526057 w 1526057"/>
              <a:gd name="connsiteY4" fmla="*/ 161803 h 1241570"/>
              <a:gd name="connsiteX5" fmla="*/ 1526057 w 1526057"/>
              <a:gd name="connsiteY5" fmla="*/ 1079912 h 1241570"/>
              <a:gd name="connsiteX6" fmla="*/ 1364399 w 1526057"/>
              <a:gd name="connsiteY6" fmla="*/ 1241570 h 1241570"/>
              <a:gd name="connsiteX7" fmla="*/ 162128 w 1526057"/>
              <a:gd name="connsiteY7" fmla="*/ 1241570 h 1241570"/>
              <a:gd name="connsiteX8" fmla="*/ 470 w 1526057"/>
              <a:gd name="connsiteY8" fmla="*/ 1079912 h 1241570"/>
              <a:gd name="connsiteX9" fmla="*/ 470 w 1526057"/>
              <a:gd name="connsiteY9" fmla="*/ 161803 h 1241570"/>
              <a:gd name="connsiteX0" fmla="*/ 649 w 1526236"/>
              <a:gd name="connsiteY0" fmla="*/ 161803 h 1241570"/>
              <a:gd name="connsiteX1" fmla="*/ 1165 w 1526236"/>
              <a:gd name="connsiteY1" fmla="*/ 0 h 1241570"/>
              <a:gd name="connsiteX2" fmla="*/ 162307 w 1526236"/>
              <a:gd name="connsiteY2" fmla="*/ 145 h 1241570"/>
              <a:gd name="connsiteX3" fmla="*/ 1364578 w 1526236"/>
              <a:gd name="connsiteY3" fmla="*/ 145 h 1241570"/>
              <a:gd name="connsiteX4" fmla="*/ 1526236 w 1526236"/>
              <a:gd name="connsiteY4" fmla="*/ 161803 h 1241570"/>
              <a:gd name="connsiteX5" fmla="*/ 1526236 w 1526236"/>
              <a:gd name="connsiteY5" fmla="*/ 1079912 h 1241570"/>
              <a:gd name="connsiteX6" fmla="*/ 1364578 w 1526236"/>
              <a:gd name="connsiteY6" fmla="*/ 1241570 h 1241570"/>
              <a:gd name="connsiteX7" fmla="*/ 162307 w 1526236"/>
              <a:gd name="connsiteY7" fmla="*/ 1241570 h 1241570"/>
              <a:gd name="connsiteX8" fmla="*/ 649 w 1526236"/>
              <a:gd name="connsiteY8" fmla="*/ 1079912 h 1241570"/>
              <a:gd name="connsiteX9" fmla="*/ 649 w 1526236"/>
              <a:gd name="connsiteY9" fmla="*/ 161803 h 1241570"/>
              <a:gd name="connsiteX0" fmla="*/ 268 w 1525855"/>
              <a:gd name="connsiteY0" fmla="*/ 161803 h 1241570"/>
              <a:gd name="connsiteX1" fmla="*/ 784 w 1525855"/>
              <a:gd name="connsiteY1" fmla="*/ 0 h 1241570"/>
              <a:gd name="connsiteX2" fmla="*/ 161926 w 1525855"/>
              <a:gd name="connsiteY2" fmla="*/ 145 h 1241570"/>
              <a:gd name="connsiteX3" fmla="*/ 1364197 w 1525855"/>
              <a:gd name="connsiteY3" fmla="*/ 145 h 1241570"/>
              <a:gd name="connsiteX4" fmla="*/ 1525855 w 1525855"/>
              <a:gd name="connsiteY4" fmla="*/ 161803 h 1241570"/>
              <a:gd name="connsiteX5" fmla="*/ 1525855 w 1525855"/>
              <a:gd name="connsiteY5" fmla="*/ 1079912 h 1241570"/>
              <a:gd name="connsiteX6" fmla="*/ 1364197 w 1525855"/>
              <a:gd name="connsiteY6" fmla="*/ 1241570 h 1241570"/>
              <a:gd name="connsiteX7" fmla="*/ 161926 w 1525855"/>
              <a:gd name="connsiteY7" fmla="*/ 1241570 h 1241570"/>
              <a:gd name="connsiteX8" fmla="*/ 268 w 1525855"/>
              <a:gd name="connsiteY8" fmla="*/ 1079912 h 1241570"/>
              <a:gd name="connsiteX9" fmla="*/ 268 w 1525855"/>
              <a:gd name="connsiteY9" fmla="*/ 161803 h 1241570"/>
              <a:gd name="connsiteX0" fmla="*/ 359 w 1525946"/>
              <a:gd name="connsiteY0" fmla="*/ 161803 h 1241570"/>
              <a:gd name="connsiteX1" fmla="*/ 253 w 1525946"/>
              <a:gd name="connsiteY1" fmla="*/ 0 h 1241570"/>
              <a:gd name="connsiteX2" fmla="*/ 162017 w 1525946"/>
              <a:gd name="connsiteY2" fmla="*/ 145 h 1241570"/>
              <a:gd name="connsiteX3" fmla="*/ 1364288 w 1525946"/>
              <a:gd name="connsiteY3" fmla="*/ 145 h 1241570"/>
              <a:gd name="connsiteX4" fmla="*/ 1525946 w 1525946"/>
              <a:gd name="connsiteY4" fmla="*/ 161803 h 1241570"/>
              <a:gd name="connsiteX5" fmla="*/ 1525946 w 1525946"/>
              <a:gd name="connsiteY5" fmla="*/ 1079912 h 1241570"/>
              <a:gd name="connsiteX6" fmla="*/ 1364288 w 1525946"/>
              <a:gd name="connsiteY6" fmla="*/ 1241570 h 1241570"/>
              <a:gd name="connsiteX7" fmla="*/ 162017 w 1525946"/>
              <a:gd name="connsiteY7" fmla="*/ 1241570 h 1241570"/>
              <a:gd name="connsiteX8" fmla="*/ 359 w 1525946"/>
              <a:gd name="connsiteY8" fmla="*/ 1079912 h 1241570"/>
              <a:gd name="connsiteX9" fmla="*/ 359 w 1525946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364035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25693" h="1241570">
                <a:moveTo>
                  <a:pt x="106" y="161803"/>
                </a:moveTo>
                <a:cubicBezTo>
                  <a:pt x="-210" y="159620"/>
                  <a:pt x="409" y="7672"/>
                  <a:pt x="0" y="0"/>
                </a:cubicBezTo>
                <a:cubicBezTo>
                  <a:pt x="6219" y="388"/>
                  <a:pt x="110655" y="450"/>
                  <a:pt x="161764" y="145"/>
                </a:cubicBezTo>
                <a:lnTo>
                  <a:pt x="1364035" y="145"/>
                </a:lnTo>
                <a:cubicBezTo>
                  <a:pt x="1453316" y="145"/>
                  <a:pt x="1525693" y="72522"/>
                  <a:pt x="1525693" y="161803"/>
                </a:cubicBezTo>
                <a:lnTo>
                  <a:pt x="1525693" y="1079912"/>
                </a:lnTo>
                <a:cubicBezTo>
                  <a:pt x="1525693" y="1169193"/>
                  <a:pt x="1453316" y="1241570"/>
                  <a:pt x="1364035" y="1241570"/>
                </a:cubicBezTo>
                <a:lnTo>
                  <a:pt x="161764" y="1241570"/>
                </a:lnTo>
                <a:cubicBezTo>
                  <a:pt x="72483" y="1241570"/>
                  <a:pt x="106" y="1169193"/>
                  <a:pt x="106" y="1079912"/>
                </a:cubicBezTo>
                <a:lnTo>
                  <a:pt x="106" y="1618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tIns="0" bIns="252000" anchor="b"/>
          <a:lstStyle>
            <a:lvl1pPr marL="0" indent="0" algn="ctr">
              <a:buNone/>
              <a:defRPr sz="2806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nl-NL" noProof="0"/>
          </a:p>
        </p:txBody>
      </p:sp>
      <p:sp>
        <p:nvSpPr>
          <p:cNvPr id="32" name="Tijdelijke aanduiding voor tekst 2">
            <a:extLst>
              <a:ext uri="{FF2B5EF4-FFF2-40B4-BE49-F238E27FC236}">
                <a16:creationId xmlns:a16="http://schemas.microsoft.com/office/drawing/2014/main" id="{F4636EEB-5D3E-40A6-BA1D-52AAF0683C6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533803" y="20234339"/>
            <a:ext cx="25627524" cy="5476873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089185" y="2382"/>
                </a:lnTo>
                <a:cubicBezTo>
                  <a:pt x="7208841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08841" y="1240632"/>
                  <a:pt x="7089185" y="1240632"/>
                </a:cubicBezTo>
                <a:lnTo>
                  <a:pt x="216824" y="1240632"/>
                </a:lnTo>
                <a:cubicBezTo>
                  <a:pt x="9716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>
              <a:spcAft>
                <a:spcPts val="0"/>
              </a:spcAft>
              <a:defRPr sz="4209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33" name="Tijdelijke aanduiding voor afbeelding 6">
            <a:extLst>
              <a:ext uri="{FF2B5EF4-FFF2-40B4-BE49-F238E27FC236}">
                <a16:creationId xmlns:a16="http://schemas.microsoft.com/office/drawing/2014/main" id="{E282FF1F-8DC9-4A36-8B0E-4868FD1C3CCE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1696814" y="20228383"/>
            <a:ext cx="5345254" cy="5474264"/>
          </a:xfrm>
          <a:custGeom>
            <a:avLst/>
            <a:gdLst>
              <a:gd name="connsiteX0" fmla="*/ 0 w 1525587"/>
              <a:gd name="connsiteY0" fmla="*/ 161658 h 1241425"/>
              <a:gd name="connsiteX1" fmla="*/ 161658 w 1525587"/>
              <a:gd name="connsiteY1" fmla="*/ 0 h 1241425"/>
              <a:gd name="connsiteX2" fmla="*/ 1363929 w 1525587"/>
              <a:gd name="connsiteY2" fmla="*/ 0 h 1241425"/>
              <a:gd name="connsiteX3" fmla="*/ 1525587 w 1525587"/>
              <a:gd name="connsiteY3" fmla="*/ 161658 h 1241425"/>
              <a:gd name="connsiteX4" fmla="*/ 1525587 w 1525587"/>
              <a:gd name="connsiteY4" fmla="*/ 1079767 h 1241425"/>
              <a:gd name="connsiteX5" fmla="*/ 1363929 w 1525587"/>
              <a:gd name="connsiteY5" fmla="*/ 1241425 h 1241425"/>
              <a:gd name="connsiteX6" fmla="*/ 161658 w 1525587"/>
              <a:gd name="connsiteY6" fmla="*/ 1241425 h 1241425"/>
              <a:gd name="connsiteX7" fmla="*/ 0 w 1525587"/>
              <a:gd name="connsiteY7" fmla="*/ 1079767 h 1241425"/>
              <a:gd name="connsiteX8" fmla="*/ 0 w 1525587"/>
              <a:gd name="connsiteY8" fmla="*/ 161658 h 1241425"/>
              <a:gd name="connsiteX0" fmla="*/ 0 w 1525587"/>
              <a:gd name="connsiteY0" fmla="*/ 161658 h 1241425"/>
              <a:gd name="connsiteX1" fmla="*/ 42862 w 1525587"/>
              <a:gd name="connsiteY1" fmla="*/ 48418 h 1241425"/>
              <a:gd name="connsiteX2" fmla="*/ 161658 w 1525587"/>
              <a:gd name="connsiteY2" fmla="*/ 0 h 1241425"/>
              <a:gd name="connsiteX3" fmla="*/ 1363929 w 1525587"/>
              <a:gd name="connsiteY3" fmla="*/ 0 h 1241425"/>
              <a:gd name="connsiteX4" fmla="*/ 1525587 w 1525587"/>
              <a:gd name="connsiteY4" fmla="*/ 161658 h 1241425"/>
              <a:gd name="connsiteX5" fmla="*/ 1525587 w 1525587"/>
              <a:gd name="connsiteY5" fmla="*/ 1079767 h 1241425"/>
              <a:gd name="connsiteX6" fmla="*/ 1363929 w 1525587"/>
              <a:gd name="connsiteY6" fmla="*/ 1241425 h 1241425"/>
              <a:gd name="connsiteX7" fmla="*/ 161658 w 1525587"/>
              <a:gd name="connsiteY7" fmla="*/ 1241425 h 1241425"/>
              <a:gd name="connsiteX8" fmla="*/ 0 w 1525587"/>
              <a:gd name="connsiteY8" fmla="*/ 1079767 h 1241425"/>
              <a:gd name="connsiteX9" fmla="*/ 0 w 1525587"/>
              <a:gd name="connsiteY9" fmla="*/ 161658 h 1241425"/>
              <a:gd name="connsiteX0" fmla="*/ 8672 w 1534259"/>
              <a:gd name="connsiteY0" fmla="*/ 165982 h 1245749"/>
              <a:gd name="connsiteX1" fmla="*/ 11053 w 1534259"/>
              <a:gd name="connsiteY1" fmla="*/ 12261 h 1245749"/>
              <a:gd name="connsiteX2" fmla="*/ 170330 w 1534259"/>
              <a:gd name="connsiteY2" fmla="*/ 4324 h 1245749"/>
              <a:gd name="connsiteX3" fmla="*/ 1372601 w 1534259"/>
              <a:gd name="connsiteY3" fmla="*/ 4324 h 1245749"/>
              <a:gd name="connsiteX4" fmla="*/ 1534259 w 1534259"/>
              <a:gd name="connsiteY4" fmla="*/ 165982 h 1245749"/>
              <a:gd name="connsiteX5" fmla="*/ 1534259 w 1534259"/>
              <a:gd name="connsiteY5" fmla="*/ 1084091 h 1245749"/>
              <a:gd name="connsiteX6" fmla="*/ 1372601 w 1534259"/>
              <a:gd name="connsiteY6" fmla="*/ 1245749 h 1245749"/>
              <a:gd name="connsiteX7" fmla="*/ 170330 w 1534259"/>
              <a:gd name="connsiteY7" fmla="*/ 1245749 h 1245749"/>
              <a:gd name="connsiteX8" fmla="*/ 8672 w 1534259"/>
              <a:gd name="connsiteY8" fmla="*/ 1084091 h 1245749"/>
              <a:gd name="connsiteX9" fmla="*/ 8672 w 1534259"/>
              <a:gd name="connsiteY9" fmla="*/ 165982 h 1245749"/>
              <a:gd name="connsiteX0" fmla="*/ 8672 w 1534259"/>
              <a:gd name="connsiteY0" fmla="*/ 167890 h 1247657"/>
              <a:gd name="connsiteX1" fmla="*/ 11053 w 1534259"/>
              <a:gd name="connsiteY1" fmla="*/ 14169 h 1247657"/>
              <a:gd name="connsiteX2" fmla="*/ 170330 w 1534259"/>
              <a:gd name="connsiteY2" fmla="*/ 6232 h 1247657"/>
              <a:gd name="connsiteX3" fmla="*/ 1372601 w 1534259"/>
              <a:gd name="connsiteY3" fmla="*/ 6232 h 1247657"/>
              <a:gd name="connsiteX4" fmla="*/ 1534259 w 1534259"/>
              <a:gd name="connsiteY4" fmla="*/ 167890 h 1247657"/>
              <a:gd name="connsiteX5" fmla="*/ 1534259 w 1534259"/>
              <a:gd name="connsiteY5" fmla="*/ 1085999 h 1247657"/>
              <a:gd name="connsiteX6" fmla="*/ 1372601 w 1534259"/>
              <a:gd name="connsiteY6" fmla="*/ 1247657 h 1247657"/>
              <a:gd name="connsiteX7" fmla="*/ 170330 w 1534259"/>
              <a:gd name="connsiteY7" fmla="*/ 1247657 h 1247657"/>
              <a:gd name="connsiteX8" fmla="*/ 8672 w 1534259"/>
              <a:gd name="connsiteY8" fmla="*/ 1085999 h 1247657"/>
              <a:gd name="connsiteX9" fmla="*/ 8672 w 1534259"/>
              <a:gd name="connsiteY9" fmla="*/ 167890 h 1247657"/>
              <a:gd name="connsiteX0" fmla="*/ 8672 w 1534259"/>
              <a:gd name="connsiteY0" fmla="*/ 161658 h 1241425"/>
              <a:gd name="connsiteX1" fmla="*/ 11053 w 1534259"/>
              <a:gd name="connsiteY1" fmla="*/ 7937 h 1241425"/>
              <a:gd name="connsiteX2" fmla="*/ 170330 w 1534259"/>
              <a:gd name="connsiteY2" fmla="*/ 0 h 1241425"/>
              <a:gd name="connsiteX3" fmla="*/ 1372601 w 1534259"/>
              <a:gd name="connsiteY3" fmla="*/ 0 h 1241425"/>
              <a:gd name="connsiteX4" fmla="*/ 1534259 w 1534259"/>
              <a:gd name="connsiteY4" fmla="*/ 161658 h 1241425"/>
              <a:gd name="connsiteX5" fmla="*/ 1534259 w 1534259"/>
              <a:gd name="connsiteY5" fmla="*/ 1079767 h 1241425"/>
              <a:gd name="connsiteX6" fmla="*/ 1372601 w 1534259"/>
              <a:gd name="connsiteY6" fmla="*/ 1241425 h 1241425"/>
              <a:gd name="connsiteX7" fmla="*/ 170330 w 1534259"/>
              <a:gd name="connsiteY7" fmla="*/ 1241425 h 1241425"/>
              <a:gd name="connsiteX8" fmla="*/ 8672 w 1534259"/>
              <a:gd name="connsiteY8" fmla="*/ 1079767 h 1241425"/>
              <a:gd name="connsiteX9" fmla="*/ 8672 w 1534259"/>
              <a:gd name="connsiteY9" fmla="*/ 161658 h 124142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3668 h 1243435"/>
              <a:gd name="connsiteX1" fmla="*/ 10644 w 1535715"/>
              <a:gd name="connsiteY1" fmla="*/ 0 h 1243435"/>
              <a:gd name="connsiteX2" fmla="*/ 171786 w 1535715"/>
              <a:gd name="connsiteY2" fmla="*/ 2010 h 1243435"/>
              <a:gd name="connsiteX3" fmla="*/ 1374057 w 1535715"/>
              <a:gd name="connsiteY3" fmla="*/ 2010 h 1243435"/>
              <a:gd name="connsiteX4" fmla="*/ 1535715 w 1535715"/>
              <a:gd name="connsiteY4" fmla="*/ 163668 h 1243435"/>
              <a:gd name="connsiteX5" fmla="*/ 1535715 w 1535715"/>
              <a:gd name="connsiteY5" fmla="*/ 1081777 h 1243435"/>
              <a:gd name="connsiteX6" fmla="*/ 1374057 w 1535715"/>
              <a:gd name="connsiteY6" fmla="*/ 1243435 h 1243435"/>
              <a:gd name="connsiteX7" fmla="*/ 171786 w 1535715"/>
              <a:gd name="connsiteY7" fmla="*/ 1243435 h 1243435"/>
              <a:gd name="connsiteX8" fmla="*/ 10128 w 1535715"/>
              <a:gd name="connsiteY8" fmla="*/ 1081777 h 1243435"/>
              <a:gd name="connsiteX9" fmla="*/ 10128 w 1535715"/>
              <a:gd name="connsiteY9" fmla="*/ 163668 h 124343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1808 w 1537395"/>
              <a:gd name="connsiteY0" fmla="*/ 161803 h 1241570"/>
              <a:gd name="connsiteX1" fmla="*/ 12324 w 1537395"/>
              <a:gd name="connsiteY1" fmla="*/ 0 h 1241570"/>
              <a:gd name="connsiteX2" fmla="*/ 173466 w 1537395"/>
              <a:gd name="connsiteY2" fmla="*/ 145 h 1241570"/>
              <a:gd name="connsiteX3" fmla="*/ 1375737 w 1537395"/>
              <a:gd name="connsiteY3" fmla="*/ 145 h 1241570"/>
              <a:gd name="connsiteX4" fmla="*/ 1537395 w 1537395"/>
              <a:gd name="connsiteY4" fmla="*/ 161803 h 1241570"/>
              <a:gd name="connsiteX5" fmla="*/ 1537395 w 1537395"/>
              <a:gd name="connsiteY5" fmla="*/ 1079912 h 1241570"/>
              <a:gd name="connsiteX6" fmla="*/ 1375737 w 1537395"/>
              <a:gd name="connsiteY6" fmla="*/ 1241570 h 1241570"/>
              <a:gd name="connsiteX7" fmla="*/ 173466 w 1537395"/>
              <a:gd name="connsiteY7" fmla="*/ 1241570 h 1241570"/>
              <a:gd name="connsiteX8" fmla="*/ 11808 w 1537395"/>
              <a:gd name="connsiteY8" fmla="*/ 1079912 h 1241570"/>
              <a:gd name="connsiteX9" fmla="*/ 11808 w 1537395"/>
              <a:gd name="connsiteY9" fmla="*/ 161803 h 1241570"/>
              <a:gd name="connsiteX0" fmla="*/ 346 w 1525933"/>
              <a:gd name="connsiteY0" fmla="*/ 161803 h 1241570"/>
              <a:gd name="connsiteX1" fmla="*/ 862 w 1525933"/>
              <a:gd name="connsiteY1" fmla="*/ 0 h 1241570"/>
              <a:gd name="connsiteX2" fmla="*/ 162004 w 1525933"/>
              <a:gd name="connsiteY2" fmla="*/ 145 h 1241570"/>
              <a:gd name="connsiteX3" fmla="*/ 1364275 w 1525933"/>
              <a:gd name="connsiteY3" fmla="*/ 145 h 1241570"/>
              <a:gd name="connsiteX4" fmla="*/ 1525933 w 1525933"/>
              <a:gd name="connsiteY4" fmla="*/ 161803 h 1241570"/>
              <a:gd name="connsiteX5" fmla="*/ 1525933 w 1525933"/>
              <a:gd name="connsiteY5" fmla="*/ 1079912 h 1241570"/>
              <a:gd name="connsiteX6" fmla="*/ 1364275 w 1525933"/>
              <a:gd name="connsiteY6" fmla="*/ 1241570 h 1241570"/>
              <a:gd name="connsiteX7" fmla="*/ 162004 w 1525933"/>
              <a:gd name="connsiteY7" fmla="*/ 1241570 h 1241570"/>
              <a:gd name="connsiteX8" fmla="*/ 346 w 1525933"/>
              <a:gd name="connsiteY8" fmla="*/ 1079912 h 1241570"/>
              <a:gd name="connsiteX9" fmla="*/ 346 w 1525933"/>
              <a:gd name="connsiteY9" fmla="*/ 161803 h 1241570"/>
              <a:gd name="connsiteX0" fmla="*/ 872 w 1526459"/>
              <a:gd name="connsiteY0" fmla="*/ 161803 h 1241570"/>
              <a:gd name="connsiteX1" fmla="*/ 1388 w 1526459"/>
              <a:gd name="connsiteY1" fmla="*/ 0 h 1241570"/>
              <a:gd name="connsiteX2" fmla="*/ 162530 w 1526459"/>
              <a:gd name="connsiteY2" fmla="*/ 145 h 1241570"/>
              <a:gd name="connsiteX3" fmla="*/ 1364801 w 1526459"/>
              <a:gd name="connsiteY3" fmla="*/ 145 h 1241570"/>
              <a:gd name="connsiteX4" fmla="*/ 1526459 w 1526459"/>
              <a:gd name="connsiteY4" fmla="*/ 161803 h 1241570"/>
              <a:gd name="connsiteX5" fmla="*/ 1526459 w 1526459"/>
              <a:gd name="connsiteY5" fmla="*/ 1079912 h 1241570"/>
              <a:gd name="connsiteX6" fmla="*/ 1364801 w 1526459"/>
              <a:gd name="connsiteY6" fmla="*/ 1241570 h 1241570"/>
              <a:gd name="connsiteX7" fmla="*/ 162530 w 1526459"/>
              <a:gd name="connsiteY7" fmla="*/ 1241570 h 1241570"/>
              <a:gd name="connsiteX8" fmla="*/ 872 w 1526459"/>
              <a:gd name="connsiteY8" fmla="*/ 1079912 h 1241570"/>
              <a:gd name="connsiteX9" fmla="*/ 872 w 1526459"/>
              <a:gd name="connsiteY9" fmla="*/ 161803 h 1241570"/>
              <a:gd name="connsiteX0" fmla="*/ 470 w 1526057"/>
              <a:gd name="connsiteY0" fmla="*/ 161803 h 1241570"/>
              <a:gd name="connsiteX1" fmla="*/ 986 w 1526057"/>
              <a:gd name="connsiteY1" fmla="*/ 0 h 1241570"/>
              <a:gd name="connsiteX2" fmla="*/ 162128 w 1526057"/>
              <a:gd name="connsiteY2" fmla="*/ 145 h 1241570"/>
              <a:gd name="connsiteX3" fmla="*/ 1364399 w 1526057"/>
              <a:gd name="connsiteY3" fmla="*/ 145 h 1241570"/>
              <a:gd name="connsiteX4" fmla="*/ 1526057 w 1526057"/>
              <a:gd name="connsiteY4" fmla="*/ 161803 h 1241570"/>
              <a:gd name="connsiteX5" fmla="*/ 1526057 w 1526057"/>
              <a:gd name="connsiteY5" fmla="*/ 1079912 h 1241570"/>
              <a:gd name="connsiteX6" fmla="*/ 1364399 w 1526057"/>
              <a:gd name="connsiteY6" fmla="*/ 1241570 h 1241570"/>
              <a:gd name="connsiteX7" fmla="*/ 162128 w 1526057"/>
              <a:gd name="connsiteY7" fmla="*/ 1241570 h 1241570"/>
              <a:gd name="connsiteX8" fmla="*/ 470 w 1526057"/>
              <a:gd name="connsiteY8" fmla="*/ 1079912 h 1241570"/>
              <a:gd name="connsiteX9" fmla="*/ 470 w 1526057"/>
              <a:gd name="connsiteY9" fmla="*/ 161803 h 1241570"/>
              <a:gd name="connsiteX0" fmla="*/ 649 w 1526236"/>
              <a:gd name="connsiteY0" fmla="*/ 161803 h 1241570"/>
              <a:gd name="connsiteX1" fmla="*/ 1165 w 1526236"/>
              <a:gd name="connsiteY1" fmla="*/ 0 h 1241570"/>
              <a:gd name="connsiteX2" fmla="*/ 162307 w 1526236"/>
              <a:gd name="connsiteY2" fmla="*/ 145 h 1241570"/>
              <a:gd name="connsiteX3" fmla="*/ 1364578 w 1526236"/>
              <a:gd name="connsiteY3" fmla="*/ 145 h 1241570"/>
              <a:gd name="connsiteX4" fmla="*/ 1526236 w 1526236"/>
              <a:gd name="connsiteY4" fmla="*/ 161803 h 1241570"/>
              <a:gd name="connsiteX5" fmla="*/ 1526236 w 1526236"/>
              <a:gd name="connsiteY5" fmla="*/ 1079912 h 1241570"/>
              <a:gd name="connsiteX6" fmla="*/ 1364578 w 1526236"/>
              <a:gd name="connsiteY6" fmla="*/ 1241570 h 1241570"/>
              <a:gd name="connsiteX7" fmla="*/ 162307 w 1526236"/>
              <a:gd name="connsiteY7" fmla="*/ 1241570 h 1241570"/>
              <a:gd name="connsiteX8" fmla="*/ 649 w 1526236"/>
              <a:gd name="connsiteY8" fmla="*/ 1079912 h 1241570"/>
              <a:gd name="connsiteX9" fmla="*/ 649 w 1526236"/>
              <a:gd name="connsiteY9" fmla="*/ 161803 h 1241570"/>
              <a:gd name="connsiteX0" fmla="*/ 268 w 1525855"/>
              <a:gd name="connsiteY0" fmla="*/ 161803 h 1241570"/>
              <a:gd name="connsiteX1" fmla="*/ 784 w 1525855"/>
              <a:gd name="connsiteY1" fmla="*/ 0 h 1241570"/>
              <a:gd name="connsiteX2" fmla="*/ 161926 w 1525855"/>
              <a:gd name="connsiteY2" fmla="*/ 145 h 1241570"/>
              <a:gd name="connsiteX3" fmla="*/ 1364197 w 1525855"/>
              <a:gd name="connsiteY3" fmla="*/ 145 h 1241570"/>
              <a:gd name="connsiteX4" fmla="*/ 1525855 w 1525855"/>
              <a:gd name="connsiteY4" fmla="*/ 161803 h 1241570"/>
              <a:gd name="connsiteX5" fmla="*/ 1525855 w 1525855"/>
              <a:gd name="connsiteY5" fmla="*/ 1079912 h 1241570"/>
              <a:gd name="connsiteX6" fmla="*/ 1364197 w 1525855"/>
              <a:gd name="connsiteY6" fmla="*/ 1241570 h 1241570"/>
              <a:gd name="connsiteX7" fmla="*/ 161926 w 1525855"/>
              <a:gd name="connsiteY7" fmla="*/ 1241570 h 1241570"/>
              <a:gd name="connsiteX8" fmla="*/ 268 w 1525855"/>
              <a:gd name="connsiteY8" fmla="*/ 1079912 h 1241570"/>
              <a:gd name="connsiteX9" fmla="*/ 268 w 1525855"/>
              <a:gd name="connsiteY9" fmla="*/ 161803 h 1241570"/>
              <a:gd name="connsiteX0" fmla="*/ 359 w 1525946"/>
              <a:gd name="connsiteY0" fmla="*/ 161803 h 1241570"/>
              <a:gd name="connsiteX1" fmla="*/ 253 w 1525946"/>
              <a:gd name="connsiteY1" fmla="*/ 0 h 1241570"/>
              <a:gd name="connsiteX2" fmla="*/ 162017 w 1525946"/>
              <a:gd name="connsiteY2" fmla="*/ 145 h 1241570"/>
              <a:gd name="connsiteX3" fmla="*/ 1364288 w 1525946"/>
              <a:gd name="connsiteY3" fmla="*/ 145 h 1241570"/>
              <a:gd name="connsiteX4" fmla="*/ 1525946 w 1525946"/>
              <a:gd name="connsiteY4" fmla="*/ 161803 h 1241570"/>
              <a:gd name="connsiteX5" fmla="*/ 1525946 w 1525946"/>
              <a:gd name="connsiteY5" fmla="*/ 1079912 h 1241570"/>
              <a:gd name="connsiteX6" fmla="*/ 1364288 w 1525946"/>
              <a:gd name="connsiteY6" fmla="*/ 1241570 h 1241570"/>
              <a:gd name="connsiteX7" fmla="*/ 162017 w 1525946"/>
              <a:gd name="connsiteY7" fmla="*/ 1241570 h 1241570"/>
              <a:gd name="connsiteX8" fmla="*/ 359 w 1525946"/>
              <a:gd name="connsiteY8" fmla="*/ 1079912 h 1241570"/>
              <a:gd name="connsiteX9" fmla="*/ 359 w 1525946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364035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25693" h="1241570">
                <a:moveTo>
                  <a:pt x="106" y="161803"/>
                </a:moveTo>
                <a:cubicBezTo>
                  <a:pt x="-210" y="159620"/>
                  <a:pt x="409" y="7672"/>
                  <a:pt x="0" y="0"/>
                </a:cubicBezTo>
                <a:cubicBezTo>
                  <a:pt x="6219" y="388"/>
                  <a:pt x="110655" y="450"/>
                  <a:pt x="161764" y="145"/>
                </a:cubicBezTo>
                <a:lnTo>
                  <a:pt x="1364035" y="145"/>
                </a:lnTo>
                <a:cubicBezTo>
                  <a:pt x="1453316" y="145"/>
                  <a:pt x="1525693" y="72522"/>
                  <a:pt x="1525693" y="161803"/>
                </a:cubicBezTo>
                <a:lnTo>
                  <a:pt x="1525693" y="1079912"/>
                </a:lnTo>
                <a:cubicBezTo>
                  <a:pt x="1525693" y="1169193"/>
                  <a:pt x="1453316" y="1241570"/>
                  <a:pt x="1364035" y="1241570"/>
                </a:cubicBezTo>
                <a:lnTo>
                  <a:pt x="161764" y="1241570"/>
                </a:lnTo>
                <a:cubicBezTo>
                  <a:pt x="72483" y="1241570"/>
                  <a:pt x="106" y="1169193"/>
                  <a:pt x="106" y="1079912"/>
                </a:cubicBezTo>
                <a:lnTo>
                  <a:pt x="106" y="1618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tIns="0" bIns="252000" anchor="b"/>
          <a:lstStyle>
            <a:lvl1pPr marL="0" indent="0" algn="ctr">
              <a:buNone/>
              <a:defRPr sz="2806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nl-NL" noProof="0"/>
          </a:p>
        </p:txBody>
      </p:sp>
      <p:grpSp>
        <p:nvGrpSpPr>
          <p:cNvPr id="98" name="Groep 77">
            <a:extLst>
              <a:ext uri="{FF2B5EF4-FFF2-40B4-BE49-F238E27FC236}">
                <a16:creationId xmlns:a16="http://schemas.microsoft.com/office/drawing/2014/main" id="{36CF6C6E-1D1A-4765-B440-AC99DEBA79E4}"/>
              </a:ext>
            </a:extLst>
          </p:cNvPr>
          <p:cNvGrpSpPr/>
          <p:nvPr userDrawn="1"/>
        </p:nvGrpSpPr>
        <p:grpSpPr>
          <a:xfrm>
            <a:off x="43467414" y="0"/>
            <a:ext cx="13065546" cy="24210246"/>
            <a:chOff x="12391601" y="0"/>
            <a:chExt cx="3724699" cy="5484152"/>
          </a:xfrm>
        </p:grpSpPr>
        <p:sp>
          <p:nvSpPr>
            <p:cNvPr id="99" name="Rechthoek 78">
              <a:extLst>
                <a:ext uri="{FF2B5EF4-FFF2-40B4-BE49-F238E27FC236}">
                  <a16:creationId xmlns:a16="http://schemas.microsoft.com/office/drawing/2014/main" id="{3FB3DA4A-49C7-47C0-8216-784B55BB393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100" name="Ovaal 79">
              <a:extLst>
                <a:ext uri="{FF2B5EF4-FFF2-40B4-BE49-F238E27FC236}">
                  <a16:creationId xmlns:a16="http://schemas.microsoft.com/office/drawing/2014/main" id="{95835028-FD7B-4401-B98A-74578806C7A1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80">
              <a:extLst>
                <a:ext uri="{FF2B5EF4-FFF2-40B4-BE49-F238E27FC236}">
                  <a16:creationId xmlns:a16="http://schemas.microsoft.com/office/drawing/2014/main" id="{79C1CABA-42BC-4D1F-BF1A-B55441F8017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81">
              <a:extLst>
                <a:ext uri="{FF2B5EF4-FFF2-40B4-BE49-F238E27FC236}">
                  <a16:creationId xmlns:a16="http://schemas.microsoft.com/office/drawing/2014/main" id="{8E8E79C4-A963-441C-A371-B4B19AD30FE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82">
              <a:extLst>
                <a:ext uri="{FF2B5EF4-FFF2-40B4-BE49-F238E27FC236}">
                  <a16:creationId xmlns:a16="http://schemas.microsoft.com/office/drawing/2014/main" id="{0850B024-9D29-423B-943A-CE327ABDC468}"/>
                </a:ext>
              </a:extLst>
            </p:cNvPr>
            <p:cNvSpPr/>
            <p:nvPr userDrawn="1"/>
          </p:nvSpPr>
          <p:spPr>
            <a:xfrm>
              <a:off x="12757282" y="432552"/>
              <a:ext cx="335901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fbeelding door deze te selecteren en op 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m een nieuwe afbeelding in te voegen.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83">
              <a:extLst>
                <a:ext uri="{FF2B5EF4-FFF2-40B4-BE49-F238E27FC236}">
                  <a16:creationId xmlns:a16="http://schemas.microsoft.com/office/drawing/2014/main" id="{38C84B88-68F1-4F0A-A4DD-DBE8AB0B6FB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84">
              <a:extLst>
                <a:ext uri="{FF2B5EF4-FFF2-40B4-BE49-F238E27FC236}">
                  <a16:creationId xmlns:a16="http://schemas.microsoft.com/office/drawing/2014/main" id="{4979BE6B-C556-4371-85AE-6F394B77646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85">
              <a:extLst>
                <a:ext uri="{FF2B5EF4-FFF2-40B4-BE49-F238E27FC236}">
                  <a16:creationId xmlns:a16="http://schemas.microsoft.com/office/drawing/2014/main" id="{CAF6F14F-14CA-48DA-8995-0FA61D6E8045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1" name="Rechthoek 119">
                <a:extLst>
                  <a:ext uri="{FF2B5EF4-FFF2-40B4-BE49-F238E27FC236}">
                    <a16:creationId xmlns:a16="http://schemas.microsoft.com/office/drawing/2014/main" id="{4902E440-1B17-4EC3-B940-FD4185BAFF5D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172" name="Rechte verbindingslijn 120">
                <a:extLst>
                  <a:ext uri="{FF2B5EF4-FFF2-40B4-BE49-F238E27FC236}">
                    <a16:creationId xmlns:a16="http://schemas.microsoft.com/office/drawing/2014/main" id="{C8480132-BCE5-4A39-A8E9-12F42A981BE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3" name="Gelijkbenige driehoek 121">
                <a:extLst>
                  <a:ext uri="{FF2B5EF4-FFF2-40B4-BE49-F238E27FC236}">
                    <a16:creationId xmlns:a16="http://schemas.microsoft.com/office/drawing/2014/main" id="{F3A6B288-A2CD-4D8A-8EA2-947C39AB44F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7" name="Groep 86">
              <a:extLst>
                <a:ext uri="{FF2B5EF4-FFF2-40B4-BE49-F238E27FC236}">
                  <a16:creationId xmlns:a16="http://schemas.microsoft.com/office/drawing/2014/main" id="{64EC50E0-07F5-4AC2-AF6E-B6A5143A2BFA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145" name="Rechthoek 113">
                <a:extLst>
                  <a:ext uri="{FF2B5EF4-FFF2-40B4-BE49-F238E27FC236}">
                    <a16:creationId xmlns:a16="http://schemas.microsoft.com/office/drawing/2014/main" id="{83816C4C-4BD5-4749-ADBC-2E7B61172B19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6" name="Ovaal 114">
                <a:extLst>
                  <a:ext uri="{FF2B5EF4-FFF2-40B4-BE49-F238E27FC236}">
                    <a16:creationId xmlns:a16="http://schemas.microsoft.com/office/drawing/2014/main" id="{ACFEAC87-13F7-44CA-9E0B-68D031009BE3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7" name="Vrije vorm: vorm 115">
                <a:extLst>
                  <a:ext uri="{FF2B5EF4-FFF2-40B4-BE49-F238E27FC236}">
                    <a16:creationId xmlns:a16="http://schemas.microsoft.com/office/drawing/2014/main" id="{ABC0308E-7743-4151-B79D-A69C7DBA2FE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Rechthoek: afgeronde hoeken 116">
                <a:extLst>
                  <a:ext uri="{FF2B5EF4-FFF2-40B4-BE49-F238E27FC236}">
                    <a16:creationId xmlns:a16="http://schemas.microsoft.com/office/drawing/2014/main" id="{D660C710-BE6A-465A-B164-DB53036696AD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69" name="Rechte verbindingslijn 117">
                <a:extLst>
                  <a:ext uri="{FF2B5EF4-FFF2-40B4-BE49-F238E27FC236}">
                    <a16:creationId xmlns:a16="http://schemas.microsoft.com/office/drawing/2014/main" id="{199FF578-564E-4F76-86C5-18A8186A92D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70" name="Rechte verbindingslijn 118">
                <a:extLst>
                  <a:ext uri="{FF2B5EF4-FFF2-40B4-BE49-F238E27FC236}">
                    <a16:creationId xmlns:a16="http://schemas.microsoft.com/office/drawing/2014/main" id="{D95BFB2A-126D-4432-BB08-64835042BD53}"/>
                  </a:ext>
                </a:extLst>
              </p:cNvPr>
              <p:cNvCxnSpPr>
                <a:cxnSpLocks/>
                <a:stCxn id="168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grpSp>
          <p:nvGrpSpPr>
            <p:cNvPr id="108" name="Groep 87">
              <a:extLst>
                <a:ext uri="{FF2B5EF4-FFF2-40B4-BE49-F238E27FC236}">
                  <a16:creationId xmlns:a16="http://schemas.microsoft.com/office/drawing/2014/main" id="{C8B0E368-2137-4373-A07E-F78EEEFC3081}"/>
                </a:ext>
              </a:extLst>
            </p:cNvPr>
            <p:cNvGrpSpPr/>
            <p:nvPr userDrawn="1"/>
          </p:nvGrpSpPr>
          <p:grpSpPr>
            <a:xfrm>
              <a:off x="12391601" y="2643684"/>
              <a:ext cx="3183678" cy="2840468"/>
              <a:chOff x="12952763" y="4572241"/>
              <a:chExt cx="3183678" cy="2840468"/>
            </a:xfrm>
          </p:grpSpPr>
          <p:grpSp>
            <p:nvGrpSpPr>
              <p:cNvPr id="109" name="Meer informatie">
                <a:extLst>
                  <a:ext uri="{FF2B5EF4-FFF2-40B4-BE49-F238E27FC236}">
                    <a16:creationId xmlns:a16="http://schemas.microsoft.com/office/drawing/2014/main" id="{6F170A1F-5BBE-4D6B-B212-16AD3ECA86B8}"/>
                  </a:ext>
                </a:extLst>
              </p:cNvPr>
              <p:cNvGrpSpPr/>
              <p:nvPr userDrawn="1"/>
            </p:nvGrpSpPr>
            <p:grpSpPr>
              <a:xfrm>
                <a:off x="12957926" y="6629436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41" name="Freeform 101">
                  <a:extLst>
                    <a:ext uri="{FF2B5EF4-FFF2-40B4-BE49-F238E27FC236}">
                      <a16:creationId xmlns:a16="http://schemas.microsoft.com/office/drawing/2014/main" id="{95EBA78B-B606-4FD5-8049-C1E7269320C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3859" noProof="0"/>
                </a:p>
              </p:txBody>
            </p:sp>
            <p:sp>
              <p:nvSpPr>
                <p:cNvPr id="142" name="Rechthoek 111">
                  <a:extLst>
                    <a:ext uri="{FF2B5EF4-FFF2-40B4-BE49-F238E27FC236}">
                      <a16:creationId xmlns:a16="http://schemas.microsoft.com/office/drawing/2014/main" id="{1CB3772C-015A-4BFE-B8E6-5F060ACFD903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3207489" eaLnBrk="1" fontAlgn="auto" latinLnBrk="0" hangingPunct="1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Meer weten?</a:t>
                  </a:r>
                  <a:b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a naar dia </a:t>
                  </a:r>
                  <a:r>
                    <a:rPr kumimoji="0" lang="nl-NL" sz="3859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´Instructie dia: YouTube links´</a:t>
                  </a: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deze in de diavoorstelling en klik op de gewenste video link.</a:t>
                  </a:r>
                </a:p>
              </p:txBody>
            </p:sp>
            <p:cxnSp>
              <p:nvCxnSpPr>
                <p:cNvPr id="144" name="Rechte verbindingslijn 112">
                  <a:extLst>
                    <a:ext uri="{FF2B5EF4-FFF2-40B4-BE49-F238E27FC236}">
                      <a16:creationId xmlns:a16="http://schemas.microsoft.com/office/drawing/2014/main" id="{2556A137-FBB5-4954-80C0-E17457B99F7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10" name="Rechte verbindingslijn 89">
                <a:extLst>
                  <a:ext uri="{FF2B5EF4-FFF2-40B4-BE49-F238E27FC236}">
                    <a16:creationId xmlns:a16="http://schemas.microsoft.com/office/drawing/2014/main" id="{304B37AD-C96F-4E2B-A93C-A8C3EC49828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958423" y="651155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111" name="Ovaal 90">
                <a:extLst>
                  <a:ext uri="{FF2B5EF4-FFF2-40B4-BE49-F238E27FC236}">
                    <a16:creationId xmlns:a16="http://schemas.microsoft.com/office/drawing/2014/main" id="{D52859B2-5D19-49E3-8411-44D4C4F9315D}"/>
                  </a:ext>
                </a:extLst>
              </p:cNvPr>
              <p:cNvSpPr/>
              <p:nvPr userDrawn="1"/>
            </p:nvSpPr>
            <p:spPr>
              <a:xfrm>
                <a:off x="12952763" y="4690403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320748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112" name="Rechthoek 91">
                <a:extLst>
                  <a:ext uri="{FF2B5EF4-FFF2-40B4-BE49-F238E27FC236}">
                    <a16:creationId xmlns:a16="http://schemas.microsoft.com/office/drawing/2014/main" id="{633610E9-9CB2-4026-86EC-65B330063E77}"/>
                  </a:ext>
                </a:extLst>
              </p:cNvPr>
              <p:cNvSpPr/>
              <p:nvPr userDrawn="1"/>
            </p:nvSpPr>
            <p:spPr>
              <a:xfrm>
                <a:off x="13318445" y="4756466"/>
                <a:ext cx="2817996" cy="887319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Om de afbeelding te schalen of bij te snijden, ga naar de tab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Hulpmiddelen voor afbeeldingen - Opmaak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 en klik op de knop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Bijsnijden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Schaal met de bolletjes de afbeelding en met de hoekjes het afbeeldingskader.</a:t>
                </a:r>
                <a:endPara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113" name="Rechte verbindingslijn 92">
                <a:extLst>
                  <a:ext uri="{FF2B5EF4-FFF2-40B4-BE49-F238E27FC236}">
                    <a16:creationId xmlns:a16="http://schemas.microsoft.com/office/drawing/2014/main" id="{64B6EB9A-BA00-4FAA-A071-9E6EF7010BC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958423" y="457224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114" name="Groep 93">
                <a:extLst>
                  <a:ext uri="{FF2B5EF4-FFF2-40B4-BE49-F238E27FC236}">
                    <a16:creationId xmlns:a16="http://schemas.microsoft.com/office/drawing/2014/main" id="{6F930AD3-DC0F-4159-9382-D873A520C172}"/>
                  </a:ext>
                </a:extLst>
              </p:cNvPr>
              <p:cNvGrpSpPr/>
              <p:nvPr userDrawn="1"/>
            </p:nvGrpSpPr>
            <p:grpSpPr>
              <a:xfrm>
                <a:off x="13257676" y="5773610"/>
                <a:ext cx="514284" cy="612917"/>
                <a:chOff x="12682980" y="3403271"/>
                <a:chExt cx="622284" cy="741637"/>
              </a:xfrm>
            </p:grpSpPr>
            <p:grpSp>
              <p:nvGrpSpPr>
                <p:cNvPr id="115" name="Groep 94">
                  <a:extLst>
                    <a:ext uri="{FF2B5EF4-FFF2-40B4-BE49-F238E27FC236}">
                      <a16:creationId xmlns:a16="http://schemas.microsoft.com/office/drawing/2014/main" id="{853B3095-54E2-4529-8570-1293DA0CC153}"/>
                    </a:ext>
                  </a:extLst>
                </p:cNvPr>
                <p:cNvGrpSpPr/>
                <p:nvPr userDrawn="1"/>
              </p:nvGrpSpPr>
              <p:grpSpPr>
                <a:xfrm>
                  <a:off x="12771568" y="3403271"/>
                  <a:ext cx="467138" cy="448459"/>
                  <a:chOff x="12782195" y="3403271"/>
                  <a:chExt cx="467138" cy="448459"/>
                </a:xfrm>
              </p:grpSpPr>
              <p:grpSp>
                <p:nvGrpSpPr>
                  <p:cNvPr id="118" name="Groep 97">
                    <a:extLst>
                      <a:ext uri="{FF2B5EF4-FFF2-40B4-BE49-F238E27FC236}">
                        <a16:creationId xmlns:a16="http://schemas.microsoft.com/office/drawing/2014/main" id="{19F2E613-C7BE-41DD-BF51-FA96E7D7E00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2782195" y="3403271"/>
                    <a:ext cx="412967" cy="393910"/>
                    <a:chOff x="13554906" y="3320143"/>
                    <a:chExt cx="443906" cy="423422"/>
                  </a:xfrm>
                </p:grpSpPr>
                <p:grpSp>
                  <p:nvGrpSpPr>
                    <p:cNvPr id="134" name="Groep 104">
                      <a:extLst>
                        <a:ext uri="{FF2B5EF4-FFF2-40B4-BE49-F238E27FC236}">
                          <a16:creationId xmlns:a16="http://schemas.microsoft.com/office/drawing/2014/main" id="{52429507-38F3-4E9E-8450-6F5B48C34F0C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3554906" y="3320143"/>
                      <a:ext cx="443906" cy="423422"/>
                      <a:chOff x="12909684" y="1276177"/>
                      <a:chExt cx="443906" cy="423422"/>
                    </a:xfrm>
                  </p:grpSpPr>
                  <p:sp>
                    <p:nvSpPr>
                      <p:cNvPr id="138" name="Rechthoek 107">
                        <a:extLst>
                          <a:ext uri="{FF2B5EF4-FFF2-40B4-BE49-F238E27FC236}">
                            <a16:creationId xmlns:a16="http://schemas.microsoft.com/office/drawing/2014/main" id="{A8E6BCC9-5C76-4A72-9754-82EE294361B1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2918700" y="1285299"/>
                        <a:ext cx="434890" cy="414300"/>
                      </a:xfrm>
                      <a:prstGeom prst="rect">
                        <a:avLst/>
                      </a:prstGeom>
                      <a:noFill/>
                      <a:ln w="12700">
                        <a:solidFill>
                          <a:srgbClr val="818181"/>
                        </a:solidFill>
                        <a:prstDash val="dash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2105"/>
                          </a:spcBef>
                          <a:spcAft>
                            <a:spcPts val="2105"/>
                          </a:spcAft>
                        </a:pPr>
                        <a:endParaRPr lang="nl-NL" sz="2806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139" name="Rechthoek 108">
                        <a:extLst>
                          <a:ext uri="{FF2B5EF4-FFF2-40B4-BE49-F238E27FC236}">
                            <a16:creationId xmlns:a16="http://schemas.microsoft.com/office/drawing/2014/main" id="{9D7B8A50-5B3F-4914-9043-965D6F76CE32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2909684" y="1276177"/>
                        <a:ext cx="261629" cy="257808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12700">
                        <a:solidFill>
                          <a:srgbClr val="81818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2105"/>
                          </a:spcBef>
                          <a:spcAft>
                            <a:spcPts val="2105"/>
                          </a:spcAft>
                        </a:pPr>
                        <a:endParaRPr lang="nl-NL" sz="2806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140" name="Ovaal 109">
                        <a:extLst>
                          <a:ext uri="{FF2B5EF4-FFF2-40B4-BE49-F238E27FC236}">
                            <a16:creationId xmlns:a16="http://schemas.microsoft.com/office/drawing/2014/main" id="{8DDF8ECC-166C-4897-8622-374E97AA8163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3069071" y="1308734"/>
                        <a:ext cx="72187" cy="72188"/>
                      </a:xfrm>
                      <a:prstGeom prst="ellipse">
                        <a:avLst/>
                      </a:prstGeom>
                      <a:solidFill>
                        <a:srgbClr val="ECC679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="horz" wrap="square" lIns="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l"/>
                        <a:endParaRPr lang="nl-NL" sz="3509" b="1" noProof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  <p:pic>
                  <p:nvPicPr>
                    <p:cNvPr id="135" name="Afbeelding 105">
                      <a:extLst>
                        <a:ext uri="{FF2B5EF4-FFF2-40B4-BE49-F238E27FC236}">
                          <a16:creationId xmlns:a16="http://schemas.microsoft.com/office/drawing/2014/main" id="{0F5F8622-2778-4F8C-AC1D-88E1E161214B}"/>
                        </a:ext>
                      </a:extLst>
                    </p:cNvPr>
                    <p:cNvPicPr>
                      <a:picLocks noChangeAspect="1"/>
                    </p:cNvPicPr>
                    <p:nvPr userDrawn="1"/>
                  </p:nvPicPr>
                  <p:blipFill>
                    <a:blip r:embed="rId2" cstate="screen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3567296" y="3424991"/>
                      <a:ext cx="173367" cy="14022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36" name="Afbeelding 106">
                      <a:extLst>
                        <a:ext uri="{FF2B5EF4-FFF2-40B4-BE49-F238E27FC236}">
                          <a16:creationId xmlns:a16="http://schemas.microsoft.com/office/drawing/2014/main" id="{58579FE3-F702-4936-B25F-18EB6AB3B960}"/>
                        </a:ext>
                      </a:extLst>
                    </p:cNvPr>
                    <p:cNvPicPr>
                      <a:picLocks noChangeAspect="1"/>
                    </p:cNvPicPr>
                    <p:nvPr userDrawn="1"/>
                  </p:nvPicPr>
                  <p:blipFill>
                    <a:blip r:embed="rId4" cstate="screen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5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flipH="1">
                      <a:off x="13635598" y="3454393"/>
                      <a:ext cx="173366" cy="111424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119" name="Groep 98">
                    <a:extLst>
                      <a:ext uri="{FF2B5EF4-FFF2-40B4-BE49-F238E27FC236}">
                        <a16:creationId xmlns:a16="http://schemas.microsoft.com/office/drawing/2014/main" id="{5BCE9AD3-A1F5-4676-AE07-6D2867FC0E8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103513" y="3705278"/>
                    <a:ext cx="145820" cy="146452"/>
                    <a:chOff x="13096169" y="3602288"/>
                    <a:chExt cx="145820" cy="146452"/>
                  </a:xfrm>
                </p:grpSpPr>
                <p:sp>
                  <p:nvSpPr>
                    <p:cNvPr id="123" name="Rechthoek 102">
                      <a:extLst>
                        <a:ext uri="{FF2B5EF4-FFF2-40B4-BE49-F238E27FC236}">
                          <a16:creationId xmlns:a16="http://schemas.microsoft.com/office/drawing/2014/main" id="{C66784CF-651F-43D0-BF9C-C7DBF4D112DE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96169" y="360228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33" name="Rechthoek 103">
                      <a:extLst>
                        <a:ext uri="{FF2B5EF4-FFF2-40B4-BE49-F238E27FC236}">
                          <a16:creationId xmlns:a16="http://schemas.microsoft.com/office/drawing/2014/main" id="{65FAB179-32F6-43C5-9722-A5EBEF267DAF}"/>
                        </a:ext>
                      </a:extLst>
                    </p:cNvPr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grpSp>
                <p:nvGrpSpPr>
                  <p:cNvPr id="120" name="Groep 99">
                    <a:extLst>
                      <a:ext uri="{FF2B5EF4-FFF2-40B4-BE49-F238E27FC236}">
                        <a16:creationId xmlns:a16="http://schemas.microsoft.com/office/drawing/2014/main" id="{77D4D063-EAC2-4078-A0EE-2D5AAA880B6C}"/>
                      </a:ext>
                    </a:extLst>
                  </p:cNvPr>
                  <p:cNvGrpSpPr/>
                  <p:nvPr userDrawn="1"/>
                </p:nvGrpSpPr>
                <p:grpSpPr>
                  <a:xfrm rot="10800000">
                    <a:off x="13061402" y="3665668"/>
                    <a:ext cx="145820" cy="146461"/>
                    <a:chOff x="13096169" y="3602248"/>
                    <a:chExt cx="145820" cy="146461"/>
                  </a:xfrm>
                </p:grpSpPr>
                <p:sp>
                  <p:nvSpPr>
                    <p:cNvPr id="121" name="Rechthoek 100">
                      <a:extLst>
                        <a:ext uri="{FF2B5EF4-FFF2-40B4-BE49-F238E27FC236}">
                          <a16:creationId xmlns:a16="http://schemas.microsoft.com/office/drawing/2014/main" id="{C143E68D-5638-4CCB-AC3B-AEEC5571CCB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96169" y="360224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22" name="Rechthoek 101">
                      <a:extLst>
                        <a:ext uri="{FF2B5EF4-FFF2-40B4-BE49-F238E27FC236}">
                          <a16:creationId xmlns:a16="http://schemas.microsoft.com/office/drawing/2014/main" id="{38AAB217-F950-4294-9A14-451F149F0D0E}"/>
                        </a:ext>
                      </a:extLst>
                    </p:cNvPr>
                    <p:cNvSpPr/>
                    <p:nvPr userDrawn="1"/>
                  </p:nvSpPr>
                  <p:spPr>
                    <a:xfrm rot="5400000">
                      <a:off x="13037453" y="3661605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  <p:sp>
              <p:nvSpPr>
                <p:cNvPr id="116" name="Rechthoek 95">
                  <a:extLst>
                    <a:ext uri="{FF2B5EF4-FFF2-40B4-BE49-F238E27FC236}">
                      <a16:creationId xmlns:a16="http://schemas.microsoft.com/office/drawing/2014/main" id="{8B0331BE-413D-4F8C-8037-03308E0C944C}"/>
                    </a:ext>
                  </a:extLst>
                </p:cNvPr>
                <p:cNvSpPr/>
                <p:nvPr userDrawn="1"/>
              </p:nvSpPr>
              <p:spPr>
                <a:xfrm>
                  <a:off x="12682980" y="3889920"/>
                  <a:ext cx="622284" cy="16117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r>
                    <a:rPr lang="nl-NL" sz="3158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Bijsnijden</a:t>
                  </a:r>
                </a:p>
              </p:txBody>
            </p:sp>
            <p:sp>
              <p:nvSpPr>
                <p:cNvPr id="117" name="Gelijkbenige driehoek 96">
                  <a:extLst>
                    <a:ext uri="{FF2B5EF4-FFF2-40B4-BE49-F238E27FC236}">
                      <a16:creationId xmlns:a16="http://schemas.microsoft.com/office/drawing/2014/main" id="{E256B01D-D616-46E5-B171-4AE5BDBE58D2}"/>
                    </a:ext>
                  </a:extLst>
                </p:cNvPr>
                <p:cNvSpPr/>
                <p:nvPr userDrawn="1"/>
              </p:nvSpPr>
              <p:spPr>
                <a:xfrm rot="10800000">
                  <a:off x="12950688" y="4093761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pic>
        <p:nvPicPr>
          <p:cNvPr id="202" name="Afbeelding 201">
            <a:extLst>
              <a:ext uri="{FF2B5EF4-FFF2-40B4-BE49-F238E27FC236}">
                <a16:creationId xmlns:a16="http://schemas.microsoft.com/office/drawing/2014/main" id="{889F0510-046E-4908-9005-B0269FC547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919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kaders + Uitleg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grpSp>
        <p:nvGrpSpPr>
          <p:cNvPr id="38" name="GRID" hidden="1">
            <a:extLst>
              <a:ext uri="{FF2B5EF4-FFF2-40B4-BE49-F238E27FC236}">
                <a16:creationId xmlns:a16="http://schemas.microsoft.com/office/drawing/2014/main" id="{51D5F7E8-69F8-47AD-81F5-1645C97607C1}"/>
              </a:ext>
            </a:extLst>
          </p:cNvPr>
          <p:cNvGrpSpPr/>
          <p:nvPr userDrawn="1"/>
        </p:nvGrpSpPr>
        <p:grpSpPr>
          <a:xfrm>
            <a:off x="5" y="0"/>
            <a:ext cx="42767261" cy="30275213"/>
            <a:chOff x="0" y="0"/>
            <a:chExt cx="12192003" cy="6858000"/>
          </a:xfrm>
        </p:grpSpPr>
        <p:sp>
          <p:nvSpPr>
            <p:cNvPr id="39" name="Rechthoek 38">
              <a:extLst>
                <a:ext uri="{FF2B5EF4-FFF2-40B4-BE49-F238E27FC236}">
                  <a16:creationId xmlns:a16="http://schemas.microsoft.com/office/drawing/2014/main" id="{71DB2C92-E6A8-4532-98F6-C917E7F5CD17}"/>
                </a:ext>
              </a:extLst>
            </p:cNvPr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0" name="Rechthoek 39">
              <a:extLst>
                <a:ext uri="{FF2B5EF4-FFF2-40B4-BE49-F238E27FC236}">
                  <a16:creationId xmlns:a16="http://schemas.microsoft.com/office/drawing/2014/main" id="{1283F161-5F8A-45E1-A9F2-F823FC1CB0A5}"/>
                </a:ext>
              </a:extLst>
            </p:cNvPr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1" name="Rechthoek 40">
              <a:extLst>
                <a:ext uri="{FF2B5EF4-FFF2-40B4-BE49-F238E27FC236}">
                  <a16:creationId xmlns:a16="http://schemas.microsoft.com/office/drawing/2014/main" id="{E25AE021-76F4-4113-9019-FB3CB3351AD2}"/>
                </a:ext>
              </a:extLst>
            </p:cNvPr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2" name="Rechthoek 41">
              <a:extLst>
                <a:ext uri="{FF2B5EF4-FFF2-40B4-BE49-F238E27FC236}">
                  <a16:creationId xmlns:a16="http://schemas.microsoft.com/office/drawing/2014/main" id="{4F56F574-960D-4395-B98C-5F49ED9EF418}"/>
                </a:ext>
              </a:extLst>
            </p:cNvPr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34E307D0-CCA0-4BDF-BC5F-E19838E9F7DA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4" name="Rechthoek 43">
              <a:extLst>
                <a:ext uri="{FF2B5EF4-FFF2-40B4-BE49-F238E27FC236}">
                  <a16:creationId xmlns:a16="http://schemas.microsoft.com/office/drawing/2014/main" id="{2AEE0B25-FBCC-4048-A2C0-6D97C3E7FEB7}"/>
                </a:ext>
              </a:extLst>
            </p:cNvPr>
            <p:cNvSpPr/>
            <p:nvPr userDrawn="1"/>
          </p:nvSpPr>
          <p:spPr>
            <a:xfrm rot="5400000">
              <a:off x="5895976" y="-108104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endParaRPr lang="nl-NL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endParaRPr lang="nl-NL" noProof="0"/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8"/>
            <a:ext cx="707315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0D7B9878-B8FD-4C53-84A0-30824F06295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33807" y="6316512"/>
            <a:ext cx="26489657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 marL="0" indent="0">
              <a:buNone/>
              <a:defRPr sz="4209"/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7F82B2D1-AD00-49E7-AE45-05F1D50B110A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696819" y="6310559"/>
            <a:ext cx="5345591" cy="3935014"/>
          </a:xfrm>
          <a:custGeom>
            <a:avLst/>
            <a:gdLst>
              <a:gd name="connsiteX0" fmla="*/ 0 w 1525587"/>
              <a:gd name="connsiteY0" fmla="*/ 161658 h 1241425"/>
              <a:gd name="connsiteX1" fmla="*/ 161658 w 1525587"/>
              <a:gd name="connsiteY1" fmla="*/ 0 h 1241425"/>
              <a:gd name="connsiteX2" fmla="*/ 1363929 w 1525587"/>
              <a:gd name="connsiteY2" fmla="*/ 0 h 1241425"/>
              <a:gd name="connsiteX3" fmla="*/ 1525587 w 1525587"/>
              <a:gd name="connsiteY3" fmla="*/ 161658 h 1241425"/>
              <a:gd name="connsiteX4" fmla="*/ 1525587 w 1525587"/>
              <a:gd name="connsiteY4" fmla="*/ 1079767 h 1241425"/>
              <a:gd name="connsiteX5" fmla="*/ 1363929 w 1525587"/>
              <a:gd name="connsiteY5" fmla="*/ 1241425 h 1241425"/>
              <a:gd name="connsiteX6" fmla="*/ 161658 w 1525587"/>
              <a:gd name="connsiteY6" fmla="*/ 1241425 h 1241425"/>
              <a:gd name="connsiteX7" fmla="*/ 0 w 1525587"/>
              <a:gd name="connsiteY7" fmla="*/ 1079767 h 1241425"/>
              <a:gd name="connsiteX8" fmla="*/ 0 w 1525587"/>
              <a:gd name="connsiteY8" fmla="*/ 161658 h 1241425"/>
              <a:gd name="connsiteX0" fmla="*/ 0 w 1525587"/>
              <a:gd name="connsiteY0" fmla="*/ 161658 h 1241425"/>
              <a:gd name="connsiteX1" fmla="*/ 42862 w 1525587"/>
              <a:gd name="connsiteY1" fmla="*/ 48418 h 1241425"/>
              <a:gd name="connsiteX2" fmla="*/ 161658 w 1525587"/>
              <a:gd name="connsiteY2" fmla="*/ 0 h 1241425"/>
              <a:gd name="connsiteX3" fmla="*/ 1363929 w 1525587"/>
              <a:gd name="connsiteY3" fmla="*/ 0 h 1241425"/>
              <a:gd name="connsiteX4" fmla="*/ 1525587 w 1525587"/>
              <a:gd name="connsiteY4" fmla="*/ 161658 h 1241425"/>
              <a:gd name="connsiteX5" fmla="*/ 1525587 w 1525587"/>
              <a:gd name="connsiteY5" fmla="*/ 1079767 h 1241425"/>
              <a:gd name="connsiteX6" fmla="*/ 1363929 w 1525587"/>
              <a:gd name="connsiteY6" fmla="*/ 1241425 h 1241425"/>
              <a:gd name="connsiteX7" fmla="*/ 161658 w 1525587"/>
              <a:gd name="connsiteY7" fmla="*/ 1241425 h 1241425"/>
              <a:gd name="connsiteX8" fmla="*/ 0 w 1525587"/>
              <a:gd name="connsiteY8" fmla="*/ 1079767 h 1241425"/>
              <a:gd name="connsiteX9" fmla="*/ 0 w 1525587"/>
              <a:gd name="connsiteY9" fmla="*/ 161658 h 1241425"/>
              <a:gd name="connsiteX0" fmla="*/ 8672 w 1534259"/>
              <a:gd name="connsiteY0" fmla="*/ 165982 h 1245749"/>
              <a:gd name="connsiteX1" fmla="*/ 11053 w 1534259"/>
              <a:gd name="connsiteY1" fmla="*/ 12261 h 1245749"/>
              <a:gd name="connsiteX2" fmla="*/ 170330 w 1534259"/>
              <a:gd name="connsiteY2" fmla="*/ 4324 h 1245749"/>
              <a:gd name="connsiteX3" fmla="*/ 1372601 w 1534259"/>
              <a:gd name="connsiteY3" fmla="*/ 4324 h 1245749"/>
              <a:gd name="connsiteX4" fmla="*/ 1534259 w 1534259"/>
              <a:gd name="connsiteY4" fmla="*/ 165982 h 1245749"/>
              <a:gd name="connsiteX5" fmla="*/ 1534259 w 1534259"/>
              <a:gd name="connsiteY5" fmla="*/ 1084091 h 1245749"/>
              <a:gd name="connsiteX6" fmla="*/ 1372601 w 1534259"/>
              <a:gd name="connsiteY6" fmla="*/ 1245749 h 1245749"/>
              <a:gd name="connsiteX7" fmla="*/ 170330 w 1534259"/>
              <a:gd name="connsiteY7" fmla="*/ 1245749 h 1245749"/>
              <a:gd name="connsiteX8" fmla="*/ 8672 w 1534259"/>
              <a:gd name="connsiteY8" fmla="*/ 1084091 h 1245749"/>
              <a:gd name="connsiteX9" fmla="*/ 8672 w 1534259"/>
              <a:gd name="connsiteY9" fmla="*/ 165982 h 1245749"/>
              <a:gd name="connsiteX0" fmla="*/ 8672 w 1534259"/>
              <a:gd name="connsiteY0" fmla="*/ 167890 h 1247657"/>
              <a:gd name="connsiteX1" fmla="*/ 11053 w 1534259"/>
              <a:gd name="connsiteY1" fmla="*/ 14169 h 1247657"/>
              <a:gd name="connsiteX2" fmla="*/ 170330 w 1534259"/>
              <a:gd name="connsiteY2" fmla="*/ 6232 h 1247657"/>
              <a:gd name="connsiteX3" fmla="*/ 1372601 w 1534259"/>
              <a:gd name="connsiteY3" fmla="*/ 6232 h 1247657"/>
              <a:gd name="connsiteX4" fmla="*/ 1534259 w 1534259"/>
              <a:gd name="connsiteY4" fmla="*/ 167890 h 1247657"/>
              <a:gd name="connsiteX5" fmla="*/ 1534259 w 1534259"/>
              <a:gd name="connsiteY5" fmla="*/ 1085999 h 1247657"/>
              <a:gd name="connsiteX6" fmla="*/ 1372601 w 1534259"/>
              <a:gd name="connsiteY6" fmla="*/ 1247657 h 1247657"/>
              <a:gd name="connsiteX7" fmla="*/ 170330 w 1534259"/>
              <a:gd name="connsiteY7" fmla="*/ 1247657 h 1247657"/>
              <a:gd name="connsiteX8" fmla="*/ 8672 w 1534259"/>
              <a:gd name="connsiteY8" fmla="*/ 1085999 h 1247657"/>
              <a:gd name="connsiteX9" fmla="*/ 8672 w 1534259"/>
              <a:gd name="connsiteY9" fmla="*/ 167890 h 1247657"/>
              <a:gd name="connsiteX0" fmla="*/ 8672 w 1534259"/>
              <a:gd name="connsiteY0" fmla="*/ 161658 h 1241425"/>
              <a:gd name="connsiteX1" fmla="*/ 11053 w 1534259"/>
              <a:gd name="connsiteY1" fmla="*/ 7937 h 1241425"/>
              <a:gd name="connsiteX2" fmla="*/ 170330 w 1534259"/>
              <a:gd name="connsiteY2" fmla="*/ 0 h 1241425"/>
              <a:gd name="connsiteX3" fmla="*/ 1372601 w 1534259"/>
              <a:gd name="connsiteY3" fmla="*/ 0 h 1241425"/>
              <a:gd name="connsiteX4" fmla="*/ 1534259 w 1534259"/>
              <a:gd name="connsiteY4" fmla="*/ 161658 h 1241425"/>
              <a:gd name="connsiteX5" fmla="*/ 1534259 w 1534259"/>
              <a:gd name="connsiteY5" fmla="*/ 1079767 h 1241425"/>
              <a:gd name="connsiteX6" fmla="*/ 1372601 w 1534259"/>
              <a:gd name="connsiteY6" fmla="*/ 1241425 h 1241425"/>
              <a:gd name="connsiteX7" fmla="*/ 170330 w 1534259"/>
              <a:gd name="connsiteY7" fmla="*/ 1241425 h 1241425"/>
              <a:gd name="connsiteX8" fmla="*/ 8672 w 1534259"/>
              <a:gd name="connsiteY8" fmla="*/ 1079767 h 1241425"/>
              <a:gd name="connsiteX9" fmla="*/ 8672 w 1534259"/>
              <a:gd name="connsiteY9" fmla="*/ 161658 h 124142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3668 h 1243435"/>
              <a:gd name="connsiteX1" fmla="*/ 10644 w 1535715"/>
              <a:gd name="connsiteY1" fmla="*/ 0 h 1243435"/>
              <a:gd name="connsiteX2" fmla="*/ 171786 w 1535715"/>
              <a:gd name="connsiteY2" fmla="*/ 2010 h 1243435"/>
              <a:gd name="connsiteX3" fmla="*/ 1374057 w 1535715"/>
              <a:gd name="connsiteY3" fmla="*/ 2010 h 1243435"/>
              <a:gd name="connsiteX4" fmla="*/ 1535715 w 1535715"/>
              <a:gd name="connsiteY4" fmla="*/ 163668 h 1243435"/>
              <a:gd name="connsiteX5" fmla="*/ 1535715 w 1535715"/>
              <a:gd name="connsiteY5" fmla="*/ 1081777 h 1243435"/>
              <a:gd name="connsiteX6" fmla="*/ 1374057 w 1535715"/>
              <a:gd name="connsiteY6" fmla="*/ 1243435 h 1243435"/>
              <a:gd name="connsiteX7" fmla="*/ 171786 w 1535715"/>
              <a:gd name="connsiteY7" fmla="*/ 1243435 h 1243435"/>
              <a:gd name="connsiteX8" fmla="*/ 10128 w 1535715"/>
              <a:gd name="connsiteY8" fmla="*/ 1081777 h 1243435"/>
              <a:gd name="connsiteX9" fmla="*/ 10128 w 1535715"/>
              <a:gd name="connsiteY9" fmla="*/ 163668 h 124343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1808 w 1537395"/>
              <a:gd name="connsiteY0" fmla="*/ 161803 h 1241570"/>
              <a:gd name="connsiteX1" fmla="*/ 12324 w 1537395"/>
              <a:gd name="connsiteY1" fmla="*/ 0 h 1241570"/>
              <a:gd name="connsiteX2" fmla="*/ 173466 w 1537395"/>
              <a:gd name="connsiteY2" fmla="*/ 145 h 1241570"/>
              <a:gd name="connsiteX3" fmla="*/ 1375737 w 1537395"/>
              <a:gd name="connsiteY3" fmla="*/ 145 h 1241570"/>
              <a:gd name="connsiteX4" fmla="*/ 1537395 w 1537395"/>
              <a:gd name="connsiteY4" fmla="*/ 161803 h 1241570"/>
              <a:gd name="connsiteX5" fmla="*/ 1537395 w 1537395"/>
              <a:gd name="connsiteY5" fmla="*/ 1079912 h 1241570"/>
              <a:gd name="connsiteX6" fmla="*/ 1375737 w 1537395"/>
              <a:gd name="connsiteY6" fmla="*/ 1241570 h 1241570"/>
              <a:gd name="connsiteX7" fmla="*/ 173466 w 1537395"/>
              <a:gd name="connsiteY7" fmla="*/ 1241570 h 1241570"/>
              <a:gd name="connsiteX8" fmla="*/ 11808 w 1537395"/>
              <a:gd name="connsiteY8" fmla="*/ 1079912 h 1241570"/>
              <a:gd name="connsiteX9" fmla="*/ 11808 w 1537395"/>
              <a:gd name="connsiteY9" fmla="*/ 161803 h 1241570"/>
              <a:gd name="connsiteX0" fmla="*/ 346 w 1525933"/>
              <a:gd name="connsiteY0" fmla="*/ 161803 h 1241570"/>
              <a:gd name="connsiteX1" fmla="*/ 862 w 1525933"/>
              <a:gd name="connsiteY1" fmla="*/ 0 h 1241570"/>
              <a:gd name="connsiteX2" fmla="*/ 162004 w 1525933"/>
              <a:gd name="connsiteY2" fmla="*/ 145 h 1241570"/>
              <a:gd name="connsiteX3" fmla="*/ 1364275 w 1525933"/>
              <a:gd name="connsiteY3" fmla="*/ 145 h 1241570"/>
              <a:gd name="connsiteX4" fmla="*/ 1525933 w 1525933"/>
              <a:gd name="connsiteY4" fmla="*/ 161803 h 1241570"/>
              <a:gd name="connsiteX5" fmla="*/ 1525933 w 1525933"/>
              <a:gd name="connsiteY5" fmla="*/ 1079912 h 1241570"/>
              <a:gd name="connsiteX6" fmla="*/ 1364275 w 1525933"/>
              <a:gd name="connsiteY6" fmla="*/ 1241570 h 1241570"/>
              <a:gd name="connsiteX7" fmla="*/ 162004 w 1525933"/>
              <a:gd name="connsiteY7" fmla="*/ 1241570 h 1241570"/>
              <a:gd name="connsiteX8" fmla="*/ 346 w 1525933"/>
              <a:gd name="connsiteY8" fmla="*/ 1079912 h 1241570"/>
              <a:gd name="connsiteX9" fmla="*/ 346 w 1525933"/>
              <a:gd name="connsiteY9" fmla="*/ 161803 h 1241570"/>
              <a:gd name="connsiteX0" fmla="*/ 872 w 1526459"/>
              <a:gd name="connsiteY0" fmla="*/ 161803 h 1241570"/>
              <a:gd name="connsiteX1" fmla="*/ 1388 w 1526459"/>
              <a:gd name="connsiteY1" fmla="*/ 0 h 1241570"/>
              <a:gd name="connsiteX2" fmla="*/ 162530 w 1526459"/>
              <a:gd name="connsiteY2" fmla="*/ 145 h 1241570"/>
              <a:gd name="connsiteX3" fmla="*/ 1364801 w 1526459"/>
              <a:gd name="connsiteY3" fmla="*/ 145 h 1241570"/>
              <a:gd name="connsiteX4" fmla="*/ 1526459 w 1526459"/>
              <a:gd name="connsiteY4" fmla="*/ 161803 h 1241570"/>
              <a:gd name="connsiteX5" fmla="*/ 1526459 w 1526459"/>
              <a:gd name="connsiteY5" fmla="*/ 1079912 h 1241570"/>
              <a:gd name="connsiteX6" fmla="*/ 1364801 w 1526459"/>
              <a:gd name="connsiteY6" fmla="*/ 1241570 h 1241570"/>
              <a:gd name="connsiteX7" fmla="*/ 162530 w 1526459"/>
              <a:gd name="connsiteY7" fmla="*/ 1241570 h 1241570"/>
              <a:gd name="connsiteX8" fmla="*/ 872 w 1526459"/>
              <a:gd name="connsiteY8" fmla="*/ 1079912 h 1241570"/>
              <a:gd name="connsiteX9" fmla="*/ 872 w 1526459"/>
              <a:gd name="connsiteY9" fmla="*/ 161803 h 1241570"/>
              <a:gd name="connsiteX0" fmla="*/ 470 w 1526057"/>
              <a:gd name="connsiteY0" fmla="*/ 161803 h 1241570"/>
              <a:gd name="connsiteX1" fmla="*/ 986 w 1526057"/>
              <a:gd name="connsiteY1" fmla="*/ 0 h 1241570"/>
              <a:gd name="connsiteX2" fmla="*/ 162128 w 1526057"/>
              <a:gd name="connsiteY2" fmla="*/ 145 h 1241570"/>
              <a:gd name="connsiteX3" fmla="*/ 1364399 w 1526057"/>
              <a:gd name="connsiteY3" fmla="*/ 145 h 1241570"/>
              <a:gd name="connsiteX4" fmla="*/ 1526057 w 1526057"/>
              <a:gd name="connsiteY4" fmla="*/ 161803 h 1241570"/>
              <a:gd name="connsiteX5" fmla="*/ 1526057 w 1526057"/>
              <a:gd name="connsiteY5" fmla="*/ 1079912 h 1241570"/>
              <a:gd name="connsiteX6" fmla="*/ 1364399 w 1526057"/>
              <a:gd name="connsiteY6" fmla="*/ 1241570 h 1241570"/>
              <a:gd name="connsiteX7" fmla="*/ 162128 w 1526057"/>
              <a:gd name="connsiteY7" fmla="*/ 1241570 h 1241570"/>
              <a:gd name="connsiteX8" fmla="*/ 470 w 1526057"/>
              <a:gd name="connsiteY8" fmla="*/ 1079912 h 1241570"/>
              <a:gd name="connsiteX9" fmla="*/ 470 w 1526057"/>
              <a:gd name="connsiteY9" fmla="*/ 161803 h 1241570"/>
              <a:gd name="connsiteX0" fmla="*/ 649 w 1526236"/>
              <a:gd name="connsiteY0" fmla="*/ 161803 h 1241570"/>
              <a:gd name="connsiteX1" fmla="*/ 1165 w 1526236"/>
              <a:gd name="connsiteY1" fmla="*/ 0 h 1241570"/>
              <a:gd name="connsiteX2" fmla="*/ 162307 w 1526236"/>
              <a:gd name="connsiteY2" fmla="*/ 145 h 1241570"/>
              <a:gd name="connsiteX3" fmla="*/ 1364578 w 1526236"/>
              <a:gd name="connsiteY3" fmla="*/ 145 h 1241570"/>
              <a:gd name="connsiteX4" fmla="*/ 1526236 w 1526236"/>
              <a:gd name="connsiteY4" fmla="*/ 161803 h 1241570"/>
              <a:gd name="connsiteX5" fmla="*/ 1526236 w 1526236"/>
              <a:gd name="connsiteY5" fmla="*/ 1079912 h 1241570"/>
              <a:gd name="connsiteX6" fmla="*/ 1364578 w 1526236"/>
              <a:gd name="connsiteY6" fmla="*/ 1241570 h 1241570"/>
              <a:gd name="connsiteX7" fmla="*/ 162307 w 1526236"/>
              <a:gd name="connsiteY7" fmla="*/ 1241570 h 1241570"/>
              <a:gd name="connsiteX8" fmla="*/ 649 w 1526236"/>
              <a:gd name="connsiteY8" fmla="*/ 1079912 h 1241570"/>
              <a:gd name="connsiteX9" fmla="*/ 649 w 1526236"/>
              <a:gd name="connsiteY9" fmla="*/ 161803 h 1241570"/>
              <a:gd name="connsiteX0" fmla="*/ 268 w 1525855"/>
              <a:gd name="connsiteY0" fmla="*/ 161803 h 1241570"/>
              <a:gd name="connsiteX1" fmla="*/ 784 w 1525855"/>
              <a:gd name="connsiteY1" fmla="*/ 0 h 1241570"/>
              <a:gd name="connsiteX2" fmla="*/ 161926 w 1525855"/>
              <a:gd name="connsiteY2" fmla="*/ 145 h 1241570"/>
              <a:gd name="connsiteX3" fmla="*/ 1364197 w 1525855"/>
              <a:gd name="connsiteY3" fmla="*/ 145 h 1241570"/>
              <a:gd name="connsiteX4" fmla="*/ 1525855 w 1525855"/>
              <a:gd name="connsiteY4" fmla="*/ 161803 h 1241570"/>
              <a:gd name="connsiteX5" fmla="*/ 1525855 w 1525855"/>
              <a:gd name="connsiteY5" fmla="*/ 1079912 h 1241570"/>
              <a:gd name="connsiteX6" fmla="*/ 1364197 w 1525855"/>
              <a:gd name="connsiteY6" fmla="*/ 1241570 h 1241570"/>
              <a:gd name="connsiteX7" fmla="*/ 161926 w 1525855"/>
              <a:gd name="connsiteY7" fmla="*/ 1241570 h 1241570"/>
              <a:gd name="connsiteX8" fmla="*/ 268 w 1525855"/>
              <a:gd name="connsiteY8" fmla="*/ 1079912 h 1241570"/>
              <a:gd name="connsiteX9" fmla="*/ 268 w 1525855"/>
              <a:gd name="connsiteY9" fmla="*/ 161803 h 1241570"/>
              <a:gd name="connsiteX0" fmla="*/ 359 w 1525946"/>
              <a:gd name="connsiteY0" fmla="*/ 161803 h 1241570"/>
              <a:gd name="connsiteX1" fmla="*/ 253 w 1525946"/>
              <a:gd name="connsiteY1" fmla="*/ 0 h 1241570"/>
              <a:gd name="connsiteX2" fmla="*/ 162017 w 1525946"/>
              <a:gd name="connsiteY2" fmla="*/ 145 h 1241570"/>
              <a:gd name="connsiteX3" fmla="*/ 1364288 w 1525946"/>
              <a:gd name="connsiteY3" fmla="*/ 145 h 1241570"/>
              <a:gd name="connsiteX4" fmla="*/ 1525946 w 1525946"/>
              <a:gd name="connsiteY4" fmla="*/ 161803 h 1241570"/>
              <a:gd name="connsiteX5" fmla="*/ 1525946 w 1525946"/>
              <a:gd name="connsiteY5" fmla="*/ 1079912 h 1241570"/>
              <a:gd name="connsiteX6" fmla="*/ 1364288 w 1525946"/>
              <a:gd name="connsiteY6" fmla="*/ 1241570 h 1241570"/>
              <a:gd name="connsiteX7" fmla="*/ 162017 w 1525946"/>
              <a:gd name="connsiteY7" fmla="*/ 1241570 h 1241570"/>
              <a:gd name="connsiteX8" fmla="*/ 359 w 1525946"/>
              <a:gd name="connsiteY8" fmla="*/ 1079912 h 1241570"/>
              <a:gd name="connsiteX9" fmla="*/ 359 w 1525946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364035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414898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414898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414898 w 1525693"/>
              <a:gd name="connsiteY6" fmla="*/ 1232717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  <a:gd name="connsiteX0" fmla="*/ 106 w 1525718"/>
              <a:gd name="connsiteY0" fmla="*/ 161803 h 1241570"/>
              <a:gd name="connsiteX1" fmla="*/ 0 w 1525718"/>
              <a:gd name="connsiteY1" fmla="*/ 0 h 1241570"/>
              <a:gd name="connsiteX2" fmla="*/ 161764 w 1525718"/>
              <a:gd name="connsiteY2" fmla="*/ 145 h 1241570"/>
              <a:gd name="connsiteX3" fmla="*/ 1414898 w 1525718"/>
              <a:gd name="connsiteY3" fmla="*/ 145 h 1241570"/>
              <a:gd name="connsiteX4" fmla="*/ 1525693 w 1525718"/>
              <a:gd name="connsiteY4" fmla="*/ 161803 h 1241570"/>
              <a:gd name="connsiteX5" fmla="*/ 1525693 w 1525718"/>
              <a:gd name="connsiteY5" fmla="*/ 1079912 h 1241570"/>
              <a:gd name="connsiteX6" fmla="*/ 1440330 w 1525718"/>
              <a:gd name="connsiteY6" fmla="*/ 1232717 h 1241570"/>
              <a:gd name="connsiteX7" fmla="*/ 161764 w 1525718"/>
              <a:gd name="connsiteY7" fmla="*/ 1241570 h 1241570"/>
              <a:gd name="connsiteX8" fmla="*/ 106 w 1525718"/>
              <a:gd name="connsiteY8" fmla="*/ 1079912 h 1241570"/>
              <a:gd name="connsiteX9" fmla="*/ 106 w 1525718"/>
              <a:gd name="connsiteY9" fmla="*/ 161803 h 1241570"/>
              <a:gd name="connsiteX0" fmla="*/ 106 w 1525718"/>
              <a:gd name="connsiteY0" fmla="*/ 161803 h 1241570"/>
              <a:gd name="connsiteX1" fmla="*/ 0 w 1525718"/>
              <a:gd name="connsiteY1" fmla="*/ 0 h 1241570"/>
              <a:gd name="connsiteX2" fmla="*/ 161764 w 1525718"/>
              <a:gd name="connsiteY2" fmla="*/ 145 h 1241570"/>
              <a:gd name="connsiteX3" fmla="*/ 1414898 w 1525718"/>
              <a:gd name="connsiteY3" fmla="*/ 145 h 1241570"/>
              <a:gd name="connsiteX4" fmla="*/ 1525693 w 1525718"/>
              <a:gd name="connsiteY4" fmla="*/ 161803 h 1241570"/>
              <a:gd name="connsiteX5" fmla="*/ 1525693 w 1525718"/>
              <a:gd name="connsiteY5" fmla="*/ 1079912 h 1241570"/>
              <a:gd name="connsiteX6" fmla="*/ 1440330 w 1525718"/>
              <a:gd name="connsiteY6" fmla="*/ 1239358 h 1241570"/>
              <a:gd name="connsiteX7" fmla="*/ 161764 w 1525718"/>
              <a:gd name="connsiteY7" fmla="*/ 1241570 h 1241570"/>
              <a:gd name="connsiteX8" fmla="*/ 106 w 1525718"/>
              <a:gd name="connsiteY8" fmla="*/ 1079912 h 1241570"/>
              <a:gd name="connsiteX9" fmla="*/ 106 w 1525718"/>
              <a:gd name="connsiteY9" fmla="*/ 161803 h 1241570"/>
              <a:gd name="connsiteX0" fmla="*/ 106 w 1525718"/>
              <a:gd name="connsiteY0" fmla="*/ 161803 h 1241570"/>
              <a:gd name="connsiteX1" fmla="*/ 0 w 1525718"/>
              <a:gd name="connsiteY1" fmla="*/ 0 h 1241570"/>
              <a:gd name="connsiteX2" fmla="*/ 161764 w 1525718"/>
              <a:gd name="connsiteY2" fmla="*/ 145 h 1241570"/>
              <a:gd name="connsiteX3" fmla="*/ 1414898 w 1525718"/>
              <a:gd name="connsiteY3" fmla="*/ 145 h 1241570"/>
              <a:gd name="connsiteX4" fmla="*/ 1525693 w 1525718"/>
              <a:gd name="connsiteY4" fmla="*/ 161803 h 1241570"/>
              <a:gd name="connsiteX5" fmla="*/ 1525693 w 1525718"/>
              <a:gd name="connsiteY5" fmla="*/ 1079912 h 1241570"/>
              <a:gd name="connsiteX6" fmla="*/ 1440330 w 1525718"/>
              <a:gd name="connsiteY6" fmla="*/ 1232717 h 1241570"/>
              <a:gd name="connsiteX7" fmla="*/ 161764 w 1525718"/>
              <a:gd name="connsiteY7" fmla="*/ 1241570 h 1241570"/>
              <a:gd name="connsiteX8" fmla="*/ 106 w 1525718"/>
              <a:gd name="connsiteY8" fmla="*/ 1079912 h 1241570"/>
              <a:gd name="connsiteX9" fmla="*/ 106 w 1525718"/>
              <a:gd name="connsiteY9" fmla="*/ 161803 h 1241570"/>
              <a:gd name="connsiteX0" fmla="*/ 106 w 1525718"/>
              <a:gd name="connsiteY0" fmla="*/ 161803 h 1241570"/>
              <a:gd name="connsiteX1" fmla="*/ 0 w 1525718"/>
              <a:gd name="connsiteY1" fmla="*/ 0 h 1241570"/>
              <a:gd name="connsiteX2" fmla="*/ 161764 w 1525718"/>
              <a:gd name="connsiteY2" fmla="*/ 145 h 1241570"/>
              <a:gd name="connsiteX3" fmla="*/ 1414898 w 1525718"/>
              <a:gd name="connsiteY3" fmla="*/ 145 h 1241570"/>
              <a:gd name="connsiteX4" fmla="*/ 1525693 w 1525718"/>
              <a:gd name="connsiteY4" fmla="*/ 161803 h 1241570"/>
              <a:gd name="connsiteX5" fmla="*/ 1525693 w 1525718"/>
              <a:gd name="connsiteY5" fmla="*/ 1079912 h 1241570"/>
              <a:gd name="connsiteX6" fmla="*/ 1440330 w 1525718"/>
              <a:gd name="connsiteY6" fmla="*/ 1232717 h 1241570"/>
              <a:gd name="connsiteX7" fmla="*/ 161764 w 1525718"/>
              <a:gd name="connsiteY7" fmla="*/ 1241570 h 1241570"/>
              <a:gd name="connsiteX8" fmla="*/ 106 w 1525718"/>
              <a:gd name="connsiteY8" fmla="*/ 1079912 h 1241570"/>
              <a:gd name="connsiteX9" fmla="*/ 106 w 1525718"/>
              <a:gd name="connsiteY9" fmla="*/ 161803 h 1241570"/>
              <a:gd name="connsiteX0" fmla="*/ 106 w 1525718"/>
              <a:gd name="connsiteY0" fmla="*/ 161803 h 1241570"/>
              <a:gd name="connsiteX1" fmla="*/ 0 w 1525718"/>
              <a:gd name="connsiteY1" fmla="*/ 0 h 1241570"/>
              <a:gd name="connsiteX2" fmla="*/ 161764 w 1525718"/>
              <a:gd name="connsiteY2" fmla="*/ 145 h 1241570"/>
              <a:gd name="connsiteX3" fmla="*/ 1414898 w 1525718"/>
              <a:gd name="connsiteY3" fmla="*/ 145 h 1241570"/>
              <a:gd name="connsiteX4" fmla="*/ 1525693 w 1525718"/>
              <a:gd name="connsiteY4" fmla="*/ 161803 h 1241570"/>
              <a:gd name="connsiteX5" fmla="*/ 1525693 w 1525718"/>
              <a:gd name="connsiteY5" fmla="*/ 1079912 h 1241570"/>
              <a:gd name="connsiteX6" fmla="*/ 1440330 w 1525718"/>
              <a:gd name="connsiteY6" fmla="*/ 1239358 h 1241570"/>
              <a:gd name="connsiteX7" fmla="*/ 161764 w 1525718"/>
              <a:gd name="connsiteY7" fmla="*/ 1241570 h 1241570"/>
              <a:gd name="connsiteX8" fmla="*/ 106 w 1525718"/>
              <a:gd name="connsiteY8" fmla="*/ 1079912 h 1241570"/>
              <a:gd name="connsiteX9" fmla="*/ 106 w 1525718"/>
              <a:gd name="connsiteY9" fmla="*/ 161803 h 1241570"/>
              <a:gd name="connsiteX0" fmla="*/ 106 w 1525718"/>
              <a:gd name="connsiteY0" fmla="*/ 161803 h 1241570"/>
              <a:gd name="connsiteX1" fmla="*/ 0 w 1525718"/>
              <a:gd name="connsiteY1" fmla="*/ 0 h 1241570"/>
              <a:gd name="connsiteX2" fmla="*/ 161764 w 1525718"/>
              <a:gd name="connsiteY2" fmla="*/ 145 h 1241570"/>
              <a:gd name="connsiteX3" fmla="*/ 1414898 w 1525718"/>
              <a:gd name="connsiteY3" fmla="*/ 145 h 1241570"/>
              <a:gd name="connsiteX4" fmla="*/ 1525693 w 1525718"/>
              <a:gd name="connsiteY4" fmla="*/ 161803 h 1241570"/>
              <a:gd name="connsiteX5" fmla="*/ 1525693 w 1525718"/>
              <a:gd name="connsiteY5" fmla="*/ 1079912 h 1241570"/>
              <a:gd name="connsiteX6" fmla="*/ 1440330 w 1525718"/>
              <a:gd name="connsiteY6" fmla="*/ 1229398 h 1241570"/>
              <a:gd name="connsiteX7" fmla="*/ 161764 w 1525718"/>
              <a:gd name="connsiteY7" fmla="*/ 1241570 h 1241570"/>
              <a:gd name="connsiteX8" fmla="*/ 106 w 1525718"/>
              <a:gd name="connsiteY8" fmla="*/ 1079912 h 1241570"/>
              <a:gd name="connsiteX9" fmla="*/ 106 w 1525718"/>
              <a:gd name="connsiteY9" fmla="*/ 161803 h 1241570"/>
              <a:gd name="connsiteX0" fmla="*/ 106 w 1525789"/>
              <a:gd name="connsiteY0" fmla="*/ 161803 h 1249317"/>
              <a:gd name="connsiteX1" fmla="*/ 0 w 1525789"/>
              <a:gd name="connsiteY1" fmla="*/ 0 h 1249317"/>
              <a:gd name="connsiteX2" fmla="*/ 161764 w 1525789"/>
              <a:gd name="connsiteY2" fmla="*/ 145 h 1249317"/>
              <a:gd name="connsiteX3" fmla="*/ 1414898 w 1525789"/>
              <a:gd name="connsiteY3" fmla="*/ 145 h 1249317"/>
              <a:gd name="connsiteX4" fmla="*/ 1525693 w 1525789"/>
              <a:gd name="connsiteY4" fmla="*/ 161803 h 1249317"/>
              <a:gd name="connsiteX5" fmla="*/ 1525693 w 1525789"/>
              <a:gd name="connsiteY5" fmla="*/ 1079912 h 1249317"/>
              <a:gd name="connsiteX6" fmla="*/ 1442714 w 1525789"/>
              <a:gd name="connsiteY6" fmla="*/ 1249317 h 1249317"/>
              <a:gd name="connsiteX7" fmla="*/ 161764 w 1525789"/>
              <a:gd name="connsiteY7" fmla="*/ 1241570 h 1249317"/>
              <a:gd name="connsiteX8" fmla="*/ 106 w 1525789"/>
              <a:gd name="connsiteY8" fmla="*/ 1079912 h 1249317"/>
              <a:gd name="connsiteX9" fmla="*/ 106 w 1525789"/>
              <a:gd name="connsiteY9" fmla="*/ 161803 h 1249317"/>
              <a:gd name="connsiteX0" fmla="*/ 106 w 1525789"/>
              <a:gd name="connsiteY0" fmla="*/ 161803 h 1242677"/>
              <a:gd name="connsiteX1" fmla="*/ 0 w 1525789"/>
              <a:gd name="connsiteY1" fmla="*/ 0 h 1242677"/>
              <a:gd name="connsiteX2" fmla="*/ 161764 w 1525789"/>
              <a:gd name="connsiteY2" fmla="*/ 145 h 1242677"/>
              <a:gd name="connsiteX3" fmla="*/ 1414898 w 1525789"/>
              <a:gd name="connsiteY3" fmla="*/ 145 h 1242677"/>
              <a:gd name="connsiteX4" fmla="*/ 1525693 w 1525789"/>
              <a:gd name="connsiteY4" fmla="*/ 161803 h 1242677"/>
              <a:gd name="connsiteX5" fmla="*/ 1525693 w 1525789"/>
              <a:gd name="connsiteY5" fmla="*/ 1079912 h 1242677"/>
              <a:gd name="connsiteX6" fmla="*/ 1442714 w 1525789"/>
              <a:gd name="connsiteY6" fmla="*/ 1242677 h 1242677"/>
              <a:gd name="connsiteX7" fmla="*/ 161764 w 1525789"/>
              <a:gd name="connsiteY7" fmla="*/ 1241570 h 1242677"/>
              <a:gd name="connsiteX8" fmla="*/ 106 w 1525789"/>
              <a:gd name="connsiteY8" fmla="*/ 1079912 h 1242677"/>
              <a:gd name="connsiteX9" fmla="*/ 106 w 1525789"/>
              <a:gd name="connsiteY9" fmla="*/ 161803 h 1242677"/>
              <a:gd name="connsiteX0" fmla="*/ 106 w 1525789"/>
              <a:gd name="connsiteY0" fmla="*/ 161803 h 1242677"/>
              <a:gd name="connsiteX1" fmla="*/ 0 w 1525789"/>
              <a:gd name="connsiteY1" fmla="*/ 0 h 1242677"/>
              <a:gd name="connsiteX2" fmla="*/ 161764 w 1525789"/>
              <a:gd name="connsiteY2" fmla="*/ 145 h 1242677"/>
              <a:gd name="connsiteX3" fmla="*/ 1414898 w 1525789"/>
              <a:gd name="connsiteY3" fmla="*/ 145 h 1242677"/>
              <a:gd name="connsiteX4" fmla="*/ 1525693 w 1525789"/>
              <a:gd name="connsiteY4" fmla="*/ 161803 h 1242677"/>
              <a:gd name="connsiteX5" fmla="*/ 1525693 w 1525789"/>
              <a:gd name="connsiteY5" fmla="*/ 1079912 h 1242677"/>
              <a:gd name="connsiteX6" fmla="*/ 1442714 w 1525789"/>
              <a:gd name="connsiteY6" fmla="*/ 1242677 h 1242677"/>
              <a:gd name="connsiteX7" fmla="*/ 130769 w 1525789"/>
              <a:gd name="connsiteY7" fmla="*/ 1241570 h 1242677"/>
              <a:gd name="connsiteX8" fmla="*/ 106 w 1525789"/>
              <a:gd name="connsiteY8" fmla="*/ 1079912 h 1242677"/>
              <a:gd name="connsiteX9" fmla="*/ 106 w 1525789"/>
              <a:gd name="connsiteY9" fmla="*/ 161803 h 1242677"/>
              <a:gd name="connsiteX0" fmla="*/ 106 w 1525789"/>
              <a:gd name="connsiteY0" fmla="*/ 161803 h 1242677"/>
              <a:gd name="connsiteX1" fmla="*/ 0 w 1525789"/>
              <a:gd name="connsiteY1" fmla="*/ 0 h 1242677"/>
              <a:gd name="connsiteX2" fmla="*/ 161764 w 1525789"/>
              <a:gd name="connsiteY2" fmla="*/ 145 h 1242677"/>
              <a:gd name="connsiteX3" fmla="*/ 1414898 w 1525789"/>
              <a:gd name="connsiteY3" fmla="*/ 145 h 1242677"/>
              <a:gd name="connsiteX4" fmla="*/ 1525693 w 1525789"/>
              <a:gd name="connsiteY4" fmla="*/ 161803 h 1242677"/>
              <a:gd name="connsiteX5" fmla="*/ 1525693 w 1525789"/>
              <a:gd name="connsiteY5" fmla="*/ 1079912 h 1242677"/>
              <a:gd name="connsiteX6" fmla="*/ 1442714 w 1525789"/>
              <a:gd name="connsiteY6" fmla="*/ 1242677 h 1242677"/>
              <a:gd name="connsiteX7" fmla="*/ 118848 w 1525789"/>
              <a:gd name="connsiteY7" fmla="*/ 1241570 h 1242677"/>
              <a:gd name="connsiteX8" fmla="*/ 106 w 1525789"/>
              <a:gd name="connsiteY8" fmla="*/ 1079912 h 1242677"/>
              <a:gd name="connsiteX9" fmla="*/ 106 w 1525789"/>
              <a:gd name="connsiteY9" fmla="*/ 161803 h 1242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25789" h="1242677">
                <a:moveTo>
                  <a:pt x="106" y="161803"/>
                </a:moveTo>
                <a:cubicBezTo>
                  <a:pt x="-210" y="159620"/>
                  <a:pt x="409" y="7672"/>
                  <a:pt x="0" y="0"/>
                </a:cubicBezTo>
                <a:cubicBezTo>
                  <a:pt x="6219" y="388"/>
                  <a:pt x="110655" y="450"/>
                  <a:pt x="161764" y="145"/>
                </a:cubicBezTo>
                <a:lnTo>
                  <a:pt x="1414898" y="145"/>
                </a:lnTo>
                <a:cubicBezTo>
                  <a:pt x="1504179" y="145"/>
                  <a:pt x="1525693" y="72522"/>
                  <a:pt x="1525693" y="161803"/>
                </a:cubicBezTo>
                <a:lnTo>
                  <a:pt x="1525693" y="1079912"/>
                </a:lnTo>
                <a:cubicBezTo>
                  <a:pt x="1525693" y="1169193"/>
                  <a:pt x="1531995" y="1242677"/>
                  <a:pt x="1442714" y="1242677"/>
                </a:cubicBezTo>
                <a:lnTo>
                  <a:pt x="118848" y="1241570"/>
                </a:lnTo>
                <a:cubicBezTo>
                  <a:pt x="29567" y="1241570"/>
                  <a:pt x="106" y="1169193"/>
                  <a:pt x="106" y="1079912"/>
                </a:cubicBezTo>
                <a:lnTo>
                  <a:pt x="106" y="1618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144000" anchor="b"/>
          <a:lstStyle>
            <a:lvl1pPr marL="0" indent="0" algn="ctr">
              <a:buNone/>
              <a:defRPr sz="2806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nl-NL" noProof="0"/>
          </a:p>
        </p:txBody>
      </p:sp>
      <p:sp>
        <p:nvSpPr>
          <p:cNvPr id="31" name="Tijdelijke aanduiding voor afbeelding 6">
            <a:extLst>
              <a:ext uri="{FF2B5EF4-FFF2-40B4-BE49-F238E27FC236}">
                <a16:creationId xmlns:a16="http://schemas.microsoft.com/office/drawing/2014/main" id="{6EAA7FFB-E40E-4744-8AF0-0E4BEE5C22A0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1696814" y="11466943"/>
            <a:ext cx="5345254" cy="3931509"/>
          </a:xfrm>
          <a:custGeom>
            <a:avLst/>
            <a:gdLst>
              <a:gd name="connsiteX0" fmla="*/ 0 w 1525587"/>
              <a:gd name="connsiteY0" fmla="*/ 161658 h 1241425"/>
              <a:gd name="connsiteX1" fmla="*/ 161658 w 1525587"/>
              <a:gd name="connsiteY1" fmla="*/ 0 h 1241425"/>
              <a:gd name="connsiteX2" fmla="*/ 1363929 w 1525587"/>
              <a:gd name="connsiteY2" fmla="*/ 0 h 1241425"/>
              <a:gd name="connsiteX3" fmla="*/ 1525587 w 1525587"/>
              <a:gd name="connsiteY3" fmla="*/ 161658 h 1241425"/>
              <a:gd name="connsiteX4" fmla="*/ 1525587 w 1525587"/>
              <a:gd name="connsiteY4" fmla="*/ 1079767 h 1241425"/>
              <a:gd name="connsiteX5" fmla="*/ 1363929 w 1525587"/>
              <a:gd name="connsiteY5" fmla="*/ 1241425 h 1241425"/>
              <a:gd name="connsiteX6" fmla="*/ 161658 w 1525587"/>
              <a:gd name="connsiteY6" fmla="*/ 1241425 h 1241425"/>
              <a:gd name="connsiteX7" fmla="*/ 0 w 1525587"/>
              <a:gd name="connsiteY7" fmla="*/ 1079767 h 1241425"/>
              <a:gd name="connsiteX8" fmla="*/ 0 w 1525587"/>
              <a:gd name="connsiteY8" fmla="*/ 161658 h 1241425"/>
              <a:gd name="connsiteX0" fmla="*/ 0 w 1525587"/>
              <a:gd name="connsiteY0" fmla="*/ 161658 h 1241425"/>
              <a:gd name="connsiteX1" fmla="*/ 42862 w 1525587"/>
              <a:gd name="connsiteY1" fmla="*/ 48418 h 1241425"/>
              <a:gd name="connsiteX2" fmla="*/ 161658 w 1525587"/>
              <a:gd name="connsiteY2" fmla="*/ 0 h 1241425"/>
              <a:gd name="connsiteX3" fmla="*/ 1363929 w 1525587"/>
              <a:gd name="connsiteY3" fmla="*/ 0 h 1241425"/>
              <a:gd name="connsiteX4" fmla="*/ 1525587 w 1525587"/>
              <a:gd name="connsiteY4" fmla="*/ 161658 h 1241425"/>
              <a:gd name="connsiteX5" fmla="*/ 1525587 w 1525587"/>
              <a:gd name="connsiteY5" fmla="*/ 1079767 h 1241425"/>
              <a:gd name="connsiteX6" fmla="*/ 1363929 w 1525587"/>
              <a:gd name="connsiteY6" fmla="*/ 1241425 h 1241425"/>
              <a:gd name="connsiteX7" fmla="*/ 161658 w 1525587"/>
              <a:gd name="connsiteY7" fmla="*/ 1241425 h 1241425"/>
              <a:gd name="connsiteX8" fmla="*/ 0 w 1525587"/>
              <a:gd name="connsiteY8" fmla="*/ 1079767 h 1241425"/>
              <a:gd name="connsiteX9" fmla="*/ 0 w 1525587"/>
              <a:gd name="connsiteY9" fmla="*/ 161658 h 1241425"/>
              <a:gd name="connsiteX0" fmla="*/ 8672 w 1534259"/>
              <a:gd name="connsiteY0" fmla="*/ 165982 h 1245749"/>
              <a:gd name="connsiteX1" fmla="*/ 11053 w 1534259"/>
              <a:gd name="connsiteY1" fmla="*/ 12261 h 1245749"/>
              <a:gd name="connsiteX2" fmla="*/ 170330 w 1534259"/>
              <a:gd name="connsiteY2" fmla="*/ 4324 h 1245749"/>
              <a:gd name="connsiteX3" fmla="*/ 1372601 w 1534259"/>
              <a:gd name="connsiteY3" fmla="*/ 4324 h 1245749"/>
              <a:gd name="connsiteX4" fmla="*/ 1534259 w 1534259"/>
              <a:gd name="connsiteY4" fmla="*/ 165982 h 1245749"/>
              <a:gd name="connsiteX5" fmla="*/ 1534259 w 1534259"/>
              <a:gd name="connsiteY5" fmla="*/ 1084091 h 1245749"/>
              <a:gd name="connsiteX6" fmla="*/ 1372601 w 1534259"/>
              <a:gd name="connsiteY6" fmla="*/ 1245749 h 1245749"/>
              <a:gd name="connsiteX7" fmla="*/ 170330 w 1534259"/>
              <a:gd name="connsiteY7" fmla="*/ 1245749 h 1245749"/>
              <a:gd name="connsiteX8" fmla="*/ 8672 w 1534259"/>
              <a:gd name="connsiteY8" fmla="*/ 1084091 h 1245749"/>
              <a:gd name="connsiteX9" fmla="*/ 8672 w 1534259"/>
              <a:gd name="connsiteY9" fmla="*/ 165982 h 1245749"/>
              <a:gd name="connsiteX0" fmla="*/ 8672 w 1534259"/>
              <a:gd name="connsiteY0" fmla="*/ 167890 h 1247657"/>
              <a:gd name="connsiteX1" fmla="*/ 11053 w 1534259"/>
              <a:gd name="connsiteY1" fmla="*/ 14169 h 1247657"/>
              <a:gd name="connsiteX2" fmla="*/ 170330 w 1534259"/>
              <a:gd name="connsiteY2" fmla="*/ 6232 h 1247657"/>
              <a:gd name="connsiteX3" fmla="*/ 1372601 w 1534259"/>
              <a:gd name="connsiteY3" fmla="*/ 6232 h 1247657"/>
              <a:gd name="connsiteX4" fmla="*/ 1534259 w 1534259"/>
              <a:gd name="connsiteY4" fmla="*/ 167890 h 1247657"/>
              <a:gd name="connsiteX5" fmla="*/ 1534259 w 1534259"/>
              <a:gd name="connsiteY5" fmla="*/ 1085999 h 1247657"/>
              <a:gd name="connsiteX6" fmla="*/ 1372601 w 1534259"/>
              <a:gd name="connsiteY6" fmla="*/ 1247657 h 1247657"/>
              <a:gd name="connsiteX7" fmla="*/ 170330 w 1534259"/>
              <a:gd name="connsiteY7" fmla="*/ 1247657 h 1247657"/>
              <a:gd name="connsiteX8" fmla="*/ 8672 w 1534259"/>
              <a:gd name="connsiteY8" fmla="*/ 1085999 h 1247657"/>
              <a:gd name="connsiteX9" fmla="*/ 8672 w 1534259"/>
              <a:gd name="connsiteY9" fmla="*/ 167890 h 1247657"/>
              <a:gd name="connsiteX0" fmla="*/ 8672 w 1534259"/>
              <a:gd name="connsiteY0" fmla="*/ 161658 h 1241425"/>
              <a:gd name="connsiteX1" fmla="*/ 11053 w 1534259"/>
              <a:gd name="connsiteY1" fmla="*/ 7937 h 1241425"/>
              <a:gd name="connsiteX2" fmla="*/ 170330 w 1534259"/>
              <a:gd name="connsiteY2" fmla="*/ 0 h 1241425"/>
              <a:gd name="connsiteX3" fmla="*/ 1372601 w 1534259"/>
              <a:gd name="connsiteY3" fmla="*/ 0 h 1241425"/>
              <a:gd name="connsiteX4" fmla="*/ 1534259 w 1534259"/>
              <a:gd name="connsiteY4" fmla="*/ 161658 h 1241425"/>
              <a:gd name="connsiteX5" fmla="*/ 1534259 w 1534259"/>
              <a:gd name="connsiteY5" fmla="*/ 1079767 h 1241425"/>
              <a:gd name="connsiteX6" fmla="*/ 1372601 w 1534259"/>
              <a:gd name="connsiteY6" fmla="*/ 1241425 h 1241425"/>
              <a:gd name="connsiteX7" fmla="*/ 170330 w 1534259"/>
              <a:gd name="connsiteY7" fmla="*/ 1241425 h 1241425"/>
              <a:gd name="connsiteX8" fmla="*/ 8672 w 1534259"/>
              <a:gd name="connsiteY8" fmla="*/ 1079767 h 1241425"/>
              <a:gd name="connsiteX9" fmla="*/ 8672 w 1534259"/>
              <a:gd name="connsiteY9" fmla="*/ 161658 h 124142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3668 h 1243435"/>
              <a:gd name="connsiteX1" fmla="*/ 10644 w 1535715"/>
              <a:gd name="connsiteY1" fmla="*/ 0 h 1243435"/>
              <a:gd name="connsiteX2" fmla="*/ 171786 w 1535715"/>
              <a:gd name="connsiteY2" fmla="*/ 2010 h 1243435"/>
              <a:gd name="connsiteX3" fmla="*/ 1374057 w 1535715"/>
              <a:gd name="connsiteY3" fmla="*/ 2010 h 1243435"/>
              <a:gd name="connsiteX4" fmla="*/ 1535715 w 1535715"/>
              <a:gd name="connsiteY4" fmla="*/ 163668 h 1243435"/>
              <a:gd name="connsiteX5" fmla="*/ 1535715 w 1535715"/>
              <a:gd name="connsiteY5" fmla="*/ 1081777 h 1243435"/>
              <a:gd name="connsiteX6" fmla="*/ 1374057 w 1535715"/>
              <a:gd name="connsiteY6" fmla="*/ 1243435 h 1243435"/>
              <a:gd name="connsiteX7" fmla="*/ 171786 w 1535715"/>
              <a:gd name="connsiteY7" fmla="*/ 1243435 h 1243435"/>
              <a:gd name="connsiteX8" fmla="*/ 10128 w 1535715"/>
              <a:gd name="connsiteY8" fmla="*/ 1081777 h 1243435"/>
              <a:gd name="connsiteX9" fmla="*/ 10128 w 1535715"/>
              <a:gd name="connsiteY9" fmla="*/ 163668 h 124343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1808 w 1537395"/>
              <a:gd name="connsiteY0" fmla="*/ 161803 h 1241570"/>
              <a:gd name="connsiteX1" fmla="*/ 12324 w 1537395"/>
              <a:gd name="connsiteY1" fmla="*/ 0 h 1241570"/>
              <a:gd name="connsiteX2" fmla="*/ 173466 w 1537395"/>
              <a:gd name="connsiteY2" fmla="*/ 145 h 1241570"/>
              <a:gd name="connsiteX3" fmla="*/ 1375737 w 1537395"/>
              <a:gd name="connsiteY3" fmla="*/ 145 h 1241570"/>
              <a:gd name="connsiteX4" fmla="*/ 1537395 w 1537395"/>
              <a:gd name="connsiteY4" fmla="*/ 161803 h 1241570"/>
              <a:gd name="connsiteX5" fmla="*/ 1537395 w 1537395"/>
              <a:gd name="connsiteY5" fmla="*/ 1079912 h 1241570"/>
              <a:gd name="connsiteX6" fmla="*/ 1375737 w 1537395"/>
              <a:gd name="connsiteY6" fmla="*/ 1241570 h 1241570"/>
              <a:gd name="connsiteX7" fmla="*/ 173466 w 1537395"/>
              <a:gd name="connsiteY7" fmla="*/ 1241570 h 1241570"/>
              <a:gd name="connsiteX8" fmla="*/ 11808 w 1537395"/>
              <a:gd name="connsiteY8" fmla="*/ 1079912 h 1241570"/>
              <a:gd name="connsiteX9" fmla="*/ 11808 w 1537395"/>
              <a:gd name="connsiteY9" fmla="*/ 161803 h 1241570"/>
              <a:gd name="connsiteX0" fmla="*/ 346 w 1525933"/>
              <a:gd name="connsiteY0" fmla="*/ 161803 h 1241570"/>
              <a:gd name="connsiteX1" fmla="*/ 862 w 1525933"/>
              <a:gd name="connsiteY1" fmla="*/ 0 h 1241570"/>
              <a:gd name="connsiteX2" fmla="*/ 162004 w 1525933"/>
              <a:gd name="connsiteY2" fmla="*/ 145 h 1241570"/>
              <a:gd name="connsiteX3" fmla="*/ 1364275 w 1525933"/>
              <a:gd name="connsiteY3" fmla="*/ 145 h 1241570"/>
              <a:gd name="connsiteX4" fmla="*/ 1525933 w 1525933"/>
              <a:gd name="connsiteY4" fmla="*/ 161803 h 1241570"/>
              <a:gd name="connsiteX5" fmla="*/ 1525933 w 1525933"/>
              <a:gd name="connsiteY5" fmla="*/ 1079912 h 1241570"/>
              <a:gd name="connsiteX6" fmla="*/ 1364275 w 1525933"/>
              <a:gd name="connsiteY6" fmla="*/ 1241570 h 1241570"/>
              <a:gd name="connsiteX7" fmla="*/ 162004 w 1525933"/>
              <a:gd name="connsiteY7" fmla="*/ 1241570 h 1241570"/>
              <a:gd name="connsiteX8" fmla="*/ 346 w 1525933"/>
              <a:gd name="connsiteY8" fmla="*/ 1079912 h 1241570"/>
              <a:gd name="connsiteX9" fmla="*/ 346 w 1525933"/>
              <a:gd name="connsiteY9" fmla="*/ 161803 h 1241570"/>
              <a:gd name="connsiteX0" fmla="*/ 872 w 1526459"/>
              <a:gd name="connsiteY0" fmla="*/ 161803 h 1241570"/>
              <a:gd name="connsiteX1" fmla="*/ 1388 w 1526459"/>
              <a:gd name="connsiteY1" fmla="*/ 0 h 1241570"/>
              <a:gd name="connsiteX2" fmla="*/ 162530 w 1526459"/>
              <a:gd name="connsiteY2" fmla="*/ 145 h 1241570"/>
              <a:gd name="connsiteX3" fmla="*/ 1364801 w 1526459"/>
              <a:gd name="connsiteY3" fmla="*/ 145 h 1241570"/>
              <a:gd name="connsiteX4" fmla="*/ 1526459 w 1526459"/>
              <a:gd name="connsiteY4" fmla="*/ 161803 h 1241570"/>
              <a:gd name="connsiteX5" fmla="*/ 1526459 w 1526459"/>
              <a:gd name="connsiteY5" fmla="*/ 1079912 h 1241570"/>
              <a:gd name="connsiteX6" fmla="*/ 1364801 w 1526459"/>
              <a:gd name="connsiteY6" fmla="*/ 1241570 h 1241570"/>
              <a:gd name="connsiteX7" fmla="*/ 162530 w 1526459"/>
              <a:gd name="connsiteY7" fmla="*/ 1241570 h 1241570"/>
              <a:gd name="connsiteX8" fmla="*/ 872 w 1526459"/>
              <a:gd name="connsiteY8" fmla="*/ 1079912 h 1241570"/>
              <a:gd name="connsiteX9" fmla="*/ 872 w 1526459"/>
              <a:gd name="connsiteY9" fmla="*/ 161803 h 1241570"/>
              <a:gd name="connsiteX0" fmla="*/ 470 w 1526057"/>
              <a:gd name="connsiteY0" fmla="*/ 161803 h 1241570"/>
              <a:gd name="connsiteX1" fmla="*/ 986 w 1526057"/>
              <a:gd name="connsiteY1" fmla="*/ 0 h 1241570"/>
              <a:gd name="connsiteX2" fmla="*/ 162128 w 1526057"/>
              <a:gd name="connsiteY2" fmla="*/ 145 h 1241570"/>
              <a:gd name="connsiteX3" fmla="*/ 1364399 w 1526057"/>
              <a:gd name="connsiteY3" fmla="*/ 145 h 1241570"/>
              <a:gd name="connsiteX4" fmla="*/ 1526057 w 1526057"/>
              <a:gd name="connsiteY4" fmla="*/ 161803 h 1241570"/>
              <a:gd name="connsiteX5" fmla="*/ 1526057 w 1526057"/>
              <a:gd name="connsiteY5" fmla="*/ 1079912 h 1241570"/>
              <a:gd name="connsiteX6" fmla="*/ 1364399 w 1526057"/>
              <a:gd name="connsiteY6" fmla="*/ 1241570 h 1241570"/>
              <a:gd name="connsiteX7" fmla="*/ 162128 w 1526057"/>
              <a:gd name="connsiteY7" fmla="*/ 1241570 h 1241570"/>
              <a:gd name="connsiteX8" fmla="*/ 470 w 1526057"/>
              <a:gd name="connsiteY8" fmla="*/ 1079912 h 1241570"/>
              <a:gd name="connsiteX9" fmla="*/ 470 w 1526057"/>
              <a:gd name="connsiteY9" fmla="*/ 161803 h 1241570"/>
              <a:gd name="connsiteX0" fmla="*/ 649 w 1526236"/>
              <a:gd name="connsiteY0" fmla="*/ 161803 h 1241570"/>
              <a:gd name="connsiteX1" fmla="*/ 1165 w 1526236"/>
              <a:gd name="connsiteY1" fmla="*/ 0 h 1241570"/>
              <a:gd name="connsiteX2" fmla="*/ 162307 w 1526236"/>
              <a:gd name="connsiteY2" fmla="*/ 145 h 1241570"/>
              <a:gd name="connsiteX3" fmla="*/ 1364578 w 1526236"/>
              <a:gd name="connsiteY3" fmla="*/ 145 h 1241570"/>
              <a:gd name="connsiteX4" fmla="*/ 1526236 w 1526236"/>
              <a:gd name="connsiteY4" fmla="*/ 161803 h 1241570"/>
              <a:gd name="connsiteX5" fmla="*/ 1526236 w 1526236"/>
              <a:gd name="connsiteY5" fmla="*/ 1079912 h 1241570"/>
              <a:gd name="connsiteX6" fmla="*/ 1364578 w 1526236"/>
              <a:gd name="connsiteY6" fmla="*/ 1241570 h 1241570"/>
              <a:gd name="connsiteX7" fmla="*/ 162307 w 1526236"/>
              <a:gd name="connsiteY7" fmla="*/ 1241570 h 1241570"/>
              <a:gd name="connsiteX8" fmla="*/ 649 w 1526236"/>
              <a:gd name="connsiteY8" fmla="*/ 1079912 h 1241570"/>
              <a:gd name="connsiteX9" fmla="*/ 649 w 1526236"/>
              <a:gd name="connsiteY9" fmla="*/ 161803 h 1241570"/>
              <a:gd name="connsiteX0" fmla="*/ 268 w 1525855"/>
              <a:gd name="connsiteY0" fmla="*/ 161803 h 1241570"/>
              <a:gd name="connsiteX1" fmla="*/ 784 w 1525855"/>
              <a:gd name="connsiteY1" fmla="*/ 0 h 1241570"/>
              <a:gd name="connsiteX2" fmla="*/ 161926 w 1525855"/>
              <a:gd name="connsiteY2" fmla="*/ 145 h 1241570"/>
              <a:gd name="connsiteX3" fmla="*/ 1364197 w 1525855"/>
              <a:gd name="connsiteY3" fmla="*/ 145 h 1241570"/>
              <a:gd name="connsiteX4" fmla="*/ 1525855 w 1525855"/>
              <a:gd name="connsiteY4" fmla="*/ 161803 h 1241570"/>
              <a:gd name="connsiteX5" fmla="*/ 1525855 w 1525855"/>
              <a:gd name="connsiteY5" fmla="*/ 1079912 h 1241570"/>
              <a:gd name="connsiteX6" fmla="*/ 1364197 w 1525855"/>
              <a:gd name="connsiteY6" fmla="*/ 1241570 h 1241570"/>
              <a:gd name="connsiteX7" fmla="*/ 161926 w 1525855"/>
              <a:gd name="connsiteY7" fmla="*/ 1241570 h 1241570"/>
              <a:gd name="connsiteX8" fmla="*/ 268 w 1525855"/>
              <a:gd name="connsiteY8" fmla="*/ 1079912 h 1241570"/>
              <a:gd name="connsiteX9" fmla="*/ 268 w 1525855"/>
              <a:gd name="connsiteY9" fmla="*/ 161803 h 1241570"/>
              <a:gd name="connsiteX0" fmla="*/ 359 w 1525946"/>
              <a:gd name="connsiteY0" fmla="*/ 161803 h 1241570"/>
              <a:gd name="connsiteX1" fmla="*/ 253 w 1525946"/>
              <a:gd name="connsiteY1" fmla="*/ 0 h 1241570"/>
              <a:gd name="connsiteX2" fmla="*/ 162017 w 1525946"/>
              <a:gd name="connsiteY2" fmla="*/ 145 h 1241570"/>
              <a:gd name="connsiteX3" fmla="*/ 1364288 w 1525946"/>
              <a:gd name="connsiteY3" fmla="*/ 145 h 1241570"/>
              <a:gd name="connsiteX4" fmla="*/ 1525946 w 1525946"/>
              <a:gd name="connsiteY4" fmla="*/ 161803 h 1241570"/>
              <a:gd name="connsiteX5" fmla="*/ 1525946 w 1525946"/>
              <a:gd name="connsiteY5" fmla="*/ 1079912 h 1241570"/>
              <a:gd name="connsiteX6" fmla="*/ 1364288 w 1525946"/>
              <a:gd name="connsiteY6" fmla="*/ 1241570 h 1241570"/>
              <a:gd name="connsiteX7" fmla="*/ 162017 w 1525946"/>
              <a:gd name="connsiteY7" fmla="*/ 1241570 h 1241570"/>
              <a:gd name="connsiteX8" fmla="*/ 359 w 1525946"/>
              <a:gd name="connsiteY8" fmla="*/ 1079912 h 1241570"/>
              <a:gd name="connsiteX9" fmla="*/ 359 w 1525946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364035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25693" h="1241570">
                <a:moveTo>
                  <a:pt x="106" y="161803"/>
                </a:moveTo>
                <a:cubicBezTo>
                  <a:pt x="-210" y="159620"/>
                  <a:pt x="409" y="7672"/>
                  <a:pt x="0" y="0"/>
                </a:cubicBezTo>
                <a:cubicBezTo>
                  <a:pt x="6219" y="388"/>
                  <a:pt x="110655" y="450"/>
                  <a:pt x="161764" y="145"/>
                </a:cubicBezTo>
                <a:lnTo>
                  <a:pt x="1364035" y="145"/>
                </a:lnTo>
                <a:cubicBezTo>
                  <a:pt x="1453316" y="145"/>
                  <a:pt x="1525693" y="72522"/>
                  <a:pt x="1525693" y="161803"/>
                </a:cubicBezTo>
                <a:lnTo>
                  <a:pt x="1525693" y="1079912"/>
                </a:lnTo>
                <a:cubicBezTo>
                  <a:pt x="1525693" y="1169193"/>
                  <a:pt x="1453316" y="1241570"/>
                  <a:pt x="1364035" y="1241570"/>
                </a:cubicBezTo>
                <a:lnTo>
                  <a:pt x="161764" y="1241570"/>
                </a:lnTo>
                <a:cubicBezTo>
                  <a:pt x="72483" y="1241570"/>
                  <a:pt x="106" y="1169193"/>
                  <a:pt x="106" y="1079912"/>
                </a:cubicBezTo>
                <a:lnTo>
                  <a:pt x="106" y="1618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144000" anchor="b"/>
          <a:lstStyle>
            <a:lvl1pPr marL="0" indent="0" algn="ctr">
              <a:buNone/>
              <a:defRPr sz="2806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nl-NL" noProof="0"/>
          </a:p>
        </p:txBody>
      </p:sp>
      <p:sp>
        <p:nvSpPr>
          <p:cNvPr id="33" name="Tijdelijke aanduiding voor afbeelding 6">
            <a:extLst>
              <a:ext uri="{FF2B5EF4-FFF2-40B4-BE49-F238E27FC236}">
                <a16:creationId xmlns:a16="http://schemas.microsoft.com/office/drawing/2014/main" id="{E282FF1F-8DC9-4A36-8B0E-4868FD1C3CCE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1696814" y="16623326"/>
            <a:ext cx="5345254" cy="3931509"/>
          </a:xfrm>
          <a:custGeom>
            <a:avLst/>
            <a:gdLst>
              <a:gd name="connsiteX0" fmla="*/ 0 w 1525587"/>
              <a:gd name="connsiteY0" fmla="*/ 161658 h 1241425"/>
              <a:gd name="connsiteX1" fmla="*/ 161658 w 1525587"/>
              <a:gd name="connsiteY1" fmla="*/ 0 h 1241425"/>
              <a:gd name="connsiteX2" fmla="*/ 1363929 w 1525587"/>
              <a:gd name="connsiteY2" fmla="*/ 0 h 1241425"/>
              <a:gd name="connsiteX3" fmla="*/ 1525587 w 1525587"/>
              <a:gd name="connsiteY3" fmla="*/ 161658 h 1241425"/>
              <a:gd name="connsiteX4" fmla="*/ 1525587 w 1525587"/>
              <a:gd name="connsiteY4" fmla="*/ 1079767 h 1241425"/>
              <a:gd name="connsiteX5" fmla="*/ 1363929 w 1525587"/>
              <a:gd name="connsiteY5" fmla="*/ 1241425 h 1241425"/>
              <a:gd name="connsiteX6" fmla="*/ 161658 w 1525587"/>
              <a:gd name="connsiteY6" fmla="*/ 1241425 h 1241425"/>
              <a:gd name="connsiteX7" fmla="*/ 0 w 1525587"/>
              <a:gd name="connsiteY7" fmla="*/ 1079767 h 1241425"/>
              <a:gd name="connsiteX8" fmla="*/ 0 w 1525587"/>
              <a:gd name="connsiteY8" fmla="*/ 161658 h 1241425"/>
              <a:gd name="connsiteX0" fmla="*/ 0 w 1525587"/>
              <a:gd name="connsiteY0" fmla="*/ 161658 h 1241425"/>
              <a:gd name="connsiteX1" fmla="*/ 42862 w 1525587"/>
              <a:gd name="connsiteY1" fmla="*/ 48418 h 1241425"/>
              <a:gd name="connsiteX2" fmla="*/ 161658 w 1525587"/>
              <a:gd name="connsiteY2" fmla="*/ 0 h 1241425"/>
              <a:gd name="connsiteX3" fmla="*/ 1363929 w 1525587"/>
              <a:gd name="connsiteY3" fmla="*/ 0 h 1241425"/>
              <a:gd name="connsiteX4" fmla="*/ 1525587 w 1525587"/>
              <a:gd name="connsiteY4" fmla="*/ 161658 h 1241425"/>
              <a:gd name="connsiteX5" fmla="*/ 1525587 w 1525587"/>
              <a:gd name="connsiteY5" fmla="*/ 1079767 h 1241425"/>
              <a:gd name="connsiteX6" fmla="*/ 1363929 w 1525587"/>
              <a:gd name="connsiteY6" fmla="*/ 1241425 h 1241425"/>
              <a:gd name="connsiteX7" fmla="*/ 161658 w 1525587"/>
              <a:gd name="connsiteY7" fmla="*/ 1241425 h 1241425"/>
              <a:gd name="connsiteX8" fmla="*/ 0 w 1525587"/>
              <a:gd name="connsiteY8" fmla="*/ 1079767 h 1241425"/>
              <a:gd name="connsiteX9" fmla="*/ 0 w 1525587"/>
              <a:gd name="connsiteY9" fmla="*/ 161658 h 1241425"/>
              <a:gd name="connsiteX0" fmla="*/ 8672 w 1534259"/>
              <a:gd name="connsiteY0" fmla="*/ 165982 h 1245749"/>
              <a:gd name="connsiteX1" fmla="*/ 11053 w 1534259"/>
              <a:gd name="connsiteY1" fmla="*/ 12261 h 1245749"/>
              <a:gd name="connsiteX2" fmla="*/ 170330 w 1534259"/>
              <a:gd name="connsiteY2" fmla="*/ 4324 h 1245749"/>
              <a:gd name="connsiteX3" fmla="*/ 1372601 w 1534259"/>
              <a:gd name="connsiteY3" fmla="*/ 4324 h 1245749"/>
              <a:gd name="connsiteX4" fmla="*/ 1534259 w 1534259"/>
              <a:gd name="connsiteY4" fmla="*/ 165982 h 1245749"/>
              <a:gd name="connsiteX5" fmla="*/ 1534259 w 1534259"/>
              <a:gd name="connsiteY5" fmla="*/ 1084091 h 1245749"/>
              <a:gd name="connsiteX6" fmla="*/ 1372601 w 1534259"/>
              <a:gd name="connsiteY6" fmla="*/ 1245749 h 1245749"/>
              <a:gd name="connsiteX7" fmla="*/ 170330 w 1534259"/>
              <a:gd name="connsiteY7" fmla="*/ 1245749 h 1245749"/>
              <a:gd name="connsiteX8" fmla="*/ 8672 w 1534259"/>
              <a:gd name="connsiteY8" fmla="*/ 1084091 h 1245749"/>
              <a:gd name="connsiteX9" fmla="*/ 8672 w 1534259"/>
              <a:gd name="connsiteY9" fmla="*/ 165982 h 1245749"/>
              <a:gd name="connsiteX0" fmla="*/ 8672 w 1534259"/>
              <a:gd name="connsiteY0" fmla="*/ 167890 h 1247657"/>
              <a:gd name="connsiteX1" fmla="*/ 11053 w 1534259"/>
              <a:gd name="connsiteY1" fmla="*/ 14169 h 1247657"/>
              <a:gd name="connsiteX2" fmla="*/ 170330 w 1534259"/>
              <a:gd name="connsiteY2" fmla="*/ 6232 h 1247657"/>
              <a:gd name="connsiteX3" fmla="*/ 1372601 w 1534259"/>
              <a:gd name="connsiteY3" fmla="*/ 6232 h 1247657"/>
              <a:gd name="connsiteX4" fmla="*/ 1534259 w 1534259"/>
              <a:gd name="connsiteY4" fmla="*/ 167890 h 1247657"/>
              <a:gd name="connsiteX5" fmla="*/ 1534259 w 1534259"/>
              <a:gd name="connsiteY5" fmla="*/ 1085999 h 1247657"/>
              <a:gd name="connsiteX6" fmla="*/ 1372601 w 1534259"/>
              <a:gd name="connsiteY6" fmla="*/ 1247657 h 1247657"/>
              <a:gd name="connsiteX7" fmla="*/ 170330 w 1534259"/>
              <a:gd name="connsiteY7" fmla="*/ 1247657 h 1247657"/>
              <a:gd name="connsiteX8" fmla="*/ 8672 w 1534259"/>
              <a:gd name="connsiteY8" fmla="*/ 1085999 h 1247657"/>
              <a:gd name="connsiteX9" fmla="*/ 8672 w 1534259"/>
              <a:gd name="connsiteY9" fmla="*/ 167890 h 1247657"/>
              <a:gd name="connsiteX0" fmla="*/ 8672 w 1534259"/>
              <a:gd name="connsiteY0" fmla="*/ 161658 h 1241425"/>
              <a:gd name="connsiteX1" fmla="*/ 11053 w 1534259"/>
              <a:gd name="connsiteY1" fmla="*/ 7937 h 1241425"/>
              <a:gd name="connsiteX2" fmla="*/ 170330 w 1534259"/>
              <a:gd name="connsiteY2" fmla="*/ 0 h 1241425"/>
              <a:gd name="connsiteX3" fmla="*/ 1372601 w 1534259"/>
              <a:gd name="connsiteY3" fmla="*/ 0 h 1241425"/>
              <a:gd name="connsiteX4" fmla="*/ 1534259 w 1534259"/>
              <a:gd name="connsiteY4" fmla="*/ 161658 h 1241425"/>
              <a:gd name="connsiteX5" fmla="*/ 1534259 w 1534259"/>
              <a:gd name="connsiteY5" fmla="*/ 1079767 h 1241425"/>
              <a:gd name="connsiteX6" fmla="*/ 1372601 w 1534259"/>
              <a:gd name="connsiteY6" fmla="*/ 1241425 h 1241425"/>
              <a:gd name="connsiteX7" fmla="*/ 170330 w 1534259"/>
              <a:gd name="connsiteY7" fmla="*/ 1241425 h 1241425"/>
              <a:gd name="connsiteX8" fmla="*/ 8672 w 1534259"/>
              <a:gd name="connsiteY8" fmla="*/ 1079767 h 1241425"/>
              <a:gd name="connsiteX9" fmla="*/ 8672 w 1534259"/>
              <a:gd name="connsiteY9" fmla="*/ 161658 h 124142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3668 h 1243435"/>
              <a:gd name="connsiteX1" fmla="*/ 10644 w 1535715"/>
              <a:gd name="connsiteY1" fmla="*/ 0 h 1243435"/>
              <a:gd name="connsiteX2" fmla="*/ 171786 w 1535715"/>
              <a:gd name="connsiteY2" fmla="*/ 2010 h 1243435"/>
              <a:gd name="connsiteX3" fmla="*/ 1374057 w 1535715"/>
              <a:gd name="connsiteY3" fmla="*/ 2010 h 1243435"/>
              <a:gd name="connsiteX4" fmla="*/ 1535715 w 1535715"/>
              <a:gd name="connsiteY4" fmla="*/ 163668 h 1243435"/>
              <a:gd name="connsiteX5" fmla="*/ 1535715 w 1535715"/>
              <a:gd name="connsiteY5" fmla="*/ 1081777 h 1243435"/>
              <a:gd name="connsiteX6" fmla="*/ 1374057 w 1535715"/>
              <a:gd name="connsiteY6" fmla="*/ 1243435 h 1243435"/>
              <a:gd name="connsiteX7" fmla="*/ 171786 w 1535715"/>
              <a:gd name="connsiteY7" fmla="*/ 1243435 h 1243435"/>
              <a:gd name="connsiteX8" fmla="*/ 10128 w 1535715"/>
              <a:gd name="connsiteY8" fmla="*/ 1081777 h 1243435"/>
              <a:gd name="connsiteX9" fmla="*/ 10128 w 1535715"/>
              <a:gd name="connsiteY9" fmla="*/ 163668 h 124343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1808 w 1537395"/>
              <a:gd name="connsiteY0" fmla="*/ 161803 h 1241570"/>
              <a:gd name="connsiteX1" fmla="*/ 12324 w 1537395"/>
              <a:gd name="connsiteY1" fmla="*/ 0 h 1241570"/>
              <a:gd name="connsiteX2" fmla="*/ 173466 w 1537395"/>
              <a:gd name="connsiteY2" fmla="*/ 145 h 1241570"/>
              <a:gd name="connsiteX3" fmla="*/ 1375737 w 1537395"/>
              <a:gd name="connsiteY3" fmla="*/ 145 h 1241570"/>
              <a:gd name="connsiteX4" fmla="*/ 1537395 w 1537395"/>
              <a:gd name="connsiteY4" fmla="*/ 161803 h 1241570"/>
              <a:gd name="connsiteX5" fmla="*/ 1537395 w 1537395"/>
              <a:gd name="connsiteY5" fmla="*/ 1079912 h 1241570"/>
              <a:gd name="connsiteX6" fmla="*/ 1375737 w 1537395"/>
              <a:gd name="connsiteY6" fmla="*/ 1241570 h 1241570"/>
              <a:gd name="connsiteX7" fmla="*/ 173466 w 1537395"/>
              <a:gd name="connsiteY7" fmla="*/ 1241570 h 1241570"/>
              <a:gd name="connsiteX8" fmla="*/ 11808 w 1537395"/>
              <a:gd name="connsiteY8" fmla="*/ 1079912 h 1241570"/>
              <a:gd name="connsiteX9" fmla="*/ 11808 w 1537395"/>
              <a:gd name="connsiteY9" fmla="*/ 161803 h 1241570"/>
              <a:gd name="connsiteX0" fmla="*/ 346 w 1525933"/>
              <a:gd name="connsiteY0" fmla="*/ 161803 h 1241570"/>
              <a:gd name="connsiteX1" fmla="*/ 862 w 1525933"/>
              <a:gd name="connsiteY1" fmla="*/ 0 h 1241570"/>
              <a:gd name="connsiteX2" fmla="*/ 162004 w 1525933"/>
              <a:gd name="connsiteY2" fmla="*/ 145 h 1241570"/>
              <a:gd name="connsiteX3" fmla="*/ 1364275 w 1525933"/>
              <a:gd name="connsiteY3" fmla="*/ 145 h 1241570"/>
              <a:gd name="connsiteX4" fmla="*/ 1525933 w 1525933"/>
              <a:gd name="connsiteY4" fmla="*/ 161803 h 1241570"/>
              <a:gd name="connsiteX5" fmla="*/ 1525933 w 1525933"/>
              <a:gd name="connsiteY5" fmla="*/ 1079912 h 1241570"/>
              <a:gd name="connsiteX6" fmla="*/ 1364275 w 1525933"/>
              <a:gd name="connsiteY6" fmla="*/ 1241570 h 1241570"/>
              <a:gd name="connsiteX7" fmla="*/ 162004 w 1525933"/>
              <a:gd name="connsiteY7" fmla="*/ 1241570 h 1241570"/>
              <a:gd name="connsiteX8" fmla="*/ 346 w 1525933"/>
              <a:gd name="connsiteY8" fmla="*/ 1079912 h 1241570"/>
              <a:gd name="connsiteX9" fmla="*/ 346 w 1525933"/>
              <a:gd name="connsiteY9" fmla="*/ 161803 h 1241570"/>
              <a:gd name="connsiteX0" fmla="*/ 872 w 1526459"/>
              <a:gd name="connsiteY0" fmla="*/ 161803 h 1241570"/>
              <a:gd name="connsiteX1" fmla="*/ 1388 w 1526459"/>
              <a:gd name="connsiteY1" fmla="*/ 0 h 1241570"/>
              <a:gd name="connsiteX2" fmla="*/ 162530 w 1526459"/>
              <a:gd name="connsiteY2" fmla="*/ 145 h 1241570"/>
              <a:gd name="connsiteX3" fmla="*/ 1364801 w 1526459"/>
              <a:gd name="connsiteY3" fmla="*/ 145 h 1241570"/>
              <a:gd name="connsiteX4" fmla="*/ 1526459 w 1526459"/>
              <a:gd name="connsiteY4" fmla="*/ 161803 h 1241570"/>
              <a:gd name="connsiteX5" fmla="*/ 1526459 w 1526459"/>
              <a:gd name="connsiteY5" fmla="*/ 1079912 h 1241570"/>
              <a:gd name="connsiteX6" fmla="*/ 1364801 w 1526459"/>
              <a:gd name="connsiteY6" fmla="*/ 1241570 h 1241570"/>
              <a:gd name="connsiteX7" fmla="*/ 162530 w 1526459"/>
              <a:gd name="connsiteY7" fmla="*/ 1241570 h 1241570"/>
              <a:gd name="connsiteX8" fmla="*/ 872 w 1526459"/>
              <a:gd name="connsiteY8" fmla="*/ 1079912 h 1241570"/>
              <a:gd name="connsiteX9" fmla="*/ 872 w 1526459"/>
              <a:gd name="connsiteY9" fmla="*/ 161803 h 1241570"/>
              <a:gd name="connsiteX0" fmla="*/ 470 w 1526057"/>
              <a:gd name="connsiteY0" fmla="*/ 161803 h 1241570"/>
              <a:gd name="connsiteX1" fmla="*/ 986 w 1526057"/>
              <a:gd name="connsiteY1" fmla="*/ 0 h 1241570"/>
              <a:gd name="connsiteX2" fmla="*/ 162128 w 1526057"/>
              <a:gd name="connsiteY2" fmla="*/ 145 h 1241570"/>
              <a:gd name="connsiteX3" fmla="*/ 1364399 w 1526057"/>
              <a:gd name="connsiteY3" fmla="*/ 145 h 1241570"/>
              <a:gd name="connsiteX4" fmla="*/ 1526057 w 1526057"/>
              <a:gd name="connsiteY4" fmla="*/ 161803 h 1241570"/>
              <a:gd name="connsiteX5" fmla="*/ 1526057 w 1526057"/>
              <a:gd name="connsiteY5" fmla="*/ 1079912 h 1241570"/>
              <a:gd name="connsiteX6" fmla="*/ 1364399 w 1526057"/>
              <a:gd name="connsiteY6" fmla="*/ 1241570 h 1241570"/>
              <a:gd name="connsiteX7" fmla="*/ 162128 w 1526057"/>
              <a:gd name="connsiteY7" fmla="*/ 1241570 h 1241570"/>
              <a:gd name="connsiteX8" fmla="*/ 470 w 1526057"/>
              <a:gd name="connsiteY8" fmla="*/ 1079912 h 1241570"/>
              <a:gd name="connsiteX9" fmla="*/ 470 w 1526057"/>
              <a:gd name="connsiteY9" fmla="*/ 161803 h 1241570"/>
              <a:gd name="connsiteX0" fmla="*/ 649 w 1526236"/>
              <a:gd name="connsiteY0" fmla="*/ 161803 h 1241570"/>
              <a:gd name="connsiteX1" fmla="*/ 1165 w 1526236"/>
              <a:gd name="connsiteY1" fmla="*/ 0 h 1241570"/>
              <a:gd name="connsiteX2" fmla="*/ 162307 w 1526236"/>
              <a:gd name="connsiteY2" fmla="*/ 145 h 1241570"/>
              <a:gd name="connsiteX3" fmla="*/ 1364578 w 1526236"/>
              <a:gd name="connsiteY3" fmla="*/ 145 h 1241570"/>
              <a:gd name="connsiteX4" fmla="*/ 1526236 w 1526236"/>
              <a:gd name="connsiteY4" fmla="*/ 161803 h 1241570"/>
              <a:gd name="connsiteX5" fmla="*/ 1526236 w 1526236"/>
              <a:gd name="connsiteY5" fmla="*/ 1079912 h 1241570"/>
              <a:gd name="connsiteX6" fmla="*/ 1364578 w 1526236"/>
              <a:gd name="connsiteY6" fmla="*/ 1241570 h 1241570"/>
              <a:gd name="connsiteX7" fmla="*/ 162307 w 1526236"/>
              <a:gd name="connsiteY7" fmla="*/ 1241570 h 1241570"/>
              <a:gd name="connsiteX8" fmla="*/ 649 w 1526236"/>
              <a:gd name="connsiteY8" fmla="*/ 1079912 h 1241570"/>
              <a:gd name="connsiteX9" fmla="*/ 649 w 1526236"/>
              <a:gd name="connsiteY9" fmla="*/ 161803 h 1241570"/>
              <a:gd name="connsiteX0" fmla="*/ 268 w 1525855"/>
              <a:gd name="connsiteY0" fmla="*/ 161803 h 1241570"/>
              <a:gd name="connsiteX1" fmla="*/ 784 w 1525855"/>
              <a:gd name="connsiteY1" fmla="*/ 0 h 1241570"/>
              <a:gd name="connsiteX2" fmla="*/ 161926 w 1525855"/>
              <a:gd name="connsiteY2" fmla="*/ 145 h 1241570"/>
              <a:gd name="connsiteX3" fmla="*/ 1364197 w 1525855"/>
              <a:gd name="connsiteY3" fmla="*/ 145 h 1241570"/>
              <a:gd name="connsiteX4" fmla="*/ 1525855 w 1525855"/>
              <a:gd name="connsiteY4" fmla="*/ 161803 h 1241570"/>
              <a:gd name="connsiteX5" fmla="*/ 1525855 w 1525855"/>
              <a:gd name="connsiteY5" fmla="*/ 1079912 h 1241570"/>
              <a:gd name="connsiteX6" fmla="*/ 1364197 w 1525855"/>
              <a:gd name="connsiteY6" fmla="*/ 1241570 h 1241570"/>
              <a:gd name="connsiteX7" fmla="*/ 161926 w 1525855"/>
              <a:gd name="connsiteY7" fmla="*/ 1241570 h 1241570"/>
              <a:gd name="connsiteX8" fmla="*/ 268 w 1525855"/>
              <a:gd name="connsiteY8" fmla="*/ 1079912 h 1241570"/>
              <a:gd name="connsiteX9" fmla="*/ 268 w 1525855"/>
              <a:gd name="connsiteY9" fmla="*/ 161803 h 1241570"/>
              <a:gd name="connsiteX0" fmla="*/ 359 w 1525946"/>
              <a:gd name="connsiteY0" fmla="*/ 161803 h 1241570"/>
              <a:gd name="connsiteX1" fmla="*/ 253 w 1525946"/>
              <a:gd name="connsiteY1" fmla="*/ 0 h 1241570"/>
              <a:gd name="connsiteX2" fmla="*/ 162017 w 1525946"/>
              <a:gd name="connsiteY2" fmla="*/ 145 h 1241570"/>
              <a:gd name="connsiteX3" fmla="*/ 1364288 w 1525946"/>
              <a:gd name="connsiteY3" fmla="*/ 145 h 1241570"/>
              <a:gd name="connsiteX4" fmla="*/ 1525946 w 1525946"/>
              <a:gd name="connsiteY4" fmla="*/ 161803 h 1241570"/>
              <a:gd name="connsiteX5" fmla="*/ 1525946 w 1525946"/>
              <a:gd name="connsiteY5" fmla="*/ 1079912 h 1241570"/>
              <a:gd name="connsiteX6" fmla="*/ 1364288 w 1525946"/>
              <a:gd name="connsiteY6" fmla="*/ 1241570 h 1241570"/>
              <a:gd name="connsiteX7" fmla="*/ 162017 w 1525946"/>
              <a:gd name="connsiteY7" fmla="*/ 1241570 h 1241570"/>
              <a:gd name="connsiteX8" fmla="*/ 359 w 1525946"/>
              <a:gd name="connsiteY8" fmla="*/ 1079912 h 1241570"/>
              <a:gd name="connsiteX9" fmla="*/ 359 w 1525946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364035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25693" h="1241570">
                <a:moveTo>
                  <a:pt x="106" y="161803"/>
                </a:moveTo>
                <a:cubicBezTo>
                  <a:pt x="-210" y="159620"/>
                  <a:pt x="409" y="7672"/>
                  <a:pt x="0" y="0"/>
                </a:cubicBezTo>
                <a:cubicBezTo>
                  <a:pt x="6219" y="388"/>
                  <a:pt x="110655" y="450"/>
                  <a:pt x="161764" y="145"/>
                </a:cubicBezTo>
                <a:lnTo>
                  <a:pt x="1364035" y="145"/>
                </a:lnTo>
                <a:cubicBezTo>
                  <a:pt x="1453316" y="145"/>
                  <a:pt x="1525693" y="72522"/>
                  <a:pt x="1525693" y="161803"/>
                </a:cubicBezTo>
                <a:lnTo>
                  <a:pt x="1525693" y="1079912"/>
                </a:lnTo>
                <a:cubicBezTo>
                  <a:pt x="1525693" y="1169193"/>
                  <a:pt x="1453316" y="1241570"/>
                  <a:pt x="1364035" y="1241570"/>
                </a:cubicBezTo>
                <a:lnTo>
                  <a:pt x="161764" y="1241570"/>
                </a:lnTo>
                <a:cubicBezTo>
                  <a:pt x="72483" y="1241570"/>
                  <a:pt x="106" y="1169193"/>
                  <a:pt x="106" y="1079912"/>
                </a:cubicBezTo>
                <a:lnTo>
                  <a:pt x="106" y="1618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144000" anchor="b"/>
          <a:lstStyle>
            <a:lvl1pPr marL="0" indent="0" algn="ctr">
              <a:buNone/>
              <a:defRPr sz="2806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nl-NL" noProof="0"/>
          </a:p>
        </p:txBody>
      </p:sp>
      <p:sp>
        <p:nvSpPr>
          <p:cNvPr id="158" name="Tijdelijke aanduiding voor afbeelding 6">
            <a:extLst>
              <a:ext uri="{FF2B5EF4-FFF2-40B4-BE49-F238E27FC236}">
                <a16:creationId xmlns:a16="http://schemas.microsoft.com/office/drawing/2014/main" id="{3BAEA7E3-4B93-482B-8197-4D73CC7255A6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1696814" y="21779706"/>
            <a:ext cx="5345254" cy="3931509"/>
          </a:xfrm>
          <a:custGeom>
            <a:avLst/>
            <a:gdLst>
              <a:gd name="connsiteX0" fmla="*/ 0 w 1525587"/>
              <a:gd name="connsiteY0" fmla="*/ 161658 h 1241425"/>
              <a:gd name="connsiteX1" fmla="*/ 161658 w 1525587"/>
              <a:gd name="connsiteY1" fmla="*/ 0 h 1241425"/>
              <a:gd name="connsiteX2" fmla="*/ 1363929 w 1525587"/>
              <a:gd name="connsiteY2" fmla="*/ 0 h 1241425"/>
              <a:gd name="connsiteX3" fmla="*/ 1525587 w 1525587"/>
              <a:gd name="connsiteY3" fmla="*/ 161658 h 1241425"/>
              <a:gd name="connsiteX4" fmla="*/ 1525587 w 1525587"/>
              <a:gd name="connsiteY4" fmla="*/ 1079767 h 1241425"/>
              <a:gd name="connsiteX5" fmla="*/ 1363929 w 1525587"/>
              <a:gd name="connsiteY5" fmla="*/ 1241425 h 1241425"/>
              <a:gd name="connsiteX6" fmla="*/ 161658 w 1525587"/>
              <a:gd name="connsiteY6" fmla="*/ 1241425 h 1241425"/>
              <a:gd name="connsiteX7" fmla="*/ 0 w 1525587"/>
              <a:gd name="connsiteY7" fmla="*/ 1079767 h 1241425"/>
              <a:gd name="connsiteX8" fmla="*/ 0 w 1525587"/>
              <a:gd name="connsiteY8" fmla="*/ 161658 h 1241425"/>
              <a:gd name="connsiteX0" fmla="*/ 0 w 1525587"/>
              <a:gd name="connsiteY0" fmla="*/ 161658 h 1241425"/>
              <a:gd name="connsiteX1" fmla="*/ 42862 w 1525587"/>
              <a:gd name="connsiteY1" fmla="*/ 48418 h 1241425"/>
              <a:gd name="connsiteX2" fmla="*/ 161658 w 1525587"/>
              <a:gd name="connsiteY2" fmla="*/ 0 h 1241425"/>
              <a:gd name="connsiteX3" fmla="*/ 1363929 w 1525587"/>
              <a:gd name="connsiteY3" fmla="*/ 0 h 1241425"/>
              <a:gd name="connsiteX4" fmla="*/ 1525587 w 1525587"/>
              <a:gd name="connsiteY4" fmla="*/ 161658 h 1241425"/>
              <a:gd name="connsiteX5" fmla="*/ 1525587 w 1525587"/>
              <a:gd name="connsiteY5" fmla="*/ 1079767 h 1241425"/>
              <a:gd name="connsiteX6" fmla="*/ 1363929 w 1525587"/>
              <a:gd name="connsiteY6" fmla="*/ 1241425 h 1241425"/>
              <a:gd name="connsiteX7" fmla="*/ 161658 w 1525587"/>
              <a:gd name="connsiteY7" fmla="*/ 1241425 h 1241425"/>
              <a:gd name="connsiteX8" fmla="*/ 0 w 1525587"/>
              <a:gd name="connsiteY8" fmla="*/ 1079767 h 1241425"/>
              <a:gd name="connsiteX9" fmla="*/ 0 w 1525587"/>
              <a:gd name="connsiteY9" fmla="*/ 161658 h 1241425"/>
              <a:gd name="connsiteX0" fmla="*/ 8672 w 1534259"/>
              <a:gd name="connsiteY0" fmla="*/ 165982 h 1245749"/>
              <a:gd name="connsiteX1" fmla="*/ 11053 w 1534259"/>
              <a:gd name="connsiteY1" fmla="*/ 12261 h 1245749"/>
              <a:gd name="connsiteX2" fmla="*/ 170330 w 1534259"/>
              <a:gd name="connsiteY2" fmla="*/ 4324 h 1245749"/>
              <a:gd name="connsiteX3" fmla="*/ 1372601 w 1534259"/>
              <a:gd name="connsiteY3" fmla="*/ 4324 h 1245749"/>
              <a:gd name="connsiteX4" fmla="*/ 1534259 w 1534259"/>
              <a:gd name="connsiteY4" fmla="*/ 165982 h 1245749"/>
              <a:gd name="connsiteX5" fmla="*/ 1534259 w 1534259"/>
              <a:gd name="connsiteY5" fmla="*/ 1084091 h 1245749"/>
              <a:gd name="connsiteX6" fmla="*/ 1372601 w 1534259"/>
              <a:gd name="connsiteY6" fmla="*/ 1245749 h 1245749"/>
              <a:gd name="connsiteX7" fmla="*/ 170330 w 1534259"/>
              <a:gd name="connsiteY7" fmla="*/ 1245749 h 1245749"/>
              <a:gd name="connsiteX8" fmla="*/ 8672 w 1534259"/>
              <a:gd name="connsiteY8" fmla="*/ 1084091 h 1245749"/>
              <a:gd name="connsiteX9" fmla="*/ 8672 w 1534259"/>
              <a:gd name="connsiteY9" fmla="*/ 165982 h 1245749"/>
              <a:gd name="connsiteX0" fmla="*/ 8672 w 1534259"/>
              <a:gd name="connsiteY0" fmla="*/ 167890 h 1247657"/>
              <a:gd name="connsiteX1" fmla="*/ 11053 w 1534259"/>
              <a:gd name="connsiteY1" fmla="*/ 14169 h 1247657"/>
              <a:gd name="connsiteX2" fmla="*/ 170330 w 1534259"/>
              <a:gd name="connsiteY2" fmla="*/ 6232 h 1247657"/>
              <a:gd name="connsiteX3" fmla="*/ 1372601 w 1534259"/>
              <a:gd name="connsiteY3" fmla="*/ 6232 h 1247657"/>
              <a:gd name="connsiteX4" fmla="*/ 1534259 w 1534259"/>
              <a:gd name="connsiteY4" fmla="*/ 167890 h 1247657"/>
              <a:gd name="connsiteX5" fmla="*/ 1534259 w 1534259"/>
              <a:gd name="connsiteY5" fmla="*/ 1085999 h 1247657"/>
              <a:gd name="connsiteX6" fmla="*/ 1372601 w 1534259"/>
              <a:gd name="connsiteY6" fmla="*/ 1247657 h 1247657"/>
              <a:gd name="connsiteX7" fmla="*/ 170330 w 1534259"/>
              <a:gd name="connsiteY7" fmla="*/ 1247657 h 1247657"/>
              <a:gd name="connsiteX8" fmla="*/ 8672 w 1534259"/>
              <a:gd name="connsiteY8" fmla="*/ 1085999 h 1247657"/>
              <a:gd name="connsiteX9" fmla="*/ 8672 w 1534259"/>
              <a:gd name="connsiteY9" fmla="*/ 167890 h 1247657"/>
              <a:gd name="connsiteX0" fmla="*/ 8672 w 1534259"/>
              <a:gd name="connsiteY0" fmla="*/ 161658 h 1241425"/>
              <a:gd name="connsiteX1" fmla="*/ 11053 w 1534259"/>
              <a:gd name="connsiteY1" fmla="*/ 7937 h 1241425"/>
              <a:gd name="connsiteX2" fmla="*/ 170330 w 1534259"/>
              <a:gd name="connsiteY2" fmla="*/ 0 h 1241425"/>
              <a:gd name="connsiteX3" fmla="*/ 1372601 w 1534259"/>
              <a:gd name="connsiteY3" fmla="*/ 0 h 1241425"/>
              <a:gd name="connsiteX4" fmla="*/ 1534259 w 1534259"/>
              <a:gd name="connsiteY4" fmla="*/ 161658 h 1241425"/>
              <a:gd name="connsiteX5" fmla="*/ 1534259 w 1534259"/>
              <a:gd name="connsiteY5" fmla="*/ 1079767 h 1241425"/>
              <a:gd name="connsiteX6" fmla="*/ 1372601 w 1534259"/>
              <a:gd name="connsiteY6" fmla="*/ 1241425 h 1241425"/>
              <a:gd name="connsiteX7" fmla="*/ 170330 w 1534259"/>
              <a:gd name="connsiteY7" fmla="*/ 1241425 h 1241425"/>
              <a:gd name="connsiteX8" fmla="*/ 8672 w 1534259"/>
              <a:gd name="connsiteY8" fmla="*/ 1079767 h 1241425"/>
              <a:gd name="connsiteX9" fmla="*/ 8672 w 1534259"/>
              <a:gd name="connsiteY9" fmla="*/ 161658 h 124142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2425 h 1242192"/>
              <a:gd name="connsiteX1" fmla="*/ 10644 w 1535715"/>
              <a:gd name="connsiteY1" fmla="*/ 0 h 1242192"/>
              <a:gd name="connsiteX2" fmla="*/ 171786 w 1535715"/>
              <a:gd name="connsiteY2" fmla="*/ 767 h 1242192"/>
              <a:gd name="connsiteX3" fmla="*/ 1374057 w 1535715"/>
              <a:gd name="connsiteY3" fmla="*/ 767 h 1242192"/>
              <a:gd name="connsiteX4" fmla="*/ 1535715 w 1535715"/>
              <a:gd name="connsiteY4" fmla="*/ 162425 h 1242192"/>
              <a:gd name="connsiteX5" fmla="*/ 1535715 w 1535715"/>
              <a:gd name="connsiteY5" fmla="*/ 1080534 h 1242192"/>
              <a:gd name="connsiteX6" fmla="*/ 1374057 w 1535715"/>
              <a:gd name="connsiteY6" fmla="*/ 1242192 h 1242192"/>
              <a:gd name="connsiteX7" fmla="*/ 171786 w 1535715"/>
              <a:gd name="connsiteY7" fmla="*/ 1242192 h 1242192"/>
              <a:gd name="connsiteX8" fmla="*/ 10128 w 1535715"/>
              <a:gd name="connsiteY8" fmla="*/ 1080534 h 1242192"/>
              <a:gd name="connsiteX9" fmla="*/ 10128 w 1535715"/>
              <a:gd name="connsiteY9" fmla="*/ 162425 h 1242192"/>
              <a:gd name="connsiteX0" fmla="*/ 10128 w 1535715"/>
              <a:gd name="connsiteY0" fmla="*/ 163668 h 1243435"/>
              <a:gd name="connsiteX1" fmla="*/ 10644 w 1535715"/>
              <a:gd name="connsiteY1" fmla="*/ 0 h 1243435"/>
              <a:gd name="connsiteX2" fmla="*/ 171786 w 1535715"/>
              <a:gd name="connsiteY2" fmla="*/ 2010 h 1243435"/>
              <a:gd name="connsiteX3" fmla="*/ 1374057 w 1535715"/>
              <a:gd name="connsiteY3" fmla="*/ 2010 h 1243435"/>
              <a:gd name="connsiteX4" fmla="*/ 1535715 w 1535715"/>
              <a:gd name="connsiteY4" fmla="*/ 163668 h 1243435"/>
              <a:gd name="connsiteX5" fmla="*/ 1535715 w 1535715"/>
              <a:gd name="connsiteY5" fmla="*/ 1081777 h 1243435"/>
              <a:gd name="connsiteX6" fmla="*/ 1374057 w 1535715"/>
              <a:gd name="connsiteY6" fmla="*/ 1243435 h 1243435"/>
              <a:gd name="connsiteX7" fmla="*/ 171786 w 1535715"/>
              <a:gd name="connsiteY7" fmla="*/ 1243435 h 1243435"/>
              <a:gd name="connsiteX8" fmla="*/ 10128 w 1535715"/>
              <a:gd name="connsiteY8" fmla="*/ 1081777 h 1243435"/>
              <a:gd name="connsiteX9" fmla="*/ 10128 w 1535715"/>
              <a:gd name="connsiteY9" fmla="*/ 163668 h 1243435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0128 w 1535715"/>
              <a:gd name="connsiteY0" fmla="*/ 161803 h 1241570"/>
              <a:gd name="connsiteX1" fmla="*/ 10644 w 1535715"/>
              <a:gd name="connsiteY1" fmla="*/ 0 h 1241570"/>
              <a:gd name="connsiteX2" fmla="*/ 171786 w 1535715"/>
              <a:gd name="connsiteY2" fmla="*/ 145 h 1241570"/>
              <a:gd name="connsiteX3" fmla="*/ 1374057 w 1535715"/>
              <a:gd name="connsiteY3" fmla="*/ 145 h 1241570"/>
              <a:gd name="connsiteX4" fmla="*/ 1535715 w 1535715"/>
              <a:gd name="connsiteY4" fmla="*/ 161803 h 1241570"/>
              <a:gd name="connsiteX5" fmla="*/ 1535715 w 1535715"/>
              <a:gd name="connsiteY5" fmla="*/ 1079912 h 1241570"/>
              <a:gd name="connsiteX6" fmla="*/ 1374057 w 1535715"/>
              <a:gd name="connsiteY6" fmla="*/ 1241570 h 1241570"/>
              <a:gd name="connsiteX7" fmla="*/ 171786 w 1535715"/>
              <a:gd name="connsiteY7" fmla="*/ 1241570 h 1241570"/>
              <a:gd name="connsiteX8" fmla="*/ 10128 w 1535715"/>
              <a:gd name="connsiteY8" fmla="*/ 1079912 h 1241570"/>
              <a:gd name="connsiteX9" fmla="*/ 10128 w 1535715"/>
              <a:gd name="connsiteY9" fmla="*/ 161803 h 1241570"/>
              <a:gd name="connsiteX0" fmla="*/ 11808 w 1537395"/>
              <a:gd name="connsiteY0" fmla="*/ 161803 h 1241570"/>
              <a:gd name="connsiteX1" fmla="*/ 12324 w 1537395"/>
              <a:gd name="connsiteY1" fmla="*/ 0 h 1241570"/>
              <a:gd name="connsiteX2" fmla="*/ 173466 w 1537395"/>
              <a:gd name="connsiteY2" fmla="*/ 145 h 1241570"/>
              <a:gd name="connsiteX3" fmla="*/ 1375737 w 1537395"/>
              <a:gd name="connsiteY3" fmla="*/ 145 h 1241570"/>
              <a:gd name="connsiteX4" fmla="*/ 1537395 w 1537395"/>
              <a:gd name="connsiteY4" fmla="*/ 161803 h 1241570"/>
              <a:gd name="connsiteX5" fmla="*/ 1537395 w 1537395"/>
              <a:gd name="connsiteY5" fmla="*/ 1079912 h 1241570"/>
              <a:gd name="connsiteX6" fmla="*/ 1375737 w 1537395"/>
              <a:gd name="connsiteY6" fmla="*/ 1241570 h 1241570"/>
              <a:gd name="connsiteX7" fmla="*/ 173466 w 1537395"/>
              <a:gd name="connsiteY7" fmla="*/ 1241570 h 1241570"/>
              <a:gd name="connsiteX8" fmla="*/ 11808 w 1537395"/>
              <a:gd name="connsiteY8" fmla="*/ 1079912 h 1241570"/>
              <a:gd name="connsiteX9" fmla="*/ 11808 w 1537395"/>
              <a:gd name="connsiteY9" fmla="*/ 161803 h 1241570"/>
              <a:gd name="connsiteX0" fmla="*/ 346 w 1525933"/>
              <a:gd name="connsiteY0" fmla="*/ 161803 h 1241570"/>
              <a:gd name="connsiteX1" fmla="*/ 862 w 1525933"/>
              <a:gd name="connsiteY1" fmla="*/ 0 h 1241570"/>
              <a:gd name="connsiteX2" fmla="*/ 162004 w 1525933"/>
              <a:gd name="connsiteY2" fmla="*/ 145 h 1241570"/>
              <a:gd name="connsiteX3" fmla="*/ 1364275 w 1525933"/>
              <a:gd name="connsiteY3" fmla="*/ 145 h 1241570"/>
              <a:gd name="connsiteX4" fmla="*/ 1525933 w 1525933"/>
              <a:gd name="connsiteY4" fmla="*/ 161803 h 1241570"/>
              <a:gd name="connsiteX5" fmla="*/ 1525933 w 1525933"/>
              <a:gd name="connsiteY5" fmla="*/ 1079912 h 1241570"/>
              <a:gd name="connsiteX6" fmla="*/ 1364275 w 1525933"/>
              <a:gd name="connsiteY6" fmla="*/ 1241570 h 1241570"/>
              <a:gd name="connsiteX7" fmla="*/ 162004 w 1525933"/>
              <a:gd name="connsiteY7" fmla="*/ 1241570 h 1241570"/>
              <a:gd name="connsiteX8" fmla="*/ 346 w 1525933"/>
              <a:gd name="connsiteY8" fmla="*/ 1079912 h 1241570"/>
              <a:gd name="connsiteX9" fmla="*/ 346 w 1525933"/>
              <a:gd name="connsiteY9" fmla="*/ 161803 h 1241570"/>
              <a:gd name="connsiteX0" fmla="*/ 872 w 1526459"/>
              <a:gd name="connsiteY0" fmla="*/ 161803 h 1241570"/>
              <a:gd name="connsiteX1" fmla="*/ 1388 w 1526459"/>
              <a:gd name="connsiteY1" fmla="*/ 0 h 1241570"/>
              <a:gd name="connsiteX2" fmla="*/ 162530 w 1526459"/>
              <a:gd name="connsiteY2" fmla="*/ 145 h 1241570"/>
              <a:gd name="connsiteX3" fmla="*/ 1364801 w 1526459"/>
              <a:gd name="connsiteY3" fmla="*/ 145 h 1241570"/>
              <a:gd name="connsiteX4" fmla="*/ 1526459 w 1526459"/>
              <a:gd name="connsiteY4" fmla="*/ 161803 h 1241570"/>
              <a:gd name="connsiteX5" fmla="*/ 1526459 w 1526459"/>
              <a:gd name="connsiteY5" fmla="*/ 1079912 h 1241570"/>
              <a:gd name="connsiteX6" fmla="*/ 1364801 w 1526459"/>
              <a:gd name="connsiteY6" fmla="*/ 1241570 h 1241570"/>
              <a:gd name="connsiteX7" fmla="*/ 162530 w 1526459"/>
              <a:gd name="connsiteY7" fmla="*/ 1241570 h 1241570"/>
              <a:gd name="connsiteX8" fmla="*/ 872 w 1526459"/>
              <a:gd name="connsiteY8" fmla="*/ 1079912 h 1241570"/>
              <a:gd name="connsiteX9" fmla="*/ 872 w 1526459"/>
              <a:gd name="connsiteY9" fmla="*/ 161803 h 1241570"/>
              <a:gd name="connsiteX0" fmla="*/ 470 w 1526057"/>
              <a:gd name="connsiteY0" fmla="*/ 161803 h 1241570"/>
              <a:gd name="connsiteX1" fmla="*/ 986 w 1526057"/>
              <a:gd name="connsiteY1" fmla="*/ 0 h 1241570"/>
              <a:gd name="connsiteX2" fmla="*/ 162128 w 1526057"/>
              <a:gd name="connsiteY2" fmla="*/ 145 h 1241570"/>
              <a:gd name="connsiteX3" fmla="*/ 1364399 w 1526057"/>
              <a:gd name="connsiteY3" fmla="*/ 145 h 1241570"/>
              <a:gd name="connsiteX4" fmla="*/ 1526057 w 1526057"/>
              <a:gd name="connsiteY4" fmla="*/ 161803 h 1241570"/>
              <a:gd name="connsiteX5" fmla="*/ 1526057 w 1526057"/>
              <a:gd name="connsiteY5" fmla="*/ 1079912 h 1241570"/>
              <a:gd name="connsiteX6" fmla="*/ 1364399 w 1526057"/>
              <a:gd name="connsiteY6" fmla="*/ 1241570 h 1241570"/>
              <a:gd name="connsiteX7" fmla="*/ 162128 w 1526057"/>
              <a:gd name="connsiteY7" fmla="*/ 1241570 h 1241570"/>
              <a:gd name="connsiteX8" fmla="*/ 470 w 1526057"/>
              <a:gd name="connsiteY8" fmla="*/ 1079912 h 1241570"/>
              <a:gd name="connsiteX9" fmla="*/ 470 w 1526057"/>
              <a:gd name="connsiteY9" fmla="*/ 161803 h 1241570"/>
              <a:gd name="connsiteX0" fmla="*/ 649 w 1526236"/>
              <a:gd name="connsiteY0" fmla="*/ 161803 h 1241570"/>
              <a:gd name="connsiteX1" fmla="*/ 1165 w 1526236"/>
              <a:gd name="connsiteY1" fmla="*/ 0 h 1241570"/>
              <a:gd name="connsiteX2" fmla="*/ 162307 w 1526236"/>
              <a:gd name="connsiteY2" fmla="*/ 145 h 1241570"/>
              <a:gd name="connsiteX3" fmla="*/ 1364578 w 1526236"/>
              <a:gd name="connsiteY3" fmla="*/ 145 h 1241570"/>
              <a:gd name="connsiteX4" fmla="*/ 1526236 w 1526236"/>
              <a:gd name="connsiteY4" fmla="*/ 161803 h 1241570"/>
              <a:gd name="connsiteX5" fmla="*/ 1526236 w 1526236"/>
              <a:gd name="connsiteY5" fmla="*/ 1079912 h 1241570"/>
              <a:gd name="connsiteX6" fmla="*/ 1364578 w 1526236"/>
              <a:gd name="connsiteY6" fmla="*/ 1241570 h 1241570"/>
              <a:gd name="connsiteX7" fmla="*/ 162307 w 1526236"/>
              <a:gd name="connsiteY7" fmla="*/ 1241570 h 1241570"/>
              <a:gd name="connsiteX8" fmla="*/ 649 w 1526236"/>
              <a:gd name="connsiteY8" fmla="*/ 1079912 h 1241570"/>
              <a:gd name="connsiteX9" fmla="*/ 649 w 1526236"/>
              <a:gd name="connsiteY9" fmla="*/ 161803 h 1241570"/>
              <a:gd name="connsiteX0" fmla="*/ 268 w 1525855"/>
              <a:gd name="connsiteY0" fmla="*/ 161803 h 1241570"/>
              <a:gd name="connsiteX1" fmla="*/ 784 w 1525855"/>
              <a:gd name="connsiteY1" fmla="*/ 0 h 1241570"/>
              <a:gd name="connsiteX2" fmla="*/ 161926 w 1525855"/>
              <a:gd name="connsiteY2" fmla="*/ 145 h 1241570"/>
              <a:gd name="connsiteX3" fmla="*/ 1364197 w 1525855"/>
              <a:gd name="connsiteY3" fmla="*/ 145 h 1241570"/>
              <a:gd name="connsiteX4" fmla="*/ 1525855 w 1525855"/>
              <a:gd name="connsiteY4" fmla="*/ 161803 h 1241570"/>
              <a:gd name="connsiteX5" fmla="*/ 1525855 w 1525855"/>
              <a:gd name="connsiteY5" fmla="*/ 1079912 h 1241570"/>
              <a:gd name="connsiteX6" fmla="*/ 1364197 w 1525855"/>
              <a:gd name="connsiteY6" fmla="*/ 1241570 h 1241570"/>
              <a:gd name="connsiteX7" fmla="*/ 161926 w 1525855"/>
              <a:gd name="connsiteY7" fmla="*/ 1241570 h 1241570"/>
              <a:gd name="connsiteX8" fmla="*/ 268 w 1525855"/>
              <a:gd name="connsiteY8" fmla="*/ 1079912 h 1241570"/>
              <a:gd name="connsiteX9" fmla="*/ 268 w 1525855"/>
              <a:gd name="connsiteY9" fmla="*/ 161803 h 1241570"/>
              <a:gd name="connsiteX0" fmla="*/ 359 w 1525946"/>
              <a:gd name="connsiteY0" fmla="*/ 161803 h 1241570"/>
              <a:gd name="connsiteX1" fmla="*/ 253 w 1525946"/>
              <a:gd name="connsiteY1" fmla="*/ 0 h 1241570"/>
              <a:gd name="connsiteX2" fmla="*/ 162017 w 1525946"/>
              <a:gd name="connsiteY2" fmla="*/ 145 h 1241570"/>
              <a:gd name="connsiteX3" fmla="*/ 1364288 w 1525946"/>
              <a:gd name="connsiteY3" fmla="*/ 145 h 1241570"/>
              <a:gd name="connsiteX4" fmla="*/ 1525946 w 1525946"/>
              <a:gd name="connsiteY4" fmla="*/ 161803 h 1241570"/>
              <a:gd name="connsiteX5" fmla="*/ 1525946 w 1525946"/>
              <a:gd name="connsiteY5" fmla="*/ 1079912 h 1241570"/>
              <a:gd name="connsiteX6" fmla="*/ 1364288 w 1525946"/>
              <a:gd name="connsiteY6" fmla="*/ 1241570 h 1241570"/>
              <a:gd name="connsiteX7" fmla="*/ 162017 w 1525946"/>
              <a:gd name="connsiteY7" fmla="*/ 1241570 h 1241570"/>
              <a:gd name="connsiteX8" fmla="*/ 359 w 1525946"/>
              <a:gd name="connsiteY8" fmla="*/ 1079912 h 1241570"/>
              <a:gd name="connsiteX9" fmla="*/ 359 w 1525946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728 w 1526315"/>
              <a:gd name="connsiteY0" fmla="*/ 161803 h 1241570"/>
              <a:gd name="connsiteX1" fmla="*/ 0 w 1526315"/>
              <a:gd name="connsiteY1" fmla="*/ 0 h 1241570"/>
              <a:gd name="connsiteX2" fmla="*/ 162386 w 1526315"/>
              <a:gd name="connsiteY2" fmla="*/ 145 h 1241570"/>
              <a:gd name="connsiteX3" fmla="*/ 1364657 w 1526315"/>
              <a:gd name="connsiteY3" fmla="*/ 145 h 1241570"/>
              <a:gd name="connsiteX4" fmla="*/ 1526315 w 1526315"/>
              <a:gd name="connsiteY4" fmla="*/ 161803 h 1241570"/>
              <a:gd name="connsiteX5" fmla="*/ 1526315 w 1526315"/>
              <a:gd name="connsiteY5" fmla="*/ 1079912 h 1241570"/>
              <a:gd name="connsiteX6" fmla="*/ 1364657 w 1526315"/>
              <a:gd name="connsiteY6" fmla="*/ 1241570 h 1241570"/>
              <a:gd name="connsiteX7" fmla="*/ 162386 w 1526315"/>
              <a:gd name="connsiteY7" fmla="*/ 1241570 h 1241570"/>
              <a:gd name="connsiteX8" fmla="*/ 728 w 1526315"/>
              <a:gd name="connsiteY8" fmla="*/ 1079912 h 1241570"/>
              <a:gd name="connsiteX9" fmla="*/ 728 w 1526315"/>
              <a:gd name="connsiteY9" fmla="*/ 161803 h 1241570"/>
              <a:gd name="connsiteX0" fmla="*/ 106 w 1525693"/>
              <a:gd name="connsiteY0" fmla="*/ 161803 h 1241570"/>
              <a:gd name="connsiteX1" fmla="*/ 0 w 1525693"/>
              <a:gd name="connsiteY1" fmla="*/ 0 h 1241570"/>
              <a:gd name="connsiteX2" fmla="*/ 161764 w 1525693"/>
              <a:gd name="connsiteY2" fmla="*/ 145 h 1241570"/>
              <a:gd name="connsiteX3" fmla="*/ 1364035 w 1525693"/>
              <a:gd name="connsiteY3" fmla="*/ 145 h 1241570"/>
              <a:gd name="connsiteX4" fmla="*/ 1525693 w 1525693"/>
              <a:gd name="connsiteY4" fmla="*/ 161803 h 1241570"/>
              <a:gd name="connsiteX5" fmla="*/ 1525693 w 1525693"/>
              <a:gd name="connsiteY5" fmla="*/ 1079912 h 1241570"/>
              <a:gd name="connsiteX6" fmla="*/ 1364035 w 1525693"/>
              <a:gd name="connsiteY6" fmla="*/ 1241570 h 1241570"/>
              <a:gd name="connsiteX7" fmla="*/ 161764 w 1525693"/>
              <a:gd name="connsiteY7" fmla="*/ 1241570 h 1241570"/>
              <a:gd name="connsiteX8" fmla="*/ 106 w 1525693"/>
              <a:gd name="connsiteY8" fmla="*/ 1079912 h 1241570"/>
              <a:gd name="connsiteX9" fmla="*/ 106 w 1525693"/>
              <a:gd name="connsiteY9" fmla="*/ 161803 h 1241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25693" h="1241570">
                <a:moveTo>
                  <a:pt x="106" y="161803"/>
                </a:moveTo>
                <a:cubicBezTo>
                  <a:pt x="-210" y="159620"/>
                  <a:pt x="409" y="7672"/>
                  <a:pt x="0" y="0"/>
                </a:cubicBezTo>
                <a:cubicBezTo>
                  <a:pt x="6219" y="388"/>
                  <a:pt x="110655" y="450"/>
                  <a:pt x="161764" y="145"/>
                </a:cubicBezTo>
                <a:lnTo>
                  <a:pt x="1364035" y="145"/>
                </a:lnTo>
                <a:cubicBezTo>
                  <a:pt x="1453316" y="145"/>
                  <a:pt x="1525693" y="72522"/>
                  <a:pt x="1525693" y="161803"/>
                </a:cubicBezTo>
                <a:lnTo>
                  <a:pt x="1525693" y="1079912"/>
                </a:lnTo>
                <a:cubicBezTo>
                  <a:pt x="1525693" y="1169193"/>
                  <a:pt x="1453316" y="1241570"/>
                  <a:pt x="1364035" y="1241570"/>
                </a:cubicBezTo>
                <a:lnTo>
                  <a:pt x="161764" y="1241570"/>
                </a:lnTo>
                <a:cubicBezTo>
                  <a:pt x="72483" y="1241570"/>
                  <a:pt x="106" y="1169193"/>
                  <a:pt x="106" y="1079912"/>
                </a:cubicBezTo>
                <a:lnTo>
                  <a:pt x="106" y="1618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144000" anchor="b"/>
          <a:lstStyle>
            <a:lvl1pPr marL="0" indent="0" algn="ctr">
              <a:buNone/>
              <a:defRPr sz="2806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nl-NL" noProof="0"/>
          </a:p>
        </p:txBody>
      </p:sp>
      <p:sp>
        <p:nvSpPr>
          <p:cNvPr id="162" name="Tijdelijke aanduiding voor tekst 2">
            <a:extLst>
              <a:ext uri="{FF2B5EF4-FFF2-40B4-BE49-F238E27FC236}">
                <a16:creationId xmlns:a16="http://schemas.microsoft.com/office/drawing/2014/main" id="{7261898A-F5A9-4EF3-AA75-53FC19067F1D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533807" y="11466940"/>
            <a:ext cx="26489657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 marL="0" indent="0">
              <a:buNone/>
              <a:defRPr sz="4209"/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64" name="Tijdelijke aanduiding voor tekst 2">
            <a:extLst>
              <a:ext uri="{FF2B5EF4-FFF2-40B4-BE49-F238E27FC236}">
                <a16:creationId xmlns:a16="http://schemas.microsoft.com/office/drawing/2014/main" id="{F3B45119-1F04-468E-9C06-CB3EFB775B3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533807" y="16623324"/>
            <a:ext cx="26489657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 marL="0" indent="0">
              <a:buNone/>
              <a:defRPr sz="4209"/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66" name="Tijdelijke aanduiding voor tekst 2">
            <a:extLst>
              <a:ext uri="{FF2B5EF4-FFF2-40B4-BE49-F238E27FC236}">
                <a16:creationId xmlns:a16="http://schemas.microsoft.com/office/drawing/2014/main" id="{853D7205-234D-4794-8AC8-B9710AD7AFF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533807" y="21779704"/>
            <a:ext cx="26489657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 marL="0" indent="0">
              <a:buNone/>
              <a:defRPr sz="4209"/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grpSp>
        <p:nvGrpSpPr>
          <p:cNvPr id="24" name="Groep 77">
            <a:extLst>
              <a:ext uri="{FF2B5EF4-FFF2-40B4-BE49-F238E27FC236}">
                <a16:creationId xmlns:a16="http://schemas.microsoft.com/office/drawing/2014/main" id="{97085740-5F50-441B-B286-975E7F784D6E}"/>
              </a:ext>
            </a:extLst>
          </p:cNvPr>
          <p:cNvGrpSpPr/>
          <p:nvPr userDrawn="1"/>
        </p:nvGrpSpPr>
        <p:grpSpPr>
          <a:xfrm>
            <a:off x="43467414" y="0"/>
            <a:ext cx="13065546" cy="24210246"/>
            <a:chOff x="12391601" y="0"/>
            <a:chExt cx="3724699" cy="5484152"/>
          </a:xfrm>
        </p:grpSpPr>
        <p:sp>
          <p:nvSpPr>
            <p:cNvPr id="25" name="Rechthoek 78">
              <a:extLst>
                <a:ext uri="{FF2B5EF4-FFF2-40B4-BE49-F238E27FC236}">
                  <a16:creationId xmlns:a16="http://schemas.microsoft.com/office/drawing/2014/main" id="{08EE0EE7-9CBB-488C-A4A8-96FE315124EF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26" name="Ovaal 79">
              <a:extLst>
                <a:ext uri="{FF2B5EF4-FFF2-40B4-BE49-F238E27FC236}">
                  <a16:creationId xmlns:a16="http://schemas.microsoft.com/office/drawing/2014/main" id="{0309621B-3B70-4DB4-A0AC-3D08C1083917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7" name="Rechte verbindingslijn 80">
              <a:extLst>
                <a:ext uri="{FF2B5EF4-FFF2-40B4-BE49-F238E27FC236}">
                  <a16:creationId xmlns:a16="http://schemas.microsoft.com/office/drawing/2014/main" id="{595A5195-F77B-485F-B4B4-3B6693483EE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8" name="Rechte verbindingslijn 81">
              <a:extLst>
                <a:ext uri="{FF2B5EF4-FFF2-40B4-BE49-F238E27FC236}">
                  <a16:creationId xmlns:a16="http://schemas.microsoft.com/office/drawing/2014/main" id="{6E5EB08F-4D86-4B67-A2B6-51A9381697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0" name="Rechthoek 82">
              <a:extLst>
                <a:ext uri="{FF2B5EF4-FFF2-40B4-BE49-F238E27FC236}">
                  <a16:creationId xmlns:a16="http://schemas.microsoft.com/office/drawing/2014/main" id="{E2C07AA5-114A-4766-A4E1-D90863BC3CC0}"/>
                </a:ext>
              </a:extLst>
            </p:cNvPr>
            <p:cNvSpPr/>
            <p:nvPr userDrawn="1"/>
          </p:nvSpPr>
          <p:spPr>
            <a:xfrm>
              <a:off x="12757282" y="432552"/>
              <a:ext cx="335901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fbeelding door deze te selecteren en op 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m een nieuwe afbeelding in te voegen.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2" name="Ovaal 83">
              <a:extLst>
                <a:ext uri="{FF2B5EF4-FFF2-40B4-BE49-F238E27FC236}">
                  <a16:creationId xmlns:a16="http://schemas.microsoft.com/office/drawing/2014/main" id="{782FAFD6-0BC4-435A-BCDA-061DC4F9A15A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4" name="Rechthoek 84">
              <a:extLst>
                <a:ext uri="{FF2B5EF4-FFF2-40B4-BE49-F238E27FC236}">
                  <a16:creationId xmlns:a16="http://schemas.microsoft.com/office/drawing/2014/main" id="{F5C62566-713C-4226-AACA-50F6D0A41CA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" name="Groep 85">
              <a:extLst>
                <a:ext uri="{FF2B5EF4-FFF2-40B4-BE49-F238E27FC236}">
                  <a16:creationId xmlns:a16="http://schemas.microsoft.com/office/drawing/2014/main" id="{14699E00-C5BC-43D9-9335-55B37C71E20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79" name="Rechthoek 119">
                <a:extLst>
                  <a:ext uri="{FF2B5EF4-FFF2-40B4-BE49-F238E27FC236}">
                    <a16:creationId xmlns:a16="http://schemas.microsoft.com/office/drawing/2014/main" id="{DC26D3FF-0D90-4A96-AD14-03C81F0DDA3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80" name="Rechte verbindingslijn 120">
                <a:extLst>
                  <a:ext uri="{FF2B5EF4-FFF2-40B4-BE49-F238E27FC236}">
                    <a16:creationId xmlns:a16="http://schemas.microsoft.com/office/drawing/2014/main" id="{B07AFEE0-AAEB-4E58-9520-DCC13CFF98D1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81" name="Gelijkbenige driehoek 121">
                <a:extLst>
                  <a:ext uri="{FF2B5EF4-FFF2-40B4-BE49-F238E27FC236}">
                    <a16:creationId xmlns:a16="http://schemas.microsoft.com/office/drawing/2014/main" id="{B8C0303C-7A51-47C7-9AE7-D2F526F7C44C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6" name="Groep 86">
              <a:extLst>
                <a:ext uri="{FF2B5EF4-FFF2-40B4-BE49-F238E27FC236}">
                  <a16:creationId xmlns:a16="http://schemas.microsoft.com/office/drawing/2014/main" id="{5F8AD94C-7B9A-41A1-A702-7D82678117A5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73" name="Rechthoek 113">
                <a:extLst>
                  <a:ext uri="{FF2B5EF4-FFF2-40B4-BE49-F238E27FC236}">
                    <a16:creationId xmlns:a16="http://schemas.microsoft.com/office/drawing/2014/main" id="{346E73AA-9BD9-49B7-931F-EA7954EFD721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4" name="Ovaal 114">
                <a:extLst>
                  <a:ext uri="{FF2B5EF4-FFF2-40B4-BE49-F238E27FC236}">
                    <a16:creationId xmlns:a16="http://schemas.microsoft.com/office/drawing/2014/main" id="{F5CCB8D1-7824-4B2D-910C-C50602CD114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75" name="Vrije vorm: vorm 115">
                <a:extLst>
                  <a:ext uri="{FF2B5EF4-FFF2-40B4-BE49-F238E27FC236}">
                    <a16:creationId xmlns:a16="http://schemas.microsoft.com/office/drawing/2014/main" id="{D0E0CB0D-C57F-4504-B2B5-566C1025F1D6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76" name="Rechthoek: afgeronde hoeken 116">
                <a:extLst>
                  <a:ext uri="{FF2B5EF4-FFF2-40B4-BE49-F238E27FC236}">
                    <a16:creationId xmlns:a16="http://schemas.microsoft.com/office/drawing/2014/main" id="{79BE821C-E8A0-4E96-A63D-01EBCE8C737C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77" name="Rechte verbindingslijn 117">
                <a:extLst>
                  <a:ext uri="{FF2B5EF4-FFF2-40B4-BE49-F238E27FC236}">
                    <a16:creationId xmlns:a16="http://schemas.microsoft.com/office/drawing/2014/main" id="{DB12E892-8189-40EF-8A85-6A7EA311AAC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8" name="Rechte verbindingslijn 118">
                <a:extLst>
                  <a:ext uri="{FF2B5EF4-FFF2-40B4-BE49-F238E27FC236}">
                    <a16:creationId xmlns:a16="http://schemas.microsoft.com/office/drawing/2014/main" id="{31F44D82-3E86-49D6-AC54-94C660393E13}"/>
                  </a:ext>
                </a:extLst>
              </p:cNvPr>
              <p:cNvCxnSpPr>
                <a:cxnSpLocks/>
                <a:stCxn id="76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grpSp>
          <p:nvGrpSpPr>
            <p:cNvPr id="37" name="Groep 87">
              <a:extLst>
                <a:ext uri="{FF2B5EF4-FFF2-40B4-BE49-F238E27FC236}">
                  <a16:creationId xmlns:a16="http://schemas.microsoft.com/office/drawing/2014/main" id="{0092F181-8B0B-4A97-A26C-F195E4E82FC5}"/>
                </a:ext>
              </a:extLst>
            </p:cNvPr>
            <p:cNvGrpSpPr/>
            <p:nvPr userDrawn="1"/>
          </p:nvGrpSpPr>
          <p:grpSpPr>
            <a:xfrm>
              <a:off x="12391601" y="2643684"/>
              <a:ext cx="3183678" cy="2840468"/>
              <a:chOff x="12952763" y="4572241"/>
              <a:chExt cx="3183678" cy="2840468"/>
            </a:xfrm>
          </p:grpSpPr>
          <p:grpSp>
            <p:nvGrpSpPr>
              <p:cNvPr id="48" name="Meer informatie">
                <a:extLst>
                  <a:ext uri="{FF2B5EF4-FFF2-40B4-BE49-F238E27FC236}">
                    <a16:creationId xmlns:a16="http://schemas.microsoft.com/office/drawing/2014/main" id="{46F47CC9-3339-49C1-A35A-6D0DCFEDE159}"/>
                  </a:ext>
                </a:extLst>
              </p:cNvPr>
              <p:cNvGrpSpPr/>
              <p:nvPr userDrawn="1"/>
            </p:nvGrpSpPr>
            <p:grpSpPr>
              <a:xfrm>
                <a:off x="12957926" y="6629436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70" name="Freeform 101">
                  <a:extLst>
                    <a:ext uri="{FF2B5EF4-FFF2-40B4-BE49-F238E27FC236}">
                      <a16:creationId xmlns:a16="http://schemas.microsoft.com/office/drawing/2014/main" id="{4F3B90D8-5C83-46BB-8442-9E859CC6612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3859" noProof="0"/>
                </a:p>
              </p:txBody>
            </p:sp>
            <p:sp>
              <p:nvSpPr>
                <p:cNvPr id="71" name="Rechthoek 111">
                  <a:extLst>
                    <a:ext uri="{FF2B5EF4-FFF2-40B4-BE49-F238E27FC236}">
                      <a16:creationId xmlns:a16="http://schemas.microsoft.com/office/drawing/2014/main" id="{CDE70456-41E5-4DFC-8129-A3083862E9BC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3207489" eaLnBrk="1" fontAlgn="auto" latinLnBrk="0" hangingPunct="1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Meer weten?</a:t>
                  </a:r>
                  <a:b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a naar dia </a:t>
                  </a:r>
                  <a:r>
                    <a:rPr kumimoji="0" lang="nl-NL" sz="3859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´Instructie dia: YouTube links´</a:t>
                  </a:r>
                  <a:r>
                    <a:rPr kumimoji="0" lang="nl-NL" sz="385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deze in de diavoorstelling en klik op de gewenste video link.</a:t>
                  </a:r>
                </a:p>
              </p:txBody>
            </p:sp>
            <p:cxnSp>
              <p:nvCxnSpPr>
                <p:cNvPr id="72" name="Rechte verbindingslijn 112">
                  <a:extLst>
                    <a:ext uri="{FF2B5EF4-FFF2-40B4-BE49-F238E27FC236}">
                      <a16:creationId xmlns:a16="http://schemas.microsoft.com/office/drawing/2014/main" id="{99B0A9B0-D1F7-4E95-8F97-310800A65B4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49" name="Rechte verbindingslijn 89">
                <a:extLst>
                  <a:ext uri="{FF2B5EF4-FFF2-40B4-BE49-F238E27FC236}">
                    <a16:creationId xmlns:a16="http://schemas.microsoft.com/office/drawing/2014/main" id="{86A165B8-B7D0-4A07-BE9E-63819DD6249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958423" y="651155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50" name="Ovaal 90">
                <a:extLst>
                  <a:ext uri="{FF2B5EF4-FFF2-40B4-BE49-F238E27FC236}">
                    <a16:creationId xmlns:a16="http://schemas.microsoft.com/office/drawing/2014/main" id="{A5DEFE7F-75A6-4682-819F-443D4E4C7CFA}"/>
                  </a:ext>
                </a:extLst>
              </p:cNvPr>
              <p:cNvSpPr/>
              <p:nvPr userDrawn="1"/>
            </p:nvSpPr>
            <p:spPr>
              <a:xfrm>
                <a:off x="12952763" y="4690403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320748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51" name="Rechthoek 91">
                <a:extLst>
                  <a:ext uri="{FF2B5EF4-FFF2-40B4-BE49-F238E27FC236}">
                    <a16:creationId xmlns:a16="http://schemas.microsoft.com/office/drawing/2014/main" id="{59151D17-0759-43DE-AF90-3529903D9EB5}"/>
                  </a:ext>
                </a:extLst>
              </p:cNvPr>
              <p:cNvSpPr/>
              <p:nvPr userDrawn="1"/>
            </p:nvSpPr>
            <p:spPr>
              <a:xfrm>
                <a:off x="13318445" y="4756466"/>
                <a:ext cx="2817996" cy="887319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Om de afbeelding te schalen of bij te snijden, ga naar de tab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Hulpmiddelen voor afbeeldingen - Opmaak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 en klik op de knop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Bijsnijden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Schaal met de bolletjes de afbeelding en met de hoekjes het afbeeldingskader.</a:t>
                </a:r>
                <a:endPara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52" name="Rechte verbindingslijn 92">
                <a:extLst>
                  <a:ext uri="{FF2B5EF4-FFF2-40B4-BE49-F238E27FC236}">
                    <a16:creationId xmlns:a16="http://schemas.microsoft.com/office/drawing/2014/main" id="{71A8FFD9-B8B5-4511-8198-52DE5D02641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958423" y="457224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53" name="Groep 93">
                <a:extLst>
                  <a:ext uri="{FF2B5EF4-FFF2-40B4-BE49-F238E27FC236}">
                    <a16:creationId xmlns:a16="http://schemas.microsoft.com/office/drawing/2014/main" id="{526C11E9-F307-4840-91A5-57DC1CA903E0}"/>
                  </a:ext>
                </a:extLst>
              </p:cNvPr>
              <p:cNvGrpSpPr/>
              <p:nvPr userDrawn="1"/>
            </p:nvGrpSpPr>
            <p:grpSpPr>
              <a:xfrm>
                <a:off x="13257676" y="5773610"/>
                <a:ext cx="514284" cy="612917"/>
                <a:chOff x="12682980" y="3403271"/>
                <a:chExt cx="622284" cy="741637"/>
              </a:xfrm>
            </p:grpSpPr>
            <p:grpSp>
              <p:nvGrpSpPr>
                <p:cNvPr id="54" name="Groep 94">
                  <a:extLst>
                    <a:ext uri="{FF2B5EF4-FFF2-40B4-BE49-F238E27FC236}">
                      <a16:creationId xmlns:a16="http://schemas.microsoft.com/office/drawing/2014/main" id="{95A5E7B9-EC06-429E-9740-65D401D27AD4}"/>
                    </a:ext>
                  </a:extLst>
                </p:cNvPr>
                <p:cNvGrpSpPr/>
                <p:nvPr userDrawn="1"/>
              </p:nvGrpSpPr>
              <p:grpSpPr>
                <a:xfrm>
                  <a:off x="12771568" y="3403271"/>
                  <a:ext cx="467138" cy="448459"/>
                  <a:chOff x="12782195" y="3403271"/>
                  <a:chExt cx="467138" cy="448459"/>
                </a:xfrm>
              </p:grpSpPr>
              <p:grpSp>
                <p:nvGrpSpPr>
                  <p:cNvPr id="57" name="Groep 97">
                    <a:extLst>
                      <a:ext uri="{FF2B5EF4-FFF2-40B4-BE49-F238E27FC236}">
                        <a16:creationId xmlns:a16="http://schemas.microsoft.com/office/drawing/2014/main" id="{E2607B29-2789-42C4-9F57-642ECD64247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2782195" y="3403271"/>
                    <a:ext cx="412967" cy="393910"/>
                    <a:chOff x="13554906" y="3320143"/>
                    <a:chExt cx="443906" cy="423422"/>
                  </a:xfrm>
                </p:grpSpPr>
                <p:grpSp>
                  <p:nvGrpSpPr>
                    <p:cNvPr id="64" name="Groep 104">
                      <a:extLst>
                        <a:ext uri="{FF2B5EF4-FFF2-40B4-BE49-F238E27FC236}">
                          <a16:creationId xmlns:a16="http://schemas.microsoft.com/office/drawing/2014/main" id="{9D8BFFDC-3964-4F5C-8247-5ABF9FD11453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3554906" y="3320143"/>
                      <a:ext cx="443906" cy="423422"/>
                      <a:chOff x="12909684" y="1276177"/>
                      <a:chExt cx="443906" cy="423422"/>
                    </a:xfrm>
                  </p:grpSpPr>
                  <p:sp>
                    <p:nvSpPr>
                      <p:cNvPr id="67" name="Rechthoek 107">
                        <a:extLst>
                          <a:ext uri="{FF2B5EF4-FFF2-40B4-BE49-F238E27FC236}">
                            <a16:creationId xmlns:a16="http://schemas.microsoft.com/office/drawing/2014/main" id="{CD2A55FF-A46B-4661-9B7F-23AD0E518D9A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2918700" y="1285299"/>
                        <a:ext cx="434890" cy="414300"/>
                      </a:xfrm>
                      <a:prstGeom prst="rect">
                        <a:avLst/>
                      </a:prstGeom>
                      <a:noFill/>
                      <a:ln w="12700">
                        <a:solidFill>
                          <a:srgbClr val="818181"/>
                        </a:solidFill>
                        <a:prstDash val="dash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2105"/>
                          </a:spcBef>
                          <a:spcAft>
                            <a:spcPts val="2105"/>
                          </a:spcAft>
                        </a:pPr>
                        <a:endParaRPr lang="nl-NL" sz="2806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68" name="Rechthoek 108">
                        <a:extLst>
                          <a:ext uri="{FF2B5EF4-FFF2-40B4-BE49-F238E27FC236}">
                            <a16:creationId xmlns:a16="http://schemas.microsoft.com/office/drawing/2014/main" id="{7DE6CA22-FA69-48A0-A30F-1B03FF452AEB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2909684" y="1276177"/>
                        <a:ext cx="261629" cy="257808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12700">
                        <a:solidFill>
                          <a:srgbClr val="81818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lvl="0">
                          <a:lnSpc>
                            <a:spcPct val="90000"/>
                          </a:lnSpc>
                          <a:spcBef>
                            <a:spcPts val="2105"/>
                          </a:spcBef>
                          <a:spcAft>
                            <a:spcPts val="2105"/>
                          </a:spcAft>
                        </a:pPr>
                        <a:endParaRPr lang="nl-NL" sz="2806" b="0" noProof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69" name="Ovaal 109">
                        <a:extLst>
                          <a:ext uri="{FF2B5EF4-FFF2-40B4-BE49-F238E27FC236}">
                            <a16:creationId xmlns:a16="http://schemas.microsoft.com/office/drawing/2014/main" id="{E770EB0E-9FCB-4378-90F1-CE5A96CB8A84}"/>
                          </a:ext>
                        </a:extLst>
                      </p:cNvPr>
                      <p:cNvSpPr/>
                      <p:nvPr userDrawn="1"/>
                    </p:nvSpPr>
                    <p:spPr>
                      <a:xfrm>
                        <a:off x="13069071" y="1308734"/>
                        <a:ext cx="72187" cy="72188"/>
                      </a:xfrm>
                      <a:prstGeom prst="ellipse">
                        <a:avLst/>
                      </a:prstGeom>
                      <a:solidFill>
                        <a:srgbClr val="ECC679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="horz" wrap="square" lIns="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l"/>
                        <a:endParaRPr lang="nl-NL" sz="3509" b="1" noProof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</p:grpSp>
                <p:pic>
                  <p:nvPicPr>
                    <p:cNvPr id="65" name="Afbeelding 105">
                      <a:extLst>
                        <a:ext uri="{FF2B5EF4-FFF2-40B4-BE49-F238E27FC236}">
                          <a16:creationId xmlns:a16="http://schemas.microsoft.com/office/drawing/2014/main" id="{A908E851-5DBE-41F9-B8D3-F4049A78A6F8}"/>
                        </a:ext>
                      </a:extLst>
                    </p:cNvPr>
                    <p:cNvPicPr>
                      <a:picLocks noChangeAspect="1"/>
                    </p:cNvPicPr>
                    <p:nvPr userDrawn="1"/>
                  </p:nvPicPr>
                  <p:blipFill>
                    <a:blip r:embed="rId2" cstate="screen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3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3567296" y="3424991"/>
                      <a:ext cx="173367" cy="140220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66" name="Afbeelding 106">
                      <a:extLst>
                        <a:ext uri="{FF2B5EF4-FFF2-40B4-BE49-F238E27FC236}">
                          <a16:creationId xmlns:a16="http://schemas.microsoft.com/office/drawing/2014/main" id="{33504082-DE75-41F9-A941-D892141DA144}"/>
                        </a:ext>
                      </a:extLst>
                    </p:cNvPr>
                    <p:cNvPicPr>
                      <a:picLocks noChangeAspect="1"/>
                    </p:cNvPicPr>
                    <p:nvPr userDrawn="1"/>
                  </p:nvPicPr>
                  <p:blipFill>
                    <a:blip r:embed="rId4" cstate="screen">
                      <a:duotone>
                        <a:prstClr val="black"/>
                        <a:srgbClr val="4D82B8">
                          <a:tint val="45000"/>
                          <a:satMod val="400000"/>
                        </a:srgbClr>
                      </a:duotone>
                      <a:extLst>
                        <a:ext uri="{BEBA8EAE-BF5A-486C-A8C5-ECC9F3942E4B}">
                          <a14:imgProps xmlns:a14="http://schemas.microsoft.com/office/drawing/2010/main">
                            <a14:imgLayer r:embed="rId5">
                              <a14:imgEffect>
                                <a14:brightnessContrast contrast="-40000"/>
                              </a14:imgEffect>
                            </a14:imgLayer>
                          </a14:imgProps>
                        </a:ex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flipH="1">
                      <a:off x="13635598" y="3454393"/>
                      <a:ext cx="173366" cy="111424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58" name="Groep 98">
                    <a:extLst>
                      <a:ext uri="{FF2B5EF4-FFF2-40B4-BE49-F238E27FC236}">
                        <a16:creationId xmlns:a16="http://schemas.microsoft.com/office/drawing/2014/main" id="{E05FAD33-582F-478C-B621-F8AB94A3EFF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103513" y="3705278"/>
                    <a:ext cx="145820" cy="146452"/>
                    <a:chOff x="13096169" y="3602288"/>
                    <a:chExt cx="145820" cy="146452"/>
                  </a:xfrm>
                </p:grpSpPr>
                <p:sp>
                  <p:nvSpPr>
                    <p:cNvPr id="62" name="Rechthoek 102">
                      <a:extLst>
                        <a:ext uri="{FF2B5EF4-FFF2-40B4-BE49-F238E27FC236}">
                          <a16:creationId xmlns:a16="http://schemas.microsoft.com/office/drawing/2014/main" id="{54C9EB89-249E-4D91-BF0A-963D2814762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96169" y="360228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3" name="Rechthoek 103">
                      <a:extLst>
                        <a:ext uri="{FF2B5EF4-FFF2-40B4-BE49-F238E27FC236}">
                          <a16:creationId xmlns:a16="http://schemas.microsoft.com/office/drawing/2014/main" id="{AD4BEEFB-7F67-492A-BE70-5693AECE2A2E}"/>
                        </a:ext>
                      </a:extLst>
                    </p:cNvPr>
                    <p:cNvSpPr/>
                    <p:nvPr userDrawn="1"/>
                  </p:nvSpPr>
                  <p:spPr>
                    <a:xfrm rot="5400000">
                      <a:off x="13037453" y="3661636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grpSp>
                <p:nvGrpSpPr>
                  <p:cNvPr id="59" name="Groep 99">
                    <a:extLst>
                      <a:ext uri="{FF2B5EF4-FFF2-40B4-BE49-F238E27FC236}">
                        <a16:creationId xmlns:a16="http://schemas.microsoft.com/office/drawing/2014/main" id="{DBA98214-9D86-4134-8CA6-4AC018C54C77}"/>
                      </a:ext>
                    </a:extLst>
                  </p:cNvPr>
                  <p:cNvGrpSpPr/>
                  <p:nvPr userDrawn="1"/>
                </p:nvGrpSpPr>
                <p:grpSpPr>
                  <a:xfrm rot="10800000">
                    <a:off x="13061402" y="3665668"/>
                    <a:ext cx="145820" cy="146461"/>
                    <a:chOff x="13096169" y="3602248"/>
                    <a:chExt cx="145820" cy="146461"/>
                  </a:xfrm>
                </p:grpSpPr>
                <p:sp>
                  <p:nvSpPr>
                    <p:cNvPr id="60" name="Rechthoek 100">
                      <a:extLst>
                        <a:ext uri="{FF2B5EF4-FFF2-40B4-BE49-F238E27FC236}">
                          <a16:creationId xmlns:a16="http://schemas.microsoft.com/office/drawing/2014/main" id="{ED580141-F5F4-4A8B-82E6-F8102185EF0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96169" y="3602248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61" name="Rechthoek 101">
                      <a:extLst>
                        <a:ext uri="{FF2B5EF4-FFF2-40B4-BE49-F238E27FC236}">
                          <a16:creationId xmlns:a16="http://schemas.microsoft.com/office/drawing/2014/main" id="{1EC6A88F-C59D-407C-B40A-23D0643DA3C5}"/>
                        </a:ext>
                      </a:extLst>
                    </p:cNvPr>
                    <p:cNvSpPr/>
                    <p:nvPr userDrawn="1"/>
                  </p:nvSpPr>
                  <p:spPr>
                    <a:xfrm rot="5400000">
                      <a:off x="13037453" y="3661605"/>
                      <a:ext cx="145820" cy="28388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3509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  <p:sp>
              <p:nvSpPr>
                <p:cNvPr id="55" name="Rechthoek 95">
                  <a:extLst>
                    <a:ext uri="{FF2B5EF4-FFF2-40B4-BE49-F238E27FC236}">
                      <a16:creationId xmlns:a16="http://schemas.microsoft.com/office/drawing/2014/main" id="{3210FEEE-416F-4ED2-9573-0D7AFC95E5F9}"/>
                    </a:ext>
                  </a:extLst>
                </p:cNvPr>
                <p:cNvSpPr/>
                <p:nvPr userDrawn="1"/>
              </p:nvSpPr>
              <p:spPr>
                <a:xfrm>
                  <a:off x="12682980" y="3889920"/>
                  <a:ext cx="622284" cy="16117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r>
                    <a:rPr lang="nl-NL" sz="3158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Bijsnijden</a:t>
                  </a:r>
                </a:p>
              </p:txBody>
            </p:sp>
            <p:sp>
              <p:nvSpPr>
                <p:cNvPr id="56" name="Gelijkbenige driehoek 96">
                  <a:extLst>
                    <a:ext uri="{FF2B5EF4-FFF2-40B4-BE49-F238E27FC236}">
                      <a16:creationId xmlns:a16="http://schemas.microsoft.com/office/drawing/2014/main" id="{BB343D76-EFA6-4D56-89B0-EA34F1C07AAA}"/>
                    </a:ext>
                  </a:extLst>
                </p:cNvPr>
                <p:cNvSpPr/>
                <p:nvPr userDrawn="1"/>
              </p:nvSpPr>
              <p:spPr>
                <a:xfrm rot="10800000">
                  <a:off x="12950688" y="4093761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pic>
        <p:nvPicPr>
          <p:cNvPr id="82" name="Afbeelding 81">
            <a:extLst>
              <a:ext uri="{FF2B5EF4-FFF2-40B4-BE49-F238E27FC236}">
                <a16:creationId xmlns:a16="http://schemas.microsoft.com/office/drawing/2014/main" id="{4267A6BF-8856-45AD-8DCE-2F7DFF35BC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857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kaders + Uitleg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grpSp>
        <p:nvGrpSpPr>
          <p:cNvPr id="38" name="GRID" hidden="1">
            <a:extLst>
              <a:ext uri="{FF2B5EF4-FFF2-40B4-BE49-F238E27FC236}">
                <a16:creationId xmlns:a16="http://schemas.microsoft.com/office/drawing/2014/main" id="{51D5F7E8-69F8-47AD-81F5-1645C97607C1}"/>
              </a:ext>
            </a:extLst>
          </p:cNvPr>
          <p:cNvGrpSpPr/>
          <p:nvPr userDrawn="1"/>
        </p:nvGrpSpPr>
        <p:grpSpPr>
          <a:xfrm>
            <a:off x="5" y="0"/>
            <a:ext cx="42767261" cy="30275213"/>
            <a:chOff x="0" y="0"/>
            <a:chExt cx="12192003" cy="6858000"/>
          </a:xfrm>
        </p:grpSpPr>
        <p:sp>
          <p:nvSpPr>
            <p:cNvPr id="39" name="Rechthoek 38">
              <a:extLst>
                <a:ext uri="{FF2B5EF4-FFF2-40B4-BE49-F238E27FC236}">
                  <a16:creationId xmlns:a16="http://schemas.microsoft.com/office/drawing/2014/main" id="{71DB2C92-E6A8-4532-98F6-C917E7F5CD17}"/>
                </a:ext>
              </a:extLst>
            </p:cNvPr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0" name="Rechthoek 39">
              <a:extLst>
                <a:ext uri="{FF2B5EF4-FFF2-40B4-BE49-F238E27FC236}">
                  <a16:creationId xmlns:a16="http://schemas.microsoft.com/office/drawing/2014/main" id="{1283F161-5F8A-45E1-A9F2-F823FC1CB0A5}"/>
                </a:ext>
              </a:extLst>
            </p:cNvPr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1" name="Rechthoek 40">
              <a:extLst>
                <a:ext uri="{FF2B5EF4-FFF2-40B4-BE49-F238E27FC236}">
                  <a16:creationId xmlns:a16="http://schemas.microsoft.com/office/drawing/2014/main" id="{E25AE021-76F4-4113-9019-FB3CB3351AD2}"/>
                </a:ext>
              </a:extLst>
            </p:cNvPr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2" name="Rechthoek 41">
              <a:extLst>
                <a:ext uri="{FF2B5EF4-FFF2-40B4-BE49-F238E27FC236}">
                  <a16:creationId xmlns:a16="http://schemas.microsoft.com/office/drawing/2014/main" id="{4F56F574-960D-4395-B98C-5F49ED9EF418}"/>
                </a:ext>
              </a:extLst>
            </p:cNvPr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34E307D0-CCA0-4BDF-BC5F-E19838E9F7DA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4" name="Rechthoek 43">
              <a:extLst>
                <a:ext uri="{FF2B5EF4-FFF2-40B4-BE49-F238E27FC236}">
                  <a16:creationId xmlns:a16="http://schemas.microsoft.com/office/drawing/2014/main" id="{2AEE0B25-FBCC-4048-A2C0-6D97C3E7FEB7}"/>
                </a:ext>
              </a:extLst>
            </p:cNvPr>
            <p:cNvSpPr/>
            <p:nvPr userDrawn="1"/>
          </p:nvSpPr>
          <p:spPr>
            <a:xfrm rot="5400000">
              <a:off x="5895976" y="-108104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fld id="{618A8028-D7C0-455A-B6A5-E5ECB2C2A8D6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/>
              <a:t>Voettekst</a:t>
            </a:r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9" y="27329718"/>
            <a:ext cx="834509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1B658E1F-0E98-4ED4-B7E8-3A0C15D75D3F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687079" y="6308636"/>
            <a:ext cx="5345254" cy="5484109"/>
          </a:xfrm>
          <a:custGeom>
            <a:avLst/>
            <a:gdLst>
              <a:gd name="connsiteX0" fmla="*/ 0 w 6217773"/>
              <a:gd name="connsiteY0" fmla="*/ 631093 h 5069018"/>
              <a:gd name="connsiteX1" fmla="*/ 631093 w 6217773"/>
              <a:gd name="connsiteY1" fmla="*/ 0 h 5069018"/>
              <a:gd name="connsiteX2" fmla="*/ 5586680 w 6217773"/>
              <a:gd name="connsiteY2" fmla="*/ 0 h 5069018"/>
              <a:gd name="connsiteX3" fmla="*/ 6217773 w 6217773"/>
              <a:gd name="connsiteY3" fmla="*/ 631093 h 5069018"/>
              <a:gd name="connsiteX4" fmla="*/ 6217773 w 6217773"/>
              <a:gd name="connsiteY4" fmla="*/ 4437925 h 5069018"/>
              <a:gd name="connsiteX5" fmla="*/ 5586680 w 6217773"/>
              <a:gd name="connsiteY5" fmla="*/ 5069018 h 5069018"/>
              <a:gd name="connsiteX6" fmla="*/ 631093 w 6217773"/>
              <a:gd name="connsiteY6" fmla="*/ 5069018 h 5069018"/>
              <a:gd name="connsiteX7" fmla="*/ 0 w 6217773"/>
              <a:gd name="connsiteY7" fmla="*/ 4437925 h 5069018"/>
              <a:gd name="connsiteX8" fmla="*/ 0 w 6217773"/>
              <a:gd name="connsiteY8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31029 w 6248802"/>
              <a:gd name="connsiteY0" fmla="*/ 638400 h 5076325"/>
              <a:gd name="connsiteX1" fmla="*/ 35792 w 6248802"/>
              <a:gd name="connsiteY1" fmla="*/ 228 h 5076325"/>
              <a:gd name="connsiteX2" fmla="*/ 662122 w 6248802"/>
              <a:gd name="connsiteY2" fmla="*/ 7307 h 5076325"/>
              <a:gd name="connsiteX3" fmla="*/ 5617709 w 6248802"/>
              <a:gd name="connsiteY3" fmla="*/ 7307 h 5076325"/>
              <a:gd name="connsiteX4" fmla="*/ 6248802 w 6248802"/>
              <a:gd name="connsiteY4" fmla="*/ 638400 h 5076325"/>
              <a:gd name="connsiteX5" fmla="*/ 6248802 w 6248802"/>
              <a:gd name="connsiteY5" fmla="*/ 4445232 h 5076325"/>
              <a:gd name="connsiteX6" fmla="*/ 5617709 w 6248802"/>
              <a:gd name="connsiteY6" fmla="*/ 5076325 h 5076325"/>
              <a:gd name="connsiteX7" fmla="*/ 662122 w 6248802"/>
              <a:gd name="connsiteY7" fmla="*/ 5076325 h 5076325"/>
              <a:gd name="connsiteX8" fmla="*/ 31029 w 6248802"/>
              <a:gd name="connsiteY8" fmla="*/ 4445232 h 5076325"/>
              <a:gd name="connsiteX9" fmla="*/ 31029 w 6248802"/>
              <a:gd name="connsiteY9" fmla="*/ 638400 h 5076325"/>
              <a:gd name="connsiteX0" fmla="*/ 0 w 6217773"/>
              <a:gd name="connsiteY0" fmla="*/ 638860 h 5076785"/>
              <a:gd name="connsiteX1" fmla="*/ 4763 w 6217773"/>
              <a:gd name="connsiteY1" fmla="*/ 688 h 5076785"/>
              <a:gd name="connsiteX2" fmla="*/ 631093 w 6217773"/>
              <a:gd name="connsiteY2" fmla="*/ 7767 h 5076785"/>
              <a:gd name="connsiteX3" fmla="*/ 5586680 w 6217773"/>
              <a:gd name="connsiteY3" fmla="*/ 7767 h 5076785"/>
              <a:gd name="connsiteX4" fmla="*/ 6217773 w 6217773"/>
              <a:gd name="connsiteY4" fmla="*/ 638860 h 5076785"/>
              <a:gd name="connsiteX5" fmla="*/ 6217773 w 6217773"/>
              <a:gd name="connsiteY5" fmla="*/ 4445692 h 5076785"/>
              <a:gd name="connsiteX6" fmla="*/ 5586680 w 6217773"/>
              <a:gd name="connsiteY6" fmla="*/ 5076785 h 5076785"/>
              <a:gd name="connsiteX7" fmla="*/ 631093 w 6217773"/>
              <a:gd name="connsiteY7" fmla="*/ 5076785 h 5076785"/>
              <a:gd name="connsiteX8" fmla="*/ 0 w 6217773"/>
              <a:gd name="connsiteY8" fmla="*/ 4445692 h 5076785"/>
              <a:gd name="connsiteX9" fmla="*/ 0 w 6217773"/>
              <a:gd name="connsiteY9" fmla="*/ 638860 h 5076785"/>
              <a:gd name="connsiteX0" fmla="*/ 64 w 6217837"/>
              <a:gd name="connsiteY0" fmla="*/ 638860 h 5076785"/>
              <a:gd name="connsiteX1" fmla="*/ 4827 w 6217837"/>
              <a:gd name="connsiteY1" fmla="*/ 688 h 5076785"/>
              <a:gd name="connsiteX2" fmla="*/ 631157 w 6217837"/>
              <a:gd name="connsiteY2" fmla="*/ 7767 h 5076785"/>
              <a:gd name="connsiteX3" fmla="*/ 5586744 w 6217837"/>
              <a:gd name="connsiteY3" fmla="*/ 7767 h 5076785"/>
              <a:gd name="connsiteX4" fmla="*/ 6217837 w 6217837"/>
              <a:gd name="connsiteY4" fmla="*/ 638860 h 5076785"/>
              <a:gd name="connsiteX5" fmla="*/ 6217837 w 6217837"/>
              <a:gd name="connsiteY5" fmla="*/ 4445692 h 5076785"/>
              <a:gd name="connsiteX6" fmla="*/ 5586744 w 6217837"/>
              <a:gd name="connsiteY6" fmla="*/ 5076785 h 5076785"/>
              <a:gd name="connsiteX7" fmla="*/ 631157 w 6217837"/>
              <a:gd name="connsiteY7" fmla="*/ 5076785 h 5076785"/>
              <a:gd name="connsiteX8" fmla="*/ 64 w 6217837"/>
              <a:gd name="connsiteY8" fmla="*/ 4445692 h 5076785"/>
              <a:gd name="connsiteX9" fmla="*/ 64 w 6217837"/>
              <a:gd name="connsiteY9" fmla="*/ 638860 h 5076785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586744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17837" h="5069018">
                <a:moveTo>
                  <a:pt x="64" y="631093"/>
                </a:moveTo>
                <a:cubicBezTo>
                  <a:pt x="4033" y="467051"/>
                  <a:pt x="-5105" y="12378"/>
                  <a:pt x="4827" y="2446"/>
                </a:cubicBezTo>
                <a:cubicBezTo>
                  <a:pt x="11584" y="-1136"/>
                  <a:pt x="507287" y="937"/>
                  <a:pt x="631157" y="0"/>
                </a:cubicBezTo>
                <a:lnTo>
                  <a:pt x="5586744" y="0"/>
                </a:lnTo>
                <a:cubicBezTo>
                  <a:pt x="5935287" y="0"/>
                  <a:pt x="6217837" y="282550"/>
                  <a:pt x="6217837" y="631093"/>
                </a:cubicBezTo>
                <a:lnTo>
                  <a:pt x="6217837" y="4437925"/>
                </a:lnTo>
                <a:cubicBezTo>
                  <a:pt x="6217837" y="4786468"/>
                  <a:pt x="5935287" y="5069018"/>
                  <a:pt x="5586744" y="5069018"/>
                </a:cubicBezTo>
                <a:lnTo>
                  <a:pt x="631157" y="5069018"/>
                </a:lnTo>
                <a:cubicBezTo>
                  <a:pt x="282614" y="5069018"/>
                  <a:pt x="64" y="4786468"/>
                  <a:pt x="64" y="4437925"/>
                </a:cubicBezTo>
                <a:lnTo>
                  <a:pt x="64" y="631093"/>
                </a:lnTo>
                <a:close/>
              </a:path>
            </a:pathLst>
          </a:custGeom>
          <a:solidFill>
            <a:schemeClr val="bg2"/>
          </a:solidFill>
        </p:spPr>
        <p:txBody>
          <a:bodyPr lIns="360000" tIns="360000" rIns="360000" bIns="360000"/>
          <a:lstStyle>
            <a:lvl1pPr algn="ctr">
              <a:defRPr sz="4209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Punt 1</a:t>
            </a:r>
          </a:p>
        </p:txBody>
      </p:sp>
      <p:sp>
        <p:nvSpPr>
          <p:cNvPr id="24" name="Tijdelijke aanduiding voor tekst 3">
            <a:extLst>
              <a:ext uri="{FF2B5EF4-FFF2-40B4-BE49-F238E27FC236}">
                <a16:creationId xmlns:a16="http://schemas.microsoft.com/office/drawing/2014/main" id="{9403E59F-DA7E-493E-A75C-18B2CDC74E5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687079" y="13268192"/>
            <a:ext cx="5345254" cy="5484109"/>
          </a:xfrm>
          <a:custGeom>
            <a:avLst/>
            <a:gdLst>
              <a:gd name="connsiteX0" fmla="*/ 0 w 6217773"/>
              <a:gd name="connsiteY0" fmla="*/ 631093 h 5069018"/>
              <a:gd name="connsiteX1" fmla="*/ 631093 w 6217773"/>
              <a:gd name="connsiteY1" fmla="*/ 0 h 5069018"/>
              <a:gd name="connsiteX2" fmla="*/ 5586680 w 6217773"/>
              <a:gd name="connsiteY2" fmla="*/ 0 h 5069018"/>
              <a:gd name="connsiteX3" fmla="*/ 6217773 w 6217773"/>
              <a:gd name="connsiteY3" fmla="*/ 631093 h 5069018"/>
              <a:gd name="connsiteX4" fmla="*/ 6217773 w 6217773"/>
              <a:gd name="connsiteY4" fmla="*/ 4437925 h 5069018"/>
              <a:gd name="connsiteX5" fmla="*/ 5586680 w 6217773"/>
              <a:gd name="connsiteY5" fmla="*/ 5069018 h 5069018"/>
              <a:gd name="connsiteX6" fmla="*/ 631093 w 6217773"/>
              <a:gd name="connsiteY6" fmla="*/ 5069018 h 5069018"/>
              <a:gd name="connsiteX7" fmla="*/ 0 w 6217773"/>
              <a:gd name="connsiteY7" fmla="*/ 4437925 h 5069018"/>
              <a:gd name="connsiteX8" fmla="*/ 0 w 6217773"/>
              <a:gd name="connsiteY8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31029 w 6248802"/>
              <a:gd name="connsiteY0" fmla="*/ 638400 h 5076325"/>
              <a:gd name="connsiteX1" fmla="*/ 35792 w 6248802"/>
              <a:gd name="connsiteY1" fmla="*/ 228 h 5076325"/>
              <a:gd name="connsiteX2" fmla="*/ 662122 w 6248802"/>
              <a:gd name="connsiteY2" fmla="*/ 7307 h 5076325"/>
              <a:gd name="connsiteX3" fmla="*/ 5617709 w 6248802"/>
              <a:gd name="connsiteY3" fmla="*/ 7307 h 5076325"/>
              <a:gd name="connsiteX4" fmla="*/ 6248802 w 6248802"/>
              <a:gd name="connsiteY4" fmla="*/ 638400 h 5076325"/>
              <a:gd name="connsiteX5" fmla="*/ 6248802 w 6248802"/>
              <a:gd name="connsiteY5" fmla="*/ 4445232 h 5076325"/>
              <a:gd name="connsiteX6" fmla="*/ 5617709 w 6248802"/>
              <a:gd name="connsiteY6" fmla="*/ 5076325 h 5076325"/>
              <a:gd name="connsiteX7" fmla="*/ 662122 w 6248802"/>
              <a:gd name="connsiteY7" fmla="*/ 5076325 h 5076325"/>
              <a:gd name="connsiteX8" fmla="*/ 31029 w 6248802"/>
              <a:gd name="connsiteY8" fmla="*/ 4445232 h 5076325"/>
              <a:gd name="connsiteX9" fmla="*/ 31029 w 6248802"/>
              <a:gd name="connsiteY9" fmla="*/ 638400 h 5076325"/>
              <a:gd name="connsiteX0" fmla="*/ 0 w 6217773"/>
              <a:gd name="connsiteY0" fmla="*/ 638860 h 5076785"/>
              <a:gd name="connsiteX1" fmla="*/ 4763 w 6217773"/>
              <a:gd name="connsiteY1" fmla="*/ 688 h 5076785"/>
              <a:gd name="connsiteX2" fmla="*/ 631093 w 6217773"/>
              <a:gd name="connsiteY2" fmla="*/ 7767 h 5076785"/>
              <a:gd name="connsiteX3" fmla="*/ 5586680 w 6217773"/>
              <a:gd name="connsiteY3" fmla="*/ 7767 h 5076785"/>
              <a:gd name="connsiteX4" fmla="*/ 6217773 w 6217773"/>
              <a:gd name="connsiteY4" fmla="*/ 638860 h 5076785"/>
              <a:gd name="connsiteX5" fmla="*/ 6217773 w 6217773"/>
              <a:gd name="connsiteY5" fmla="*/ 4445692 h 5076785"/>
              <a:gd name="connsiteX6" fmla="*/ 5586680 w 6217773"/>
              <a:gd name="connsiteY6" fmla="*/ 5076785 h 5076785"/>
              <a:gd name="connsiteX7" fmla="*/ 631093 w 6217773"/>
              <a:gd name="connsiteY7" fmla="*/ 5076785 h 5076785"/>
              <a:gd name="connsiteX8" fmla="*/ 0 w 6217773"/>
              <a:gd name="connsiteY8" fmla="*/ 4445692 h 5076785"/>
              <a:gd name="connsiteX9" fmla="*/ 0 w 6217773"/>
              <a:gd name="connsiteY9" fmla="*/ 638860 h 5076785"/>
              <a:gd name="connsiteX0" fmla="*/ 64 w 6217837"/>
              <a:gd name="connsiteY0" fmla="*/ 638860 h 5076785"/>
              <a:gd name="connsiteX1" fmla="*/ 4827 w 6217837"/>
              <a:gd name="connsiteY1" fmla="*/ 688 h 5076785"/>
              <a:gd name="connsiteX2" fmla="*/ 631157 w 6217837"/>
              <a:gd name="connsiteY2" fmla="*/ 7767 h 5076785"/>
              <a:gd name="connsiteX3" fmla="*/ 5586744 w 6217837"/>
              <a:gd name="connsiteY3" fmla="*/ 7767 h 5076785"/>
              <a:gd name="connsiteX4" fmla="*/ 6217837 w 6217837"/>
              <a:gd name="connsiteY4" fmla="*/ 638860 h 5076785"/>
              <a:gd name="connsiteX5" fmla="*/ 6217837 w 6217837"/>
              <a:gd name="connsiteY5" fmla="*/ 4445692 h 5076785"/>
              <a:gd name="connsiteX6" fmla="*/ 5586744 w 6217837"/>
              <a:gd name="connsiteY6" fmla="*/ 5076785 h 5076785"/>
              <a:gd name="connsiteX7" fmla="*/ 631157 w 6217837"/>
              <a:gd name="connsiteY7" fmla="*/ 5076785 h 5076785"/>
              <a:gd name="connsiteX8" fmla="*/ 64 w 6217837"/>
              <a:gd name="connsiteY8" fmla="*/ 4445692 h 5076785"/>
              <a:gd name="connsiteX9" fmla="*/ 64 w 6217837"/>
              <a:gd name="connsiteY9" fmla="*/ 638860 h 5076785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586744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17837" h="5069018">
                <a:moveTo>
                  <a:pt x="64" y="631093"/>
                </a:moveTo>
                <a:cubicBezTo>
                  <a:pt x="4033" y="467051"/>
                  <a:pt x="-5105" y="12378"/>
                  <a:pt x="4827" y="2446"/>
                </a:cubicBezTo>
                <a:cubicBezTo>
                  <a:pt x="11584" y="-1136"/>
                  <a:pt x="507287" y="937"/>
                  <a:pt x="631157" y="0"/>
                </a:cubicBezTo>
                <a:lnTo>
                  <a:pt x="5586744" y="0"/>
                </a:lnTo>
                <a:cubicBezTo>
                  <a:pt x="5935287" y="0"/>
                  <a:pt x="6217837" y="282550"/>
                  <a:pt x="6217837" y="631093"/>
                </a:cubicBezTo>
                <a:lnTo>
                  <a:pt x="6217837" y="4437925"/>
                </a:lnTo>
                <a:cubicBezTo>
                  <a:pt x="6217837" y="4786468"/>
                  <a:pt x="5935287" y="5069018"/>
                  <a:pt x="5586744" y="5069018"/>
                </a:cubicBezTo>
                <a:lnTo>
                  <a:pt x="631157" y="5069018"/>
                </a:lnTo>
                <a:cubicBezTo>
                  <a:pt x="282614" y="5069018"/>
                  <a:pt x="64" y="4786468"/>
                  <a:pt x="64" y="4437925"/>
                </a:cubicBezTo>
                <a:lnTo>
                  <a:pt x="64" y="631093"/>
                </a:lnTo>
                <a:close/>
              </a:path>
            </a:pathLst>
          </a:custGeom>
          <a:solidFill>
            <a:schemeClr val="bg2"/>
          </a:solidFill>
        </p:spPr>
        <p:txBody>
          <a:bodyPr lIns="360000" tIns="360000" rIns="360000" bIns="360000"/>
          <a:lstStyle>
            <a:lvl1pPr algn="ctr">
              <a:defRPr sz="4209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Punt 2</a:t>
            </a:r>
          </a:p>
        </p:txBody>
      </p:sp>
      <p:sp>
        <p:nvSpPr>
          <p:cNvPr id="25" name="Tijdelijke aanduiding voor tekst 3">
            <a:extLst>
              <a:ext uri="{FF2B5EF4-FFF2-40B4-BE49-F238E27FC236}">
                <a16:creationId xmlns:a16="http://schemas.microsoft.com/office/drawing/2014/main" id="{18770FDC-CD6D-4A8D-A3C8-1090C7435D39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687079" y="20230721"/>
            <a:ext cx="5345254" cy="5484109"/>
          </a:xfrm>
          <a:custGeom>
            <a:avLst/>
            <a:gdLst>
              <a:gd name="connsiteX0" fmla="*/ 0 w 6217773"/>
              <a:gd name="connsiteY0" fmla="*/ 631093 h 5069018"/>
              <a:gd name="connsiteX1" fmla="*/ 631093 w 6217773"/>
              <a:gd name="connsiteY1" fmla="*/ 0 h 5069018"/>
              <a:gd name="connsiteX2" fmla="*/ 5586680 w 6217773"/>
              <a:gd name="connsiteY2" fmla="*/ 0 h 5069018"/>
              <a:gd name="connsiteX3" fmla="*/ 6217773 w 6217773"/>
              <a:gd name="connsiteY3" fmla="*/ 631093 h 5069018"/>
              <a:gd name="connsiteX4" fmla="*/ 6217773 w 6217773"/>
              <a:gd name="connsiteY4" fmla="*/ 4437925 h 5069018"/>
              <a:gd name="connsiteX5" fmla="*/ 5586680 w 6217773"/>
              <a:gd name="connsiteY5" fmla="*/ 5069018 h 5069018"/>
              <a:gd name="connsiteX6" fmla="*/ 631093 w 6217773"/>
              <a:gd name="connsiteY6" fmla="*/ 5069018 h 5069018"/>
              <a:gd name="connsiteX7" fmla="*/ 0 w 6217773"/>
              <a:gd name="connsiteY7" fmla="*/ 4437925 h 5069018"/>
              <a:gd name="connsiteX8" fmla="*/ 0 w 6217773"/>
              <a:gd name="connsiteY8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31029 w 6248802"/>
              <a:gd name="connsiteY0" fmla="*/ 638400 h 5076325"/>
              <a:gd name="connsiteX1" fmla="*/ 35792 w 6248802"/>
              <a:gd name="connsiteY1" fmla="*/ 228 h 5076325"/>
              <a:gd name="connsiteX2" fmla="*/ 662122 w 6248802"/>
              <a:gd name="connsiteY2" fmla="*/ 7307 h 5076325"/>
              <a:gd name="connsiteX3" fmla="*/ 5617709 w 6248802"/>
              <a:gd name="connsiteY3" fmla="*/ 7307 h 5076325"/>
              <a:gd name="connsiteX4" fmla="*/ 6248802 w 6248802"/>
              <a:gd name="connsiteY4" fmla="*/ 638400 h 5076325"/>
              <a:gd name="connsiteX5" fmla="*/ 6248802 w 6248802"/>
              <a:gd name="connsiteY5" fmla="*/ 4445232 h 5076325"/>
              <a:gd name="connsiteX6" fmla="*/ 5617709 w 6248802"/>
              <a:gd name="connsiteY6" fmla="*/ 5076325 h 5076325"/>
              <a:gd name="connsiteX7" fmla="*/ 662122 w 6248802"/>
              <a:gd name="connsiteY7" fmla="*/ 5076325 h 5076325"/>
              <a:gd name="connsiteX8" fmla="*/ 31029 w 6248802"/>
              <a:gd name="connsiteY8" fmla="*/ 4445232 h 5076325"/>
              <a:gd name="connsiteX9" fmla="*/ 31029 w 6248802"/>
              <a:gd name="connsiteY9" fmla="*/ 638400 h 5076325"/>
              <a:gd name="connsiteX0" fmla="*/ 0 w 6217773"/>
              <a:gd name="connsiteY0" fmla="*/ 638860 h 5076785"/>
              <a:gd name="connsiteX1" fmla="*/ 4763 w 6217773"/>
              <a:gd name="connsiteY1" fmla="*/ 688 h 5076785"/>
              <a:gd name="connsiteX2" fmla="*/ 631093 w 6217773"/>
              <a:gd name="connsiteY2" fmla="*/ 7767 h 5076785"/>
              <a:gd name="connsiteX3" fmla="*/ 5586680 w 6217773"/>
              <a:gd name="connsiteY3" fmla="*/ 7767 h 5076785"/>
              <a:gd name="connsiteX4" fmla="*/ 6217773 w 6217773"/>
              <a:gd name="connsiteY4" fmla="*/ 638860 h 5076785"/>
              <a:gd name="connsiteX5" fmla="*/ 6217773 w 6217773"/>
              <a:gd name="connsiteY5" fmla="*/ 4445692 h 5076785"/>
              <a:gd name="connsiteX6" fmla="*/ 5586680 w 6217773"/>
              <a:gd name="connsiteY6" fmla="*/ 5076785 h 5076785"/>
              <a:gd name="connsiteX7" fmla="*/ 631093 w 6217773"/>
              <a:gd name="connsiteY7" fmla="*/ 5076785 h 5076785"/>
              <a:gd name="connsiteX8" fmla="*/ 0 w 6217773"/>
              <a:gd name="connsiteY8" fmla="*/ 4445692 h 5076785"/>
              <a:gd name="connsiteX9" fmla="*/ 0 w 6217773"/>
              <a:gd name="connsiteY9" fmla="*/ 638860 h 5076785"/>
              <a:gd name="connsiteX0" fmla="*/ 64 w 6217837"/>
              <a:gd name="connsiteY0" fmla="*/ 638860 h 5076785"/>
              <a:gd name="connsiteX1" fmla="*/ 4827 w 6217837"/>
              <a:gd name="connsiteY1" fmla="*/ 688 h 5076785"/>
              <a:gd name="connsiteX2" fmla="*/ 631157 w 6217837"/>
              <a:gd name="connsiteY2" fmla="*/ 7767 h 5076785"/>
              <a:gd name="connsiteX3" fmla="*/ 5586744 w 6217837"/>
              <a:gd name="connsiteY3" fmla="*/ 7767 h 5076785"/>
              <a:gd name="connsiteX4" fmla="*/ 6217837 w 6217837"/>
              <a:gd name="connsiteY4" fmla="*/ 638860 h 5076785"/>
              <a:gd name="connsiteX5" fmla="*/ 6217837 w 6217837"/>
              <a:gd name="connsiteY5" fmla="*/ 4445692 h 5076785"/>
              <a:gd name="connsiteX6" fmla="*/ 5586744 w 6217837"/>
              <a:gd name="connsiteY6" fmla="*/ 5076785 h 5076785"/>
              <a:gd name="connsiteX7" fmla="*/ 631157 w 6217837"/>
              <a:gd name="connsiteY7" fmla="*/ 5076785 h 5076785"/>
              <a:gd name="connsiteX8" fmla="*/ 64 w 6217837"/>
              <a:gd name="connsiteY8" fmla="*/ 4445692 h 5076785"/>
              <a:gd name="connsiteX9" fmla="*/ 64 w 6217837"/>
              <a:gd name="connsiteY9" fmla="*/ 638860 h 5076785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586744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17837" h="5069018">
                <a:moveTo>
                  <a:pt x="64" y="631093"/>
                </a:moveTo>
                <a:cubicBezTo>
                  <a:pt x="4033" y="467051"/>
                  <a:pt x="-5105" y="12378"/>
                  <a:pt x="4827" y="2446"/>
                </a:cubicBezTo>
                <a:cubicBezTo>
                  <a:pt x="11584" y="-1136"/>
                  <a:pt x="507287" y="937"/>
                  <a:pt x="631157" y="0"/>
                </a:cubicBezTo>
                <a:lnTo>
                  <a:pt x="5586744" y="0"/>
                </a:lnTo>
                <a:cubicBezTo>
                  <a:pt x="5935287" y="0"/>
                  <a:pt x="6217837" y="282550"/>
                  <a:pt x="6217837" y="631093"/>
                </a:cubicBezTo>
                <a:lnTo>
                  <a:pt x="6217837" y="4437925"/>
                </a:lnTo>
                <a:cubicBezTo>
                  <a:pt x="6217837" y="4786468"/>
                  <a:pt x="5935287" y="5069018"/>
                  <a:pt x="5586744" y="5069018"/>
                </a:cubicBezTo>
                <a:lnTo>
                  <a:pt x="631157" y="5069018"/>
                </a:lnTo>
                <a:cubicBezTo>
                  <a:pt x="282614" y="5069018"/>
                  <a:pt x="64" y="4786468"/>
                  <a:pt x="64" y="4437925"/>
                </a:cubicBezTo>
                <a:lnTo>
                  <a:pt x="64" y="631093"/>
                </a:lnTo>
                <a:close/>
              </a:path>
            </a:pathLst>
          </a:custGeom>
          <a:solidFill>
            <a:schemeClr val="bg2"/>
          </a:solidFill>
        </p:spPr>
        <p:txBody>
          <a:bodyPr lIns="360000" tIns="360000" rIns="360000" bIns="360000"/>
          <a:lstStyle>
            <a:lvl1pPr algn="ctr">
              <a:defRPr sz="4209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Punt 3</a:t>
            </a:r>
          </a:p>
        </p:txBody>
      </p:sp>
      <p:sp>
        <p:nvSpPr>
          <p:cNvPr id="21" name="Tijdelijke aanduiding voor tekst 2">
            <a:extLst>
              <a:ext uri="{FF2B5EF4-FFF2-40B4-BE49-F238E27FC236}">
                <a16:creationId xmlns:a16="http://schemas.microsoft.com/office/drawing/2014/main" id="{93201188-BF14-4AD6-B8D4-12C6EDF4869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33803" y="6316510"/>
            <a:ext cx="25627524" cy="5476873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089185" y="2382"/>
                </a:lnTo>
                <a:cubicBezTo>
                  <a:pt x="7208841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08841" y="1240632"/>
                  <a:pt x="7089185" y="1240632"/>
                </a:cubicBezTo>
                <a:lnTo>
                  <a:pt x="216824" y="1240632"/>
                </a:lnTo>
                <a:cubicBezTo>
                  <a:pt x="9716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>
              <a:spcAft>
                <a:spcPts val="0"/>
              </a:spcAft>
              <a:defRPr sz="4209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6" name="Tijdelijke aanduiding voor tekst 2">
            <a:extLst>
              <a:ext uri="{FF2B5EF4-FFF2-40B4-BE49-F238E27FC236}">
                <a16:creationId xmlns:a16="http://schemas.microsoft.com/office/drawing/2014/main" id="{6BECFFED-1A12-4250-8E12-F2451314694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533803" y="13275428"/>
            <a:ext cx="25627524" cy="5476873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089185" y="2382"/>
                </a:lnTo>
                <a:cubicBezTo>
                  <a:pt x="7208841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08841" y="1240632"/>
                  <a:pt x="7089185" y="1240632"/>
                </a:cubicBezTo>
                <a:lnTo>
                  <a:pt x="216824" y="1240632"/>
                </a:lnTo>
                <a:cubicBezTo>
                  <a:pt x="9716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>
              <a:spcAft>
                <a:spcPts val="0"/>
              </a:spcAft>
              <a:defRPr sz="4209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7" name="Tijdelijke aanduiding voor tekst 2">
            <a:extLst>
              <a:ext uri="{FF2B5EF4-FFF2-40B4-BE49-F238E27FC236}">
                <a16:creationId xmlns:a16="http://schemas.microsoft.com/office/drawing/2014/main" id="{9A7B8253-F6CE-4FCD-AB4A-5EBAC3E7B2E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533803" y="20234339"/>
            <a:ext cx="25627524" cy="5476873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089185" y="2382"/>
                </a:lnTo>
                <a:cubicBezTo>
                  <a:pt x="7208841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08841" y="1240632"/>
                  <a:pt x="7089185" y="1240632"/>
                </a:cubicBezTo>
                <a:lnTo>
                  <a:pt x="216824" y="1240632"/>
                </a:lnTo>
                <a:cubicBezTo>
                  <a:pt x="9716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>
              <a:spcAft>
                <a:spcPts val="0"/>
              </a:spcAft>
              <a:defRPr sz="4209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pic>
        <p:nvPicPr>
          <p:cNvPr id="34" name="Afbeelding 33">
            <a:extLst>
              <a:ext uri="{FF2B5EF4-FFF2-40B4-BE49-F238E27FC236}">
                <a16:creationId xmlns:a16="http://schemas.microsoft.com/office/drawing/2014/main" id="{C1D6ADE6-9F8A-4FFA-9F89-B845469FFC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  <p:grpSp>
        <p:nvGrpSpPr>
          <p:cNvPr id="35" name="Instructie">
            <a:extLst>
              <a:ext uri="{FF2B5EF4-FFF2-40B4-BE49-F238E27FC236}">
                <a16:creationId xmlns:a16="http://schemas.microsoft.com/office/drawing/2014/main" id="{0950F664-376F-47E8-A039-7D1F3ABF53A0}"/>
              </a:ext>
            </a:extLst>
          </p:cNvPr>
          <p:cNvGrpSpPr/>
          <p:nvPr userDrawn="1"/>
        </p:nvGrpSpPr>
        <p:grpSpPr>
          <a:xfrm>
            <a:off x="43268722" y="0"/>
            <a:ext cx="11164508" cy="11743958"/>
            <a:chOff x="-3426088" y="4512342"/>
            <a:chExt cx="3182755" cy="2660264"/>
          </a:xfrm>
        </p:grpSpPr>
        <p:sp>
          <p:nvSpPr>
            <p:cNvPr id="36" name="Rechthoek 127">
              <a:extLst>
                <a:ext uri="{FF2B5EF4-FFF2-40B4-BE49-F238E27FC236}">
                  <a16:creationId xmlns:a16="http://schemas.microsoft.com/office/drawing/2014/main" id="{AE1BB9F2-F060-49F0-9B39-1909F6E2227B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37" name="Rechte verbindingslijn 128">
              <a:extLst>
                <a:ext uri="{FF2B5EF4-FFF2-40B4-BE49-F238E27FC236}">
                  <a16:creationId xmlns:a16="http://schemas.microsoft.com/office/drawing/2014/main" id="{AEA21112-DF6D-4506-933C-AED4861CFC8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8" name="Rechthoek 130">
              <a:extLst>
                <a:ext uri="{FF2B5EF4-FFF2-40B4-BE49-F238E27FC236}">
                  <a16:creationId xmlns:a16="http://schemas.microsoft.com/office/drawing/2014/main" id="{F89FD12B-CCDB-4EB4-B0A7-AFD5CCE7D284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49" name="Rechthoek 133">
              <a:extLst>
                <a:ext uri="{FF2B5EF4-FFF2-40B4-BE49-F238E27FC236}">
                  <a16:creationId xmlns:a16="http://schemas.microsoft.com/office/drawing/2014/main" id="{6A485D93-0FAA-4147-A4EA-8EC80B5EAB71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50" name="Rechthoek 136">
              <a:extLst>
                <a:ext uri="{FF2B5EF4-FFF2-40B4-BE49-F238E27FC236}">
                  <a16:creationId xmlns:a16="http://schemas.microsoft.com/office/drawing/2014/main" id="{BB0CB53E-11EF-477C-BE13-7DE257BC42F9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51" name="Rechthoek 139">
              <a:extLst>
                <a:ext uri="{FF2B5EF4-FFF2-40B4-BE49-F238E27FC236}">
                  <a16:creationId xmlns:a16="http://schemas.microsoft.com/office/drawing/2014/main" id="{5AC49D2B-0BA2-4398-B23A-5D9811CD5F65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60" name="Rechte verbindingslijn 140">
              <a:extLst>
                <a:ext uri="{FF2B5EF4-FFF2-40B4-BE49-F238E27FC236}">
                  <a16:creationId xmlns:a16="http://schemas.microsoft.com/office/drawing/2014/main" id="{4DAF4CBF-B6A1-42BE-B12F-1CF59C2CC3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066681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kaders + Uitleg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Tijdelijke aanduiding voor tekst 3">
            <a:extLst>
              <a:ext uri="{FF2B5EF4-FFF2-40B4-BE49-F238E27FC236}">
                <a16:creationId xmlns:a16="http://schemas.microsoft.com/office/drawing/2014/main" id="{62C5E5DA-733C-4AA3-9467-0732E67E8A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687079" y="21776191"/>
            <a:ext cx="5345254" cy="3935018"/>
          </a:xfrm>
          <a:custGeom>
            <a:avLst/>
            <a:gdLst>
              <a:gd name="connsiteX0" fmla="*/ 0 w 6217773"/>
              <a:gd name="connsiteY0" fmla="*/ 631093 h 5069018"/>
              <a:gd name="connsiteX1" fmla="*/ 631093 w 6217773"/>
              <a:gd name="connsiteY1" fmla="*/ 0 h 5069018"/>
              <a:gd name="connsiteX2" fmla="*/ 5586680 w 6217773"/>
              <a:gd name="connsiteY2" fmla="*/ 0 h 5069018"/>
              <a:gd name="connsiteX3" fmla="*/ 6217773 w 6217773"/>
              <a:gd name="connsiteY3" fmla="*/ 631093 h 5069018"/>
              <a:gd name="connsiteX4" fmla="*/ 6217773 w 6217773"/>
              <a:gd name="connsiteY4" fmla="*/ 4437925 h 5069018"/>
              <a:gd name="connsiteX5" fmla="*/ 5586680 w 6217773"/>
              <a:gd name="connsiteY5" fmla="*/ 5069018 h 5069018"/>
              <a:gd name="connsiteX6" fmla="*/ 631093 w 6217773"/>
              <a:gd name="connsiteY6" fmla="*/ 5069018 h 5069018"/>
              <a:gd name="connsiteX7" fmla="*/ 0 w 6217773"/>
              <a:gd name="connsiteY7" fmla="*/ 4437925 h 5069018"/>
              <a:gd name="connsiteX8" fmla="*/ 0 w 6217773"/>
              <a:gd name="connsiteY8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31029 w 6248802"/>
              <a:gd name="connsiteY0" fmla="*/ 638400 h 5076325"/>
              <a:gd name="connsiteX1" fmla="*/ 35792 w 6248802"/>
              <a:gd name="connsiteY1" fmla="*/ 228 h 5076325"/>
              <a:gd name="connsiteX2" fmla="*/ 662122 w 6248802"/>
              <a:gd name="connsiteY2" fmla="*/ 7307 h 5076325"/>
              <a:gd name="connsiteX3" fmla="*/ 5617709 w 6248802"/>
              <a:gd name="connsiteY3" fmla="*/ 7307 h 5076325"/>
              <a:gd name="connsiteX4" fmla="*/ 6248802 w 6248802"/>
              <a:gd name="connsiteY4" fmla="*/ 638400 h 5076325"/>
              <a:gd name="connsiteX5" fmla="*/ 6248802 w 6248802"/>
              <a:gd name="connsiteY5" fmla="*/ 4445232 h 5076325"/>
              <a:gd name="connsiteX6" fmla="*/ 5617709 w 6248802"/>
              <a:gd name="connsiteY6" fmla="*/ 5076325 h 5076325"/>
              <a:gd name="connsiteX7" fmla="*/ 662122 w 6248802"/>
              <a:gd name="connsiteY7" fmla="*/ 5076325 h 5076325"/>
              <a:gd name="connsiteX8" fmla="*/ 31029 w 6248802"/>
              <a:gd name="connsiteY8" fmla="*/ 4445232 h 5076325"/>
              <a:gd name="connsiteX9" fmla="*/ 31029 w 6248802"/>
              <a:gd name="connsiteY9" fmla="*/ 638400 h 5076325"/>
              <a:gd name="connsiteX0" fmla="*/ 0 w 6217773"/>
              <a:gd name="connsiteY0" fmla="*/ 638860 h 5076785"/>
              <a:gd name="connsiteX1" fmla="*/ 4763 w 6217773"/>
              <a:gd name="connsiteY1" fmla="*/ 688 h 5076785"/>
              <a:gd name="connsiteX2" fmla="*/ 631093 w 6217773"/>
              <a:gd name="connsiteY2" fmla="*/ 7767 h 5076785"/>
              <a:gd name="connsiteX3" fmla="*/ 5586680 w 6217773"/>
              <a:gd name="connsiteY3" fmla="*/ 7767 h 5076785"/>
              <a:gd name="connsiteX4" fmla="*/ 6217773 w 6217773"/>
              <a:gd name="connsiteY4" fmla="*/ 638860 h 5076785"/>
              <a:gd name="connsiteX5" fmla="*/ 6217773 w 6217773"/>
              <a:gd name="connsiteY5" fmla="*/ 4445692 h 5076785"/>
              <a:gd name="connsiteX6" fmla="*/ 5586680 w 6217773"/>
              <a:gd name="connsiteY6" fmla="*/ 5076785 h 5076785"/>
              <a:gd name="connsiteX7" fmla="*/ 631093 w 6217773"/>
              <a:gd name="connsiteY7" fmla="*/ 5076785 h 5076785"/>
              <a:gd name="connsiteX8" fmla="*/ 0 w 6217773"/>
              <a:gd name="connsiteY8" fmla="*/ 4445692 h 5076785"/>
              <a:gd name="connsiteX9" fmla="*/ 0 w 6217773"/>
              <a:gd name="connsiteY9" fmla="*/ 638860 h 5076785"/>
              <a:gd name="connsiteX0" fmla="*/ 64 w 6217837"/>
              <a:gd name="connsiteY0" fmla="*/ 638860 h 5076785"/>
              <a:gd name="connsiteX1" fmla="*/ 4827 w 6217837"/>
              <a:gd name="connsiteY1" fmla="*/ 688 h 5076785"/>
              <a:gd name="connsiteX2" fmla="*/ 631157 w 6217837"/>
              <a:gd name="connsiteY2" fmla="*/ 7767 h 5076785"/>
              <a:gd name="connsiteX3" fmla="*/ 5586744 w 6217837"/>
              <a:gd name="connsiteY3" fmla="*/ 7767 h 5076785"/>
              <a:gd name="connsiteX4" fmla="*/ 6217837 w 6217837"/>
              <a:gd name="connsiteY4" fmla="*/ 638860 h 5076785"/>
              <a:gd name="connsiteX5" fmla="*/ 6217837 w 6217837"/>
              <a:gd name="connsiteY5" fmla="*/ 4445692 h 5076785"/>
              <a:gd name="connsiteX6" fmla="*/ 5586744 w 6217837"/>
              <a:gd name="connsiteY6" fmla="*/ 5076785 h 5076785"/>
              <a:gd name="connsiteX7" fmla="*/ 631157 w 6217837"/>
              <a:gd name="connsiteY7" fmla="*/ 5076785 h 5076785"/>
              <a:gd name="connsiteX8" fmla="*/ 64 w 6217837"/>
              <a:gd name="connsiteY8" fmla="*/ 4445692 h 5076785"/>
              <a:gd name="connsiteX9" fmla="*/ 64 w 6217837"/>
              <a:gd name="connsiteY9" fmla="*/ 638860 h 5076785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586744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19941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17837" h="5069018">
                <a:moveTo>
                  <a:pt x="64" y="631093"/>
                </a:moveTo>
                <a:cubicBezTo>
                  <a:pt x="4033" y="467051"/>
                  <a:pt x="-5105" y="12378"/>
                  <a:pt x="4827" y="2446"/>
                </a:cubicBezTo>
                <a:cubicBezTo>
                  <a:pt x="11584" y="-1136"/>
                  <a:pt x="507287" y="937"/>
                  <a:pt x="631157" y="0"/>
                </a:cubicBezTo>
                <a:lnTo>
                  <a:pt x="5819941" y="0"/>
                </a:lnTo>
                <a:cubicBezTo>
                  <a:pt x="6168484" y="0"/>
                  <a:pt x="6217837" y="282550"/>
                  <a:pt x="6217837" y="631093"/>
                </a:cubicBezTo>
                <a:lnTo>
                  <a:pt x="6217837" y="4437925"/>
                </a:lnTo>
                <a:cubicBezTo>
                  <a:pt x="6217837" y="4786468"/>
                  <a:pt x="6155528" y="5069018"/>
                  <a:pt x="5806985" y="5069018"/>
                </a:cubicBezTo>
                <a:lnTo>
                  <a:pt x="449783" y="5069018"/>
                </a:lnTo>
                <a:cubicBezTo>
                  <a:pt x="101240" y="5069018"/>
                  <a:pt x="64" y="4786468"/>
                  <a:pt x="64" y="4437925"/>
                </a:cubicBezTo>
                <a:lnTo>
                  <a:pt x="64" y="631093"/>
                </a:lnTo>
                <a:close/>
              </a:path>
            </a:pathLst>
          </a:custGeom>
          <a:solidFill>
            <a:schemeClr val="bg2"/>
          </a:solidFill>
        </p:spPr>
        <p:txBody>
          <a:bodyPr lIns="504000" tIns="252000" rIns="252000" bIns="360000"/>
          <a:lstStyle>
            <a:lvl1pPr>
              <a:defRPr sz="4209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Punt 4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08A88B9B-88D8-4FD4-A114-66EA11425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29" name="Tijdelijke aanduiding voor tekst 14">
            <a:extLst>
              <a:ext uri="{FF2B5EF4-FFF2-40B4-BE49-F238E27FC236}">
                <a16:creationId xmlns:a16="http://schemas.microsoft.com/office/drawing/2014/main" id="{D93BADD0-A3B5-4C3B-8DD0-3D113F07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grpSp>
        <p:nvGrpSpPr>
          <p:cNvPr id="38" name="GRID" hidden="1">
            <a:extLst>
              <a:ext uri="{FF2B5EF4-FFF2-40B4-BE49-F238E27FC236}">
                <a16:creationId xmlns:a16="http://schemas.microsoft.com/office/drawing/2014/main" id="{51D5F7E8-69F8-47AD-81F5-1645C97607C1}"/>
              </a:ext>
            </a:extLst>
          </p:cNvPr>
          <p:cNvGrpSpPr/>
          <p:nvPr userDrawn="1"/>
        </p:nvGrpSpPr>
        <p:grpSpPr>
          <a:xfrm>
            <a:off x="5" y="0"/>
            <a:ext cx="42767261" cy="30275213"/>
            <a:chOff x="0" y="0"/>
            <a:chExt cx="12192003" cy="6858000"/>
          </a:xfrm>
        </p:grpSpPr>
        <p:sp>
          <p:nvSpPr>
            <p:cNvPr id="39" name="Rechthoek 38">
              <a:extLst>
                <a:ext uri="{FF2B5EF4-FFF2-40B4-BE49-F238E27FC236}">
                  <a16:creationId xmlns:a16="http://schemas.microsoft.com/office/drawing/2014/main" id="{71DB2C92-E6A8-4532-98F6-C917E7F5CD17}"/>
                </a:ext>
              </a:extLst>
            </p:cNvPr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0" name="Rechthoek 39">
              <a:extLst>
                <a:ext uri="{FF2B5EF4-FFF2-40B4-BE49-F238E27FC236}">
                  <a16:creationId xmlns:a16="http://schemas.microsoft.com/office/drawing/2014/main" id="{1283F161-5F8A-45E1-A9F2-F823FC1CB0A5}"/>
                </a:ext>
              </a:extLst>
            </p:cNvPr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1" name="Rechthoek 40">
              <a:extLst>
                <a:ext uri="{FF2B5EF4-FFF2-40B4-BE49-F238E27FC236}">
                  <a16:creationId xmlns:a16="http://schemas.microsoft.com/office/drawing/2014/main" id="{E25AE021-76F4-4113-9019-FB3CB3351AD2}"/>
                </a:ext>
              </a:extLst>
            </p:cNvPr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2" name="Rechthoek 41">
              <a:extLst>
                <a:ext uri="{FF2B5EF4-FFF2-40B4-BE49-F238E27FC236}">
                  <a16:creationId xmlns:a16="http://schemas.microsoft.com/office/drawing/2014/main" id="{4F56F574-960D-4395-B98C-5F49ED9EF418}"/>
                </a:ext>
              </a:extLst>
            </p:cNvPr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34E307D0-CCA0-4BDF-BC5F-E19838E9F7DA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44" name="Rechthoek 43">
              <a:extLst>
                <a:ext uri="{FF2B5EF4-FFF2-40B4-BE49-F238E27FC236}">
                  <a16:creationId xmlns:a16="http://schemas.microsoft.com/office/drawing/2014/main" id="{2AEE0B25-FBCC-4048-A2C0-6D97C3E7FEB7}"/>
                </a:ext>
              </a:extLst>
            </p:cNvPr>
            <p:cNvSpPr/>
            <p:nvPr userDrawn="1"/>
          </p:nvSpPr>
          <p:spPr>
            <a:xfrm rot="5400000">
              <a:off x="5895976" y="-108104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45" name="Tijdelijke aanduiding voor datum 3">
            <a:extLst>
              <a:ext uri="{FF2B5EF4-FFF2-40B4-BE49-F238E27FC236}">
                <a16:creationId xmlns:a16="http://schemas.microsoft.com/office/drawing/2014/main" id="{55714DB1-03B4-41D1-B67F-F14BFD992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/>
          <a:p>
            <a:endParaRPr lang="nl-NL" noProof="0"/>
          </a:p>
        </p:txBody>
      </p:sp>
      <p:sp>
        <p:nvSpPr>
          <p:cNvPr id="46" name="Tijdelijke aanduiding voor voettekst 4">
            <a:extLst>
              <a:ext uri="{FF2B5EF4-FFF2-40B4-BE49-F238E27FC236}">
                <a16:creationId xmlns:a16="http://schemas.microsoft.com/office/drawing/2014/main" id="{4F2D7A01-8BD0-48E5-BFE0-C57FC83F2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endParaRPr lang="nl-NL" noProof="0"/>
          </a:p>
        </p:txBody>
      </p:sp>
      <p:sp>
        <p:nvSpPr>
          <p:cNvPr id="47" name="Tijdelijke aanduiding voor dianummer 5">
            <a:extLst>
              <a:ext uri="{FF2B5EF4-FFF2-40B4-BE49-F238E27FC236}">
                <a16:creationId xmlns:a16="http://schemas.microsoft.com/office/drawing/2014/main" id="{FB7B4016-2B9F-46E5-A46A-A6A2B08C3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8"/>
            <a:ext cx="707315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1B658E1F-0E98-4ED4-B7E8-3A0C15D75D3F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687079" y="6308642"/>
            <a:ext cx="5345254" cy="3935018"/>
          </a:xfrm>
          <a:custGeom>
            <a:avLst/>
            <a:gdLst>
              <a:gd name="connsiteX0" fmla="*/ 0 w 6217773"/>
              <a:gd name="connsiteY0" fmla="*/ 631093 h 5069018"/>
              <a:gd name="connsiteX1" fmla="*/ 631093 w 6217773"/>
              <a:gd name="connsiteY1" fmla="*/ 0 h 5069018"/>
              <a:gd name="connsiteX2" fmla="*/ 5586680 w 6217773"/>
              <a:gd name="connsiteY2" fmla="*/ 0 h 5069018"/>
              <a:gd name="connsiteX3" fmla="*/ 6217773 w 6217773"/>
              <a:gd name="connsiteY3" fmla="*/ 631093 h 5069018"/>
              <a:gd name="connsiteX4" fmla="*/ 6217773 w 6217773"/>
              <a:gd name="connsiteY4" fmla="*/ 4437925 h 5069018"/>
              <a:gd name="connsiteX5" fmla="*/ 5586680 w 6217773"/>
              <a:gd name="connsiteY5" fmla="*/ 5069018 h 5069018"/>
              <a:gd name="connsiteX6" fmla="*/ 631093 w 6217773"/>
              <a:gd name="connsiteY6" fmla="*/ 5069018 h 5069018"/>
              <a:gd name="connsiteX7" fmla="*/ 0 w 6217773"/>
              <a:gd name="connsiteY7" fmla="*/ 4437925 h 5069018"/>
              <a:gd name="connsiteX8" fmla="*/ 0 w 6217773"/>
              <a:gd name="connsiteY8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31029 w 6248802"/>
              <a:gd name="connsiteY0" fmla="*/ 638400 h 5076325"/>
              <a:gd name="connsiteX1" fmla="*/ 35792 w 6248802"/>
              <a:gd name="connsiteY1" fmla="*/ 228 h 5076325"/>
              <a:gd name="connsiteX2" fmla="*/ 662122 w 6248802"/>
              <a:gd name="connsiteY2" fmla="*/ 7307 h 5076325"/>
              <a:gd name="connsiteX3" fmla="*/ 5617709 w 6248802"/>
              <a:gd name="connsiteY3" fmla="*/ 7307 h 5076325"/>
              <a:gd name="connsiteX4" fmla="*/ 6248802 w 6248802"/>
              <a:gd name="connsiteY4" fmla="*/ 638400 h 5076325"/>
              <a:gd name="connsiteX5" fmla="*/ 6248802 w 6248802"/>
              <a:gd name="connsiteY5" fmla="*/ 4445232 h 5076325"/>
              <a:gd name="connsiteX6" fmla="*/ 5617709 w 6248802"/>
              <a:gd name="connsiteY6" fmla="*/ 5076325 h 5076325"/>
              <a:gd name="connsiteX7" fmla="*/ 662122 w 6248802"/>
              <a:gd name="connsiteY7" fmla="*/ 5076325 h 5076325"/>
              <a:gd name="connsiteX8" fmla="*/ 31029 w 6248802"/>
              <a:gd name="connsiteY8" fmla="*/ 4445232 h 5076325"/>
              <a:gd name="connsiteX9" fmla="*/ 31029 w 6248802"/>
              <a:gd name="connsiteY9" fmla="*/ 638400 h 5076325"/>
              <a:gd name="connsiteX0" fmla="*/ 0 w 6217773"/>
              <a:gd name="connsiteY0" fmla="*/ 638860 h 5076785"/>
              <a:gd name="connsiteX1" fmla="*/ 4763 w 6217773"/>
              <a:gd name="connsiteY1" fmla="*/ 688 h 5076785"/>
              <a:gd name="connsiteX2" fmla="*/ 631093 w 6217773"/>
              <a:gd name="connsiteY2" fmla="*/ 7767 h 5076785"/>
              <a:gd name="connsiteX3" fmla="*/ 5586680 w 6217773"/>
              <a:gd name="connsiteY3" fmla="*/ 7767 h 5076785"/>
              <a:gd name="connsiteX4" fmla="*/ 6217773 w 6217773"/>
              <a:gd name="connsiteY4" fmla="*/ 638860 h 5076785"/>
              <a:gd name="connsiteX5" fmla="*/ 6217773 w 6217773"/>
              <a:gd name="connsiteY5" fmla="*/ 4445692 h 5076785"/>
              <a:gd name="connsiteX6" fmla="*/ 5586680 w 6217773"/>
              <a:gd name="connsiteY6" fmla="*/ 5076785 h 5076785"/>
              <a:gd name="connsiteX7" fmla="*/ 631093 w 6217773"/>
              <a:gd name="connsiteY7" fmla="*/ 5076785 h 5076785"/>
              <a:gd name="connsiteX8" fmla="*/ 0 w 6217773"/>
              <a:gd name="connsiteY8" fmla="*/ 4445692 h 5076785"/>
              <a:gd name="connsiteX9" fmla="*/ 0 w 6217773"/>
              <a:gd name="connsiteY9" fmla="*/ 638860 h 5076785"/>
              <a:gd name="connsiteX0" fmla="*/ 64 w 6217837"/>
              <a:gd name="connsiteY0" fmla="*/ 638860 h 5076785"/>
              <a:gd name="connsiteX1" fmla="*/ 4827 w 6217837"/>
              <a:gd name="connsiteY1" fmla="*/ 688 h 5076785"/>
              <a:gd name="connsiteX2" fmla="*/ 631157 w 6217837"/>
              <a:gd name="connsiteY2" fmla="*/ 7767 h 5076785"/>
              <a:gd name="connsiteX3" fmla="*/ 5586744 w 6217837"/>
              <a:gd name="connsiteY3" fmla="*/ 7767 h 5076785"/>
              <a:gd name="connsiteX4" fmla="*/ 6217837 w 6217837"/>
              <a:gd name="connsiteY4" fmla="*/ 638860 h 5076785"/>
              <a:gd name="connsiteX5" fmla="*/ 6217837 w 6217837"/>
              <a:gd name="connsiteY5" fmla="*/ 4445692 h 5076785"/>
              <a:gd name="connsiteX6" fmla="*/ 5586744 w 6217837"/>
              <a:gd name="connsiteY6" fmla="*/ 5076785 h 5076785"/>
              <a:gd name="connsiteX7" fmla="*/ 631157 w 6217837"/>
              <a:gd name="connsiteY7" fmla="*/ 5076785 h 5076785"/>
              <a:gd name="connsiteX8" fmla="*/ 64 w 6217837"/>
              <a:gd name="connsiteY8" fmla="*/ 4445692 h 5076785"/>
              <a:gd name="connsiteX9" fmla="*/ 64 w 6217837"/>
              <a:gd name="connsiteY9" fmla="*/ 638860 h 5076785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586744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19941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17837" h="5069018">
                <a:moveTo>
                  <a:pt x="64" y="631093"/>
                </a:moveTo>
                <a:cubicBezTo>
                  <a:pt x="4033" y="467051"/>
                  <a:pt x="-5105" y="12378"/>
                  <a:pt x="4827" y="2446"/>
                </a:cubicBezTo>
                <a:cubicBezTo>
                  <a:pt x="11584" y="-1136"/>
                  <a:pt x="507287" y="937"/>
                  <a:pt x="631157" y="0"/>
                </a:cubicBezTo>
                <a:lnTo>
                  <a:pt x="5819941" y="0"/>
                </a:lnTo>
                <a:cubicBezTo>
                  <a:pt x="6168484" y="0"/>
                  <a:pt x="6217837" y="282550"/>
                  <a:pt x="6217837" y="631093"/>
                </a:cubicBezTo>
                <a:lnTo>
                  <a:pt x="6217837" y="4437925"/>
                </a:lnTo>
                <a:cubicBezTo>
                  <a:pt x="6217837" y="4786468"/>
                  <a:pt x="6155528" y="5069018"/>
                  <a:pt x="5806985" y="5069018"/>
                </a:cubicBezTo>
                <a:lnTo>
                  <a:pt x="449783" y="5069018"/>
                </a:lnTo>
                <a:cubicBezTo>
                  <a:pt x="101240" y="5069018"/>
                  <a:pt x="64" y="4786468"/>
                  <a:pt x="64" y="4437925"/>
                </a:cubicBezTo>
                <a:lnTo>
                  <a:pt x="64" y="631093"/>
                </a:lnTo>
                <a:close/>
              </a:path>
            </a:pathLst>
          </a:custGeom>
          <a:solidFill>
            <a:schemeClr val="bg2"/>
          </a:solidFill>
        </p:spPr>
        <p:txBody>
          <a:bodyPr lIns="504000" tIns="252000" rIns="252000" bIns="360000"/>
          <a:lstStyle>
            <a:lvl1pPr>
              <a:defRPr sz="4209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Punt 1</a:t>
            </a:r>
          </a:p>
        </p:txBody>
      </p:sp>
      <p:sp>
        <p:nvSpPr>
          <p:cNvPr id="163" name="Tijdelijke aanduiding voor tekst 3">
            <a:extLst>
              <a:ext uri="{FF2B5EF4-FFF2-40B4-BE49-F238E27FC236}">
                <a16:creationId xmlns:a16="http://schemas.microsoft.com/office/drawing/2014/main" id="{D63CF0FC-A378-4DBC-879D-CF2808176423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687079" y="11464491"/>
            <a:ext cx="5345254" cy="3935018"/>
          </a:xfrm>
          <a:custGeom>
            <a:avLst/>
            <a:gdLst>
              <a:gd name="connsiteX0" fmla="*/ 0 w 6217773"/>
              <a:gd name="connsiteY0" fmla="*/ 631093 h 5069018"/>
              <a:gd name="connsiteX1" fmla="*/ 631093 w 6217773"/>
              <a:gd name="connsiteY1" fmla="*/ 0 h 5069018"/>
              <a:gd name="connsiteX2" fmla="*/ 5586680 w 6217773"/>
              <a:gd name="connsiteY2" fmla="*/ 0 h 5069018"/>
              <a:gd name="connsiteX3" fmla="*/ 6217773 w 6217773"/>
              <a:gd name="connsiteY3" fmla="*/ 631093 h 5069018"/>
              <a:gd name="connsiteX4" fmla="*/ 6217773 w 6217773"/>
              <a:gd name="connsiteY4" fmla="*/ 4437925 h 5069018"/>
              <a:gd name="connsiteX5" fmla="*/ 5586680 w 6217773"/>
              <a:gd name="connsiteY5" fmla="*/ 5069018 h 5069018"/>
              <a:gd name="connsiteX6" fmla="*/ 631093 w 6217773"/>
              <a:gd name="connsiteY6" fmla="*/ 5069018 h 5069018"/>
              <a:gd name="connsiteX7" fmla="*/ 0 w 6217773"/>
              <a:gd name="connsiteY7" fmla="*/ 4437925 h 5069018"/>
              <a:gd name="connsiteX8" fmla="*/ 0 w 6217773"/>
              <a:gd name="connsiteY8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31029 w 6248802"/>
              <a:gd name="connsiteY0" fmla="*/ 638400 h 5076325"/>
              <a:gd name="connsiteX1" fmla="*/ 35792 w 6248802"/>
              <a:gd name="connsiteY1" fmla="*/ 228 h 5076325"/>
              <a:gd name="connsiteX2" fmla="*/ 662122 w 6248802"/>
              <a:gd name="connsiteY2" fmla="*/ 7307 h 5076325"/>
              <a:gd name="connsiteX3" fmla="*/ 5617709 w 6248802"/>
              <a:gd name="connsiteY3" fmla="*/ 7307 h 5076325"/>
              <a:gd name="connsiteX4" fmla="*/ 6248802 w 6248802"/>
              <a:gd name="connsiteY4" fmla="*/ 638400 h 5076325"/>
              <a:gd name="connsiteX5" fmla="*/ 6248802 w 6248802"/>
              <a:gd name="connsiteY5" fmla="*/ 4445232 h 5076325"/>
              <a:gd name="connsiteX6" fmla="*/ 5617709 w 6248802"/>
              <a:gd name="connsiteY6" fmla="*/ 5076325 h 5076325"/>
              <a:gd name="connsiteX7" fmla="*/ 662122 w 6248802"/>
              <a:gd name="connsiteY7" fmla="*/ 5076325 h 5076325"/>
              <a:gd name="connsiteX8" fmla="*/ 31029 w 6248802"/>
              <a:gd name="connsiteY8" fmla="*/ 4445232 h 5076325"/>
              <a:gd name="connsiteX9" fmla="*/ 31029 w 6248802"/>
              <a:gd name="connsiteY9" fmla="*/ 638400 h 5076325"/>
              <a:gd name="connsiteX0" fmla="*/ 0 w 6217773"/>
              <a:gd name="connsiteY0" fmla="*/ 638860 h 5076785"/>
              <a:gd name="connsiteX1" fmla="*/ 4763 w 6217773"/>
              <a:gd name="connsiteY1" fmla="*/ 688 h 5076785"/>
              <a:gd name="connsiteX2" fmla="*/ 631093 w 6217773"/>
              <a:gd name="connsiteY2" fmla="*/ 7767 h 5076785"/>
              <a:gd name="connsiteX3" fmla="*/ 5586680 w 6217773"/>
              <a:gd name="connsiteY3" fmla="*/ 7767 h 5076785"/>
              <a:gd name="connsiteX4" fmla="*/ 6217773 w 6217773"/>
              <a:gd name="connsiteY4" fmla="*/ 638860 h 5076785"/>
              <a:gd name="connsiteX5" fmla="*/ 6217773 w 6217773"/>
              <a:gd name="connsiteY5" fmla="*/ 4445692 h 5076785"/>
              <a:gd name="connsiteX6" fmla="*/ 5586680 w 6217773"/>
              <a:gd name="connsiteY6" fmla="*/ 5076785 h 5076785"/>
              <a:gd name="connsiteX7" fmla="*/ 631093 w 6217773"/>
              <a:gd name="connsiteY7" fmla="*/ 5076785 h 5076785"/>
              <a:gd name="connsiteX8" fmla="*/ 0 w 6217773"/>
              <a:gd name="connsiteY8" fmla="*/ 4445692 h 5076785"/>
              <a:gd name="connsiteX9" fmla="*/ 0 w 6217773"/>
              <a:gd name="connsiteY9" fmla="*/ 638860 h 5076785"/>
              <a:gd name="connsiteX0" fmla="*/ 64 w 6217837"/>
              <a:gd name="connsiteY0" fmla="*/ 638860 h 5076785"/>
              <a:gd name="connsiteX1" fmla="*/ 4827 w 6217837"/>
              <a:gd name="connsiteY1" fmla="*/ 688 h 5076785"/>
              <a:gd name="connsiteX2" fmla="*/ 631157 w 6217837"/>
              <a:gd name="connsiteY2" fmla="*/ 7767 h 5076785"/>
              <a:gd name="connsiteX3" fmla="*/ 5586744 w 6217837"/>
              <a:gd name="connsiteY3" fmla="*/ 7767 h 5076785"/>
              <a:gd name="connsiteX4" fmla="*/ 6217837 w 6217837"/>
              <a:gd name="connsiteY4" fmla="*/ 638860 h 5076785"/>
              <a:gd name="connsiteX5" fmla="*/ 6217837 w 6217837"/>
              <a:gd name="connsiteY5" fmla="*/ 4445692 h 5076785"/>
              <a:gd name="connsiteX6" fmla="*/ 5586744 w 6217837"/>
              <a:gd name="connsiteY6" fmla="*/ 5076785 h 5076785"/>
              <a:gd name="connsiteX7" fmla="*/ 631157 w 6217837"/>
              <a:gd name="connsiteY7" fmla="*/ 5076785 h 5076785"/>
              <a:gd name="connsiteX8" fmla="*/ 64 w 6217837"/>
              <a:gd name="connsiteY8" fmla="*/ 4445692 h 5076785"/>
              <a:gd name="connsiteX9" fmla="*/ 64 w 6217837"/>
              <a:gd name="connsiteY9" fmla="*/ 638860 h 5076785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586744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19941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17837" h="5069018">
                <a:moveTo>
                  <a:pt x="64" y="631093"/>
                </a:moveTo>
                <a:cubicBezTo>
                  <a:pt x="4033" y="467051"/>
                  <a:pt x="-5105" y="12378"/>
                  <a:pt x="4827" y="2446"/>
                </a:cubicBezTo>
                <a:cubicBezTo>
                  <a:pt x="11584" y="-1136"/>
                  <a:pt x="507287" y="937"/>
                  <a:pt x="631157" y="0"/>
                </a:cubicBezTo>
                <a:lnTo>
                  <a:pt x="5819941" y="0"/>
                </a:lnTo>
                <a:cubicBezTo>
                  <a:pt x="6168484" y="0"/>
                  <a:pt x="6217837" y="282550"/>
                  <a:pt x="6217837" y="631093"/>
                </a:cubicBezTo>
                <a:lnTo>
                  <a:pt x="6217837" y="4437925"/>
                </a:lnTo>
                <a:cubicBezTo>
                  <a:pt x="6217837" y="4786468"/>
                  <a:pt x="6155528" y="5069018"/>
                  <a:pt x="5806985" y="5069018"/>
                </a:cubicBezTo>
                <a:lnTo>
                  <a:pt x="449783" y="5069018"/>
                </a:lnTo>
                <a:cubicBezTo>
                  <a:pt x="101240" y="5069018"/>
                  <a:pt x="64" y="4786468"/>
                  <a:pt x="64" y="4437925"/>
                </a:cubicBezTo>
                <a:lnTo>
                  <a:pt x="64" y="631093"/>
                </a:lnTo>
                <a:close/>
              </a:path>
            </a:pathLst>
          </a:custGeom>
          <a:solidFill>
            <a:schemeClr val="bg2"/>
          </a:solidFill>
        </p:spPr>
        <p:txBody>
          <a:bodyPr lIns="504000" tIns="252000" rIns="252000" bIns="360000"/>
          <a:lstStyle>
            <a:lvl1pPr>
              <a:defRPr sz="4209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Punt 2</a:t>
            </a:r>
          </a:p>
        </p:txBody>
      </p:sp>
      <p:sp>
        <p:nvSpPr>
          <p:cNvPr id="164" name="Tijdelijke aanduiding voor tekst 3">
            <a:extLst>
              <a:ext uri="{FF2B5EF4-FFF2-40B4-BE49-F238E27FC236}">
                <a16:creationId xmlns:a16="http://schemas.microsoft.com/office/drawing/2014/main" id="{3D564F2E-B66A-44B1-BD7F-8488248EED5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687079" y="16620337"/>
            <a:ext cx="5345254" cy="3935018"/>
          </a:xfrm>
          <a:custGeom>
            <a:avLst/>
            <a:gdLst>
              <a:gd name="connsiteX0" fmla="*/ 0 w 6217773"/>
              <a:gd name="connsiteY0" fmla="*/ 631093 h 5069018"/>
              <a:gd name="connsiteX1" fmla="*/ 631093 w 6217773"/>
              <a:gd name="connsiteY1" fmla="*/ 0 h 5069018"/>
              <a:gd name="connsiteX2" fmla="*/ 5586680 w 6217773"/>
              <a:gd name="connsiteY2" fmla="*/ 0 h 5069018"/>
              <a:gd name="connsiteX3" fmla="*/ 6217773 w 6217773"/>
              <a:gd name="connsiteY3" fmla="*/ 631093 h 5069018"/>
              <a:gd name="connsiteX4" fmla="*/ 6217773 w 6217773"/>
              <a:gd name="connsiteY4" fmla="*/ 4437925 h 5069018"/>
              <a:gd name="connsiteX5" fmla="*/ 5586680 w 6217773"/>
              <a:gd name="connsiteY5" fmla="*/ 5069018 h 5069018"/>
              <a:gd name="connsiteX6" fmla="*/ 631093 w 6217773"/>
              <a:gd name="connsiteY6" fmla="*/ 5069018 h 5069018"/>
              <a:gd name="connsiteX7" fmla="*/ 0 w 6217773"/>
              <a:gd name="connsiteY7" fmla="*/ 4437925 h 5069018"/>
              <a:gd name="connsiteX8" fmla="*/ 0 w 6217773"/>
              <a:gd name="connsiteY8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0 w 6217773"/>
              <a:gd name="connsiteY0" fmla="*/ 631093 h 5069018"/>
              <a:gd name="connsiteX1" fmla="*/ 195263 w 6217773"/>
              <a:gd name="connsiteY1" fmla="*/ 177071 h 5069018"/>
              <a:gd name="connsiteX2" fmla="*/ 631093 w 6217773"/>
              <a:gd name="connsiteY2" fmla="*/ 0 h 5069018"/>
              <a:gd name="connsiteX3" fmla="*/ 5586680 w 6217773"/>
              <a:gd name="connsiteY3" fmla="*/ 0 h 5069018"/>
              <a:gd name="connsiteX4" fmla="*/ 6217773 w 6217773"/>
              <a:gd name="connsiteY4" fmla="*/ 631093 h 5069018"/>
              <a:gd name="connsiteX5" fmla="*/ 6217773 w 6217773"/>
              <a:gd name="connsiteY5" fmla="*/ 4437925 h 5069018"/>
              <a:gd name="connsiteX6" fmla="*/ 5586680 w 6217773"/>
              <a:gd name="connsiteY6" fmla="*/ 5069018 h 5069018"/>
              <a:gd name="connsiteX7" fmla="*/ 631093 w 6217773"/>
              <a:gd name="connsiteY7" fmla="*/ 5069018 h 5069018"/>
              <a:gd name="connsiteX8" fmla="*/ 0 w 6217773"/>
              <a:gd name="connsiteY8" fmla="*/ 4437925 h 5069018"/>
              <a:gd name="connsiteX9" fmla="*/ 0 w 6217773"/>
              <a:gd name="connsiteY9" fmla="*/ 631093 h 5069018"/>
              <a:gd name="connsiteX0" fmla="*/ 31029 w 6248802"/>
              <a:gd name="connsiteY0" fmla="*/ 638400 h 5076325"/>
              <a:gd name="connsiteX1" fmla="*/ 35792 w 6248802"/>
              <a:gd name="connsiteY1" fmla="*/ 228 h 5076325"/>
              <a:gd name="connsiteX2" fmla="*/ 662122 w 6248802"/>
              <a:gd name="connsiteY2" fmla="*/ 7307 h 5076325"/>
              <a:gd name="connsiteX3" fmla="*/ 5617709 w 6248802"/>
              <a:gd name="connsiteY3" fmla="*/ 7307 h 5076325"/>
              <a:gd name="connsiteX4" fmla="*/ 6248802 w 6248802"/>
              <a:gd name="connsiteY4" fmla="*/ 638400 h 5076325"/>
              <a:gd name="connsiteX5" fmla="*/ 6248802 w 6248802"/>
              <a:gd name="connsiteY5" fmla="*/ 4445232 h 5076325"/>
              <a:gd name="connsiteX6" fmla="*/ 5617709 w 6248802"/>
              <a:gd name="connsiteY6" fmla="*/ 5076325 h 5076325"/>
              <a:gd name="connsiteX7" fmla="*/ 662122 w 6248802"/>
              <a:gd name="connsiteY7" fmla="*/ 5076325 h 5076325"/>
              <a:gd name="connsiteX8" fmla="*/ 31029 w 6248802"/>
              <a:gd name="connsiteY8" fmla="*/ 4445232 h 5076325"/>
              <a:gd name="connsiteX9" fmla="*/ 31029 w 6248802"/>
              <a:gd name="connsiteY9" fmla="*/ 638400 h 5076325"/>
              <a:gd name="connsiteX0" fmla="*/ 0 w 6217773"/>
              <a:gd name="connsiteY0" fmla="*/ 638860 h 5076785"/>
              <a:gd name="connsiteX1" fmla="*/ 4763 w 6217773"/>
              <a:gd name="connsiteY1" fmla="*/ 688 h 5076785"/>
              <a:gd name="connsiteX2" fmla="*/ 631093 w 6217773"/>
              <a:gd name="connsiteY2" fmla="*/ 7767 h 5076785"/>
              <a:gd name="connsiteX3" fmla="*/ 5586680 w 6217773"/>
              <a:gd name="connsiteY3" fmla="*/ 7767 h 5076785"/>
              <a:gd name="connsiteX4" fmla="*/ 6217773 w 6217773"/>
              <a:gd name="connsiteY4" fmla="*/ 638860 h 5076785"/>
              <a:gd name="connsiteX5" fmla="*/ 6217773 w 6217773"/>
              <a:gd name="connsiteY5" fmla="*/ 4445692 h 5076785"/>
              <a:gd name="connsiteX6" fmla="*/ 5586680 w 6217773"/>
              <a:gd name="connsiteY6" fmla="*/ 5076785 h 5076785"/>
              <a:gd name="connsiteX7" fmla="*/ 631093 w 6217773"/>
              <a:gd name="connsiteY7" fmla="*/ 5076785 h 5076785"/>
              <a:gd name="connsiteX8" fmla="*/ 0 w 6217773"/>
              <a:gd name="connsiteY8" fmla="*/ 4445692 h 5076785"/>
              <a:gd name="connsiteX9" fmla="*/ 0 w 6217773"/>
              <a:gd name="connsiteY9" fmla="*/ 638860 h 5076785"/>
              <a:gd name="connsiteX0" fmla="*/ 64 w 6217837"/>
              <a:gd name="connsiteY0" fmla="*/ 638860 h 5076785"/>
              <a:gd name="connsiteX1" fmla="*/ 4827 w 6217837"/>
              <a:gd name="connsiteY1" fmla="*/ 688 h 5076785"/>
              <a:gd name="connsiteX2" fmla="*/ 631157 w 6217837"/>
              <a:gd name="connsiteY2" fmla="*/ 7767 h 5076785"/>
              <a:gd name="connsiteX3" fmla="*/ 5586744 w 6217837"/>
              <a:gd name="connsiteY3" fmla="*/ 7767 h 5076785"/>
              <a:gd name="connsiteX4" fmla="*/ 6217837 w 6217837"/>
              <a:gd name="connsiteY4" fmla="*/ 638860 h 5076785"/>
              <a:gd name="connsiteX5" fmla="*/ 6217837 w 6217837"/>
              <a:gd name="connsiteY5" fmla="*/ 4445692 h 5076785"/>
              <a:gd name="connsiteX6" fmla="*/ 5586744 w 6217837"/>
              <a:gd name="connsiteY6" fmla="*/ 5076785 h 5076785"/>
              <a:gd name="connsiteX7" fmla="*/ 631157 w 6217837"/>
              <a:gd name="connsiteY7" fmla="*/ 5076785 h 5076785"/>
              <a:gd name="connsiteX8" fmla="*/ 64 w 6217837"/>
              <a:gd name="connsiteY8" fmla="*/ 4445692 h 5076785"/>
              <a:gd name="connsiteX9" fmla="*/ 64 w 6217837"/>
              <a:gd name="connsiteY9" fmla="*/ 638860 h 5076785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586744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586744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631157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768119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06985 w 6217837"/>
              <a:gd name="connsiteY3" fmla="*/ 18056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  <a:gd name="connsiteX0" fmla="*/ 64 w 6217837"/>
              <a:gd name="connsiteY0" fmla="*/ 631093 h 5069018"/>
              <a:gd name="connsiteX1" fmla="*/ 4827 w 6217837"/>
              <a:gd name="connsiteY1" fmla="*/ 2446 h 5069018"/>
              <a:gd name="connsiteX2" fmla="*/ 631157 w 6217837"/>
              <a:gd name="connsiteY2" fmla="*/ 0 h 5069018"/>
              <a:gd name="connsiteX3" fmla="*/ 5819941 w 6217837"/>
              <a:gd name="connsiteY3" fmla="*/ 0 h 5069018"/>
              <a:gd name="connsiteX4" fmla="*/ 6217837 w 6217837"/>
              <a:gd name="connsiteY4" fmla="*/ 631093 h 5069018"/>
              <a:gd name="connsiteX5" fmla="*/ 6217837 w 6217837"/>
              <a:gd name="connsiteY5" fmla="*/ 4437925 h 5069018"/>
              <a:gd name="connsiteX6" fmla="*/ 5806985 w 6217837"/>
              <a:gd name="connsiteY6" fmla="*/ 5069018 h 5069018"/>
              <a:gd name="connsiteX7" fmla="*/ 449783 w 6217837"/>
              <a:gd name="connsiteY7" fmla="*/ 5069018 h 5069018"/>
              <a:gd name="connsiteX8" fmla="*/ 64 w 6217837"/>
              <a:gd name="connsiteY8" fmla="*/ 4437925 h 5069018"/>
              <a:gd name="connsiteX9" fmla="*/ 64 w 6217837"/>
              <a:gd name="connsiteY9" fmla="*/ 631093 h 5069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17837" h="5069018">
                <a:moveTo>
                  <a:pt x="64" y="631093"/>
                </a:moveTo>
                <a:cubicBezTo>
                  <a:pt x="4033" y="467051"/>
                  <a:pt x="-5105" y="12378"/>
                  <a:pt x="4827" y="2446"/>
                </a:cubicBezTo>
                <a:cubicBezTo>
                  <a:pt x="11584" y="-1136"/>
                  <a:pt x="507287" y="937"/>
                  <a:pt x="631157" y="0"/>
                </a:cubicBezTo>
                <a:lnTo>
                  <a:pt x="5819941" y="0"/>
                </a:lnTo>
                <a:cubicBezTo>
                  <a:pt x="6168484" y="0"/>
                  <a:pt x="6217837" y="282550"/>
                  <a:pt x="6217837" y="631093"/>
                </a:cubicBezTo>
                <a:lnTo>
                  <a:pt x="6217837" y="4437925"/>
                </a:lnTo>
                <a:cubicBezTo>
                  <a:pt x="6217837" y="4786468"/>
                  <a:pt x="6155528" y="5069018"/>
                  <a:pt x="5806985" y="5069018"/>
                </a:cubicBezTo>
                <a:lnTo>
                  <a:pt x="449783" y="5069018"/>
                </a:lnTo>
                <a:cubicBezTo>
                  <a:pt x="101240" y="5069018"/>
                  <a:pt x="64" y="4786468"/>
                  <a:pt x="64" y="4437925"/>
                </a:cubicBezTo>
                <a:lnTo>
                  <a:pt x="64" y="631093"/>
                </a:lnTo>
                <a:close/>
              </a:path>
            </a:pathLst>
          </a:custGeom>
          <a:solidFill>
            <a:schemeClr val="bg2"/>
          </a:solidFill>
        </p:spPr>
        <p:txBody>
          <a:bodyPr lIns="504000" tIns="252000" rIns="252000" bIns="360000"/>
          <a:lstStyle>
            <a:lvl1pPr>
              <a:defRPr sz="4209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/>
              <a:t>Punt 3</a:t>
            </a:r>
          </a:p>
        </p:txBody>
      </p:sp>
      <p:sp>
        <p:nvSpPr>
          <p:cNvPr id="160" name="Tijdelijke aanduiding voor tekst 2">
            <a:extLst>
              <a:ext uri="{FF2B5EF4-FFF2-40B4-BE49-F238E27FC236}">
                <a16:creationId xmlns:a16="http://schemas.microsoft.com/office/drawing/2014/main" id="{C8983519-A824-4AAD-84BE-E86BCCAA3C8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33807" y="6316512"/>
            <a:ext cx="26489657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 marL="0" indent="0">
              <a:buNone/>
              <a:defRPr sz="4209"/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61" name="Tijdelijke aanduiding voor tekst 2">
            <a:extLst>
              <a:ext uri="{FF2B5EF4-FFF2-40B4-BE49-F238E27FC236}">
                <a16:creationId xmlns:a16="http://schemas.microsoft.com/office/drawing/2014/main" id="{AE7372F4-5605-49B5-BFA6-75FB9F7F477F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533807" y="11466940"/>
            <a:ext cx="26489657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 marL="0" indent="0">
              <a:buNone/>
              <a:defRPr sz="4209"/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69" name="Tijdelijke aanduiding voor tekst 2">
            <a:extLst>
              <a:ext uri="{FF2B5EF4-FFF2-40B4-BE49-F238E27FC236}">
                <a16:creationId xmlns:a16="http://schemas.microsoft.com/office/drawing/2014/main" id="{6DF20755-33D3-4DFC-B8F1-88598EDF11D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533807" y="16623324"/>
            <a:ext cx="26489657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 marL="0" indent="0">
              <a:buNone/>
              <a:defRPr sz="4209"/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70" name="Tijdelijke aanduiding voor tekst 2">
            <a:extLst>
              <a:ext uri="{FF2B5EF4-FFF2-40B4-BE49-F238E27FC236}">
                <a16:creationId xmlns:a16="http://schemas.microsoft.com/office/drawing/2014/main" id="{E9ABA610-FA89-4787-B010-B4676D2C42C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533807" y="21779704"/>
            <a:ext cx="26489657" cy="4035684"/>
          </a:xfrm>
          <a:custGeom>
            <a:avLst/>
            <a:gdLst>
              <a:gd name="connsiteX0" fmla="*/ 0 w 7305675"/>
              <a:gd name="connsiteY0" fmla="*/ 216657 h 1238250"/>
              <a:gd name="connsiteX1" fmla="*/ 216657 w 7305675"/>
              <a:gd name="connsiteY1" fmla="*/ 0 h 1238250"/>
              <a:gd name="connsiteX2" fmla="*/ 7089018 w 7305675"/>
              <a:gd name="connsiteY2" fmla="*/ 0 h 1238250"/>
              <a:gd name="connsiteX3" fmla="*/ 7305675 w 7305675"/>
              <a:gd name="connsiteY3" fmla="*/ 216657 h 1238250"/>
              <a:gd name="connsiteX4" fmla="*/ 7305675 w 7305675"/>
              <a:gd name="connsiteY4" fmla="*/ 1021593 h 1238250"/>
              <a:gd name="connsiteX5" fmla="*/ 7089018 w 7305675"/>
              <a:gd name="connsiteY5" fmla="*/ 1238250 h 1238250"/>
              <a:gd name="connsiteX6" fmla="*/ 216657 w 7305675"/>
              <a:gd name="connsiteY6" fmla="*/ 1238250 h 1238250"/>
              <a:gd name="connsiteX7" fmla="*/ 0 w 7305675"/>
              <a:gd name="connsiteY7" fmla="*/ 1021593 h 1238250"/>
              <a:gd name="connsiteX8" fmla="*/ 0 w 7305675"/>
              <a:gd name="connsiteY8" fmla="*/ 216657 h 1238250"/>
              <a:gd name="connsiteX0" fmla="*/ 336424 w 7642099"/>
              <a:gd name="connsiteY0" fmla="*/ 216657 h 1238250"/>
              <a:gd name="connsiteX1" fmla="*/ 403099 w 7642099"/>
              <a:gd name="connsiteY1" fmla="*/ 57150 h 1238250"/>
              <a:gd name="connsiteX2" fmla="*/ 553081 w 7642099"/>
              <a:gd name="connsiteY2" fmla="*/ 0 h 1238250"/>
              <a:gd name="connsiteX3" fmla="*/ 7425442 w 7642099"/>
              <a:gd name="connsiteY3" fmla="*/ 0 h 1238250"/>
              <a:gd name="connsiteX4" fmla="*/ 7642099 w 7642099"/>
              <a:gd name="connsiteY4" fmla="*/ 216657 h 1238250"/>
              <a:gd name="connsiteX5" fmla="*/ 7642099 w 7642099"/>
              <a:gd name="connsiteY5" fmla="*/ 1021593 h 1238250"/>
              <a:gd name="connsiteX6" fmla="*/ 7425442 w 7642099"/>
              <a:gd name="connsiteY6" fmla="*/ 1238250 h 1238250"/>
              <a:gd name="connsiteX7" fmla="*/ 553081 w 7642099"/>
              <a:gd name="connsiteY7" fmla="*/ 1238250 h 1238250"/>
              <a:gd name="connsiteX8" fmla="*/ 336424 w 7642099"/>
              <a:gd name="connsiteY8" fmla="*/ 1021593 h 1238250"/>
              <a:gd name="connsiteX9" fmla="*/ 336424 w 7642099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336441 w 7642116"/>
              <a:gd name="connsiteY0" fmla="*/ 216657 h 1238250"/>
              <a:gd name="connsiteX1" fmla="*/ 403116 w 7642116"/>
              <a:gd name="connsiteY1" fmla="*/ 57150 h 1238250"/>
              <a:gd name="connsiteX2" fmla="*/ 553098 w 7642116"/>
              <a:gd name="connsiteY2" fmla="*/ 0 h 1238250"/>
              <a:gd name="connsiteX3" fmla="*/ 7425459 w 7642116"/>
              <a:gd name="connsiteY3" fmla="*/ 0 h 1238250"/>
              <a:gd name="connsiteX4" fmla="*/ 7642116 w 7642116"/>
              <a:gd name="connsiteY4" fmla="*/ 216657 h 1238250"/>
              <a:gd name="connsiteX5" fmla="*/ 7642116 w 7642116"/>
              <a:gd name="connsiteY5" fmla="*/ 1021593 h 1238250"/>
              <a:gd name="connsiteX6" fmla="*/ 7425459 w 7642116"/>
              <a:gd name="connsiteY6" fmla="*/ 1238250 h 1238250"/>
              <a:gd name="connsiteX7" fmla="*/ 553098 w 7642116"/>
              <a:gd name="connsiteY7" fmla="*/ 1238250 h 1238250"/>
              <a:gd name="connsiteX8" fmla="*/ 336441 w 7642116"/>
              <a:gd name="connsiteY8" fmla="*/ 1021593 h 1238250"/>
              <a:gd name="connsiteX9" fmla="*/ 336441 w 7642116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0 w 7305675"/>
              <a:gd name="connsiteY0" fmla="*/ 216657 h 1238250"/>
              <a:gd name="connsiteX1" fmla="*/ 66675 w 7305675"/>
              <a:gd name="connsiteY1" fmla="*/ 57150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10566 w 7316241"/>
              <a:gd name="connsiteY0" fmla="*/ 228687 h 1250280"/>
              <a:gd name="connsiteX1" fmla="*/ 17709 w 7316241"/>
              <a:gd name="connsiteY1" fmla="*/ 16792 h 1250280"/>
              <a:gd name="connsiteX2" fmla="*/ 227223 w 7316241"/>
              <a:gd name="connsiteY2" fmla="*/ 12030 h 1250280"/>
              <a:gd name="connsiteX3" fmla="*/ 7099584 w 7316241"/>
              <a:gd name="connsiteY3" fmla="*/ 12030 h 1250280"/>
              <a:gd name="connsiteX4" fmla="*/ 7316241 w 7316241"/>
              <a:gd name="connsiteY4" fmla="*/ 228687 h 1250280"/>
              <a:gd name="connsiteX5" fmla="*/ 7316241 w 7316241"/>
              <a:gd name="connsiteY5" fmla="*/ 1033623 h 1250280"/>
              <a:gd name="connsiteX6" fmla="*/ 7099584 w 7316241"/>
              <a:gd name="connsiteY6" fmla="*/ 1250280 h 1250280"/>
              <a:gd name="connsiteX7" fmla="*/ 227223 w 7316241"/>
              <a:gd name="connsiteY7" fmla="*/ 1250280 h 1250280"/>
              <a:gd name="connsiteX8" fmla="*/ 10566 w 7316241"/>
              <a:gd name="connsiteY8" fmla="*/ 1033623 h 1250280"/>
              <a:gd name="connsiteX9" fmla="*/ 10566 w 7316241"/>
              <a:gd name="connsiteY9" fmla="*/ 228687 h 1250280"/>
              <a:gd name="connsiteX0" fmla="*/ 0 w 7305675"/>
              <a:gd name="connsiteY0" fmla="*/ 228687 h 1250280"/>
              <a:gd name="connsiteX1" fmla="*/ 7143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28687 h 1250280"/>
              <a:gd name="connsiteX1" fmla="*/ 2380 w 7305675"/>
              <a:gd name="connsiteY1" fmla="*/ 16792 h 1250280"/>
              <a:gd name="connsiteX2" fmla="*/ 216657 w 7305675"/>
              <a:gd name="connsiteY2" fmla="*/ 12030 h 1250280"/>
              <a:gd name="connsiteX3" fmla="*/ 7089018 w 7305675"/>
              <a:gd name="connsiteY3" fmla="*/ 12030 h 1250280"/>
              <a:gd name="connsiteX4" fmla="*/ 7305675 w 7305675"/>
              <a:gd name="connsiteY4" fmla="*/ 228687 h 1250280"/>
              <a:gd name="connsiteX5" fmla="*/ 7305675 w 7305675"/>
              <a:gd name="connsiteY5" fmla="*/ 1033623 h 1250280"/>
              <a:gd name="connsiteX6" fmla="*/ 7089018 w 7305675"/>
              <a:gd name="connsiteY6" fmla="*/ 1250280 h 1250280"/>
              <a:gd name="connsiteX7" fmla="*/ 216657 w 7305675"/>
              <a:gd name="connsiteY7" fmla="*/ 1250280 h 1250280"/>
              <a:gd name="connsiteX8" fmla="*/ 0 w 7305675"/>
              <a:gd name="connsiteY8" fmla="*/ 1033623 h 1250280"/>
              <a:gd name="connsiteX9" fmla="*/ 0 w 7305675"/>
              <a:gd name="connsiteY9" fmla="*/ 228687 h 1250280"/>
              <a:gd name="connsiteX0" fmla="*/ 0 w 7305675"/>
              <a:gd name="connsiteY0" fmla="*/ 216657 h 1238250"/>
              <a:gd name="connsiteX1" fmla="*/ 2380 w 7305675"/>
              <a:gd name="connsiteY1" fmla="*/ 4762 h 1238250"/>
              <a:gd name="connsiteX2" fmla="*/ 216657 w 7305675"/>
              <a:gd name="connsiteY2" fmla="*/ 0 h 1238250"/>
              <a:gd name="connsiteX3" fmla="*/ 7089018 w 7305675"/>
              <a:gd name="connsiteY3" fmla="*/ 0 h 1238250"/>
              <a:gd name="connsiteX4" fmla="*/ 7305675 w 7305675"/>
              <a:gd name="connsiteY4" fmla="*/ 216657 h 1238250"/>
              <a:gd name="connsiteX5" fmla="*/ 7305675 w 7305675"/>
              <a:gd name="connsiteY5" fmla="*/ 1021593 h 1238250"/>
              <a:gd name="connsiteX6" fmla="*/ 7089018 w 7305675"/>
              <a:gd name="connsiteY6" fmla="*/ 1238250 h 1238250"/>
              <a:gd name="connsiteX7" fmla="*/ 216657 w 7305675"/>
              <a:gd name="connsiteY7" fmla="*/ 1238250 h 1238250"/>
              <a:gd name="connsiteX8" fmla="*/ 0 w 7305675"/>
              <a:gd name="connsiteY8" fmla="*/ 1021593 h 1238250"/>
              <a:gd name="connsiteX9" fmla="*/ 0 w 7305675"/>
              <a:gd name="connsiteY9" fmla="*/ 216657 h 1238250"/>
              <a:gd name="connsiteX0" fmla="*/ 2 w 7305677"/>
              <a:gd name="connsiteY0" fmla="*/ 221420 h 1243013"/>
              <a:gd name="connsiteX1" fmla="*/ 0 w 7305677"/>
              <a:gd name="connsiteY1" fmla="*/ 0 h 1243013"/>
              <a:gd name="connsiteX2" fmla="*/ 216659 w 7305677"/>
              <a:gd name="connsiteY2" fmla="*/ 4763 h 1243013"/>
              <a:gd name="connsiteX3" fmla="*/ 7089020 w 7305677"/>
              <a:gd name="connsiteY3" fmla="*/ 4763 h 1243013"/>
              <a:gd name="connsiteX4" fmla="*/ 7305677 w 7305677"/>
              <a:gd name="connsiteY4" fmla="*/ 221420 h 1243013"/>
              <a:gd name="connsiteX5" fmla="*/ 7305677 w 7305677"/>
              <a:gd name="connsiteY5" fmla="*/ 1026356 h 1243013"/>
              <a:gd name="connsiteX6" fmla="*/ 7089020 w 7305677"/>
              <a:gd name="connsiteY6" fmla="*/ 1243013 h 1243013"/>
              <a:gd name="connsiteX7" fmla="*/ 216659 w 7305677"/>
              <a:gd name="connsiteY7" fmla="*/ 1243013 h 1243013"/>
              <a:gd name="connsiteX8" fmla="*/ 2 w 7305677"/>
              <a:gd name="connsiteY8" fmla="*/ 1026356 h 1243013"/>
              <a:gd name="connsiteX9" fmla="*/ 2 w 7305677"/>
              <a:gd name="connsiteY9" fmla="*/ 221420 h 1243013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2 w 7305677"/>
              <a:gd name="connsiteY0" fmla="*/ 219039 h 1240632"/>
              <a:gd name="connsiteX1" fmla="*/ 0 w 7305677"/>
              <a:gd name="connsiteY1" fmla="*/ 0 h 1240632"/>
              <a:gd name="connsiteX2" fmla="*/ 216659 w 7305677"/>
              <a:gd name="connsiteY2" fmla="*/ 2382 h 1240632"/>
              <a:gd name="connsiteX3" fmla="*/ 7089020 w 7305677"/>
              <a:gd name="connsiteY3" fmla="*/ 2382 h 1240632"/>
              <a:gd name="connsiteX4" fmla="*/ 7305677 w 7305677"/>
              <a:gd name="connsiteY4" fmla="*/ 219039 h 1240632"/>
              <a:gd name="connsiteX5" fmla="*/ 7305677 w 7305677"/>
              <a:gd name="connsiteY5" fmla="*/ 1023975 h 1240632"/>
              <a:gd name="connsiteX6" fmla="*/ 7089020 w 7305677"/>
              <a:gd name="connsiteY6" fmla="*/ 1240632 h 1240632"/>
              <a:gd name="connsiteX7" fmla="*/ 216659 w 7305677"/>
              <a:gd name="connsiteY7" fmla="*/ 1240632 h 1240632"/>
              <a:gd name="connsiteX8" fmla="*/ 2 w 7305677"/>
              <a:gd name="connsiteY8" fmla="*/ 1023975 h 1240632"/>
              <a:gd name="connsiteX9" fmla="*/ 2 w 7305677"/>
              <a:gd name="connsiteY9" fmla="*/ 219039 h 1240632"/>
              <a:gd name="connsiteX0" fmla="*/ 8617 w 7314292"/>
              <a:gd name="connsiteY0" fmla="*/ 231082 h 1252675"/>
              <a:gd name="connsiteX1" fmla="*/ 8615 w 7314292"/>
              <a:gd name="connsiteY1" fmla="*/ 12043 h 1252675"/>
              <a:gd name="connsiteX2" fmla="*/ 225274 w 7314292"/>
              <a:gd name="connsiteY2" fmla="*/ 14425 h 1252675"/>
              <a:gd name="connsiteX3" fmla="*/ 7097635 w 7314292"/>
              <a:gd name="connsiteY3" fmla="*/ 14425 h 1252675"/>
              <a:gd name="connsiteX4" fmla="*/ 7314292 w 7314292"/>
              <a:gd name="connsiteY4" fmla="*/ 231082 h 1252675"/>
              <a:gd name="connsiteX5" fmla="*/ 7314292 w 7314292"/>
              <a:gd name="connsiteY5" fmla="*/ 1036018 h 1252675"/>
              <a:gd name="connsiteX6" fmla="*/ 7097635 w 7314292"/>
              <a:gd name="connsiteY6" fmla="*/ 1252675 h 1252675"/>
              <a:gd name="connsiteX7" fmla="*/ 225274 w 7314292"/>
              <a:gd name="connsiteY7" fmla="*/ 1252675 h 1252675"/>
              <a:gd name="connsiteX8" fmla="*/ 8617 w 7314292"/>
              <a:gd name="connsiteY8" fmla="*/ 1036018 h 1252675"/>
              <a:gd name="connsiteX9" fmla="*/ 8617 w 7314292"/>
              <a:gd name="connsiteY9" fmla="*/ 231082 h 1252675"/>
              <a:gd name="connsiteX0" fmla="*/ 24492 w 7330167"/>
              <a:gd name="connsiteY0" fmla="*/ 219096 h 1240689"/>
              <a:gd name="connsiteX1" fmla="*/ 24490 w 7330167"/>
              <a:gd name="connsiteY1" fmla="*/ 57 h 1240689"/>
              <a:gd name="connsiteX2" fmla="*/ 241149 w 7330167"/>
              <a:gd name="connsiteY2" fmla="*/ 2439 h 1240689"/>
              <a:gd name="connsiteX3" fmla="*/ 7113510 w 7330167"/>
              <a:gd name="connsiteY3" fmla="*/ 2439 h 1240689"/>
              <a:gd name="connsiteX4" fmla="*/ 7330167 w 7330167"/>
              <a:gd name="connsiteY4" fmla="*/ 219096 h 1240689"/>
              <a:gd name="connsiteX5" fmla="*/ 7330167 w 7330167"/>
              <a:gd name="connsiteY5" fmla="*/ 1024032 h 1240689"/>
              <a:gd name="connsiteX6" fmla="*/ 7113510 w 7330167"/>
              <a:gd name="connsiteY6" fmla="*/ 1240689 h 1240689"/>
              <a:gd name="connsiteX7" fmla="*/ 241149 w 7330167"/>
              <a:gd name="connsiteY7" fmla="*/ 1240689 h 1240689"/>
              <a:gd name="connsiteX8" fmla="*/ 24492 w 7330167"/>
              <a:gd name="connsiteY8" fmla="*/ 1024032 h 1240689"/>
              <a:gd name="connsiteX9" fmla="*/ 24492 w 7330167"/>
              <a:gd name="connsiteY9" fmla="*/ 219096 h 1240689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24508 w 7330183"/>
              <a:gd name="connsiteY0" fmla="*/ 219040 h 1240633"/>
              <a:gd name="connsiteX1" fmla="*/ 24506 w 7330183"/>
              <a:gd name="connsiteY1" fmla="*/ 1 h 1240633"/>
              <a:gd name="connsiteX2" fmla="*/ 241165 w 7330183"/>
              <a:gd name="connsiteY2" fmla="*/ 2383 h 1240633"/>
              <a:gd name="connsiteX3" fmla="*/ 7113526 w 7330183"/>
              <a:gd name="connsiteY3" fmla="*/ 2383 h 1240633"/>
              <a:gd name="connsiteX4" fmla="*/ 7330183 w 7330183"/>
              <a:gd name="connsiteY4" fmla="*/ 219040 h 1240633"/>
              <a:gd name="connsiteX5" fmla="*/ 7330183 w 7330183"/>
              <a:gd name="connsiteY5" fmla="*/ 1023976 h 1240633"/>
              <a:gd name="connsiteX6" fmla="*/ 7113526 w 7330183"/>
              <a:gd name="connsiteY6" fmla="*/ 1240633 h 1240633"/>
              <a:gd name="connsiteX7" fmla="*/ 241165 w 7330183"/>
              <a:gd name="connsiteY7" fmla="*/ 1240633 h 1240633"/>
              <a:gd name="connsiteX8" fmla="*/ 24508 w 7330183"/>
              <a:gd name="connsiteY8" fmla="*/ 1023976 h 1240633"/>
              <a:gd name="connsiteX9" fmla="*/ 24508 w 7330183"/>
              <a:gd name="connsiteY9" fmla="*/ 219040 h 1240633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089185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089185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21682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  <a:gd name="connsiteX0" fmla="*/ 167 w 7305842"/>
              <a:gd name="connsiteY0" fmla="*/ 219039 h 1240632"/>
              <a:gd name="connsiteX1" fmla="*/ 165 w 7305842"/>
              <a:gd name="connsiteY1" fmla="*/ 0 h 1240632"/>
              <a:gd name="connsiteX2" fmla="*/ 216824 w 7305842"/>
              <a:gd name="connsiteY2" fmla="*/ 2382 h 1240632"/>
              <a:gd name="connsiteX3" fmla="*/ 7138332 w 7305842"/>
              <a:gd name="connsiteY3" fmla="*/ 2382 h 1240632"/>
              <a:gd name="connsiteX4" fmla="*/ 7305842 w 7305842"/>
              <a:gd name="connsiteY4" fmla="*/ 219039 h 1240632"/>
              <a:gd name="connsiteX5" fmla="*/ 7305842 w 7305842"/>
              <a:gd name="connsiteY5" fmla="*/ 1023975 h 1240632"/>
              <a:gd name="connsiteX6" fmla="*/ 7138332 w 7305842"/>
              <a:gd name="connsiteY6" fmla="*/ 1240632 h 1240632"/>
              <a:gd name="connsiteX7" fmla="*/ 179964 w 7305842"/>
              <a:gd name="connsiteY7" fmla="*/ 1240632 h 1240632"/>
              <a:gd name="connsiteX8" fmla="*/ 167 w 7305842"/>
              <a:gd name="connsiteY8" fmla="*/ 1023975 h 1240632"/>
              <a:gd name="connsiteX9" fmla="*/ 167 w 7305842"/>
              <a:gd name="connsiteY9" fmla="*/ 219039 h 124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5842" h="1240632">
                <a:moveTo>
                  <a:pt x="167" y="219039"/>
                </a:moveTo>
                <a:cubicBezTo>
                  <a:pt x="167" y="48377"/>
                  <a:pt x="-207" y="59385"/>
                  <a:pt x="165" y="0"/>
                </a:cubicBezTo>
                <a:lnTo>
                  <a:pt x="216824" y="2382"/>
                </a:lnTo>
                <a:lnTo>
                  <a:pt x="7138332" y="2382"/>
                </a:lnTo>
                <a:cubicBezTo>
                  <a:pt x="7257988" y="2382"/>
                  <a:pt x="7305842" y="99383"/>
                  <a:pt x="7305842" y="219039"/>
                </a:cubicBezTo>
                <a:lnTo>
                  <a:pt x="7305842" y="1023975"/>
                </a:lnTo>
                <a:cubicBezTo>
                  <a:pt x="7305842" y="1143631"/>
                  <a:pt x="7257988" y="1240632"/>
                  <a:pt x="7138332" y="1240632"/>
                </a:cubicBezTo>
                <a:lnTo>
                  <a:pt x="179964" y="1240632"/>
                </a:lnTo>
                <a:cubicBezTo>
                  <a:pt x="60308" y="1240632"/>
                  <a:pt x="167" y="1143631"/>
                  <a:pt x="167" y="1023975"/>
                </a:cubicBezTo>
                <a:lnTo>
                  <a:pt x="167" y="219039"/>
                </a:lnTo>
                <a:close/>
              </a:path>
            </a:pathLst>
          </a:custGeom>
          <a:solidFill>
            <a:schemeClr val="accent2">
              <a:alpha val="0"/>
            </a:schemeClr>
          </a:solidFill>
          <a:ln w="12700">
            <a:solidFill>
              <a:schemeClr val="bg2"/>
            </a:solidFill>
          </a:ln>
        </p:spPr>
        <p:txBody>
          <a:bodyPr lIns="360000" tIns="180000" rIns="36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4209" b="1">
                <a:solidFill>
                  <a:schemeClr val="bg2"/>
                </a:solidFill>
              </a:defRPr>
            </a:lvl1pPr>
            <a:lvl2pPr marL="0" indent="0">
              <a:buNone/>
              <a:defRPr sz="4209"/>
            </a:lvl2pPr>
            <a:lvl3pPr>
              <a:defRPr sz="4209"/>
            </a:lvl3pPr>
            <a:lvl4pPr>
              <a:defRPr sz="4209"/>
            </a:lvl4pPr>
            <a:lvl5pPr>
              <a:defRPr sz="4209">
                <a:solidFill>
                  <a:schemeClr val="bg2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pic>
        <p:nvPicPr>
          <p:cNvPr id="24" name="Afbeelding 23">
            <a:extLst>
              <a:ext uri="{FF2B5EF4-FFF2-40B4-BE49-F238E27FC236}">
                <a16:creationId xmlns:a16="http://schemas.microsoft.com/office/drawing/2014/main" id="{E73F6112-D899-4F2E-A37F-7292DFE860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  <p:grpSp>
        <p:nvGrpSpPr>
          <p:cNvPr id="25" name="Instructie">
            <a:extLst>
              <a:ext uri="{FF2B5EF4-FFF2-40B4-BE49-F238E27FC236}">
                <a16:creationId xmlns:a16="http://schemas.microsoft.com/office/drawing/2014/main" id="{6B80ED24-686D-4703-833A-DFF98BF6FA34}"/>
              </a:ext>
            </a:extLst>
          </p:cNvPr>
          <p:cNvGrpSpPr/>
          <p:nvPr userDrawn="1"/>
        </p:nvGrpSpPr>
        <p:grpSpPr>
          <a:xfrm>
            <a:off x="43268722" y="0"/>
            <a:ext cx="11164508" cy="11743958"/>
            <a:chOff x="-3426088" y="4512342"/>
            <a:chExt cx="3182755" cy="2660264"/>
          </a:xfrm>
        </p:grpSpPr>
        <p:sp>
          <p:nvSpPr>
            <p:cNvPr id="26" name="Rechthoek 127">
              <a:extLst>
                <a:ext uri="{FF2B5EF4-FFF2-40B4-BE49-F238E27FC236}">
                  <a16:creationId xmlns:a16="http://schemas.microsoft.com/office/drawing/2014/main" id="{062D4B2D-434F-47B3-A870-0155931F969C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27" name="Rechte verbindingslijn 128">
              <a:extLst>
                <a:ext uri="{FF2B5EF4-FFF2-40B4-BE49-F238E27FC236}">
                  <a16:creationId xmlns:a16="http://schemas.microsoft.com/office/drawing/2014/main" id="{77436DFA-7D76-4055-A207-4850EC866E9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8" name="Rechthoek 130">
              <a:extLst>
                <a:ext uri="{FF2B5EF4-FFF2-40B4-BE49-F238E27FC236}">
                  <a16:creationId xmlns:a16="http://schemas.microsoft.com/office/drawing/2014/main" id="{BE66A822-8F0B-4E68-8DDB-CDDE9A5FFC2C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30" name="Rechthoek 133">
              <a:extLst>
                <a:ext uri="{FF2B5EF4-FFF2-40B4-BE49-F238E27FC236}">
                  <a16:creationId xmlns:a16="http://schemas.microsoft.com/office/drawing/2014/main" id="{994F4FAB-ECE6-40D4-A381-483634364B6A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31" name="Rechthoek 136">
              <a:extLst>
                <a:ext uri="{FF2B5EF4-FFF2-40B4-BE49-F238E27FC236}">
                  <a16:creationId xmlns:a16="http://schemas.microsoft.com/office/drawing/2014/main" id="{67AFAADF-A676-4765-A4AF-5B8C246FF961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32" name="Rechthoek 139">
              <a:extLst>
                <a:ext uri="{FF2B5EF4-FFF2-40B4-BE49-F238E27FC236}">
                  <a16:creationId xmlns:a16="http://schemas.microsoft.com/office/drawing/2014/main" id="{579184D9-BFD8-41CB-9056-6F3BD24C1777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33" name="Rechte verbindingslijn 140">
              <a:extLst>
                <a:ext uri="{FF2B5EF4-FFF2-40B4-BE49-F238E27FC236}">
                  <a16:creationId xmlns:a16="http://schemas.microsoft.com/office/drawing/2014/main" id="{76B4A990-530A-4CD6-983D-6A5661EEDE9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119732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-media + tekst 50%50%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1742377" y="6476687"/>
            <a:ext cx="39446169" cy="3973575"/>
          </a:xfrm>
        </p:spPr>
        <p:txBody>
          <a:bodyPr vert="horz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b="1">
                <a:solidFill>
                  <a:schemeClr val="bg2"/>
                </a:solidFill>
                <a:latin typeface="+mj-lt"/>
              </a:defRPr>
            </a:lvl1pPr>
            <a:lvl2pPr marL="0" indent="0">
              <a:lnSpc>
                <a:spcPct val="120000"/>
              </a:lnSpc>
              <a:spcAft>
                <a:spcPts val="0"/>
              </a:spcAft>
              <a:buNone/>
              <a:defRPr/>
            </a:lvl2pPr>
            <a:lvl3pPr marL="2199582" indent="-952226">
              <a:lnSpc>
                <a:spcPct val="70000"/>
              </a:lnSpc>
              <a:defRPr/>
            </a:lvl3pPr>
            <a:lvl4pPr>
              <a:lnSpc>
                <a:spcPct val="70000"/>
              </a:lnSpc>
              <a:defRPr/>
            </a:lvl4pPr>
            <a:lvl5pPr>
              <a:lnSpc>
                <a:spcPct val="70000"/>
              </a:lnSpc>
              <a:defRPr>
                <a:solidFill>
                  <a:schemeClr val="bg2"/>
                </a:solidFill>
              </a:defRPr>
            </a:lvl5pPr>
            <a:lvl6pPr marL="0" indent="0">
              <a:lnSpc>
                <a:spcPct val="70000"/>
              </a:lnSpc>
              <a:buFontTx/>
              <a:buNone/>
              <a:defRPr>
                <a:latin typeface="+mj-lt"/>
              </a:defRPr>
            </a:lvl6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34" name="Titel 1">
            <a:extLst>
              <a:ext uri="{FF2B5EF4-FFF2-40B4-BE49-F238E27FC236}">
                <a16:creationId xmlns:a16="http://schemas.microsoft.com/office/drawing/2014/main" id="{53A6CE20-1E7A-4F87-96EC-7E964AA913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41" name="Tijdelijke aanduiding voor tekst 14">
            <a:extLst>
              <a:ext uri="{FF2B5EF4-FFF2-40B4-BE49-F238E27FC236}">
                <a16:creationId xmlns:a16="http://schemas.microsoft.com/office/drawing/2014/main" id="{4B035891-3F3E-4E86-9D5A-96D1E3B9D0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Ondertitel</a:t>
            </a:r>
          </a:p>
        </p:txBody>
      </p:sp>
      <p:grpSp>
        <p:nvGrpSpPr>
          <p:cNvPr id="50" name="GRID" hidden="1">
            <a:extLst>
              <a:ext uri="{FF2B5EF4-FFF2-40B4-BE49-F238E27FC236}">
                <a16:creationId xmlns:a16="http://schemas.microsoft.com/office/drawing/2014/main" id="{C59E2946-118D-4C01-970E-FC9CE00C6395}"/>
              </a:ext>
            </a:extLst>
          </p:cNvPr>
          <p:cNvGrpSpPr/>
          <p:nvPr userDrawn="1"/>
        </p:nvGrpSpPr>
        <p:grpSpPr>
          <a:xfrm>
            <a:off x="5" y="0"/>
            <a:ext cx="42767261" cy="30275213"/>
            <a:chOff x="0" y="0"/>
            <a:chExt cx="12192003" cy="6858000"/>
          </a:xfrm>
        </p:grpSpPr>
        <p:sp>
          <p:nvSpPr>
            <p:cNvPr id="51" name="Rechthoek 50">
              <a:extLst>
                <a:ext uri="{FF2B5EF4-FFF2-40B4-BE49-F238E27FC236}">
                  <a16:creationId xmlns:a16="http://schemas.microsoft.com/office/drawing/2014/main" id="{E2414C7D-389F-487F-9221-8D96900B448B}"/>
                </a:ext>
              </a:extLst>
            </p:cNvPr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52" name="Rechthoek 51">
              <a:extLst>
                <a:ext uri="{FF2B5EF4-FFF2-40B4-BE49-F238E27FC236}">
                  <a16:creationId xmlns:a16="http://schemas.microsoft.com/office/drawing/2014/main" id="{A8F1195A-80D2-4EBF-8EE2-23A21E134CE7}"/>
                </a:ext>
              </a:extLst>
            </p:cNvPr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53" name="Rechthoek 52">
              <a:extLst>
                <a:ext uri="{FF2B5EF4-FFF2-40B4-BE49-F238E27FC236}">
                  <a16:creationId xmlns:a16="http://schemas.microsoft.com/office/drawing/2014/main" id="{CA706088-94D0-49B2-9F47-CD39731ED611}"/>
                </a:ext>
              </a:extLst>
            </p:cNvPr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54" name="Rechthoek 53">
              <a:extLst>
                <a:ext uri="{FF2B5EF4-FFF2-40B4-BE49-F238E27FC236}">
                  <a16:creationId xmlns:a16="http://schemas.microsoft.com/office/drawing/2014/main" id="{6701A262-4D8B-4596-BEA3-1CDEA9A29D2D}"/>
                </a:ext>
              </a:extLst>
            </p:cNvPr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55" name="Rechthoek 54">
              <a:extLst>
                <a:ext uri="{FF2B5EF4-FFF2-40B4-BE49-F238E27FC236}">
                  <a16:creationId xmlns:a16="http://schemas.microsoft.com/office/drawing/2014/main" id="{3961D0F0-38E3-4745-BB91-8DF2B41B9EC6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56" name="Rechthoek 55">
              <a:extLst>
                <a:ext uri="{FF2B5EF4-FFF2-40B4-BE49-F238E27FC236}">
                  <a16:creationId xmlns:a16="http://schemas.microsoft.com/office/drawing/2014/main" id="{F082B6D4-918A-42B7-99B3-3B8D5AD389F5}"/>
                </a:ext>
              </a:extLst>
            </p:cNvPr>
            <p:cNvSpPr/>
            <p:nvPr userDrawn="1"/>
          </p:nvSpPr>
          <p:spPr>
            <a:xfrm rot="5400000">
              <a:off x="5895976" y="-108104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6D9780EE-AC3E-4C16-9B20-B0A0803E6ED4}"/>
                </a:ext>
              </a:extLst>
            </p:cNvPr>
            <p:cNvSpPr/>
            <p:nvPr userDrawn="1"/>
          </p:nvSpPr>
          <p:spPr>
            <a:xfrm rot="5400000">
              <a:off x="5895976" y="-3728182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FBFCF26E-9F29-4558-9176-F149D8C8577D}"/>
                </a:ext>
              </a:extLst>
            </p:cNvPr>
            <p:cNvSpPr/>
            <p:nvPr userDrawn="1"/>
          </p:nvSpPr>
          <p:spPr>
            <a:xfrm>
              <a:off x="603936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58" name="Tijdelijke aanduiding voor voettekst 4">
            <a:extLst>
              <a:ext uri="{FF2B5EF4-FFF2-40B4-BE49-F238E27FC236}">
                <a16:creationId xmlns:a16="http://schemas.microsoft.com/office/drawing/2014/main" id="{0E659B60-CF7C-460A-A879-0DDBF9C652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/>
            </a:lvl1pPr>
          </a:lstStyle>
          <a:p>
            <a:endParaRPr lang="nl-NL" noProof="0"/>
          </a:p>
        </p:txBody>
      </p:sp>
      <p:sp>
        <p:nvSpPr>
          <p:cNvPr id="59" name="Tijdelijke aanduiding voor dianummer 5">
            <a:extLst>
              <a:ext uri="{FF2B5EF4-FFF2-40B4-BE49-F238E27FC236}">
                <a16:creationId xmlns:a16="http://schemas.microsoft.com/office/drawing/2014/main" id="{F1A38C1E-7B15-4C30-B676-08D9095C1F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8"/>
            <a:ext cx="707315" cy="1016405"/>
          </a:xfrm>
        </p:spPr>
        <p:txBody>
          <a:bodyPr/>
          <a:lstStyle/>
          <a:p>
            <a:fld id="{55B2A88A-B7BD-41B1-9FCB-9BE633251ACA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26" name="Tijdelijke aanduiding voor inhoud 3">
            <a:extLst>
              <a:ext uri="{FF2B5EF4-FFF2-40B4-BE49-F238E27FC236}">
                <a16:creationId xmlns:a16="http://schemas.microsoft.com/office/drawing/2014/main" id="{D2E8F4BF-FD5F-4F05-BB33-AC3E7EF96F6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22826085" y="11156982"/>
            <a:ext cx="18368190" cy="14394742"/>
          </a:xfrm>
          <a:solidFill>
            <a:schemeClr val="bg1">
              <a:lumMod val="95000"/>
            </a:schemeClr>
          </a:solidFill>
        </p:spPr>
        <p:txBody>
          <a:bodyPr vert="horz" lIns="180000" tIns="180000" rIns="180000" bIns="180000" rtlCol="0">
            <a:normAutofit/>
          </a:bodyPr>
          <a:lstStyle>
            <a:lvl1pPr algn="l">
              <a:defRPr lang="nl-NL" sz="4209" b="0" i="0" smtClean="0">
                <a:latin typeface="+mj-lt"/>
              </a:defRPr>
            </a:lvl1pPr>
            <a:lvl2pPr>
              <a:defRPr lang="nl-NL" smtClean="0"/>
            </a:lvl2pPr>
            <a:lvl3pPr>
              <a:defRPr lang="nl-NL" smtClean="0"/>
            </a:lvl3pPr>
            <a:lvl4pPr>
              <a:defRPr lang="nl-NL" smtClean="0"/>
            </a:lvl4pPr>
            <a:lvl5pPr>
              <a:defRPr lang="nl-NL"/>
            </a:lvl5pPr>
          </a:lstStyle>
          <a:p>
            <a:pPr marL="0" lvl="0" indent="0" algn="ctr">
              <a:buNone/>
            </a:pPr>
            <a:r>
              <a:rPr lang="nl-NL" noProof="0"/>
              <a:t>Klik op één van de iconen</a:t>
            </a:r>
            <a:br>
              <a:rPr lang="nl-NL" noProof="0"/>
            </a:br>
            <a:r>
              <a:rPr lang="nl-NL" noProof="0"/>
              <a:t>om een media in te vullen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3DFC91BB-AEF5-43B4-84CF-C6590D01D3E3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22820351" y="11157673"/>
            <a:ext cx="18373922" cy="14394049"/>
          </a:xfrm>
          <a:solidFill>
            <a:schemeClr val="bg1">
              <a:lumMod val="95000"/>
            </a:schemeClr>
          </a:solidFill>
        </p:spPr>
        <p:txBody>
          <a:bodyPr lIns="180000" tIns="180000" rIns="180000" bIns="180000">
            <a:normAutofit/>
          </a:bodyPr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 sz="4911" b="1">
                <a:solidFill>
                  <a:schemeClr val="bg2"/>
                </a:solidFill>
              </a:defRPr>
            </a:lvl1pPr>
            <a:lvl2pPr marL="0" indent="0">
              <a:spcAft>
                <a:spcPts val="0"/>
              </a:spcAft>
              <a:buNone/>
              <a:defRPr sz="4209"/>
            </a:lvl2pPr>
            <a:lvl3pPr marL="1247357" indent="-623677">
              <a:spcAft>
                <a:spcPts val="0"/>
              </a:spcAft>
              <a:defRPr sz="4209"/>
            </a:lvl3pPr>
            <a:lvl4pPr marL="1002340" indent="-1002340"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à"/>
              <a:defRPr sz="4209"/>
            </a:lvl4pPr>
            <a:lvl5pPr>
              <a:spcAft>
                <a:spcPts val="4209"/>
              </a:spcAft>
              <a:defRPr sz="4911"/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0" name="Tijdelijke aanduiding voor inhoud 3">
            <a:extLst>
              <a:ext uri="{FF2B5EF4-FFF2-40B4-BE49-F238E27FC236}">
                <a16:creationId xmlns:a16="http://schemas.microsoft.com/office/drawing/2014/main" id="{011BE011-FD19-4C53-988E-6F68943521B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1742373" y="11157673"/>
            <a:ext cx="18373922" cy="14394049"/>
          </a:xfrm>
          <a:solidFill>
            <a:schemeClr val="bg1">
              <a:lumMod val="95000"/>
            </a:schemeClr>
          </a:solidFill>
        </p:spPr>
        <p:txBody>
          <a:bodyPr lIns="180000" tIns="180000" rIns="180000" bIns="180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 sz="4911" b="1">
                <a:solidFill>
                  <a:schemeClr val="bg2"/>
                </a:solidFill>
              </a:defRPr>
            </a:lvl1pPr>
            <a:lvl2pPr marL="0" indent="0">
              <a:spcAft>
                <a:spcPts val="0"/>
              </a:spcAft>
              <a:buNone/>
              <a:defRPr sz="4209"/>
            </a:lvl2pPr>
            <a:lvl3pPr marL="1247357" indent="-623677">
              <a:spcAft>
                <a:spcPts val="0"/>
              </a:spcAft>
              <a:defRPr sz="4209"/>
            </a:lvl3pPr>
            <a:lvl4pPr marL="1002340" indent="-1002340"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à"/>
              <a:defRPr sz="4209"/>
            </a:lvl4pPr>
            <a:lvl5pPr>
              <a:spcAft>
                <a:spcPts val="4209"/>
              </a:spcAft>
              <a:defRPr sz="4911"/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nl-NL" noProof="0"/>
              <a:t>Klik om tekst in te voegen</a:t>
            </a:r>
          </a:p>
          <a:p>
            <a:pPr lvl="0"/>
            <a:endParaRPr lang="nl-NL" noProof="0"/>
          </a:p>
        </p:txBody>
      </p:sp>
      <p:grpSp>
        <p:nvGrpSpPr>
          <p:cNvPr id="23" name="Instructie">
            <a:extLst>
              <a:ext uri="{FF2B5EF4-FFF2-40B4-BE49-F238E27FC236}">
                <a16:creationId xmlns:a16="http://schemas.microsoft.com/office/drawing/2014/main" id="{969EA301-B913-4643-9ABD-180EFDB46534}"/>
              </a:ext>
            </a:extLst>
          </p:cNvPr>
          <p:cNvGrpSpPr/>
          <p:nvPr userDrawn="1"/>
        </p:nvGrpSpPr>
        <p:grpSpPr>
          <a:xfrm>
            <a:off x="43467416" y="3"/>
            <a:ext cx="11167745" cy="17428095"/>
            <a:chOff x="12391601" y="0"/>
            <a:chExt cx="3183678" cy="3947846"/>
          </a:xfrm>
        </p:grpSpPr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671A3C21-2740-4EB0-9EFD-9D2F7EC6FB9E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SmartArt invoegen/veranderen</a:t>
              </a:r>
            </a:p>
          </p:txBody>
        </p:sp>
        <p:sp>
          <p:nvSpPr>
            <p:cNvPr id="25" name="Ovaal 24">
              <a:extLst>
                <a:ext uri="{FF2B5EF4-FFF2-40B4-BE49-F238E27FC236}">
                  <a16:creationId xmlns:a16="http://schemas.microsoft.com/office/drawing/2014/main" id="{F3BC5726-1C08-4F05-B026-F3EFEB5D15A7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7" name="Rechte verbindingslijn 26">
              <a:extLst>
                <a:ext uri="{FF2B5EF4-FFF2-40B4-BE49-F238E27FC236}">
                  <a16:creationId xmlns:a16="http://schemas.microsoft.com/office/drawing/2014/main" id="{710F43EA-6B64-44B0-A291-485624C9AE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8" name="Rechte verbindingslijn 27">
              <a:extLst>
                <a:ext uri="{FF2B5EF4-FFF2-40B4-BE49-F238E27FC236}">
                  <a16:creationId xmlns:a16="http://schemas.microsoft.com/office/drawing/2014/main" id="{E09EE25D-EE60-42D7-A9E7-C5DD7B052EB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16A7D4DE-E8D0-42C4-82F1-6E9D4792E020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het bestaande SmartArt object d.m.v.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knop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Klik op het pictogram om een nieuw object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0" name="Rechte verbindingslijn 29">
              <a:extLst>
                <a:ext uri="{FF2B5EF4-FFF2-40B4-BE49-F238E27FC236}">
                  <a16:creationId xmlns:a16="http://schemas.microsoft.com/office/drawing/2014/main" id="{3DAC510A-CCEA-4C67-80F5-91B5DB4266B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947846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1" name="Ovaal 30">
              <a:extLst>
                <a:ext uri="{FF2B5EF4-FFF2-40B4-BE49-F238E27FC236}">
                  <a16:creationId xmlns:a16="http://schemas.microsoft.com/office/drawing/2014/main" id="{599A7A1A-AC9F-4335-9BBF-F7F10ACE59B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2" name="Rechthoek 31">
              <a:extLst>
                <a:ext uri="{FF2B5EF4-FFF2-40B4-BE49-F238E27FC236}">
                  <a16:creationId xmlns:a16="http://schemas.microsoft.com/office/drawing/2014/main" id="{FC429184-DD71-4C45-9AE9-EC6D4DDF83A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aan de linker kant van het venster het gewenste type en vervolgens het gewenste objecten klik op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3" name="Groep 32">
              <a:extLst>
                <a:ext uri="{FF2B5EF4-FFF2-40B4-BE49-F238E27FC236}">
                  <a16:creationId xmlns:a16="http://schemas.microsoft.com/office/drawing/2014/main" id="{AF3004DB-BC64-4750-94C3-119F8F8A0392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60" name="Rechthoek 59">
                <a:extLst>
                  <a:ext uri="{FF2B5EF4-FFF2-40B4-BE49-F238E27FC236}">
                    <a16:creationId xmlns:a16="http://schemas.microsoft.com/office/drawing/2014/main" id="{8117F592-BBC9-433D-A383-3FAA32C7BB0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61" name="Rechte verbindingslijn 60">
                <a:extLst>
                  <a:ext uri="{FF2B5EF4-FFF2-40B4-BE49-F238E27FC236}">
                    <a16:creationId xmlns:a16="http://schemas.microsoft.com/office/drawing/2014/main" id="{64C97D7B-D416-4CB8-988A-E030848DB9F9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62" name="Gelijkbenige driehoek 61">
                <a:extLst>
                  <a:ext uri="{FF2B5EF4-FFF2-40B4-BE49-F238E27FC236}">
                    <a16:creationId xmlns:a16="http://schemas.microsoft.com/office/drawing/2014/main" id="{E9931FC1-FE37-449E-85C9-20F1E0A2A853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5" name="Ovaal 34">
              <a:extLst>
                <a:ext uri="{FF2B5EF4-FFF2-40B4-BE49-F238E27FC236}">
                  <a16:creationId xmlns:a16="http://schemas.microsoft.com/office/drawing/2014/main" id="{403294EC-1214-4265-BF57-7F02819C38B2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" name="Rechthoek 35">
              <a:extLst>
                <a:ext uri="{FF2B5EF4-FFF2-40B4-BE49-F238E27FC236}">
                  <a16:creationId xmlns:a16="http://schemas.microsoft.com/office/drawing/2014/main" id="{7CCC7F87-B043-4C9B-962A-2BFE1EC696DF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der de tab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ulpmiddelen voor SmartArt - Opmaak’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kunnen opvulkleuren en lijnkleuren aangepast worden.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der de tab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tart’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kan o.a. de tekstopmaak worden gewijzigd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" name="Rechte verbindingslijn 36">
              <a:extLst>
                <a:ext uri="{FF2B5EF4-FFF2-40B4-BE49-F238E27FC236}">
                  <a16:creationId xmlns:a16="http://schemas.microsoft.com/office/drawing/2014/main" id="{4EA2C6E2-1BD9-4FC0-9202-F35C5F46679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" name="Groep 37">
              <a:extLst>
                <a:ext uri="{FF2B5EF4-FFF2-40B4-BE49-F238E27FC236}">
                  <a16:creationId xmlns:a16="http://schemas.microsoft.com/office/drawing/2014/main" id="{20880509-B8A3-4761-B4E3-14EEE63E71A9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39" name="Pijl: punthaak 38">
                <a:extLst>
                  <a:ext uri="{FF2B5EF4-FFF2-40B4-BE49-F238E27FC236}">
                    <a16:creationId xmlns:a16="http://schemas.microsoft.com/office/drawing/2014/main" id="{F82DBB84-5BFC-4D76-A29E-E1030376D7D0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id="{A8F93624-F9B6-420B-AEFC-DAA83308AE10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42" name="Groep 41">
                <a:extLst>
                  <a:ext uri="{FF2B5EF4-FFF2-40B4-BE49-F238E27FC236}">
                    <a16:creationId xmlns:a16="http://schemas.microsoft.com/office/drawing/2014/main" id="{6D01A9BB-A323-4B22-94AA-B37B07E22AD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49" name="Ovaal 48">
                  <a:extLst>
                    <a:ext uri="{FF2B5EF4-FFF2-40B4-BE49-F238E27FC236}">
                      <a16:creationId xmlns:a16="http://schemas.microsoft.com/office/drawing/2014/main" id="{E258FA11-22E2-49D3-A8E5-83DA1680A660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57" name="Rechte verbindingslijn 56">
                  <a:extLst>
                    <a:ext uri="{FF2B5EF4-FFF2-40B4-BE49-F238E27FC236}">
                      <a16:creationId xmlns:a16="http://schemas.microsoft.com/office/drawing/2014/main" id="{7ACF1F81-6476-4EEC-8068-788F2A7ACD30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43" name="Groep 42">
                <a:extLst>
                  <a:ext uri="{FF2B5EF4-FFF2-40B4-BE49-F238E27FC236}">
                    <a16:creationId xmlns:a16="http://schemas.microsoft.com/office/drawing/2014/main" id="{EF97AA14-53A2-4BFC-B45F-476F5004D488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47" name="Ovaal 46">
                  <a:extLst>
                    <a:ext uri="{FF2B5EF4-FFF2-40B4-BE49-F238E27FC236}">
                      <a16:creationId xmlns:a16="http://schemas.microsoft.com/office/drawing/2014/main" id="{32C1C2A0-E77D-4E49-9818-18CA943D6700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48" name="Rechte verbindingslijn 47">
                  <a:extLst>
                    <a:ext uri="{FF2B5EF4-FFF2-40B4-BE49-F238E27FC236}">
                      <a16:creationId xmlns:a16="http://schemas.microsoft.com/office/drawing/2014/main" id="{219F074F-C4DC-40EC-A4E3-73D2F77F52C7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44" name="Groep 43">
                <a:extLst>
                  <a:ext uri="{FF2B5EF4-FFF2-40B4-BE49-F238E27FC236}">
                    <a16:creationId xmlns:a16="http://schemas.microsoft.com/office/drawing/2014/main" id="{30A68E1B-82DB-4868-BC90-521430CA2057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45" name="Ovaal 44">
                  <a:extLst>
                    <a:ext uri="{FF2B5EF4-FFF2-40B4-BE49-F238E27FC236}">
                      <a16:creationId xmlns:a16="http://schemas.microsoft.com/office/drawing/2014/main" id="{DCED931A-9F11-4F84-B19A-DB412A998567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46" name="Rechte verbindingslijn 45">
                  <a:extLst>
                    <a:ext uri="{FF2B5EF4-FFF2-40B4-BE49-F238E27FC236}">
                      <a16:creationId xmlns:a16="http://schemas.microsoft.com/office/drawing/2014/main" id="{A0679111-00FC-40BF-8A13-5C1FE834D7B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63" name="Afbeelding 62">
            <a:extLst>
              <a:ext uri="{FF2B5EF4-FFF2-40B4-BE49-F238E27FC236}">
                <a16:creationId xmlns:a16="http://schemas.microsoft.com/office/drawing/2014/main" id="{520D55F0-1946-40CA-BE77-284D34AB78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2102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 Balken 8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-5567" y="6476684"/>
            <a:ext cx="42767257" cy="23798534"/>
          </a:xfrm>
          <a:solidFill>
            <a:schemeClr val="bg1">
              <a:lumMod val="95000"/>
            </a:schemeClr>
          </a:solidFill>
        </p:spPr>
        <p:txBody>
          <a:bodyPr tIns="108000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209" b="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noProof="0"/>
              <a:t>Klik op het icoon om een </a:t>
            </a:r>
            <a:br>
              <a:rPr lang="nl-NL" noProof="0"/>
            </a:br>
            <a:r>
              <a:rPr lang="nl-NL" noProof="0"/>
              <a:t>afbeelding in te voe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Koptitel</a:t>
            </a:r>
          </a:p>
        </p:txBody>
      </p:sp>
      <p:sp>
        <p:nvSpPr>
          <p:cNvPr id="30" name="Tijdelijke aanduiding voor voettekst 4">
            <a:extLst>
              <a:ext uri="{FF2B5EF4-FFF2-40B4-BE49-F238E27FC236}">
                <a16:creationId xmlns:a16="http://schemas.microsoft.com/office/drawing/2014/main" id="{1DA20FBD-9D0F-4EAB-B12C-126591D8B7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Plaats hier uw voettekst</a:t>
            </a:r>
          </a:p>
        </p:txBody>
      </p: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6644E39-2AF2-4EA0-9C3F-28C89D5A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597" y="27329718"/>
            <a:ext cx="851960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7" name="Tijdelijke aanduiding voor tekst 14">
            <a:extLst>
              <a:ext uri="{FF2B5EF4-FFF2-40B4-BE49-F238E27FC236}">
                <a16:creationId xmlns:a16="http://schemas.microsoft.com/office/drawing/2014/main" id="{A6BF4B27-7FC5-4896-80CE-3BA6119B83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32" name="Tijdelijke aanduiding voor tekst 3">
            <a:extLst>
              <a:ext uri="{FF2B5EF4-FFF2-40B4-BE49-F238E27FC236}">
                <a16:creationId xmlns:a16="http://schemas.microsoft.com/office/drawing/2014/main" id="{54C989E9-FA4D-4EA9-9D83-ACEFB86E984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2673480" y="14733967"/>
            <a:ext cx="18310781" cy="2416918"/>
          </a:xfrm>
          <a:custGeom>
            <a:avLst/>
            <a:gdLst>
              <a:gd name="connsiteX0" fmla="*/ 0 w 6336000"/>
              <a:gd name="connsiteY0" fmla="*/ 34052 h 547200"/>
              <a:gd name="connsiteX1" fmla="*/ 34052 w 6336000"/>
              <a:gd name="connsiteY1" fmla="*/ 0 h 547200"/>
              <a:gd name="connsiteX2" fmla="*/ 6301948 w 6336000"/>
              <a:gd name="connsiteY2" fmla="*/ 0 h 547200"/>
              <a:gd name="connsiteX3" fmla="*/ 6336000 w 6336000"/>
              <a:gd name="connsiteY3" fmla="*/ 34052 h 547200"/>
              <a:gd name="connsiteX4" fmla="*/ 6336000 w 6336000"/>
              <a:gd name="connsiteY4" fmla="*/ 513148 h 547200"/>
              <a:gd name="connsiteX5" fmla="*/ 6301948 w 6336000"/>
              <a:gd name="connsiteY5" fmla="*/ 547200 h 547200"/>
              <a:gd name="connsiteX6" fmla="*/ 34052 w 6336000"/>
              <a:gd name="connsiteY6" fmla="*/ 547200 h 547200"/>
              <a:gd name="connsiteX7" fmla="*/ 0 w 6336000"/>
              <a:gd name="connsiteY7" fmla="*/ 513148 h 547200"/>
              <a:gd name="connsiteX8" fmla="*/ 0 w 6336000"/>
              <a:gd name="connsiteY8" fmla="*/ 34052 h 547200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0 w 6336000"/>
              <a:gd name="connsiteY0" fmla="*/ 44015 h 557163"/>
              <a:gd name="connsiteX1" fmla="*/ 4390 w 6336000"/>
              <a:gd name="connsiteY1" fmla="*/ 17721 h 557163"/>
              <a:gd name="connsiteX2" fmla="*/ 34052 w 6336000"/>
              <a:gd name="connsiteY2" fmla="*/ 9963 h 557163"/>
              <a:gd name="connsiteX3" fmla="*/ 6301948 w 6336000"/>
              <a:gd name="connsiteY3" fmla="*/ 9963 h 557163"/>
              <a:gd name="connsiteX4" fmla="*/ 6336000 w 6336000"/>
              <a:gd name="connsiteY4" fmla="*/ 44015 h 557163"/>
              <a:gd name="connsiteX5" fmla="*/ 6336000 w 6336000"/>
              <a:gd name="connsiteY5" fmla="*/ 523111 h 557163"/>
              <a:gd name="connsiteX6" fmla="*/ 6301948 w 6336000"/>
              <a:gd name="connsiteY6" fmla="*/ 557163 h 557163"/>
              <a:gd name="connsiteX7" fmla="*/ 34052 w 6336000"/>
              <a:gd name="connsiteY7" fmla="*/ 557163 h 557163"/>
              <a:gd name="connsiteX8" fmla="*/ 0 w 6336000"/>
              <a:gd name="connsiteY8" fmla="*/ 523111 h 557163"/>
              <a:gd name="connsiteX9" fmla="*/ 0 w 6336000"/>
              <a:gd name="connsiteY9" fmla="*/ 44015 h 557163"/>
              <a:gd name="connsiteX0" fmla="*/ 325 w 6336325"/>
              <a:gd name="connsiteY0" fmla="*/ 34265 h 547413"/>
              <a:gd name="connsiteX1" fmla="*/ 4715 w 6336325"/>
              <a:gd name="connsiteY1" fmla="*/ 7971 h 547413"/>
              <a:gd name="connsiteX2" fmla="*/ 34377 w 6336325"/>
              <a:gd name="connsiteY2" fmla="*/ 213 h 547413"/>
              <a:gd name="connsiteX3" fmla="*/ 6302273 w 6336325"/>
              <a:gd name="connsiteY3" fmla="*/ 213 h 547413"/>
              <a:gd name="connsiteX4" fmla="*/ 6336325 w 6336325"/>
              <a:gd name="connsiteY4" fmla="*/ 34265 h 547413"/>
              <a:gd name="connsiteX5" fmla="*/ 6336325 w 6336325"/>
              <a:gd name="connsiteY5" fmla="*/ 513361 h 547413"/>
              <a:gd name="connsiteX6" fmla="*/ 6302273 w 6336325"/>
              <a:gd name="connsiteY6" fmla="*/ 547413 h 547413"/>
              <a:gd name="connsiteX7" fmla="*/ 34377 w 6336325"/>
              <a:gd name="connsiteY7" fmla="*/ 547413 h 547413"/>
              <a:gd name="connsiteX8" fmla="*/ 325 w 6336325"/>
              <a:gd name="connsiteY8" fmla="*/ 513361 h 547413"/>
              <a:gd name="connsiteX9" fmla="*/ 325 w 6336325"/>
              <a:gd name="connsiteY9" fmla="*/ 34265 h 547413"/>
              <a:gd name="connsiteX0" fmla="*/ 2320 w 6338320"/>
              <a:gd name="connsiteY0" fmla="*/ 545788 h 579840"/>
              <a:gd name="connsiteX1" fmla="*/ 6710 w 6338320"/>
              <a:gd name="connsiteY1" fmla="*/ 40398 h 579840"/>
              <a:gd name="connsiteX2" fmla="*/ 36372 w 6338320"/>
              <a:gd name="connsiteY2" fmla="*/ 32640 h 579840"/>
              <a:gd name="connsiteX3" fmla="*/ 6304268 w 6338320"/>
              <a:gd name="connsiteY3" fmla="*/ 32640 h 579840"/>
              <a:gd name="connsiteX4" fmla="*/ 6338320 w 6338320"/>
              <a:gd name="connsiteY4" fmla="*/ 66692 h 579840"/>
              <a:gd name="connsiteX5" fmla="*/ 6338320 w 6338320"/>
              <a:gd name="connsiteY5" fmla="*/ 545788 h 579840"/>
              <a:gd name="connsiteX6" fmla="*/ 6304268 w 6338320"/>
              <a:gd name="connsiteY6" fmla="*/ 579840 h 579840"/>
              <a:gd name="connsiteX7" fmla="*/ 36372 w 6338320"/>
              <a:gd name="connsiteY7" fmla="*/ 579840 h 579840"/>
              <a:gd name="connsiteX8" fmla="*/ 2320 w 6338320"/>
              <a:gd name="connsiteY8" fmla="*/ 545788 h 579840"/>
              <a:gd name="connsiteX0" fmla="*/ 440580 w 6776580"/>
              <a:gd name="connsiteY0" fmla="*/ 545209 h 579261"/>
              <a:gd name="connsiteX1" fmla="*/ 440208 w 6776580"/>
              <a:gd name="connsiteY1" fmla="*/ 39819 h 579261"/>
              <a:gd name="connsiteX2" fmla="*/ 474632 w 6776580"/>
              <a:gd name="connsiteY2" fmla="*/ 32061 h 579261"/>
              <a:gd name="connsiteX3" fmla="*/ 6742528 w 6776580"/>
              <a:gd name="connsiteY3" fmla="*/ 32061 h 579261"/>
              <a:gd name="connsiteX4" fmla="*/ 6776580 w 6776580"/>
              <a:gd name="connsiteY4" fmla="*/ 66113 h 579261"/>
              <a:gd name="connsiteX5" fmla="*/ 6776580 w 6776580"/>
              <a:gd name="connsiteY5" fmla="*/ 545209 h 579261"/>
              <a:gd name="connsiteX6" fmla="*/ 6742528 w 6776580"/>
              <a:gd name="connsiteY6" fmla="*/ 579261 h 579261"/>
              <a:gd name="connsiteX7" fmla="*/ 474632 w 6776580"/>
              <a:gd name="connsiteY7" fmla="*/ 579261 h 579261"/>
              <a:gd name="connsiteX8" fmla="*/ 440580 w 6776580"/>
              <a:gd name="connsiteY8" fmla="*/ 545209 h 579261"/>
              <a:gd name="connsiteX0" fmla="*/ 4188 w 6340188"/>
              <a:gd name="connsiteY0" fmla="*/ 545788 h 579840"/>
              <a:gd name="connsiteX1" fmla="*/ 3816 w 6340188"/>
              <a:gd name="connsiteY1" fmla="*/ 40398 h 579840"/>
              <a:gd name="connsiteX2" fmla="*/ 38240 w 6340188"/>
              <a:gd name="connsiteY2" fmla="*/ 32640 h 579840"/>
              <a:gd name="connsiteX3" fmla="*/ 6306136 w 6340188"/>
              <a:gd name="connsiteY3" fmla="*/ 32640 h 579840"/>
              <a:gd name="connsiteX4" fmla="*/ 6340188 w 6340188"/>
              <a:gd name="connsiteY4" fmla="*/ 66692 h 579840"/>
              <a:gd name="connsiteX5" fmla="*/ 6340188 w 6340188"/>
              <a:gd name="connsiteY5" fmla="*/ 545788 h 579840"/>
              <a:gd name="connsiteX6" fmla="*/ 6306136 w 6340188"/>
              <a:gd name="connsiteY6" fmla="*/ 579840 h 579840"/>
              <a:gd name="connsiteX7" fmla="*/ 38240 w 6340188"/>
              <a:gd name="connsiteY7" fmla="*/ 579840 h 579840"/>
              <a:gd name="connsiteX8" fmla="*/ 4188 w 6340188"/>
              <a:gd name="connsiteY8" fmla="*/ 545788 h 579840"/>
              <a:gd name="connsiteX0" fmla="*/ 1984 w 6337984"/>
              <a:gd name="connsiteY0" fmla="*/ 513434 h 547486"/>
              <a:gd name="connsiteX1" fmla="*/ 1612 w 6337984"/>
              <a:gd name="connsiteY1" fmla="*/ 8044 h 547486"/>
              <a:gd name="connsiteX2" fmla="*/ 36036 w 6337984"/>
              <a:gd name="connsiteY2" fmla="*/ 286 h 547486"/>
              <a:gd name="connsiteX3" fmla="*/ 6303932 w 6337984"/>
              <a:gd name="connsiteY3" fmla="*/ 286 h 547486"/>
              <a:gd name="connsiteX4" fmla="*/ 6337984 w 6337984"/>
              <a:gd name="connsiteY4" fmla="*/ 34338 h 547486"/>
              <a:gd name="connsiteX5" fmla="*/ 6337984 w 6337984"/>
              <a:gd name="connsiteY5" fmla="*/ 513434 h 547486"/>
              <a:gd name="connsiteX6" fmla="*/ 6303932 w 6337984"/>
              <a:gd name="connsiteY6" fmla="*/ 547486 h 547486"/>
              <a:gd name="connsiteX7" fmla="*/ 36036 w 6337984"/>
              <a:gd name="connsiteY7" fmla="*/ 547486 h 547486"/>
              <a:gd name="connsiteX8" fmla="*/ 1984 w 6337984"/>
              <a:gd name="connsiteY8" fmla="*/ 513434 h 547486"/>
              <a:gd name="connsiteX0" fmla="*/ 443038 w 6779038"/>
              <a:gd name="connsiteY0" fmla="*/ 513148 h 547200"/>
              <a:gd name="connsiteX1" fmla="*/ 440285 w 6779038"/>
              <a:gd name="connsiteY1" fmla="*/ 7758 h 547200"/>
              <a:gd name="connsiteX2" fmla="*/ 477090 w 6779038"/>
              <a:gd name="connsiteY2" fmla="*/ 0 h 547200"/>
              <a:gd name="connsiteX3" fmla="*/ 6744986 w 6779038"/>
              <a:gd name="connsiteY3" fmla="*/ 0 h 547200"/>
              <a:gd name="connsiteX4" fmla="*/ 6779038 w 6779038"/>
              <a:gd name="connsiteY4" fmla="*/ 34052 h 547200"/>
              <a:gd name="connsiteX5" fmla="*/ 6779038 w 6779038"/>
              <a:gd name="connsiteY5" fmla="*/ 513148 h 547200"/>
              <a:gd name="connsiteX6" fmla="*/ 6744986 w 6779038"/>
              <a:gd name="connsiteY6" fmla="*/ 547200 h 547200"/>
              <a:gd name="connsiteX7" fmla="*/ 477090 w 6779038"/>
              <a:gd name="connsiteY7" fmla="*/ 547200 h 547200"/>
              <a:gd name="connsiteX8" fmla="*/ 443038 w 6779038"/>
              <a:gd name="connsiteY8" fmla="*/ 513148 h 547200"/>
              <a:gd name="connsiteX0" fmla="*/ 3229 w 6339229"/>
              <a:gd name="connsiteY0" fmla="*/ 513433 h 547485"/>
              <a:gd name="connsiteX1" fmla="*/ 476 w 6339229"/>
              <a:gd name="connsiteY1" fmla="*/ 8043 h 547485"/>
              <a:gd name="connsiteX2" fmla="*/ 37281 w 6339229"/>
              <a:gd name="connsiteY2" fmla="*/ 285 h 547485"/>
              <a:gd name="connsiteX3" fmla="*/ 6305177 w 6339229"/>
              <a:gd name="connsiteY3" fmla="*/ 285 h 547485"/>
              <a:gd name="connsiteX4" fmla="*/ 6339229 w 6339229"/>
              <a:gd name="connsiteY4" fmla="*/ 34337 h 547485"/>
              <a:gd name="connsiteX5" fmla="*/ 6339229 w 6339229"/>
              <a:gd name="connsiteY5" fmla="*/ 513433 h 547485"/>
              <a:gd name="connsiteX6" fmla="*/ 6305177 w 6339229"/>
              <a:gd name="connsiteY6" fmla="*/ 547485 h 547485"/>
              <a:gd name="connsiteX7" fmla="*/ 37281 w 6339229"/>
              <a:gd name="connsiteY7" fmla="*/ 547485 h 547485"/>
              <a:gd name="connsiteX8" fmla="*/ 3229 w 6339229"/>
              <a:gd name="connsiteY8" fmla="*/ 513433 h 547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339229" h="547485">
                <a:moveTo>
                  <a:pt x="3229" y="513433"/>
                </a:moveTo>
                <a:cubicBezTo>
                  <a:pt x="-1715" y="423526"/>
                  <a:pt x="1945" y="14987"/>
                  <a:pt x="476" y="8043"/>
                </a:cubicBezTo>
                <a:cubicBezTo>
                  <a:pt x="-993" y="1099"/>
                  <a:pt x="-1471" y="-803"/>
                  <a:pt x="37281" y="285"/>
                </a:cubicBezTo>
                <a:cubicBezTo>
                  <a:pt x="76033" y="1373"/>
                  <a:pt x="4215878" y="285"/>
                  <a:pt x="6305177" y="285"/>
                </a:cubicBezTo>
                <a:cubicBezTo>
                  <a:pt x="6323983" y="285"/>
                  <a:pt x="6339229" y="15531"/>
                  <a:pt x="6339229" y="34337"/>
                </a:cubicBezTo>
                <a:lnTo>
                  <a:pt x="6339229" y="513433"/>
                </a:lnTo>
                <a:cubicBezTo>
                  <a:pt x="6339229" y="532239"/>
                  <a:pt x="6323983" y="547485"/>
                  <a:pt x="6305177" y="547485"/>
                </a:cubicBezTo>
                <a:lnTo>
                  <a:pt x="37281" y="547485"/>
                </a:lnTo>
                <a:cubicBezTo>
                  <a:pt x="18475" y="547485"/>
                  <a:pt x="3229" y="532239"/>
                  <a:pt x="3229" y="513433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144000" tIns="144000" rIns="216000" bIns="216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23" name="Tijdelijke aanduiding voor datum 3">
            <a:extLst>
              <a:ext uri="{FF2B5EF4-FFF2-40B4-BE49-F238E27FC236}">
                <a16:creationId xmlns:a16="http://schemas.microsoft.com/office/drawing/2014/main" id="{BDC78B71-F098-49D0-A82C-26F4C2AFD8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61630" y="27337493"/>
            <a:ext cx="9622631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70796E-DDED-4E27-9226-E9660C071F14}" type="datetime1">
              <a:rPr lang="nl-NL" noProof="0" smtClean="0"/>
              <a:t>26-6-2023</a:t>
            </a:fld>
            <a:endParaRPr lang="nl-NL" noProof="0"/>
          </a:p>
        </p:txBody>
      </p:sp>
      <p:sp>
        <p:nvSpPr>
          <p:cNvPr id="153" name="Tijdelijke aanduiding voor tekst 3">
            <a:extLst>
              <a:ext uri="{FF2B5EF4-FFF2-40B4-BE49-F238E27FC236}">
                <a16:creationId xmlns:a16="http://schemas.microsoft.com/office/drawing/2014/main" id="{8A98C4B6-1A94-4159-9EB3-581D74066A8F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22673480" y="17557276"/>
            <a:ext cx="18310781" cy="2416918"/>
          </a:xfrm>
          <a:custGeom>
            <a:avLst/>
            <a:gdLst>
              <a:gd name="connsiteX0" fmla="*/ 0 w 6336000"/>
              <a:gd name="connsiteY0" fmla="*/ 34052 h 547200"/>
              <a:gd name="connsiteX1" fmla="*/ 34052 w 6336000"/>
              <a:gd name="connsiteY1" fmla="*/ 0 h 547200"/>
              <a:gd name="connsiteX2" fmla="*/ 6301948 w 6336000"/>
              <a:gd name="connsiteY2" fmla="*/ 0 h 547200"/>
              <a:gd name="connsiteX3" fmla="*/ 6336000 w 6336000"/>
              <a:gd name="connsiteY3" fmla="*/ 34052 h 547200"/>
              <a:gd name="connsiteX4" fmla="*/ 6336000 w 6336000"/>
              <a:gd name="connsiteY4" fmla="*/ 513148 h 547200"/>
              <a:gd name="connsiteX5" fmla="*/ 6301948 w 6336000"/>
              <a:gd name="connsiteY5" fmla="*/ 547200 h 547200"/>
              <a:gd name="connsiteX6" fmla="*/ 34052 w 6336000"/>
              <a:gd name="connsiteY6" fmla="*/ 547200 h 547200"/>
              <a:gd name="connsiteX7" fmla="*/ 0 w 6336000"/>
              <a:gd name="connsiteY7" fmla="*/ 513148 h 547200"/>
              <a:gd name="connsiteX8" fmla="*/ 0 w 6336000"/>
              <a:gd name="connsiteY8" fmla="*/ 34052 h 547200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0 w 6336000"/>
              <a:gd name="connsiteY0" fmla="*/ 44015 h 557163"/>
              <a:gd name="connsiteX1" fmla="*/ 4390 w 6336000"/>
              <a:gd name="connsiteY1" fmla="*/ 17721 h 557163"/>
              <a:gd name="connsiteX2" fmla="*/ 34052 w 6336000"/>
              <a:gd name="connsiteY2" fmla="*/ 9963 h 557163"/>
              <a:gd name="connsiteX3" fmla="*/ 6301948 w 6336000"/>
              <a:gd name="connsiteY3" fmla="*/ 9963 h 557163"/>
              <a:gd name="connsiteX4" fmla="*/ 6336000 w 6336000"/>
              <a:gd name="connsiteY4" fmla="*/ 44015 h 557163"/>
              <a:gd name="connsiteX5" fmla="*/ 6336000 w 6336000"/>
              <a:gd name="connsiteY5" fmla="*/ 523111 h 557163"/>
              <a:gd name="connsiteX6" fmla="*/ 6301948 w 6336000"/>
              <a:gd name="connsiteY6" fmla="*/ 557163 h 557163"/>
              <a:gd name="connsiteX7" fmla="*/ 34052 w 6336000"/>
              <a:gd name="connsiteY7" fmla="*/ 557163 h 557163"/>
              <a:gd name="connsiteX8" fmla="*/ 0 w 6336000"/>
              <a:gd name="connsiteY8" fmla="*/ 523111 h 557163"/>
              <a:gd name="connsiteX9" fmla="*/ 0 w 6336000"/>
              <a:gd name="connsiteY9" fmla="*/ 44015 h 557163"/>
              <a:gd name="connsiteX0" fmla="*/ 325 w 6336325"/>
              <a:gd name="connsiteY0" fmla="*/ 34265 h 547413"/>
              <a:gd name="connsiteX1" fmla="*/ 4715 w 6336325"/>
              <a:gd name="connsiteY1" fmla="*/ 7971 h 547413"/>
              <a:gd name="connsiteX2" fmla="*/ 34377 w 6336325"/>
              <a:gd name="connsiteY2" fmla="*/ 213 h 547413"/>
              <a:gd name="connsiteX3" fmla="*/ 6302273 w 6336325"/>
              <a:gd name="connsiteY3" fmla="*/ 213 h 547413"/>
              <a:gd name="connsiteX4" fmla="*/ 6336325 w 6336325"/>
              <a:gd name="connsiteY4" fmla="*/ 34265 h 547413"/>
              <a:gd name="connsiteX5" fmla="*/ 6336325 w 6336325"/>
              <a:gd name="connsiteY5" fmla="*/ 513361 h 547413"/>
              <a:gd name="connsiteX6" fmla="*/ 6302273 w 6336325"/>
              <a:gd name="connsiteY6" fmla="*/ 547413 h 547413"/>
              <a:gd name="connsiteX7" fmla="*/ 34377 w 6336325"/>
              <a:gd name="connsiteY7" fmla="*/ 547413 h 547413"/>
              <a:gd name="connsiteX8" fmla="*/ 325 w 6336325"/>
              <a:gd name="connsiteY8" fmla="*/ 513361 h 547413"/>
              <a:gd name="connsiteX9" fmla="*/ 325 w 6336325"/>
              <a:gd name="connsiteY9" fmla="*/ 34265 h 547413"/>
              <a:gd name="connsiteX0" fmla="*/ 2320 w 6338320"/>
              <a:gd name="connsiteY0" fmla="*/ 545788 h 579840"/>
              <a:gd name="connsiteX1" fmla="*/ 6710 w 6338320"/>
              <a:gd name="connsiteY1" fmla="*/ 40398 h 579840"/>
              <a:gd name="connsiteX2" fmla="*/ 36372 w 6338320"/>
              <a:gd name="connsiteY2" fmla="*/ 32640 h 579840"/>
              <a:gd name="connsiteX3" fmla="*/ 6304268 w 6338320"/>
              <a:gd name="connsiteY3" fmla="*/ 32640 h 579840"/>
              <a:gd name="connsiteX4" fmla="*/ 6338320 w 6338320"/>
              <a:gd name="connsiteY4" fmla="*/ 66692 h 579840"/>
              <a:gd name="connsiteX5" fmla="*/ 6338320 w 6338320"/>
              <a:gd name="connsiteY5" fmla="*/ 545788 h 579840"/>
              <a:gd name="connsiteX6" fmla="*/ 6304268 w 6338320"/>
              <a:gd name="connsiteY6" fmla="*/ 579840 h 579840"/>
              <a:gd name="connsiteX7" fmla="*/ 36372 w 6338320"/>
              <a:gd name="connsiteY7" fmla="*/ 579840 h 579840"/>
              <a:gd name="connsiteX8" fmla="*/ 2320 w 6338320"/>
              <a:gd name="connsiteY8" fmla="*/ 545788 h 579840"/>
              <a:gd name="connsiteX0" fmla="*/ 440580 w 6776580"/>
              <a:gd name="connsiteY0" fmla="*/ 545209 h 579261"/>
              <a:gd name="connsiteX1" fmla="*/ 440208 w 6776580"/>
              <a:gd name="connsiteY1" fmla="*/ 39819 h 579261"/>
              <a:gd name="connsiteX2" fmla="*/ 474632 w 6776580"/>
              <a:gd name="connsiteY2" fmla="*/ 32061 h 579261"/>
              <a:gd name="connsiteX3" fmla="*/ 6742528 w 6776580"/>
              <a:gd name="connsiteY3" fmla="*/ 32061 h 579261"/>
              <a:gd name="connsiteX4" fmla="*/ 6776580 w 6776580"/>
              <a:gd name="connsiteY4" fmla="*/ 66113 h 579261"/>
              <a:gd name="connsiteX5" fmla="*/ 6776580 w 6776580"/>
              <a:gd name="connsiteY5" fmla="*/ 545209 h 579261"/>
              <a:gd name="connsiteX6" fmla="*/ 6742528 w 6776580"/>
              <a:gd name="connsiteY6" fmla="*/ 579261 h 579261"/>
              <a:gd name="connsiteX7" fmla="*/ 474632 w 6776580"/>
              <a:gd name="connsiteY7" fmla="*/ 579261 h 579261"/>
              <a:gd name="connsiteX8" fmla="*/ 440580 w 6776580"/>
              <a:gd name="connsiteY8" fmla="*/ 545209 h 579261"/>
              <a:gd name="connsiteX0" fmla="*/ 4188 w 6340188"/>
              <a:gd name="connsiteY0" fmla="*/ 545788 h 579840"/>
              <a:gd name="connsiteX1" fmla="*/ 3816 w 6340188"/>
              <a:gd name="connsiteY1" fmla="*/ 40398 h 579840"/>
              <a:gd name="connsiteX2" fmla="*/ 38240 w 6340188"/>
              <a:gd name="connsiteY2" fmla="*/ 32640 h 579840"/>
              <a:gd name="connsiteX3" fmla="*/ 6306136 w 6340188"/>
              <a:gd name="connsiteY3" fmla="*/ 32640 h 579840"/>
              <a:gd name="connsiteX4" fmla="*/ 6340188 w 6340188"/>
              <a:gd name="connsiteY4" fmla="*/ 66692 h 579840"/>
              <a:gd name="connsiteX5" fmla="*/ 6340188 w 6340188"/>
              <a:gd name="connsiteY5" fmla="*/ 545788 h 579840"/>
              <a:gd name="connsiteX6" fmla="*/ 6306136 w 6340188"/>
              <a:gd name="connsiteY6" fmla="*/ 579840 h 579840"/>
              <a:gd name="connsiteX7" fmla="*/ 38240 w 6340188"/>
              <a:gd name="connsiteY7" fmla="*/ 579840 h 579840"/>
              <a:gd name="connsiteX8" fmla="*/ 4188 w 6340188"/>
              <a:gd name="connsiteY8" fmla="*/ 545788 h 579840"/>
              <a:gd name="connsiteX0" fmla="*/ 1984 w 6337984"/>
              <a:gd name="connsiteY0" fmla="*/ 513434 h 547486"/>
              <a:gd name="connsiteX1" fmla="*/ 1612 w 6337984"/>
              <a:gd name="connsiteY1" fmla="*/ 8044 h 547486"/>
              <a:gd name="connsiteX2" fmla="*/ 36036 w 6337984"/>
              <a:gd name="connsiteY2" fmla="*/ 286 h 547486"/>
              <a:gd name="connsiteX3" fmla="*/ 6303932 w 6337984"/>
              <a:gd name="connsiteY3" fmla="*/ 286 h 547486"/>
              <a:gd name="connsiteX4" fmla="*/ 6337984 w 6337984"/>
              <a:gd name="connsiteY4" fmla="*/ 34338 h 547486"/>
              <a:gd name="connsiteX5" fmla="*/ 6337984 w 6337984"/>
              <a:gd name="connsiteY5" fmla="*/ 513434 h 547486"/>
              <a:gd name="connsiteX6" fmla="*/ 6303932 w 6337984"/>
              <a:gd name="connsiteY6" fmla="*/ 547486 h 547486"/>
              <a:gd name="connsiteX7" fmla="*/ 36036 w 6337984"/>
              <a:gd name="connsiteY7" fmla="*/ 547486 h 547486"/>
              <a:gd name="connsiteX8" fmla="*/ 1984 w 6337984"/>
              <a:gd name="connsiteY8" fmla="*/ 513434 h 547486"/>
              <a:gd name="connsiteX0" fmla="*/ 443038 w 6779038"/>
              <a:gd name="connsiteY0" fmla="*/ 513148 h 547200"/>
              <a:gd name="connsiteX1" fmla="*/ 440285 w 6779038"/>
              <a:gd name="connsiteY1" fmla="*/ 7758 h 547200"/>
              <a:gd name="connsiteX2" fmla="*/ 477090 w 6779038"/>
              <a:gd name="connsiteY2" fmla="*/ 0 h 547200"/>
              <a:gd name="connsiteX3" fmla="*/ 6744986 w 6779038"/>
              <a:gd name="connsiteY3" fmla="*/ 0 h 547200"/>
              <a:gd name="connsiteX4" fmla="*/ 6779038 w 6779038"/>
              <a:gd name="connsiteY4" fmla="*/ 34052 h 547200"/>
              <a:gd name="connsiteX5" fmla="*/ 6779038 w 6779038"/>
              <a:gd name="connsiteY5" fmla="*/ 513148 h 547200"/>
              <a:gd name="connsiteX6" fmla="*/ 6744986 w 6779038"/>
              <a:gd name="connsiteY6" fmla="*/ 547200 h 547200"/>
              <a:gd name="connsiteX7" fmla="*/ 477090 w 6779038"/>
              <a:gd name="connsiteY7" fmla="*/ 547200 h 547200"/>
              <a:gd name="connsiteX8" fmla="*/ 443038 w 6779038"/>
              <a:gd name="connsiteY8" fmla="*/ 513148 h 547200"/>
              <a:gd name="connsiteX0" fmla="*/ 3229 w 6339229"/>
              <a:gd name="connsiteY0" fmla="*/ 513433 h 547485"/>
              <a:gd name="connsiteX1" fmla="*/ 476 w 6339229"/>
              <a:gd name="connsiteY1" fmla="*/ 8043 h 547485"/>
              <a:gd name="connsiteX2" fmla="*/ 37281 w 6339229"/>
              <a:gd name="connsiteY2" fmla="*/ 285 h 547485"/>
              <a:gd name="connsiteX3" fmla="*/ 6305177 w 6339229"/>
              <a:gd name="connsiteY3" fmla="*/ 285 h 547485"/>
              <a:gd name="connsiteX4" fmla="*/ 6339229 w 6339229"/>
              <a:gd name="connsiteY4" fmla="*/ 34337 h 547485"/>
              <a:gd name="connsiteX5" fmla="*/ 6339229 w 6339229"/>
              <a:gd name="connsiteY5" fmla="*/ 513433 h 547485"/>
              <a:gd name="connsiteX6" fmla="*/ 6305177 w 6339229"/>
              <a:gd name="connsiteY6" fmla="*/ 547485 h 547485"/>
              <a:gd name="connsiteX7" fmla="*/ 37281 w 6339229"/>
              <a:gd name="connsiteY7" fmla="*/ 547485 h 547485"/>
              <a:gd name="connsiteX8" fmla="*/ 3229 w 6339229"/>
              <a:gd name="connsiteY8" fmla="*/ 513433 h 547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339229" h="547485">
                <a:moveTo>
                  <a:pt x="3229" y="513433"/>
                </a:moveTo>
                <a:cubicBezTo>
                  <a:pt x="-1715" y="423526"/>
                  <a:pt x="1945" y="14987"/>
                  <a:pt x="476" y="8043"/>
                </a:cubicBezTo>
                <a:cubicBezTo>
                  <a:pt x="-993" y="1099"/>
                  <a:pt x="-1471" y="-803"/>
                  <a:pt x="37281" y="285"/>
                </a:cubicBezTo>
                <a:cubicBezTo>
                  <a:pt x="76033" y="1373"/>
                  <a:pt x="4215878" y="285"/>
                  <a:pt x="6305177" y="285"/>
                </a:cubicBezTo>
                <a:cubicBezTo>
                  <a:pt x="6323983" y="285"/>
                  <a:pt x="6339229" y="15531"/>
                  <a:pt x="6339229" y="34337"/>
                </a:cubicBezTo>
                <a:lnTo>
                  <a:pt x="6339229" y="513433"/>
                </a:lnTo>
                <a:cubicBezTo>
                  <a:pt x="6339229" y="532239"/>
                  <a:pt x="6323983" y="547485"/>
                  <a:pt x="6305177" y="547485"/>
                </a:cubicBezTo>
                <a:lnTo>
                  <a:pt x="37281" y="547485"/>
                </a:lnTo>
                <a:cubicBezTo>
                  <a:pt x="18475" y="547485"/>
                  <a:pt x="3229" y="532239"/>
                  <a:pt x="3229" y="513433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144000" tIns="144000" rIns="216000" bIns="216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54" name="Tijdelijke aanduiding voor tekst 3">
            <a:extLst>
              <a:ext uri="{FF2B5EF4-FFF2-40B4-BE49-F238E27FC236}">
                <a16:creationId xmlns:a16="http://schemas.microsoft.com/office/drawing/2014/main" id="{FD32AE00-24ED-4295-A98C-4052E811CA7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22673480" y="20380583"/>
            <a:ext cx="18310781" cy="2416918"/>
          </a:xfrm>
          <a:custGeom>
            <a:avLst/>
            <a:gdLst>
              <a:gd name="connsiteX0" fmla="*/ 0 w 6336000"/>
              <a:gd name="connsiteY0" fmla="*/ 34052 h 547200"/>
              <a:gd name="connsiteX1" fmla="*/ 34052 w 6336000"/>
              <a:gd name="connsiteY1" fmla="*/ 0 h 547200"/>
              <a:gd name="connsiteX2" fmla="*/ 6301948 w 6336000"/>
              <a:gd name="connsiteY2" fmla="*/ 0 h 547200"/>
              <a:gd name="connsiteX3" fmla="*/ 6336000 w 6336000"/>
              <a:gd name="connsiteY3" fmla="*/ 34052 h 547200"/>
              <a:gd name="connsiteX4" fmla="*/ 6336000 w 6336000"/>
              <a:gd name="connsiteY4" fmla="*/ 513148 h 547200"/>
              <a:gd name="connsiteX5" fmla="*/ 6301948 w 6336000"/>
              <a:gd name="connsiteY5" fmla="*/ 547200 h 547200"/>
              <a:gd name="connsiteX6" fmla="*/ 34052 w 6336000"/>
              <a:gd name="connsiteY6" fmla="*/ 547200 h 547200"/>
              <a:gd name="connsiteX7" fmla="*/ 0 w 6336000"/>
              <a:gd name="connsiteY7" fmla="*/ 513148 h 547200"/>
              <a:gd name="connsiteX8" fmla="*/ 0 w 6336000"/>
              <a:gd name="connsiteY8" fmla="*/ 34052 h 547200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0 w 6336000"/>
              <a:gd name="connsiteY0" fmla="*/ 44015 h 557163"/>
              <a:gd name="connsiteX1" fmla="*/ 4390 w 6336000"/>
              <a:gd name="connsiteY1" fmla="*/ 17721 h 557163"/>
              <a:gd name="connsiteX2" fmla="*/ 34052 w 6336000"/>
              <a:gd name="connsiteY2" fmla="*/ 9963 h 557163"/>
              <a:gd name="connsiteX3" fmla="*/ 6301948 w 6336000"/>
              <a:gd name="connsiteY3" fmla="*/ 9963 h 557163"/>
              <a:gd name="connsiteX4" fmla="*/ 6336000 w 6336000"/>
              <a:gd name="connsiteY4" fmla="*/ 44015 h 557163"/>
              <a:gd name="connsiteX5" fmla="*/ 6336000 w 6336000"/>
              <a:gd name="connsiteY5" fmla="*/ 523111 h 557163"/>
              <a:gd name="connsiteX6" fmla="*/ 6301948 w 6336000"/>
              <a:gd name="connsiteY6" fmla="*/ 557163 h 557163"/>
              <a:gd name="connsiteX7" fmla="*/ 34052 w 6336000"/>
              <a:gd name="connsiteY7" fmla="*/ 557163 h 557163"/>
              <a:gd name="connsiteX8" fmla="*/ 0 w 6336000"/>
              <a:gd name="connsiteY8" fmla="*/ 523111 h 557163"/>
              <a:gd name="connsiteX9" fmla="*/ 0 w 6336000"/>
              <a:gd name="connsiteY9" fmla="*/ 44015 h 557163"/>
              <a:gd name="connsiteX0" fmla="*/ 325 w 6336325"/>
              <a:gd name="connsiteY0" fmla="*/ 34265 h 547413"/>
              <a:gd name="connsiteX1" fmla="*/ 4715 w 6336325"/>
              <a:gd name="connsiteY1" fmla="*/ 7971 h 547413"/>
              <a:gd name="connsiteX2" fmla="*/ 34377 w 6336325"/>
              <a:gd name="connsiteY2" fmla="*/ 213 h 547413"/>
              <a:gd name="connsiteX3" fmla="*/ 6302273 w 6336325"/>
              <a:gd name="connsiteY3" fmla="*/ 213 h 547413"/>
              <a:gd name="connsiteX4" fmla="*/ 6336325 w 6336325"/>
              <a:gd name="connsiteY4" fmla="*/ 34265 h 547413"/>
              <a:gd name="connsiteX5" fmla="*/ 6336325 w 6336325"/>
              <a:gd name="connsiteY5" fmla="*/ 513361 h 547413"/>
              <a:gd name="connsiteX6" fmla="*/ 6302273 w 6336325"/>
              <a:gd name="connsiteY6" fmla="*/ 547413 h 547413"/>
              <a:gd name="connsiteX7" fmla="*/ 34377 w 6336325"/>
              <a:gd name="connsiteY7" fmla="*/ 547413 h 547413"/>
              <a:gd name="connsiteX8" fmla="*/ 325 w 6336325"/>
              <a:gd name="connsiteY8" fmla="*/ 513361 h 547413"/>
              <a:gd name="connsiteX9" fmla="*/ 325 w 6336325"/>
              <a:gd name="connsiteY9" fmla="*/ 34265 h 547413"/>
              <a:gd name="connsiteX0" fmla="*/ 2320 w 6338320"/>
              <a:gd name="connsiteY0" fmla="*/ 545788 h 579840"/>
              <a:gd name="connsiteX1" fmla="*/ 6710 w 6338320"/>
              <a:gd name="connsiteY1" fmla="*/ 40398 h 579840"/>
              <a:gd name="connsiteX2" fmla="*/ 36372 w 6338320"/>
              <a:gd name="connsiteY2" fmla="*/ 32640 h 579840"/>
              <a:gd name="connsiteX3" fmla="*/ 6304268 w 6338320"/>
              <a:gd name="connsiteY3" fmla="*/ 32640 h 579840"/>
              <a:gd name="connsiteX4" fmla="*/ 6338320 w 6338320"/>
              <a:gd name="connsiteY4" fmla="*/ 66692 h 579840"/>
              <a:gd name="connsiteX5" fmla="*/ 6338320 w 6338320"/>
              <a:gd name="connsiteY5" fmla="*/ 545788 h 579840"/>
              <a:gd name="connsiteX6" fmla="*/ 6304268 w 6338320"/>
              <a:gd name="connsiteY6" fmla="*/ 579840 h 579840"/>
              <a:gd name="connsiteX7" fmla="*/ 36372 w 6338320"/>
              <a:gd name="connsiteY7" fmla="*/ 579840 h 579840"/>
              <a:gd name="connsiteX8" fmla="*/ 2320 w 6338320"/>
              <a:gd name="connsiteY8" fmla="*/ 545788 h 579840"/>
              <a:gd name="connsiteX0" fmla="*/ 440580 w 6776580"/>
              <a:gd name="connsiteY0" fmla="*/ 545209 h 579261"/>
              <a:gd name="connsiteX1" fmla="*/ 440208 w 6776580"/>
              <a:gd name="connsiteY1" fmla="*/ 39819 h 579261"/>
              <a:gd name="connsiteX2" fmla="*/ 474632 w 6776580"/>
              <a:gd name="connsiteY2" fmla="*/ 32061 h 579261"/>
              <a:gd name="connsiteX3" fmla="*/ 6742528 w 6776580"/>
              <a:gd name="connsiteY3" fmla="*/ 32061 h 579261"/>
              <a:gd name="connsiteX4" fmla="*/ 6776580 w 6776580"/>
              <a:gd name="connsiteY4" fmla="*/ 66113 h 579261"/>
              <a:gd name="connsiteX5" fmla="*/ 6776580 w 6776580"/>
              <a:gd name="connsiteY5" fmla="*/ 545209 h 579261"/>
              <a:gd name="connsiteX6" fmla="*/ 6742528 w 6776580"/>
              <a:gd name="connsiteY6" fmla="*/ 579261 h 579261"/>
              <a:gd name="connsiteX7" fmla="*/ 474632 w 6776580"/>
              <a:gd name="connsiteY7" fmla="*/ 579261 h 579261"/>
              <a:gd name="connsiteX8" fmla="*/ 440580 w 6776580"/>
              <a:gd name="connsiteY8" fmla="*/ 545209 h 579261"/>
              <a:gd name="connsiteX0" fmla="*/ 4188 w 6340188"/>
              <a:gd name="connsiteY0" fmla="*/ 545788 h 579840"/>
              <a:gd name="connsiteX1" fmla="*/ 3816 w 6340188"/>
              <a:gd name="connsiteY1" fmla="*/ 40398 h 579840"/>
              <a:gd name="connsiteX2" fmla="*/ 38240 w 6340188"/>
              <a:gd name="connsiteY2" fmla="*/ 32640 h 579840"/>
              <a:gd name="connsiteX3" fmla="*/ 6306136 w 6340188"/>
              <a:gd name="connsiteY3" fmla="*/ 32640 h 579840"/>
              <a:gd name="connsiteX4" fmla="*/ 6340188 w 6340188"/>
              <a:gd name="connsiteY4" fmla="*/ 66692 h 579840"/>
              <a:gd name="connsiteX5" fmla="*/ 6340188 w 6340188"/>
              <a:gd name="connsiteY5" fmla="*/ 545788 h 579840"/>
              <a:gd name="connsiteX6" fmla="*/ 6306136 w 6340188"/>
              <a:gd name="connsiteY6" fmla="*/ 579840 h 579840"/>
              <a:gd name="connsiteX7" fmla="*/ 38240 w 6340188"/>
              <a:gd name="connsiteY7" fmla="*/ 579840 h 579840"/>
              <a:gd name="connsiteX8" fmla="*/ 4188 w 6340188"/>
              <a:gd name="connsiteY8" fmla="*/ 545788 h 579840"/>
              <a:gd name="connsiteX0" fmla="*/ 1984 w 6337984"/>
              <a:gd name="connsiteY0" fmla="*/ 513434 h 547486"/>
              <a:gd name="connsiteX1" fmla="*/ 1612 w 6337984"/>
              <a:gd name="connsiteY1" fmla="*/ 8044 h 547486"/>
              <a:gd name="connsiteX2" fmla="*/ 36036 w 6337984"/>
              <a:gd name="connsiteY2" fmla="*/ 286 h 547486"/>
              <a:gd name="connsiteX3" fmla="*/ 6303932 w 6337984"/>
              <a:gd name="connsiteY3" fmla="*/ 286 h 547486"/>
              <a:gd name="connsiteX4" fmla="*/ 6337984 w 6337984"/>
              <a:gd name="connsiteY4" fmla="*/ 34338 h 547486"/>
              <a:gd name="connsiteX5" fmla="*/ 6337984 w 6337984"/>
              <a:gd name="connsiteY5" fmla="*/ 513434 h 547486"/>
              <a:gd name="connsiteX6" fmla="*/ 6303932 w 6337984"/>
              <a:gd name="connsiteY6" fmla="*/ 547486 h 547486"/>
              <a:gd name="connsiteX7" fmla="*/ 36036 w 6337984"/>
              <a:gd name="connsiteY7" fmla="*/ 547486 h 547486"/>
              <a:gd name="connsiteX8" fmla="*/ 1984 w 6337984"/>
              <a:gd name="connsiteY8" fmla="*/ 513434 h 547486"/>
              <a:gd name="connsiteX0" fmla="*/ 443038 w 6779038"/>
              <a:gd name="connsiteY0" fmla="*/ 513148 h 547200"/>
              <a:gd name="connsiteX1" fmla="*/ 440285 w 6779038"/>
              <a:gd name="connsiteY1" fmla="*/ 7758 h 547200"/>
              <a:gd name="connsiteX2" fmla="*/ 477090 w 6779038"/>
              <a:gd name="connsiteY2" fmla="*/ 0 h 547200"/>
              <a:gd name="connsiteX3" fmla="*/ 6744986 w 6779038"/>
              <a:gd name="connsiteY3" fmla="*/ 0 h 547200"/>
              <a:gd name="connsiteX4" fmla="*/ 6779038 w 6779038"/>
              <a:gd name="connsiteY4" fmla="*/ 34052 h 547200"/>
              <a:gd name="connsiteX5" fmla="*/ 6779038 w 6779038"/>
              <a:gd name="connsiteY5" fmla="*/ 513148 h 547200"/>
              <a:gd name="connsiteX6" fmla="*/ 6744986 w 6779038"/>
              <a:gd name="connsiteY6" fmla="*/ 547200 h 547200"/>
              <a:gd name="connsiteX7" fmla="*/ 477090 w 6779038"/>
              <a:gd name="connsiteY7" fmla="*/ 547200 h 547200"/>
              <a:gd name="connsiteX8" fmla="*/ 443038 w 6779038"/>
              <a:gd name="connsiteY8" fmla="*/ 513148 h 547200"/>
              <a:gd name="connsiteX0" fmla="*/ 3229 w 6339229"/>
              <a:gd name="connsiteY0" fmla="*/ 513433 h 547485"/>
              <a:gd name="connsiteX1" fmla="*/ 476 w 6339229"/>
              <a:gd name="connsiteY1" fmla="*/ 8043 h 547485"/>
              <a:gd name="connsiteX2" fmla="*/ 37281 w 6339229"/>
              <a:gd name="connsiteY2" fmla="*/ 285 h 547485"/>
              <a:gd name="connsiteX3" fmla="*/ 6305177 w 6339229"/>
              <a:gd name="connsiteY3" fmla="*/ 285 h 547485"/>
              <a:gd name="connsiteX4" fmla="*/ 6339229 w 6339229"/>
              <a:gd name="connsiteY4" fmla="*/ 34337 h 547485"/>
              <a:gd name="connsiteX5" fmla="*/ 6339229 w 6339229"/>
              <a:gd name="connsiteY5" fmla="*/ 513433 h 547485"/>
              <a:gd name="connsiteX6" fmla="*/ 6305177 w 6339229"/>
              <a:gd name="connsiteY6" fmla="*/ 547485 h 547485"/>
              <a:gd name="connsiteX7" fmla="*/ 37281 w 6339229"/>
              <a:gd name="connsiteY7" fmla="*/ 547485 h 547485"/>
              <a:gd name="connsiteX8" fmla="*/ 3229 w 6339229"/>
              <a:gd name="connsiteY8" fmla="*/ 513433 h 547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339229" h="547485">
                <a:moveTo>
                  <a:pt x="3229" y="513433"/>
                </a:moveTo>
                <a:cubicBezTo>
                  <a:pt x="-1715" y="423526"/>
                  <a:pt x="1945" y="14987"/>
                  <a:pt x="476" y="8043"/>
                </a:cubicBezTo>
                <a:cubicBezTo>
                  <a:pt x="-993" y="1099"/>
                  <a:pt x="-1471" y="-803"/>
                  <a:pt x="37281" y="285"/>
                </a:cubicBezTo>
                <a:cubicBezTo>
                  <a:pt x="76033" y="1373"/>
                  <a:pt x="4215878" y="285"/>
                  <a:pt x="6305177" y="285"/>
                </a:cubicBezTo>
                <a:cubicBezTo>
                  <a:pt x="6323983" y="285"/>
                  <a:pt x="6339229" y="15531"/>
                  <a:pt x="6339229" y="34337"/>
                </a:cubicBezTo>
                <a:lnTo>
                  <a:pt x="6339229" y="513433"/>
                </a:lnTo>
                <a:cubicBezTo>
                  <a:pt x="6339229" y="532239"/>
                  <a:pt x="6323983" y="547485"/>
                  <a:pt x="6305177" y="547485"/>
                </a:cubicBezTo>
                <a:lnTo>
                  <a:pt x="37281" y="547485"/>
                </a:lnTo>
                <a:cubicBezTo>
                  <a:pt x="18475" y="547485"/>
                  <a:pt x="3229" y="532239"/>
                  <a:pt x="3229" y="513433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144000" tIns="144000" rIns="216000" bIns="216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sp>
        <p:nvSpPr>
          <p:cNvPr id="155" name="Tijdelijke aanduiding voor tekst 3">
            <a:extLst>
              <a:ext uri="{FF2B5EF4-FFF2-40B4-BE49-F238E27FC236}">
                <a16:creationId xmlns:a16="http://schemas.microsoft.com/office/drawing/2014/main" id="{995A4DD9-A511-424A-A6EF-3EFF4DF1BE8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2673480" y="23203883"/>
            <a:ext cx="18310781" cy="2416918"/>
          </a:xfrm>
          <a:custGeom>
            <a:avLst/>
            <a:gdLst>
              <a:gd name="connsiteX0" fmla="*/ 0 w 6336000"/>
              <a:gd name="connsiteY0" fmla="*/ 34052 h 547200"/>
              <a:gd name="connsiteX1" fmla="*/ 34052 w 6336000"/>
              <a:gd name="connsiteY1" fmla="*/ 0 h 547200"/>
              <a:gd name="connsiteX2" fmla="*/ 6301948 w 6336000"/>
              <a:gd name="connsiteY2" fmla="*/ 0 h 547200"/>
              <a:gd name="connsiteX3" fmla="*/ 6336000 w 6336000"/>
              <a:gd name="connsiteY3" fmla="*/ 34052 h 547200"/>
              <a:gd name="connsiteX4" fmla="*/ 6336000 w 6336000"/>
              <a:gd name="connsiteY4" fmla="*/ 513148 h 547200"/>
              <a:gd name="connsiteX5" fmla="*/ 6301948 w 6336000"/>
              <a:gd name="connsiteY5" fmla="*/ 547200 h 547200"/>
              <a:gd name="connsiteX6" fmla="*/ 34052 w 6336000"/>
              <a:gd name="connsiteY6" fmla="*/ 547200 h 547200"/>
              <a:gd name="connsiteX7" fmla="*/ 0 w 6336000"/>
              <a:gd name="connsiteY7" fmla="*/ 513148 h 547200"/>
              <a:gd name="connsiteX8" fmla="*/ 0 w 6336000"/>
              <a:gd name="connsiteY8" fmla="*/ 34052 h 547200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438955 w 6774955"/>
              <a:gd name="connsiteY0" fmla="*/ 44015 h 557163"/>
              <a:gd name="connsiteX1" fmla="*/ 443345 w 6774955"/>
              <a:gd name="connsiteY1" fmla="*/ 17721 h 557163"/>
              <a:gd name="connsiteX2" fmla="*/ 473007 w 6774955"/>
              <a:gd name="connsiteY2" fmla="*/ 9963 h 557163"/>
              <a:gd name="connsiteX3" fmla="*/ 6740903 w 6774955"/>
              <a:gd name="connsiteY3" fmla="*/ 9963 h 557163"/>
              <a:gd name="connsiteX4" fmla="*/ 6774955 w 6774955"/>
              <a:gd name="connsiteY4" fmla="*/ 44015 h 557163"/>
              <a:gd name="connsiteX5" fmla="*/ 6774955 w 6774955"/>
              <a:gd name="connsiteY5" fmla="*/ 523111 h 557163"/>
              <a:gd name="connsiteX6" fmla="*/ 6740903 w 6774955"/>
              <a:gd name="connsiteY6" fmla="*/ 557163 h 557163"/>
              <a:gd name="connsiteX7" fmla="*/ 473007 w 6774955"/>
              <a:gd name="connsiteY7" fmla="*/ 557163 h 557163"/>
              <a:gd name="connsiteX8" fmla="*/ 438955 w 6774955"/>
              <a:gd name="connsiteY8" fmla="*/ 523111 h 557163"/>
              <a:gd name="connsiteX9" fmla="*/ 438955 w 6774955"/>
              <a:gd name="connsiteY9" fmla="*/ 44015 h 557163"/>
              <a:gd name="connsiteX0" fmla="*/ 0 w 6336000"/>
              <a:gd name="connsiteY0" fmla="*/ 44015 h 557163"/>
              <a:gd name="connsiteX1" fmla="*/ 4390 w 6336000"/>
              <a:gd name="connsiteY1" fmla="*/ 17721 h 557163"/>
              <a:gd name="connsiteX2" fmla="*/ 34052 w 6336000"/>
              <a:gd name="connsiteY2" fmla="*/ 9963 h 557163"/>
              <a:gd name="connsiteX3" fmla="*/ 6301948 w 6336000"/>
              <a:gd name="connsiteY3" fmla="*/ 9963 h 557163"/>
              <a:gd name="connsiteX4" fmla="*/ 6336000 w 6336000"/>
              <a:gd name="connsiteY4" fmla="*/ 44015 h 557163"/>
              <a:gd name="connsiteX5" fmla="*/ 6336000 w 6336000"/>
              <a:gd name="connsiteY5" fmla="*/ 523111 h 557163"/>
              <a:gd name="connsiteX6" fmla="*/ 6301948 w 6336000"/>
              <a:gd name="connsiteY6" fmla="*/ 557163 h 557163"/>
              <a:gd name="connsiteX7" fmla="*/ 34052 w 6336000"/>
              <a:gd name="connsiteY7" fmla="*/ 557163 h 557163"/>
              <a:gd name="connsiteX8" fmla="*/ 0 w 6336000"/>
              <a:gd name="connsiteY8" fmla="*/ 523111 h 557163"/>
              <a:gd name="connsiteX9" fmla="*/ 0 w 6336000"/>
              <a:gd name="connsiteY9" fmla="*/ 44015 h 557163"/>
              <a:gd name="connsiteX0" fmla="*/ 325 w 6336325"/>
              <a:gd name="connsiteY0" fmla="*/ 34265 h 547413"/>
              <a:gd name="connsiteX1" fmla="*/ 4715 w 6336325"/>
              <a:gd name="connsiteY1" fmla="*/ 7971 h 547413"/>
              <a:gd name="connsiteX2" fmla="*/ 34377 w 6336325"/>
              <a:gd name="connsiteY2" fmla="*/ 213 h 547413"/>
              <a:gd name="connsiteX3" fmla="*/ 6302273 w 6336325"/>
              <a:gd name="connsiteY3" fmla="*/ 213 h 547413"/>
              <a:gd name="connsiteX4" fmla="*/ 6336325 w 6336325"/>
              <a:gd name="connsiteY4" fmla="*/ 34265 h 547413"/>
              <a:gd name="connsiteX5" fmla="*/ 6336325 w 6336325"/>
              <a:gd name="connsiteY5" fmla="*/ 513361 h 547413"/>
              <a:gd name="connsiteX6" fmla="*/ 6302273 w 6336325"/>
              <a:gd name="connsiteY6" fmla="*/ 547413 h 547413"/>
              <a:gd name="connsiteX7" fmla="*/ 34377 w 6336325"/>
              <a:gd name="connsiteY7" fmla="*/ 547413 h 547413"/>
              <a:gd name="connsiteX8" fmla="*/ 325 w 6336325"/>
              <a:gd name="connsiteY8" fmla="*/ 513361 h 547413"/>
              <a:gd name="connsiteX9" fmla="*/ 325 w 6336325"/>
              <a:gd name="connsiteY9" fmla="*/ 34265 h 547413"/>
              <a:gd name="connsiteX0" fmla="*/ 2320 w 6338320"/>
              <a:gd name="connsiteY0" fmla="*/ 545788 h 579840"/>
              <a:gd name="connsiteX1" fmla="*/ 6710 w 6338320"/>
              <a:gd name="connsiteY1" fmla="*/ 40398 h 579840"/>
              <a:gd name="connsiteX2" fmla="*/ 36372 w 6338320"/>
              <a:gd name="connsiteY2" fmla="*/ 32640 h 579840"/>
              <a:gd name="connsiteX3" fmla="*/ 6304268 w 6338320"/>
              <a:gd name="connsiteY3" fmla="*/ 32640 h 579840"/>
              <a:gd name="connsiteX4" fmla="*/ 6338320 w 6338320"/>
              <a:gd name="connsiteY4" fmla="*/ 66692 h 579840"/>
              <a:gd name="connsiteX5" fmla="*/ 6338320 w 6338320"/>
              <a:gd name="connsiteY5" fmla="*/ 545788 h 579840"/>
              <a:gd name="connsiteX6" fmla="*/ 6304268 w 6338320"/>
              <a:gd name="connsiteY6" fmla="*/ 579840 h 579840"/>
              <a:gd name="connsiteX7" fmla="*/ 36372 w 6338320"/>
              <a:gd name="connsiteY7" fmla="*/ 579840 h 579840"/>
              <a:gd name="connsiteX8" fmla="*/ 2320 w 6338320"/>
              <a:gd name="connsiteY8" fmla="*/ 545788 h 579840"/>
              <a:gd name="connsiteX0" fmla="*/ 440580 w 6776580"/>
              <a:gd name="connsiteY0" fmla="*/ 545209 h 579261"/>
              <a:gd name="connsiteX1" fmla="*/ 440208 w 6776580"/>
              <a:gd name="connsiteY1" fmla="*/ 39819 h 579261"/>
              <a:gd name="connsiteX2" fmla="*/ 474632 w 6776580"/>
              <a:gd name="connsiteY2" fmla="*/ 32061 h 579261"/>
              <a:gd name="connsiteX3" fmla="*/ 6742528 w 6776580"/>
              <a:gd name="connsiteY3" fmla="*/ 32061 h 579261"/>
              <a:gd name="connsiteX4" fmla="*/ 6776580 w 6776580"/>
              <a:gd name="connsiteY4" fmla="*/ 66113 h 579261"/>
              <a:gd name="connsiteX5" fmla="*/ 6776580 w 6776580"/>
              <a:gd name="connsiteY5" fmla="*/ 545209 h 579261"/>
              <a:gd name="connsiteX6" fmla="*/ 6742528 w 6776580"/>
              <a:gd name="connsiteY6" fmla="*/ 579261 h 579261"/>
              <a:gd name="connsiteX7" fmla="*/ 474632 w 6776580"/>
              <a:gd name="connsiteY7" fmla="*/ 579261 h 579261"/>
              <a:gd name="connsiteX8" fmla="*/ 440580 w 6776580"/>
              <a:gd name="connsiteY8" fmla="*/ 545209 h 579261"/>
              <a:gd name="connsiteX0" fmla="*/ 4188 w 6340188"/>
              <a:gd name="connsiteY0" fmla="*/ 545788 h 579840"/>
              <a:gd name="connsiteX1" fmla="*/ 3816 w 6340188"/>
              <a:gd name="connsiteY1" fmla="*/ 40398 h 579840"/>
              <a:gd name="connsiteX2" fmla="*/ 38240 w 6340188"/>
              <a:gd name="connsiteY2" fmla="*/ 32640 h 579840"/>
              <a:gd name="connsiteX3" fmla="*/ 6306136 w 6340188"/>
              <a:gd name="connsiteY3" fmla="*/ 32640 h 579840"/>
              <a:gd name="connsiteX4" fmla="*/ 6340188 w 6340188"/>
              <a:gd name="connsiteY4" fmla="*/ 66692 h 579840"/>
              <a:gd name="connsiteX5" fmla="*/ 6340188 w 6340188"/>
              <a:gd name="connsiteY5" fmla="*/ 545788 h 579840"/>
              <a:gd name="connsiteX6" fmla="*/ 6306136 w 6340188"/>
              <a:gd name="connsiteY6" fmla="*/ 579840 h 579840"/>
              <a:gd name="connsiteX7" fmla="*/ 38240 w 6340188"/>
              <a:gd name="connsiteY7" fmla="*/ 579840 h 579840"/>
              <a:gd name="connsiteX8" fmla="*/ 4188 w 6340188"/>
              <a:gd name="connsiteY8" fmla="*/ 545788 h 579840"/>
              <a:gd name="connsiteX0" fmla="*/ 1984 w 6337984"/>
              <a:gd name="connsiteY0" fmla="*/ 513434 h 547486"/>
              <a:gd name="connsiteX1" fmla="*/ 1612 w 6337984"/>
              <a:gd name="connsiteY1" fmla="*/ 8044 h 547486"/>
              <a:gd name="connsiteX2" fmla="*/ 36036 w 6337984"/>
              <a:gd name="connsiteY2" fmla="*/ 286 h 547486"/>
              <a:gd name="connsiteX3" fmla="*/ 6303932 w 6337984"/>
              <a:gd name="connsiteY3" fmla="*/ 286 h 547486"/>
              <a:gd name="connsiteX4" fmla="*/ 6337984 w 6337984"/>
              <a:gd name="connsiteY4" fmla="*/ 34338 h 547486"/>
              <a:gd name="connsiteX5" fmla="*/ 6337984 w 6337984"/>
              <a:gd name="connsiteY5" fmla="*/ 513434 h 547486"/>
              <a:gd name="connsiteX6" fmla="*/ 6303932 w 6337984"/>
              <a:gd name="connsiteY6" fmla="*/ 547486 h 547486"/>
              <a:gd name="connsiteX7" fmla="*/ 36036 w 6337984"/>
              <a:gd name="connsiteY7" fmla="*/ 547486 h 547486"/>
              <a:gd name="connsiteX8" fmla="*/ 1984 w 6337984"/>
              <a:gd name="connsiteY8" fmla="*/ 513434 h 547486"/>
              <a:gd name="connsiteX0" fmla="*/ 443038 w 6779038"/>
              <a:gd name="connsiteY0" fmla="*/ 513148 h 547200"/>
              <a:gd name="connsiteX1" fmla="*/ 440285 w 6779038"/>
              <a:gd name="connsiteY1" fmla="*/ 7758 h 547200"/>
              <a:gd name="connsiteX2" fmla="*/ 477090 w 6779038"/>
              <a:gd name="connsiteY2" fmla="*/ 0 h 547200"/>
              <a:gd name="connsiteX3" fmla="*/ 6744986 w 6779038"/>
              <a:gd name="connsiteY3" fmla="*/ 0 h 547200"/>
              <a:gd name="connsiteX4" fmla="*/ 6779038 w 6779038"/>
              <a:gd name="connsiteY4" fmla="*/ 34052 h 547200"/>
              <a:gd name="connsiteX5" fmla="*/ 6779038 w 6779038"/>
              <a:gd name="connsiteY5" fmla="*/ 513148 h 547200"/>
              <a:gd name="connsiteX6" fmla="*/ 6744986 w 6779038"/>
              <a:gd name="connsiteY6" fmla="*/ 547200 h 547200"/>
              <a:gd name="connsiteX7" fmla="*/ 477090 w 6779038"/>
              <a:gd name="connsiteY7" fmla="*/ 547200 h 547200"/>
              <a:gd name="connsiteX8" fmla="*/ 443038 w 6779038"/>
              <a:gd name="connsiteY8" fmla="*/ 513148 h 547200"/>
              <a:gd name="connsiteX0" fmla="*/ 3229 w 6339229"/>
              <a:gd name="connsiteY0" fmla="*/ 513433 h 547485"/>
              <a:gd name="connsiteX1" fmla="*/ 476 w 6339229"/>
              <a:gd name="connsiteY1" fmla="*/ 8043 h 547485"/>
              <a:gd name="connsiteX2" fmla="*/ 37281 w 6339229"/>
              <a:gd name="connsiteY2" fmla="*/ 285 h 547485"/>
              <a:gd name="connsiteX3" fmla="*/ 6305177 w 6339229"/>
              <a:gd name="connsiteY3" fmla="*/ 285 h 547485"/>
              <a:gd name="connsiteX4" fmla="*/ 6339229 w 6339229"/>
              <a:gd name="connsiteY4" fmla="*/ 34337 h 547485"/>
              <a:gd name="connsiteX5" fmla="*/ 6339229 w 6339229"/>
              <a:gd name="connsiteY5" fmla="*/ 513433 h 547485"/>
              <a:gd name="connsiteX6" fmla="*/ 6305177 w 6339229"/>
              <a:gd name="connsiteY6" fmla="*/ 547485 h 547485"/>
              <a:gd name="connsiteX7" fmla="*/ 37281 w 6339229"/>
              <a:gd name="connsiteY7" fmla="*/ 547485 h 547485"/>
              <a:gd name="connsiteX8" fmla="*/ 3229 w 6339229"/>
              <a:gd name="connsiteY8" fmla="*/ 513433 h 547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339229" h="547485">
                <a:moveTo>
                  <a:pt x="3229" y="513433"/>
                </a:moveTo>
                <a:cubicBezTo>
                  <a:pt x="-1715" y="423526"/>
                  <a:pt x="1945" y="14987"/>
                  <a:pt x="476" y="8043"/>
                </a:cubicBezTo>
                <a:cubicBezTo>
                  <a:pt x="-993" y="1099"/>
                  <a:pt x="-1471" y="-803"/>
                  <a:pt x="37281" y="285"/>
                </a:cubicBezTo>
                <a:cubicBezTo>
                  <a:pt x="76033" y="1373"/>
                  <a:pt x="4215878" y="285"/>
                  <a:pt x="6305177" y="285"/>
                </a:cubicBezTo>
                <a:cubicBezTo>
                  <a:pt x="6323983" y="285"/>
                  <a:pt x="6339229" y="15531"/>
                  <a:pt x="6339229" y="34337"/>
                </a:cubicBezTo>
                <a:lnTo>
                  <a:pt x="6339229" y="513433"/>
                </a:lnTo>
                <a:cubicBezTo>
                  <a:pt x="6339229" y="532239"/>
                  <a:pt x="6323983" y="547485"/>
                  <a:pt x="6305177" y="547485"/>
                </a:cubicBezTo>
                <a:lnTo>
                  <a:pt x="37281" y="547485"/>
                </a:lnTo>
                <a:cubicBezTo>
                  <a:pt x="18475" y="547485"/>
                  <a:pt x="3229" y="532239"/>
                  <a:pt x="3229" y="513433"/>
                </a:cubicBezTo>
                <a:close/>
              </a:path>
            </a:pathLst>
          </a:custGeom>
          <a:solidFill>
            <a:schemeClr val="bg2"/>
          </a:solidFill>
        </p:spPr>
        <p:txBody>
          <a:bodyPr lIns="144000" tIns="144000" rIns="216000" bIns="216000"/>
          <a:lstStyle>
            <a:lvl1pPr marL="0" marR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5612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marL="0" marR="0" lvl="0" indent="0" algn="l" defTabSz="3207489" rtl="0" eaLnBrk="1" fontAlgn="auto" latinLnBrk="0" hangingPunct="1">
              <a:lnSpc>
                <a:spcPct val="120000"/>
              </a:lnSpc>
              <a:spcBef>
                <a:spcPts val="2105"/>
              </a:spcBef>
              <a:spcAft>
                <a:spcPts val="2105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noProof="0"/>
              <a:t>Klik om tekst in te voegen</a:t>
            </a:r>
          </a:p>
        </p:txBody>
      </p:sp>
      <p:grpSp>
        <p:nvGrpSpPr>
          <p:cNvPr id="167" name="Groep 258">
            <a:extLst>
              <a:ext uri="{FF2B5EF4-FFF2-40B4-BE49-F238E27FC236}">
                <a16:creationId xmlns:a16="http://schemas.microsoft.com/office/drawing/2014/main" id="{FE18E7C9-5F3C-41EF-BF34-D683CD93781B}"/>
              </a:ext>
            </a:extLst>
          </p:cNvPr>
          <p:cNvGrpSpPr/>
          <p:nvPr userDrawn="1"/>
        </p:nvGrpSpPr>
        <p:grpSpPr>
          <a:xfrm>
            <a:off x="43467416" y="5"/>
            <a:ext cx="11167745" cy="23084356"/>
            <a:chOff x="12391601" y="0"/>
            <a:chExt cx="3183678" cy="5229113"/>
          </a:xfrm>
        </p:grpSpPr>
        <p:grpSp>
          <p:nvGrpSpPr>
            <p:cNvPr id="168" name="Meer informatie">
              <a:extLst>
                <a:ext uri="{FF2B5EF4-FFF2-40B4-BE49-F238E27FC236}">
                  <a16:creationId xmlns:a16="http://schemas.microsoft.com/office/drawing/2014/main" id="{0F7A2FB2-D7BB-48FE-8D4F-62B9A176ED81}"/>
                </a:ext>
              </a:extLst>
            </p:cNvPr>
            <p:cNvGrpSpPr/>
            <p:nvPr userDrawn="1"/>
          </p:nvGrpSpPr>
          <p:grpSpPr>
            <a:xfrm>
              <a:off x="12396764" y="4445840"/>
              <a:ext cx="3178515" cy="783273"/>
              <a:chOff x="-3741486" y="3386444"/>
              <a:chExt cx="3178515" cy="783273"/>
            </a:xfrm>
          </p:grpSpPr>
          <p:sp>
            <p:nvSpPr>
              <p:cNvPr id="229" name="Freeform 101">
                <a:extLst>
                  <a:ext uri="{FF2B5EF4-FFF2-40B4-BE49-F238E27FC236}">
                    <a16:creationId xmlns:a16="http://schemas.microsoft.com/office/drawing/2014/main" id="{0031DDF7-C28C-4806-A86F-2013C6A9F7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3859" noProof="0"/>
              </a:p>
            </p:txBody>
          </p:sp>
          <p:sp>
            <p:nvSpPr>
              <p:cNvPr id="230" name="Rechthoek 306">
                <a:extLst>
                  <a:ext uri="{FF2B5EF4-FFF2-40B4-BE49-F238E27FC236}">
                    <a16:creationId xmlns:a16="http://schemas.microsoft.com/office/drawing/2014/main" id="{4B4FF802-0062-4182-A927-B60762328980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3207489" eaLnBrk="1" fontAlgn="auto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3859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Instructie dia: YouTube links´</a:t>
                </a:r>
                <a:r>
                  <a:rPr kumimoji="0" lang="nl-NL" sz="385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45" name="Rechte verbindingslijn 307">
                <a:extLst>
                  <a:ext uri="{FF2B5EF4-FFF2-40B4-BE49-F238E27FC236}">
                    <a16:creationId xmlns:a16="http://schemas.microsoft.com/office/drawing/2014/main" id="{3A2592B0-6D7A-45E7-8F22-0323E512F1A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9" name="Rechthoek 260">
              <a:extLst>
                <a:ext uri="{FF2B5EF4-FFF2-40B4-BE49-F238E27FC236}">
                  <a16:creationId xmlns:a16="http://schemas.microsoft.com/office/drawing/2014/main" id="{52C54B33-0E6F-4900-A56F-19F0B351850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170" name="Ovaal 261">
              <a:extLst>
                <a:ext uri="{FF2B5EF4-FFF2-40B4-BE49-F238E27FC236}">
                  <a16:creationId xmlns:a16="http://schemas.microsoft.com/office/drawing/2014/main" id="{2B842E25-22E9-4681-AE1C-387696989BB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1" name="Rechte verbindingslijn 262">
              <a:extLst>
                <a:ext uri="{FF2B5EF4-FFF2-40B4-BE49-F238E27FC236}">
                  <a16:creationId xmlns:a16="http://schemas.microsoft.com/office/drawing/2014/main" id="{1620D41F-AB81-46F9-99BE-1B9124F7B8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7" name="Rechte verbindingslijn 263">
              <a:extLst>
                <a:ext uri="{FF2B5EF4-FFF2-40B4-BE49-F238E27FC236}">
                  <a16:creationId xmlns:a16="http://schemas.microsoft.com/office/drawing/2014/main" id="{60989F6B-E889-44B7-8FF9-52DAAC264D1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88" name="Rechthoek 264">
              <a:extLst>
                <a:ext uri="{FF2B5EF4-FFF2-40B4-BE49-F238E27FC236}">
                  <a16:creationId xmlns:a16="http://schemas.microsoft.com/office/drawing/2014/main" id="{5C7E4C0C-182F-4B9E-AE82-C28502245921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oor deze te selecteren en op de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elete´-toets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e drukken. Klik dan op het pictogram om een nieuwe afbeelding in te voegen. </a:t>
              </a:r>
              <a:r>
                <a:rPr kumimoji="0" lang="nl-NL" sz="3859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89" name="Rechte verbindingslijn 265">
              <a:extLst>
                <a:ext uri="{FF2B5EF4-FFF2-40B4-BE49-F238E27FC236}">
                  <a16:creationId xmlns:a16="http://schemas.microsoft.com/office/drawing/2014/main" id="{0E852508-8CBA-43BD-8D2D-72E14BEDE5C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4327957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90" name="Ovaal 266">
              <a:extLst>
                <a:ext uri="{FF2B5EF4-FFF2-40B4-BE49-F238E27FC236}">
                  <a16:creationId xmlns:a16="http://schemas.microsoft.com/office/drawing/2014/main" id="{B3EA64D6-D0B9-42B9-A0E7-1E9CE13B131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91" name="Rechthoek 267">
              <a:extLst>
                <a:ext uri="{FF2B5EF4-FFF2-40B4-BE49-F238E27FC236}">
                  <a16:creationId xmlns:a16="http://schemas.microsoft.com/office/drawing/2014/main" id="{D94D0B71-4AD1-444D-A3C1-D84F41870101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´Invoeg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92" name="Groep 268">
              <a:extLst>
                <a:ext uri="{FF2B5EF4-FFF2-40B4-BE49-F238E27FC236}">
                  <a16:creationId xmlns:a16="http://schemas.microsoft.com/office/drawing/2014/main" id="{C3AE59F1-5BCF-4C25-B665-F056FB35F7D1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26" name="Rechthoek 302">
                <a:extLst>
                  <a:ext uri="{FF2B5EF4-FFF2-40B4-BE49-F238E27FC236}">
                    <a16:creationId xmlns:a16="http://schemas.microsoft.com/office/drawing/2014/main" id="{CF7490C1-4857-4F62-9534-0289BB759C7D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227" name="Rechte verbindingslijn 303">
                <a:extLst>
                  <a:ext uri="{FF2B5EF4-FFF2-40B4-BE49-F238E27FC236}">
                    <a16:creationId xmlns:a16="http://schemas.microsoft.com/office/drawing/2014/main" id="{D8B49E5E-9784-4489-90CA-AC197D62229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28" name="Gelijkbenige driehoek 304">
                <a:extLst>
                  <a:ext uri="{FF2B5EF4-FFF2-40B4-BE49-F238E27FC236}">
                    <a16:creationId xmlns:a16="http://schemas.microsoft.com/office/drawing/2014/main" id="{1E92FB0C-DCB1-4FD2-9390-00C4DB0B0E3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93" name="Groep 269">
              <a:extLst>
                <a:ext uri="{FF2B5EF4-FFF2-40B4-BE49-F238E27FC236}">
                  <a16:creationId xmlns:a16="http://schemas.microsoft.com/office/drawing/2014/main" id="{E772412E-F4EA-4570-9686-E3FEC98EEE9A}"/>
                </a:ext>
              </a:extLst>
            </p:cNvPr>
            <p:cNvGrpSpPr/>
            <p:nvPr userDrawn="1"/>
          </p:nvGrpSpPr>
          <p:grpSpPr>
            <a:xfrm>
              <a:off x="12757282" y="1216782"/>
              <a:ext cx="294789" cy="318834"/>
              <a:chOff x="14466489" y="1001522"/>
              <a:chExt cx="290627" cy="314333"/>
            </a:xfrm>
          </p:grpSpPr>
          <p:sp>
            <p:nvSpPr>
              <p:cNvPr id="220" name="Rechthoek 296">
                <a:extLst>
                  <a:ext uri="{FF2B5EF4-FFF2-40B4-BE49-F238E27FC236}">
                    <a16:creationId xmlns:a16="http://schemas.microsoft.com/office/drawing/2014/main" id="{A5213E24-7215-48EA-8BB0-CC7435242DA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1" name="Ovaal 297">
                <a:extLst>
                  <a:ext uri="{FF2B5EF4-FFF2-40B4-BE49-F238E27FC236}">
                    <a16:creationId xmlns:a16="http://schemas.microsoft.com/office/drawing/2014/main" id="{DD5060DB-DF93-4FAB-8006-F1A519E6461D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2" name="Vrije vorm: vorm 298">
                <a:extLst>
                  <a:ext uri="{FF2B5EF4-FFF2-40B4-BE49-F238E27FC236}">
                    <a16:creationId xmlns:a16="http://schemas.microsoft.com/office/drawing/2014/main" id="{B0B2F49B-3A69-452B-A23D-32B8D39B30CF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3" name="Rechthoek: afgeronde hoeken 299">
                <a:extLst>
                  <a:ext uri="{FF2B5EF4-FFF2-40B4-BE49-F238E27FC236}">
                    <a16:creationId xmlns:a16="http://schemas.microsoft.com/office/drawing/2014/main" id="{67CEDE91-2011-4A0A-9C72-C29BE7EC087A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224" name="Rechte verbindingslijn 300">
                <a:extLst>
                  <a:ext uri="{FF2B5EF4-FFF2-40B4-BE49-F238E27FC236}">
                    <a16:creationId xmlns:a16="http://schemas.microsoft.com/office/drawing/2014/main" id="{18932C09-A93A-46A3-BC20-77AAC16A3F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25" name="Rechte verbindingslijn 301">
                <a:extLst>
                  <a:ext uri="{FF2B5EF4-FFF2-40B4-BE49-F238E27FC236}">
                    <a16:creationId xmlns:a16="http://schemas.microsoft.com/office/drawing/2014/main" id="{3B5E5436-3EAE-413F-ABA5-1756E7C8674E}"/>
                  </a:ext>
                </a:extLst>
              </p:cNvPr>
              <p:cNvCxnSpPr>
                <a:cxnSpLocks/>
                <a:stCxn id="223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94" name="Ovaal 270">
              <a:extLst>
                <a:ext uri="{FF2B5EF4-FFF2-40B4-BE49-F238E27FC236}">
                  <a16:creationId xmlns:a16="http://schemas.microsoft.com/office/drawing/2014/main" id="{2419888C-19B6-481E-B2FF-C4DC63D52977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32074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95" name="Rechthoek 271">
              <a:extLst>
                <a:ext uri="{FF2B5EF4-FFF2-40B4-BE49-F238E27FC236}">
                  <a16:creationId xmlns:a16="http://schemas.microsoft.com/office/drawing/2014/main" id="{84D765E4-A791-4119-BA2B-5C4D7918047F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43320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3207489" eaLnBrk="1" fontAlgn="auto" latinLnBrk="0" hangingPunct="1">
                <a:lnSpc>
                  <a:spcPct val="90000"/>
                </a:lnSpc>
                <a:spcBef>
                  <a:spcPts val="2105"/>
                </a:spcBef>
                <a:spcAft>
                  <a:spcPts val="2105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miniatuurweergave van de dia aan de linker kant van het scherm 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Dia herstellen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96" name="Rechte verbindingslijn 272">
              <a:extLst>
                <a:ext uri="{FF2B5EF4-FFF2-40B4-BE49-F238E27FC236}">
                  <a16:creationId xmlns:a16="http://schemas.microsoft.com/office/drawing/2014/main" id="{F476E69D-E8BF-4595-8E00-C2E4F7C220D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97" name="Rechthoek 273">
              <a:extLst>
                <a:ext uri="{FF2B5EF4-FFF2-40B4-BE49-F238E27FC236}">
                  <a16:creationId xmlns:a16="http://schemas.microsoft.com/office/drawing/2014/main" id="{5EA26063-7526-462C-87B0-58492330FAB4}"/>
                </a:ext>
              </a:extLst>
            </p:cNvPr>
            <p:cNvSpPr/>
            <p:nvPr userDrawn="1"/>
          </p:nvSpPr>
          <p:spPr>
            <a:xfrm>
              <a:off x="12654153" y="3238910"/>
              <a:ext cx="1624926" cy="805220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nl-NL" sz="3509" b="0" i="1" noProof="0">
                <a:solidFill>
                  <a:schemeClr val="tx1"/>
                </a:solidFill>
              </a:endParaRPr>
            </a:p>
          </p:txBody>
        </p:sp>
        <p:grpSp>
          <p:nvGrpSpPr>
            <p:cNvPr id="198" name="Groep 274">
              <a:extLst>
                <a:ext uri="{FF2B5EF4-FFF2-40B4-BE49-F238E27FC236}">
                  <a16:creationId xmlns:a16="http://schemas.microsoft.com/office/drawing/2014/main" id="{4D87C859-C297-43C7-887B-2EB1DE1E3DB5}"/>
                </a:ext>
              </a:extLst>
            </p:cNvPr>
            <p:cNvGrpSpPr/>
            <p:nvPr userDrawn="1"/>
          </p:nvGrpSpPr>
          <p:grpSpPr>
            <a:xfrm>
              <a:off x="13614067" y="3535184"/>
              <a:ext cx="1195438" cy="678267"/>
              <a:chOff x="12757284" y="3224292"/>
              <a:chExt cx="1195438" cy="678267"/>
            </a:xfrm>
          </p:grpSpPr>
          <p:sp>
            <p:nvSpPr>
              <p:cNvPr id="199" name="Rechthoek 275">
                <a:extLst>
                  <a:ext uri="{FF2B5EF4-FFF2-40B4-BE49-F238E27FC236}">
                    <a16:creationId xmlns:a16="http://schemas.microsoft.com/office/drawing/2014/main" id="{49CA24D3-8532-4674-B98A-8296E6528AF2}"/>
                  </a:ext>
                </a:extLst>
              </p:cNvPr>
              <p:cNvSpPr/>
              <p:nvPr userDrawn="1"/>
            </p:nvSpPr>
            <p:spPr>
              <a:xfrm>
                <a:off x="12757284" y="3224292"/>
                <a:ext cx="117647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endParaRPr lang="nl-NL" sz="2806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00" name="Rechthoek 276">
                <a:extLst>
                  <a:ext uri="{FF2B5EF4-FFF2-40B4-BE49-F238E27FC236}">
                    <a16:creationId xmlns:a16="http://schemas.microsoft.com/office/drawing/2014/main" id="{4B8939E3-92C3-44F4-9BD5-1DB7FB0A66B8}"/>
                  </a:ext>
                </a:extLst>
              </p:cNvPr>
              <p:cNvSpPr/>
              <p:nvPr userDrawn="1"/>
            </p:nvSpPr>
            <p:spPr>
              <a:xfrm>
                <a:off x="12779248" y="3535681"/>
                <a:ext cx="1145758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3509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01" name="Groep 277">
                <a:extLst>
                  <a:ext uri="{FF2B5EF4-FFF2-40B4-BE49-F238E27FC236}">
                    <a16:creationId xmlns:a16="http://schemas.microsoft.com/office/drawing/2014/main" id="{855C3FD2-D5A3-4C68-BAA6-B45D3AB5AD00}"/>
                  </a:ext>
                </a:extLst>
              </p:cNvPr>
              <p:cNvGrpSpPr/>
              <p:nvPr userDrawn="1"/>
            </p:nvGrpSpPr>
            <p:grpSpPr>
              <a:xfrm>
                <a:off x="12839234" y="3289794"/>
                <a:ext cx="155951" cy="131922"/>
                <a:chOff x="12968836" y="3354170"/>
                <a:chExt cx="404806" cy="342433"/>
              </a:xfrm>
            </p:grpSpPr>
            <p:sp>
              <p:nvSpPr>
                <p:cNvPr id="214" name="Rechthoek: afgeronde hoeken 290">
                  <a:extLst>
                    <a:ext uri="{FF2B5EF4-FFF2-40B4-BE49-F238E27FC236}">
                      <a16:creationId xmlns:a16="http://schemas.microsoft.com/office/drawing/2014/main" id="{D6592CD7-4960-4B26-A3A8-7BD365991DBB}"/>
                    </a:ext>
                  </a:extLst>
                </p:cNvPr>
                <p:cNvSpPr/>
                <p:nvPr userDrawn="1"/>
              </p:nvSpPr>
              <p:spPr>
                <a:xfrm>
                  <a:off x="12968836" y="3354170"/>
                  <a:ext cx="404806" cy="342433"/>
                </a:xfrm>
                <a:prstGeom prst="roundRect">
                  <a:avLst>
                    <a:gd name="adj" fmla="val 2911"/>
                  </a:avLst>
                </a:prstGeom>
                <a:solidFill>
                  <a:schemeClr val="bg1"/>
                </a:solidFill>
                <a:ln w="12700">
                  <a:solidFill>
                    <a:srgbClr val="81818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2105"/>
                    </a:spcBef>
                    <a:spcAft>
                      <a:spcPts val="2105"/>
                    </a:spcAft>
                  </a:pPr>
                  <a:endParaRPr lang="nl-NL" sz="2806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5" name="Rechthoek 291">
                  <a:extLst>
                    <a:ext uri="{FF2B5EF4-FFF2-40B4-BE49-F238E27FC236}">
                      <a16:creationId xmlns:a16="http://schemas.microsoft.com/office/drawing/2014/main" id="{AA4A7C17-FB54-4CFF-82FD-8E2CE35D7C39}"/>
                    </a:ext>
                  </a:extLst>
                </p:cNvPr>
                <p:cNvSpPr/>
                <p:nvPr userDrawn="1"/>
              </p:nvSpPr>
              <p:spPr>
                <a:xfrm>
                  <a:off x="13025180" y="3401181"/>
                  <a:ext cx="305213" cy="41563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6" name="Rechthoek 292">
                  <a:extLst>
                    <a:ext uri="{FF2B5EF4-FFF2-40B4-BE49-F238E27FC236}">
                      <a16:creationId xmlns:a16="http://schemas.microsoft.com/office/drawing/2014/main" id="{A244A498-0425-4308-8955-DFB58DF90D1A}"/>
                    </a:ext>
                  </a:extLst>
                </p:cNvPr>
                <p:cNvSpPr/>
                <p:nvPr userDrawn="1"/>
              </p:nvSpPr>
              <p:spPr>
                <a:xfrm>
                  <a:off x="13025181" y="3471575"/>
                  <a:ext cx="118778" cy="181691"/>
                </a:xfrm>
                <a:prstGeom prst="rect">
                  <a:avLst/>
                </a:prstGeom>
                <a:solidFill>
                  <a:srgbClr val="D1D1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7" name="Rechthoek 293">
                  <a:extLst>
                    <a:ext uri="{FF2B5EF4-FFF2-40B4-BE49-F238E27FC236}">
                      <a16:creationId xmlns:a16="http://schemas.microsoft.com/office/drawing/2014/main" id="{4FCDD622-0C8B-4364-BE92-D9FC5CB0ACB1}"/>
                    </a:ext>
                  </a:extLst>
                </p:cNvPr>
                <p:cNvSpPr/>
                <p:nvPr userDrawn="1"/>
              </p:nvSpPr>
              <p:spPr>
                <a:xfrm>
                  <a:off x="13180812" y="3481982"/>
                  <a:ext cx="13527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8" name="Rechthoek 294">
                  <a:extLst>
                    <a:ext uri="{FF2B5EF4-FFF2-40B4-BE49-F238E27FC236}">
                      <a16:creationId xmlns:a16="http://schemas.microsoft.com/office/drawing/2014/main" id="{D1802FA6-02D6-47CD-8382-93A10D0ED1B7}"/>
                    </a:ext>
                  </a:extLst>
                </p:cNvPr>
                <p:cNvSpPr/>
                <p:nvPr userDrawn="1"/>
              </p:nvSpPr>
              <p:spPr>
                <a:xfrm>
                  <a:off x="13180812" y="3554800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9" name="Rechthoek 295">
                  <a:extLst>
                    <a:ext uri="{FF2B5EF4-FFF2-40B4-BE49-F238E27FC236}">
                      <a16:creationId xmlns:a16="http://schemas.microsoft.com/office/drawing/2014/main" id="{7CCAE6D6-0960-47F2-A8FF-5C4236C3F017}"/>
                    </a:ext>
                  </a:extLst>
                </p:cNvPr>
                <p:cNvSpPr/>
                <p:nvPr userDrawn="1"/>
              </p:nvSpPr>
              <p:spPr>
                <a:xfrm>
                  <a:off x="13180812" y="3627618"/>
                  <a:ext cx="69418" cy="21328"/>
                </a:xfrm>
                <a:prstGeom prst="rect">
                  <a:avLst/>
                </a:prstGeom>
                <a:solidFill>
                  <a:srgbClr val="B2B2B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nl-NL" sz="3509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202" name="Groep 278">
                <a:extLst>
                  <a:ext uri="{FF2B5EF4-FFF2-40B4-BE49-F238E27FC236}">
                    <a16:creationId xmlns:a16="http://schemas.microsoft.com/office/drawing/2014/main" id="{0A65F830-9A93-416D-A8DE-4C626A5808C8}"/>
                  </a:ext>
                </a:extLst>
              </p:cNvPr>
              <p:cNvGrpSpPr/>
              <p:nvPr userDrawn="1"/>
            </p:nvGrpSpPr>
            <p:grpSpPr>
              <a:xfrm>
                <a:off x="12819679" y="3589117"/>
                <a:ext cx="166739" cy="218963"/>
                <a:chOff x="12940828" y="3950597"/>
                <a:chExt cx="432813" cy="568367"/>
              </a:xfrm>
            </p:grpSpPr>
            <p:grpSp>
              <p:nvGrpSpPr>
                <p:cNvPr id="206" name="Groep 282">
                  <a:extLst>
                    <a:ext uri="{FF2B5EF4-FFF2-40B4-BE49-F238E27FC236}">
                      <a16:creationId xmlns:a16="http://schemas.microsoft.com/office/drawing/2014/main" id="{EAE90E13-348A-43A8-A4E6-B5466EE74C3E}"/>
                    </a:ext>
                  </a:extLst>
                </p:cNvPr>
                <p:cNvGrpSpPr/>
                <p:nvPr userDrawn="1"/>
              </p:nvGrpSpPr>
              <p:grpSpPr>
                <a:xfrm>
                  <a:off x="13000382" y="4006891"/>
                  <a:ext cx="373259" cy="315747"/>
                  <a:chOff x="12968836" y="3354170"/>
                  <a:chExt cx="404806" cy="342433"/>
                </a:xfrm>
              </p:grpSpPr>
              <p:sp>
                <p:nvSpPr>
                  <p:cNvPr id="208" name="Rechthoek: afgeronde hoeken 284">
                    <a:extLst>
                      <a:ext uri="{FF2B5EF4-FFF2-40B4-BE49-F238E27FC236}">
                        <a16:creationId xmlns:a16="http://schemas.microsoft.com/office/drawing/2014/main" id="{5F77DA0A-C183-478A-B017-0410985F7C4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2105"/>
                      </a:spcBef>
                      <a:spcAft>
                        <a:spcPts val="2105"/>
                      </a:spcAft>
                    </a:pPr>
                    <a:endParaRPr lang="nl-NL" sz="2806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09" name="Rechthoek 285">
                    <a:extLst>
                      <a:ext uri="{FF2B5EF4-FFF2-40B4-BE49-F238E27FC236}">
                        <a16:creationId xmlns:a16="http://schemas.microsoft.com/office/drawing/2014/main" id="{96A832AB-F720-4677-A58E-304A99A962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0" name="Rechthoek 286">
                    <a:extLst>
                      <a:ext uri="{FF2B5EF4-FFF2-40B4-BE49-F238E27FC236}">
                        <a16:creationId xmlns:a16="http://schemas.microsoft.com/office/drawing/2014/main" id="{B64019D6-18FD-4935-AE7E-4A41AEBB1C7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1" name="Rechthoek 287">
                    <a:extLst>
                      <a:ext uri="{FF2B5EF4-FFF2-40B4-BE49-F238E27FC236}">
                        <a16:creationId xmlns:a16="http://schemas.microsoft.com/office/drawing/2014/main" id="{AF896FF2-4F79-4B3A-B16F-303DB01B99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2" name="Rechthoek 288">
                    <a:extLst>
                      <a:ext uri="{FF2B5EF4-FFF2-40B4-BE49-F238E27FC236}">
                        <a16:creationId xmlns:a16="http://schemas.microsoft.com/office/drawing/2014/main" id="{5C2A8C0D-0583-42B3-8C7A-07A28E797ED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3" name="Rechthoek 289">
                    <a:extLst>
                      <a:ext uri="{FF2B5EF4-FFF2-40B4-BE49-F238E27FC236}">
                        <a16:creationId xmlns:a16="http://schemas.microsoft.com/office/drawing/2014/main" id="{E4C9D569-FA79-4D56-ADDE-25FDBCBD504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3509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207" name="Boog 283">
                  <a:extLst>
                    <a:ext uri="{FF2B5EF4-FFF2-40B4-BE49-F238E27FC236}">
                      <a16:creationId xmlns:a16="http://schemas.microsoft.com/office/drawing/2014/main" id="{5A56BBA6-F562-421F-9337-19ECAC422E00}"/>
                    </a:ext>
                  </a:extLst>
                </p:cNvPr>
                <p:cNvSpPr/>
                <p:nvPr userDrawn="1"/>
              </p:nvSpPr>
              <p:spPr>
                <a:xfrm rot="17637075">
                  <a:off x="12776155" y="4115270"/>
                  <a:ext cx="568367" cy="239021"/>
                </a:xfrm>
                <a:prstGeom prst="arc">
                  <a:avLst>
                    <a:gd name="adj1" fmla="val 15959368"/>
                    <a:gd name="adj2" fmla="val 1354623"/>
                  </a:avLst>
                </a:prstGeom>
                <a:noFill/>
                <a:ln w="19050" cap="flat" cmpd="sng" algn="ctr">
                  <a:solidFill>
                    <a:srgbClr val="4D82B8"/>
                  </a:solidFill>
                  <a:prstDash val="solid"/>
                  <a:headEnd type="arrow" w="med" len="sm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nl-NL" sz="16213" noProof="0"/>
                </a:p>
              </p:txBody>
            </p:sp>
          </p:grpSp>
          <p:sp>
            <p:nvSpPr>
              <p:cNvPr id="203" name="Tekstvak 279">
                <a:extLst>
                  <a:ext uri="{FF2B5EF4-FFF2-40B4-BE49-F238E27FC236}">
                    <a16:creationId xmlns:a16="http://schemas.microsoft.com/office/drawing/2014/main" id="{3EB31D65-4EFE-415F-8BFB-3EC9FDDC22A3}"/>
                  </a:ext>
                </a:extLst>
              </p:cNvPr>
              <p:cNvSpPr txBox="1"/>
              <p:nvPr userDrawn="1"/>
            </p:nvSpPr>
            <p:spPr>
              <a:xfrm>
                <a:off x="12997648" y="3263402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deling</a:t>
                </a:r>
              </a:p>
            </p:txBody>
          </p:sp>
          <p:sp>
            <p:nvSpPr>
              <p:cNvPr id="204" name="Tekstvak 280">
                <a:extLst>
                  <a:ext uri="{FF2B5EF4-FFF2-40B4-BE49-F238E27FC236}">
                    <a16:creationId xmlns:a16="http://schemas.microsoft.com/office/drawing/2014/main" id="{B7EF83F3-2B7D-4A64-B8C2-61227520E238}"/>
                  </a:ext>
                </a:extLst>
              </p:cNvPr>
              <p:cNvSpPr txBox="1"/>
              <p:nvPr userDrawn="1"/>
            </p:nvSpPr>
            <p:spPr>
              <a:xfrm>
                <a:off x="12984219" y="3584528"/>
                <a:ext cx="855209" cy="108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4270732" rtl="0" eaLnBrk="1" latinLnBrk="0" hangingPunct="1">
                  <a:lnSpc>
                    <a:spcPct val="90000"/>
                  </a:lnSpc>
                  <a:spcBef>
                    <a:spcPts val="2105"/>
                  </a:spcBef>
                  <a:spcAft>
                    <a:spcPts val="2105"/>
                  </a:spcAft>
                </a:pPr>
                <a:r>
                  <a:rPr lang="nl-NL" sz="2806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a Herstellen</a:t>
                </a:r>
              </a:p>
            </p:txBody>
          </p:sp>
          <p:pic>
            <p:nvPicPr>
              <p:cNvPr id="205" name="Picture 3">
                <a:extLst>
                  <a:ext uri="{FF2B5EF4-FFF2-40B4-BE49-F238E27FC236}">
                    <a16:creationId xmlns:a16="http://schemas.microsoft.com/office/drawing/2014/main" id="{6ECEF6A9-F446-4E57-8697-B8562D0E271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810206" y="3671228"/>
                <a:ext cx="14251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grpSp>
        <p:nvGrpSpPr>
          <p:cNvPr id="87" name="Instructie">
            <a:extLst>
              <a:ext uri="{FF2B5EF4-FFF2-40B4-BE49-F238E27FC236}">
                <a16:creationId xmlns:a16="http://schemas.microsoft.com/office/drawing/2014/main" id="{1FB51ED4-F5DD-486A-9E36-11EBE1FBB0B7}"/>
              </a:ext>
            </a:extLst>
          </p:cNvPr>
          <p:cNvGrpSpPr/>
          <p:nvPr userDrawn="1"/>
        </p:nvGrpSpPr>
        <p:grpSpPr>
          <a:xfrm>
            <a:off x="-11761540" y="0"/>
            <a:ext cx="11164508" cy="11743958"/>
            <a:chOff x="-3426088" y="4512342"/>
            <a:chExt cx="3182755" cy="2660264"/>
          </a:xfrm>
        </p:grpSpPr>
        <p:sp>
          <p:nvSpPr>
            <p:cNvPr id="88" name="Rechthoek 127">
              <a:extLst>
                <a:ext uri="{FF2B5EF4-FFF2-40B4-BE49-F238E27FC236}">
                  <a16:creationId xmlns:a16="http://schemas.microsoft.com/office/drawing/2014/main" id="{90A476DB-9B4A-476C-B3CD-A1A5C8C09EE2}"/>
                </a:ext>
              </a:extLst>
            </p:cNvPr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3207489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4911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rmen wijzigen</a:t>
              </a:r>
            </a:p>
          </p:txBody>
        </p:sp>
        <p:cxnSp>
          <p:nvCxnSpPr>
            <p:cNvPr id="89" name="Rechte verbindingslijn 128">
              <a:extLst>
                <a:ext uri="{FF2B5EF4-FFF2-40B4-BE49-F238E27FC236}">
                  <a16:creationId xmlns:a16="http://schemas.microsoft.com/office/drawing/2014/main" id="{3661848B-C261-4C32-891C-F024942F9F2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0" name="Rechthoek 130">
              <a:extLst>
                <a:ext uri="{FF2B5EF4-FFF2-40B4-BE49-F238E27FC236}">
                  <a16:creationId xmlns:a16="http://schemas.microsoft.com/office/drawing/2014/main" id="{856D4C44-35AF-488D-8B4A-5F819DDDEB62}"/>
                </a:ext>
              </a:extLst>
            </p:cNvPr>
            <p:cNvSpPr/>
            <p:nvPr userDrawn="1"/>
          </p:nvSpPr>
          <p:spPr>
            <a:xfrm>
              <a:off x="-3426088" y="4959088"/>
              <a:ext cx="3073481" cy="49338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lle vormen in de template zijn aanpasbaar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qua kleur en positie.  </a:t>
              </a:r>
            </a:p>
          </p:txBody>
        </p:sp>
        <p:sp>
          <p:nvSpPr>
            <p:cNvPr id="91" name="Rechthoek 133">
              <a:extLst>
                <a:ext uri="{FF2B5EF4-FFF2-40B4-BE49-F238E27FC236}">
                  <a16:creationId xmlns:a16="http://schemas.microsoft.com/office/drawing/2014/main" id="{1371B4DB-163F-4863-BACE-D948DECA21BC}"/>
                </a:ext>
              </a:extLst>
            </p:cNvPr>
            <p:cNvSpPr/>
            <p:nvPr userDrawn="1"/>
          </p:nvSpPr>
          <p:spPr>
            <a:xfrm>
              <a:off x="-3426086" y="5395091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eur wijzigen? Klik op de vorm ga naar de tab 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maak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dan naar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pvullen vorm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een andere huisstijlkleur te kiezen. </a:t>
              </a:r>
              <a:endParaRPr kumimoji="0" lang="nl-NL" sz="3859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92" name="Rechthoek 136">
              <a:extLst>
                <a:ext uri="{FF2B5EF4-FFF2-40B4-BE49-F238E27FC236}">
                  <a16:creationId xmlns:a16="http://schemas.microsoft.com/office/drawing/2014/main" id="{11876C2B-3DFA-4771-8C36-791C16CF633D}"/>
                </a:ext>
              </a:extLst>
            </p:cNvPr>
            <p:cNvSpPr/>
            <p:nvPr userDrawn="1"/>
          </p:nvSpPr>
          <p:spPr>
            <a:xfrm>
              <a:off x="-3426086" y="5955574"/>
              <a:ext cx="3073482" cy="3637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Vorm verplaatsen?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Klik op de vorm en sleep de vorm naar de gewenste plek.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 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93" name="Rechthoek 139">
              <a:extLst>
                <a:ext uri="{FF2B5EF4-FFF2-40B4-BE49-F238E27FC236}">
                  <a16:creationId xmlns:a16="http://schemas.microsoft.com/office/drawing/2014/main" id="{20E38BB6-2FC6-4BD7-94CD-82F88AD296C5}"/>
                </a:ext>
              </a:extLst>
            </p:cNvPr>
            <p:cNvSpPr/>
            <p:nvPr userDrawn="1"/>
          </p:nvSpPr>
          <p:spPr>
            <a:xfrm>
              <a:off x="-3426086" y="6412375"/>
              <a:ext cx="3073482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601404" marR="0" lvl="0" indent="-601404" algn="l" defTabSz="32074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Per ongeluk een vorm verwijderd? Klik dan met je rechtermuisknop op de miniatuurweergave van de slide </a:t>
              </a:r>
              <a:b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ies 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dia herstellen</a:t>
              </a:r>
              <a:r>
                <a:rPr kumimoji="0" lang="nl-NL" sz="3859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</a:t>
              </a:r>
              <a:r>
                <a:rPr kumimoji="0" lang="nl-NL" sz="385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3859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94" name="Rechte verbindingslijn 140">
              <a:extLst>
                <a:ext uri="{FF2B5EF4-FFF2-40B4-BE49-F238E27FC236}">
                  <a16:creationId xmlns:a16="http://schemas.microsoft.com/office/drawing/2014/main" id="{0D45D1BD-1E6B-41C3-AA27-B8A834AC400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7172606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71" name="Afbeelding 70">
            <a:extLst>
              <a:ext uri="{FF2B5EF4-FFF2-40B4-BE49-F238E27FC236}">
                <a16:creationId xmlns:a16="http://schemas.microsoft.com/office/drawing/2014/main" id="{EBAD7435-810D-4257-965C-E74C034C95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4696" y="831728"/>
            <a:ext cx="9249575" cy="42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6409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0% Foto + Oranje Vl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9"/>
          <p:cNvSpPr>
            <a:spLocks noGrp="1"/>
          </p:cNvSpPr>
          <p:nvPr>
            <p:ph type="pic" sz="quarter" idx="13" hasCustomPrompt="1"/>
          </p:nvPr>
        </p:nvSpPr>
        <p:spPr>
          <a:xfrm>
            <a:off x="-5567" y="6476684"/>
            <a:ext cx="42767257" cy="23798534"/>
          </a:xfrm>
          <a:solidFill>
            <a:schemeClr val="bg1">
              <a:lumMod val="95000"/>
            </a:schemeClr>
          </a:solidFill>
        </p:spPr>
        <p:txBody>
          <a:bodyPr tIns="2700000">
            <a:normAutofit/>
          </a:bodyPr>
          <a:lstStyle>
            <a:lvl1pPr marL="0" indent="0" algn="ctr">
              <a:buNone/>
              <a:defRPr sz="4209" i="1"/>
            </a:lvl1pPr>
          </a:lstStyle>
          <a:p>
            <a:r>
              <a:rPr lang="en-US" noProof="0"/>
              <a:t>Click on the pictogram below</a:t>
            </a:r>
            <a:br>
              <a:rPr lang="en-US" noProof="0"/>
            </a:br>
            <a:r>
              <a:rPr lang="en-US" noProof="0"/>
              <a:t>to insert an image</a:t>
            </a:r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E95C33EA-B26A-48AB-9D03-46F91C58157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0" y="0"/>
            <a:ext cx="42767250" cy="6476679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351">
                <a:solidFill>
                  <a:schemeClr val="bg1"/>
                </a:solidFill>
              </a:defRPr>
            </a:lvl1pPr>
          </a:lstStyle>
          <a:p>
            <a:pPr lvl="0"/>
            <a:endParaRPr lang="nl-NL" sz="351"/>
          </a:p>
          <a:p>
            <a:pPr lvl="0"/>
            <a:endParaRPr lang="nl-NL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42381" y="1766059"/>
            <a:ext cx="32281083" cy="1450685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noProof="0"/>
              <a:t>Title</a:t>
            </a:r>
          </a:p>
        </p:txBody>
      </p:sp>
      <p:grpSp>
        <p:nvGrpSpPr>
          <p:cNvPr id="19" name="GRID" hidden="1"/>
          <p:cNvGrpSpPr/>
          <p:nvPr userDrawn="1"/>
        </p:nvGrpSpPr>
        <p:grpSpPr>
          <a:xfrm>
            <a:off x="5" y="0"/>
            <a:ext cx="42767261" cy="30275213"/>
            <a:chOff x="0" y="0"/>
            <a:chExt cx="12192003" cy="6858000"/>
          </a:xfrm>
        </p:grpSpPr>
        <p:sp>
          <p:nvSpPr>
            <p:cNvPr id="20" name="Rechthoek 19"/>
            <p:cNvSpPr/>
            <p:nvPr userDrawn="1"/>
          </p:nvSpPr>
          <p:spPr>
            <a:xfrm>
              <a:off x="0" y="0"/>
              <a:ext cx="481922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1" name="Rechthoek 20"/>
            <p:cNvSpPr/>
            <p:nvPr userDrawn="1"/>
          </p:nvSpPr>
          <p:spPr>
            <a:xfrm>
              <a:off x="11695286" y="0"/>
              <a:ext cx="496713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2" name="Rechthoek 21"/>
            <p:cNvSpPr/>
            <p:nvPr userDrawn="1"/>
          </p:nvSpPr>
          <p:spPr>
            <a:xfrm rot="5400000">
              <a:off x="5895974" y="-5895974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4" name="Rechthoek 23"/>
            <p:cNvSpPr/>
            <p:nvPr userDrawn="1"/>
          </p:nvSpPr>
          <p:spPr>
            <a:xfrm rot="5400000">
              <a:off x="5895976" y="-4828915"/>
              <a:ext cx="400054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28" name="Rechthoek 27">
              <a:extLst>
                <a:ext uri="{FF2B5EF4-FFF2-40B4-BE49-F238E27FC236}">
                  <a16:creationId xmlns:a16="http://schemas.microsoft.com/office/drawing/2014/main" id="{6BC69531-4B5F-447E-B7A9-2951B17E6FC2}"/>
                </a:ext>
              </a:extLst>
            </p:cNvPr>
            <p:cNvSpPr/>
            <p:nvPr userDrawn="1"/>
          </p:nvSpPr>
          <p:spPr>
            <a:xfrm rot="5400000">
              <a:off x="5895975" y="561975"/>
              <a:ext cx="40005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30" name="Tijdelijke aanduiding voor voettekst 4">
            <a:extLst>
              <a:ext uri="{FF2B5EF4-FFF2-40B4-BE49-F238E27FC236}">
                <a16:creationId xmlns:a16="http://schemas.microsoft.com/office/drawing/2014/main" id="{1DA20FBD-9D0F-4EAB-B12C-126591D8B7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8361" y="27345272"/>
            <a:ext cx="18027560" cy="10008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Hier komt de voettekst</a:t>
            </a:r>
          </a:p>
        </p:txBody>
      </p:sp>
      <p:sp>
        <p:nvSpPr>
          <p:cNvPr id="31" name="Tijdelijke aanduiding voor dianummer 5">
            <a:extLst>
              <a:ext uri="{FF2B5EF4-FFF2-40B4-BE49-F238E27FC236}">
                <a16:creationId xmlns:a16="http://schemas.microsoft.com/office/drawing/2014/main" id="{D6644E39-2AF2-4EA0-9C3F-28C89D5A9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84600" y="27329718"/>
            <a:ext cx="707315" cy="1016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2A88A-B7BD-41B1-9FCB-9BE633251ACA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7" name="Tijdelijke aanduiding voor tekst 14">
            <a:extLst>
              <a:ext uri="{FF2B5EF4-FFF2-40B4-BE49-F238E27FC236}">
                <a16:creationId xmlns:a16="http://schemas.microsoft.com/office/drawing/2014/main" id="{A6BF4B27-7FC5-4896-80CE-3BA6119B83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42381" y="3469426"/>
            <a:ext cx="32281083" cy="1195425"/>
          </a:xfrm>
        </p:spPr>
        <p:txBody>
          <a:bodyPr>
            <a:noAutofit/>
          </a:bodyPr>
          <a:lstStyle>
            <a:lvl1pPr marL="0" indent="0">
              <a:buNone/>
              <a:defRPr sz="7016" b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endParaRPr lang="en-US"/>
          </a:p>
        </p:txBody>
      </p:sp>
      <p:sp>
        <p:nvSpPr>
          <p:cNvPr id="25" name="Tijdelijke aanduiding voor tekst 3">
            <a:extLst>
              <a:ext uri="{FF2B5EF4-FFF2-40B4-BE49-F238E27FC236}">
                <a16:creationId xmlns:a16="http://schemas.microsoft.com/office/drawing/2014/main" id="{B1EBCF2F-E9DD-4864-A450-DD8AF487DDE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504415" y="1217632"/>
            <a:ext cx="6635238" cy="3534585"/>
          </a:xfrm>
          <a:blipFill>
            <a:blip r:embed="rId2"/>
            <a:stretch>
              <a:fillRect l="-22041" t="-51776" r="-22041" b="-51776"/>
            </a:stretch>
          </a:blipFill>
        </p:spPr>
        <p:txBody>
          <a:bodyPr/>
          <a:lstStyle>
            <a:lvl1pPr marL="0" indent="0">
              <a:buNone/>
              <a:defRPr sz="351"/>
            </a:lvl1pPr>
          </a:lstStyle>
          <a:p>
            <a:pPr lvl="0"/>
            <a:endParaRPr lang="nl-NL"/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28641602-EFC5-4A31-A66E-7D18FE4BC0DE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27317714" y="18836413"/>
            <a:ext cx="13821939" cy="7118065"/>
          </a:xfrm>
          <a:custGeom>
            <a:avLst/>
            <a:gdLst>
              <a:gd name="connsiteX0" fmla="*/ 0 w 3938778"/>
              <a:gd name="connsiteY0" fmla="*/ 84049 h 1609202"/>
              <a:gd name="connsiteX1" fmla="*/ 84049 w 3938778"/>
              <a:gd name="connsiteY1" fmla="*/ 0 h 1609202"/>
              <a:gd name="connsiteX2" fmla="*/ 3854729 w 3938778"/>
              <a:gd name="connsiteY2" fmla="*/ 0 h 1609202"/>
              <a:gd name="connsiteX3" fmla="*/ 3938778 w 3938778"/>
              <a:gd name="connsiteY3" fmla="*/ 84049 h 1609202"/>
              <a:gd name="connsiteX4" fmla="*/ 3938778 w 3938778"/>
              <a:gd name="connsiteY4" fmla="*/ 1525153 h 1609202"/>
              <a:gd name="connsiteX5" fmla="*/ 3854729 w 3938778"/>
              <a:gd name="connsiteY5" fmla="*/ 1609202 h 1609202"/>
              <a:gd name="connsiteX6" fmla="*/ 84049 w 3938778"/>
              <a:gd name="connsiteY6" fmla="*/ 1609202 h 1609202"/>
              <a:gd name="connsiteX7" fmla="*/ 0 w 3938778"/>
              <a:gd name="connsiteY7" fmla="*/ 1525153 h 1609202"/>
              <a:gd name="connsiteX8" fmla="*/ 0 w 3938778"/>
              <a:gd name="connsiteY8" fmla="*/ 84049 h 1609202"/>
              <a:gd name="connsiteX0" fmla="*/ 212359 w 4151137"/>
              <a:gd name="connsiteY0" fmla="*/ 126307 h 1651460"/>
              <a:gd name="connsiteX1" fmla="*/ 237486 w 4151137"/>
              <a:gd name="connsiteY1" fmla="*/ 63809 h 1651460"/>
              <a:gd name="connsiteX2" fmla="*/ 296408 w 4151137"/>
              <a:gd name="connsiteY2" fmla="*/ 42258 h 1651460"/>
              <a:gd name="connsiteX3" fmla="*/ 4067088 w 4151137"/>
              <a:gd name="connsiteY3" fmla="*/ 42258 h 1651460"/>
              <a:gd name="connsiteX4" fmla="*/ 4151137 w 4151137"/>
              <a:gd name="connsiteY4" fmla="*/ 126307 h 1651460"/>
              <a:gd name="connsiteX5" fmla="*/ 4151137 w 4151137"/>
              <a:gd name="connsiteY5" fmla="*/ 1567411 h 1651460"/>
              <a:gd name="connsiteX6" fmla="*/ 4067088 w 4151137"/>
              <a:gd name="connsiteY6" fmla="*/ 1651460 h 1651460"/>
              <a:gd name="connsiteX7" fmla="*/ 296408 w 4151137"/>
              <a:gd name="connsiteY7" fmla="*/ 1651460 h 1651460"/>
              <a:gd name="connsiteX8" fmla="*/ 212359 w 4151137"/>
              <a:gd name="connsiteY8" fmla="*/ 1567411 h 1651460"/>
              <a:gd name="connsiteX9" fmla="*/ 212359 w 4151137"/>
              <a:gd name="connsiteY9" fmla="*/ 126307 h 1651460"/>
              <a:gd name="connsiteX0" fmla="*/ 212359 w 4151137"/>
              <a:gd name="connsiteY0" fmla="*/ 84049 h 1609202"/>
              <a:gd name="connsiteX1" fmla="*/ 237486 w 4151137"/>
              <a:gd name="connsiteY1" fmla="*/ 21551 h 1609202"/>
              <a:gd name="connsiteX2" fmla="*/ 296408 w 4151137"/>
              <a:gd name="connsiteY2" fmla="*/ 0 h 1609202"/>
              <a:gd name="connsiteX3" fmla="*/ 4067088 w 4151137"/>
              <a:gd name="connsiteY3" fmla="*/ 0 h 1609202"/>
              <a:gd name="connsiteX4" fmla="*/ 4151137 w 4151137"/>
              <a:gd name="connsiteY4" fmla="*/ 84049 h 1609202"/>
              <a:gd name="connsiteX5" fmla="*/ 4151137 w 4151137"/>
              <a:gd name="connsiteY5" fmla="*/ 1525153 h 1609202"/>
              <a:gd name="connsiteX6" fmla="*/ 4067088 w 4151137"/>
              <a:gd name="connsiteY6" fmla="*/ 1609202 h 1609202"/>
              <a:gd name="connsiteX7" fmla="*/ 296408 w 4151137"/>
              <a:gd name="connsiteY7" fmla="*/ 1609202 h 1609202"/>
              <a:gd name="connsiteX8" fmla="*/ 212359 w 4151137"/>
              <a:gd name="connsiteY8" fmla="*/ 1525153 h 1609202"/>
              <a:gd name="connsiteX9" fmla="*/ 212359 w 4151137"/>
              <a:gd name="connsiteY9" fmla="*/ 84049 h 1609202"/>
              <a:gd name="connsiteX0" fmla="*/ 21 w 3938799"/>
              <a:gd name="connsiteY0" fmla="*/ 85645 h 1610798"/>
              <a:gd name="connsiteX1" fmla="*/ 25148 w 3938799"/>
              <a:gd name="connsiteY1" fmla="*/ 23147 h 1610798"/>
              <a:gd name="connsiteX2" fmla="*/ 84070 w 3938799"/>
              <a:gd name="connsiteY2" fmla="*/ 1596 h 1610798"/>
              <a:gd name="connsiteX3" fmla="*/ 3854750 w 3938799"/>
              <a:gd name="connsiteY3" fmla="*/ 1596 h 1610798"/>
              <a:gd name="connsiteX4" fmla="*/ 3938799 w 3938799"/>
              <a:gd name="connsiteY4" fmla="*/ 85645 h 1610798"/>
              <a:gd name="connsiteX5" fmla="*/ 3938799 w 3938799"/>
              <a:gd name="connsiteY5" fmla="*/ 1526749 h 1610798"/>
              <a:gd name="connsiteX6" fmla="*/ 3854750 w 3938799"/>
              <a:gd name="connsiteY6" fmla="*/ 1610798 h 1610798"/>
              <a:gd name="connsiteX7" fmla="*/ 84070 w 3938799"/>
              <a:gd name="connsiteY7" fmla="*/ 1610798 h 1610798"/>
              <a:gd name="connsiteX8" fmla="*/ 21 w 3938799"/>
              <a:gd name="connsiteY8" fmla="*/ 1526749 h 1610798"/>
              <a:gd name="connsiteX9" fmla="*/ 21 w 3938799"/>
              <a:gd name="connsiteY9" fmla="*/ 85645 h 1610798"/>
              <a:gd name="connsiteX0" fmla="*/ 221900 w 4160678"/>
              <a:gd name="connsiteY0" fmla="*/ 126307 h 1651460"/>
              <a:gd name="connsiteX1" fmla="*/ 220833 w 4160678"/>
              <a:gd name="connsiteY1" fmla="*/ 63809 h 1651460"/>
              <a:gd name="connsiteX2" fmla="*/ 305949 w 4160678"/>
              <a:gd name="connsiteY2" fmla="*/ 42258 h 1651460"/>
              <a:gd name="connsiteX3" fmla="*/ 4076629 w 4160678"/>
              <a:gd name="connsiteY3" fmla="*/ 42258 h 1651460"/>
              <a:gd name="connsiteX4" fmla="*/ 4160678 w 4160678"/>
              <a:gd name="connsiteY4" fmla="*/ 126307 h 1651460"/>
              <a:gd name="connsiteX5" fmla="*/ 4160678 w 4160678"/>
              <a:gd name="connsiteY5" fmla="*/ 1567411 h 1651460"/>
              <a:gd name="connsiteX6" fmla="*/ 4076629 w 4160678"/>
              <a:gd name="connsiteY6" fmla="*/ 1651460 h 1651460"/>
              <a:gd name="connsiteX7" fmla="*/ 305949 w 4160678"/>
              <a:gd name="connsiteY7" fmla="*/ 1651460 h 1651460"/>
              <a:gd name="connsiteX8" fmla="*/ 221900 w 4160678"/>
              <a:gd name="connsiteY8" fmla="*/ 1567411 h 1651460"/>
              <a:gd name="connsiteX9" fmla="*/ 221900 w 4160678"/>
              <a:gd name="connsiteY9" fmla="*/ 126307 h 1651460"/>
              <a:gd name="connsiteX0" fmla="*/ 222785 w 4161563"/>
              <a:gd name="connsiteY0" fmla="*/ 132298 h 1657451"/>
              <a:gd name="connsiteX1" fmla="*/ 219337 w 4161563"/>
              <a:gd name="connsiteY1" fmla="*/ 55513 h 1657451"/>
              <a:gd name="connsiteX2" fmla="*/ 306834 w 4161563"/>
              <a:gd name="connsiteY2" fmla="*/ 48249 h 1657451"/>
              <a:gd name="connsiteX3" fmla="*/ 4077514 w 4161563"/>
              <a:gd name="connsiteY3" fmla="*/ 48249 h 1657451"/>
              <a:gd name="connsiteX4" fmla="*/ 4161563 w 4161563"/>
              <a:gd name="connsiteY4" fmla="*/ 132298 h 1657451"/>
              <a:gd name="connsiteX5" fmla="*/ 4161563 w 4161563"/>
              <a:gd name="connsiteY5" fmla="*/ 1573402 h 1657451"/>
              <a:gd name="connsiteX6" fmla="*/ 4077514 w 4161563"/>
              <a:gd name="connsiteY6" fmla="*/ 1657451 h 1657451"/>
              <a:gd name="connsiteX7" fmla="*/ 306834 w 4161563"/>
              <a:gd name="connsiteY7" fmla="*/ 1657451 h 1657451"/>
              <a:gd name="connsiteX8" fmla="*/ 222785 w 4161563"/>
              <a:gd name="connsiteY8" fmla="*/ 1573402 h 1657451"/>
              <a:gd name="connsiteX9" fmla="*/ 222785 w 4161563"/>
              <a:gd name="connsiteY9" fmla="*/ 132298 h 1657451"/>
              <a:gd name="connsiteX0" fmla="*/ 8993 w 3947771"/>
              <a:gd name="connsiteY0" fmla="*/ 132298 h 1657451"/>
              <a:gd name="connsiteX1" fmla="*/ 5545 w 3947771"/>
              <a:gd name="connsiteY1" fmla="*/ 55513 h 1657451"/>
              <a:gd name="connsiteX2" fmla="*/ 93042 w 3947771"/>
              <a:gd name="connsiteY2" fmla="*/ 48249 h 1657451"/>
              <a:gd name="connsiteX3" fmla="*/ 3863722 w 3947771"/>
              <a:gd name="connsiteY3" fmla="*/ 48249 h 1657451"/>
              <a:gd name="connsiteX4" fmla="*/ 3947771 w 3947771"/>
              <a:gd name="connsiteY4" fmla="*/ 132298 h 1657451"/>
              <a:gd name="connsiteX5" fmla="*/ 3947771 w 3947771"/>
              <a:gd name="connsiteY5" fmla="*/ 1573402 h 1657451"/>
              <a:gd name="connsiteX6" fmla="*/ 3863722 w 3947771"/>
              <a:gd name="connsiteY6" fmla="*/ 1657451 h 1657451"/>
              <a:gd name="connsiteX7" fmla="*/ 93042 w 3947771"/>
              <a:gd name="connsiteY7" fmla="*/ 1657451 h 1657451"/>
              <a:gd name="connsiteX8" fmla="*/ 8993 w 3947771"/>
              <a:gd name="connsiteY8" fmla="*/ 1573402 h 1657451"/>
              <a:gd name="connsiteX9" fmla="*/ 8993 w 3947771"/>
              <a:gd name="connsiteY9" fmla="*/ 132298 h 1657451"/>
              <a:gd name="connsiteX0" fmla="*/ 9451 w 3948229"/>
              <a:gd name="connsiteY0" fmla="*/ 85220 h 1610373"/>
              <a:gd name="connsiteX1" fmla="*/ 6003 w 3948229"/>
              <a:gd name="connsiteY1" fmla="*/ 8435 h 1610373"/>
              <a:gd name="connsiteX2" fmla="*/ 93500 w 3948229"/>
              <a:gd name="connsiteY2" fmla="*/ 1171 h 1610373"/>
              <a:gd name="connsiteX3" fmla="*/ 3864180 w 3948229"/>
              <a:gd name="connsiteY3" fmla="*/ 1171 h 1610373"/>
              <a:gd name="connsiteX4" fmla="*/ 3948229 w 3948229"/>
              <a:gd name="connsiteY4" fmla="*/ 85220 h 1610373"/>
              <a:gd name="connsiteX5" fmla="*/ 3948229 w 3948229"/>
              <a:gd name="connsiteY5" fmla="*/ 1526324 h 1610373"/>
              <a:gd name="connsiteX6" fmla="*/ 3864180 w 3948229"/>
              <a:gd name="connsiteY6" fmla="*/ 1610373 h 1610373"/>
              <a:gd name="connsiteX7" fmla="*/ 93500 w 3948229"/>
              <a:gd name="connsiteY7" fmla="*/ 1610373 h 1610373"/>
              <a:gd name="connsiteX8" fmla="*/ 9451 w 3948229"/>
              <a:gd name="connsiteY8" fmla="*/ 1526324 h 1610373"/>
              <a:gd name="connsiteX9" fmla="*/ 9451 w 3948229"/>
              <a:gd name="connsiteY9" fmla="*/ 85220 h 1610373"/>
              <a:gd name="connsiteX0" fmla="*/ 9451 w 3948229"/>
              <a:gd name="connsiteY0" fmla="*/ 85220 h 1610373"/>
              <a:gd name="connsiteX1" fmla="*/ 6003 w 3948229"/>
              <a:gd name="connsiteY1" fmla="*/ 8435 h 1610373"/>
              <a:gd name="connsiteX2" fmla="*/ 93500 w 3948229"/>
              <a:gd name="connsiteY2" fmla="*/ 1171 h 1610373"/>
              <a:gd name="connsiteX3" fmla="*/ 3864180 w 3948229"/>
              <a:gd name="connsiteY3" fmla="*/ 1171 h 1610373"/>
              <a:gd name="connsiteX4" fmla="*/ 3948229 w 3948229"/>
              <a:gd name="connsiteY4" fmla="*/ 85220 h 1610373"/>
              <a:gd name="connsiteX5" fmla="*/ 3948229 w 3948229"/>
              <a:gd name="connsiteY5" fmla="*/ 1526324 h 1610373"/>
              <a:gd name="connsiteX6" fmla="*/ 3864180 w 3948229"/>
              <a:gd name="connsiteY6" fmla="*/ 1610373 h 1610373"/>
              <a:gd name="connsiteX7" fmla="*/ 93500 w 3948229"/>
              <a:gd name="connsiteY7" fmla="*/ 1610373 h 1610373"/>
              <a:gd name="connsiteX8" fmla="*/ 9451 w 3948229"/>
              <a:gd name="connsiteY8" fmla="*/ 1526324 h 1610373"/>
              <a:gd name="connsiteX9" fmla="*/ 9451 w 3948229"/>
              <a:gd name="connsiteY9" fmla="*/ 85220 h 1610373"/>
              <a:gd name="connsiteX0" fmla="*/ 12575 w 3951353"/>
              <a:gd name="connsiteY0" fmla="*/ 1632501 h 1716550"/>
              <a:gd name="connsiteX1" fmla="*/ 9127 w 3951353"/>
              <a:gd name="connsiteY1" fmla="*/ 114612 h 1716550"/>
              <a:gd name="connsiteX2" fmla="*/ 96624 w 3951353"/>
              <a:gd name="connsiteY2" fmla="*/ 107348 h 1716550"/>
              <a:gd name="connsiteX3" fmla="*/ 3867304 w 3951353"/>
              <a:gd name="connsiteY3" fmla="*/ 107348 h 1716550"/>
              <a:gd name="connsiteX4" fmla="*/ 3951353 w 3951353"/>
              <a:gd name="connsiteY4" fmla="*/ 191397 h 1716550"/>
              <a:gd name="connsiteX5" fmla="*/ 3951353 w 3951353"/>
              <a:gd name="connsiteY5" fmla="*/ 1632501 h 1716550"/>
              <a:gd name="connsiteX6" fmla="*/ 3867304 w 3951353"/>
              <a:gd name="connsiteY6" fmla="*/ 1716550 h 1716550"/>
              <a:gd name="connsiteX7" fmla="*/ 96624 w 3951353"/>
              <a:gd name="connsiteY7" fmla="*/ 1716550 h 1716550"/>
              <a:gd name="connsiteX8" fmla="*/ 12575 w 3951353"/>
              <a:gd name="connsiteY8" fmla="*/ 1632501 h 1716550"/>
              <a:gd name="connsiteX0" fmla="*/ 9770 w 3948548"/>
              <a:gd name="connsiteY0" fmla="*/ 1632631 h 1716680"/>
              <a:gd name="connsiteX1" fmla="*/ 6322 w 3948548"/>
              <a:gd name="connsiteY1" fmla="*/ 114742 h 1716680"/>
              <a:gd name="connsiteX2" fmla="*/ 93819 w 3948548"/>
              <a:gd name="connsiteY2" fmla="*/ 107478 h 1716680"/>
              <a:gd name="connsiteX3" fmla="*/ 3864499 w 3948548"/>
              <a:gd name="connsiteY3" fmla="*/ 107478 h 1716680"/>
              <a:gd name="connsiteX4" fmla="*/ 3948548 w 3948548"/>
              <a:gd name="connsiteY4" fmla="*/ 191527 h 1716680"/>
              <a:gd name="connsiteX5" fmla="*/ 3948548 w 3948548"/>
              <a:gd name="connsiteY5" fmla="*/ 1632631 h 1716680"/>
              <a:gd name="connsiteX6" fmla="*/ 3864499 w 3948548"/>
              <a:gd name="connsiteY6" fmla="*/ 1716680 h 1716680"/>
              <a:gd name="connsiteX7" fmla="*/ 93819 w 3948548"/>
              <a:gd name="connsiteY7" fmla="*/ 1716680 h 1716680"/>
              <a:gd name="connsiteX8" fmla="*/ 9770 w 3948548"/>
              <a:gd name="connsiteY8" fmla="*/ 1632631 h 1716680"/>
              <a:gd name="connsiteX0" fmla="*/ 6731 w 3945509"/>
              <a:gd name="connsiteY0" fmla="*/ 1632631 h 1780851"/>
              <a:gd name="connsiteX1" fmla="*/ 3283 w 3945509"/>
              <a:gd name="connsiteY1" fmla="*/ 114742 h 1780851"/>
              <a:gd name="connsiteX2" fmla="*/ 90780 w 3945509"/>
              <a:gd name="connsiteY2" fmla="*/ 107478 h 1780851"/>
              <a:gd name="connsiteX3" fmla="*/ 3861460 w 3945509"/>
              <a:gd name="connsiteY3" fmla="*/ 107478 h 1780851"/>
              <a:gd name="connsiteX4" fmla="*/ 3945509 w 3945509"/>
              <a:gd name="connsiteY4" fmla="*/ 191527 h 1780851"/>
              <a:gd name="connsiteX5" fmla="*/ 3945509 w 3945509"/>
              <a:gd name="connsiteY5" fmla="*/ 1632631 h 1780851"/>
              <a:gd name="connsiteX6" fmla="*/ 3861460 w 3945509"/>
              <a:gd name="connsiteY6" fmla="*/ 1716680 h 1780851"/>
              <a:gd name="connsiteX7" fmla="*/ 90780 w 3945509"/>
              <a:gd name="connsiteY7" fmla="*/ 1716680 h 1780851"/>
              <a:gd name="connsiteX8" fmla="*/ 6731 w 3945509"/>
              <a:gd name="connsiteY8" fmla="*/ 1632631 h 1780851"/>
              <a:gd name="connsiteX0" fmla="*/ 5635 w 3944413"/>
              <a:gd name="connsiteY0" fmla="*/ 1632631 h 1730124"/>
              <a:gd name="connsiteX1" fmla="*/ 2187 w 3944413"/>
              <a:gd name="connsiteY1" fmla="*/ 114742 h 1730124"/>
              <a:gd name="connsiteX2" fmla="*/ 89684 w 3944413"/>
              <a:gd name="connsiteY2" fmla="*/ 107478 h 1730124"/>
              <a:gd name="connsiteX3" fmla="*/ 3860364 w 3944413"/>
              <a:gd name="connsiteY3" fmla="*/ 107478 h 1730124"/>
              <a:gd name="connsiteX4" fmla="*/ 3944413 w 3944413"/>
              <a:gd name="connsiteY4" fmla="*/ 191527 h 1730124"/>
              <a:gd name="connsiteX5" fmla="*/ 3944413 w 3944413"/>
              <a:gd name="connsiteY5" fmla="*/ 1632631 h 1730124"/>
              <a:gd name="connsiteX6" fmla="*/ 3860364 w 3944413"/>
              <a:gd name="connsiteY6" fmla="*/ 1716680 h 1730124"/>
              <a:gd name="connsiteX7" fmla="*/ 89684 w 3944413"/>
              <a:gd name="connsiteY7" fmla="*/ 1716680 h 1730124"/>
              <a:gd name="connsiteX8" fmla="*/ 5635 w 3944413"/>
              <a:gd name="connsiteY8" fmla="*/ 1632631 h 1730124"/>
              <a:gd name="connsiteX0" fmla="*/ 6730 w 3945508"/>
              <a:gd name="connsiteY0" fmla="*/ 1632631 h 1718001"/>
              <a:gd name="connsiteX1" fmla="*/ 3282 w 3945508"/>
              <a:gd name="connsiteY1" fmla="*/ 114742 h 1718001"/>
              <a:gd name="connsiteX2" fmla="*/ 90779 w 3945508"/>
              <a:gd name="connsiteY2" fmla="*/ 107478 h 1718001"/>
              <a:gd name="connsiteX3" fmla="*/ 3861459 w 3945508"/>
              <a:gd name="connsiteY3" fmla="*/ 107478 h 1718001"/>
              <a:gd name="connsiteX4" fmla="*/ 3945508 w 3945508"/>
              <a:gd name="connsiteY4" fmla="*/ 191527 h 1718001"/>
              <a:gd name="connsiteX5" fmla="*/ 3945508 w 3945508"/>
              <a:gd name="connsiteY5" fmla="*/ 1632631 h 1718001"/>
              <a:gd name="connsiteX6" fmla="*/ 3861459 w 3945508"/>
              <a:gd name="connsiteY6" fmla="*/ 1716680 h 1718001"/>
              <a:gd name="connsiteX7" fmla="*/ 90779 w 3945508"/>
              <a:gd name="connsiteY7" fmla="*/ 1716680 h 1718001"/>
              <a:gd name="connsiteX8" fmla="*/ 6730 w 3945508"/>
              <a:gd name="connsiteY8" fmla="*/ 1632631 h 1718001"/>
              <a:gd name="connsiteX0" fmla="*/ 5541 w 3944319"/>
              <a:gd name="connsiteY0" fmla="*/ 1632631 h 1716680"/>
              <a:gd name="connsiteX1" fmla="*/ 2093 w 3944319"/>
              <a:gd name="connsiteY1" fmla="*/ 114742 h 1716680"/>
              <a:gd name="connsiteX2" fmla="*/ 89590 w 3944319"/>
              <a:gd name="connsiteY2" fmla="*/ 107478 h 1716680"/>
              <a:gd name="connsiteX3" fmla="*/ 3860270 w 3944319"/>
              <a:gd name="connsiteY3" fmla="*/ 107478 h 1716680"/>
              <a:gd name="connsiteX4" fmla="*/ 3944319 w 3944319"/>
              <a:gd name="connsiteY4" fmla="*/ 191527 h 1716680"/>
              <a:gd name="connsiteX5" fmla="*/ 3944319 w 3944319"/>
              <a:gd name="connsiteY5" fmla="*/ 1632631 h 1716680"/>
              <a:gd name="connsiteX6" fmla="*/ 3860270 w 3944319"/>
              <a:gd name="connsiteY6" fmla="*/ 1716680 h 1716680"/>
              <a:gd name="connsiteX7" fmla="*/ 89590 w 3944319"/>
              <a:gd name="connsiteY7" fmla="*/ 1716680 h 1716680"/>
              <a:gd name="connsiteX8" fmla="*/ 5541 w 3944319"/>
              <a:gd name="connsiteY8" fmla="*/ 1632631 h 1716680"/>
              <a:gd name="connsiteX0" fmla="*/ 4066 w 3942844"/>
              <a:gd name="connsiteY0" fmla="*/ 1541301 h 1625350"/>
              <a:gd name="connsiteX1" fmla="*/ 618 w 3942844"/>
              <a:gd name="connsiteY1" fmla="*/ 23412 h 1625350"/>
              <a:gd name="connsiteX2" fmla="*/ 88115 w 3942844"/>
              <a:gd name="connsiteY2" fmla="*/ 16148 h 1625350"/>
              <a:gd name="connsiteX3" fmla="*/ 3858795 w 3942844"/>
              <a:gd name="connsiteY3" fmla="*/ 16148 h 1625350"/>
              <a:gd name="connsiteX4" fmla="*/ 3942844 w 3942844"/>
              <a:gd name="connsiteY4" fmla="*/ 100197 h 1625350"/>
              <a:gd name="connsiteX5" fmla="*/ 3942844 w 3942844"/>
              <a:gd name="connsiteY5" fmla="*/ 1541301 h 1625350"/>
              <a:gd name="connsiteX6" fmla="*/ 3858795 w 3942844"/>
              <a:gd name="connsiteY6" fmla="*/ 1625350 h 1625350"/>
              <a:gd name="connsiteX7" fmla="*/ 88115 w 3942844"/>
              <a:gd name="connsiteY7" fmla="*/ 1625350 h 1625350"/>
              <a:gd name="connsiteX8" fmla="*/ 4066 w 3942844"/>
              <a:gd name="connsiteY8" fmla="*/ 1541301 h 1625350"/>
              <a:gd name="connsiteX0" fmla="*/ 4276 w 3943054"/>
              <a:gd name="connsiteY0" fmla="*/ 1541301 h 1625350"/>
              <a:gd name="connsiteX1" fmla="*/ 828 w 3943054"/>
              <a:gd name="connsiteY1" fmla="*/ 23412 h 1625350"/>
              <a:gd name="connsiteX2" fmla="*/ 88325 w 3943054"/>
              <a:gd name="connsiteY2" fmla="*/ 16148 h 1625350"/>
              <a:gd name="connsiteX3" fmla="*/ 3859005 w 3943054"/>
              <a:gd name="connsiteY3" fmla="*/ 16148 h 1625350"/>
              <a:gd name="connsiteX4" fmla="*/ 3943054 w 3943054"/>
              <a:gd name="connsiteY4" fmla="*/ 100197 h 1625350"/>
              <a:gd name="connsiteX5" fmla="*/ 3943054 w 3943054"/>
              <a:gd name="connsiteY5" fmla="*/ 1541301 h 1625350"/>
              <a:gd name="connsiteX6" fmla="*/ 3859005 w 3943054"/>
              <a:gd name="connsiteY6" fmla="*/ 1625350 h 1625350"/>
              <a:gd name="connsiteX7" fmla="*/ 88325 w 3943054"/>
              <a:gd name="connsiteY7" fmla="*/ 1625350 h 1625350"/>
              <a:gd name="connsiteX8" fmla="*/ 4276 w 3943054"/>
              <a:gd name="connsiteY8" fmla="*/ 1541301 h 1625350"/>
              <a:gd name="connsiteX0" fmla="*/ 3584 w 3942362"/>
              <a:gd name="connsiteY0" fmla="*/ 1541301 h 1625350"/>
              <a:gd name="connsiteX1" fmla="*/ 136 w 3942362"/>
              <a:gd name="connsiteY1" fmla="*/ 23412 h 1625350"/>
              <a:gd name="connsiteX2" fmla="*/ 87633 w 3942362"/>
              <a:gd name="connsiteY2" fmla="*/ 16148 h 1625350"/>
              <a:gd name="connsiteX3" fmla="*/ 3858313 w 3942362"/>
              <a:gd name="connsiteY3" fmla="*/ 16148 h 1625350"/>
              <a:gd name="connsiteX4" fmla="*/ 3942362 w 3942362"/>
              <a:gd name="connsiteY4" fmla="*/ 100197 h 1625350"/>
              <a:gd name="connsiteX5" fmla="*/ 3942362 w 3942362"/>
              <a:gd name="connsiteY5" fmla="*/ 1541301 h 1625350"/>
              <a:gd name="connsiteX6" fmla="*/ 3858313 w 3942362"/>
              <a:gd name="connsiteY6" fmla="*/ 1625350 h 1625350"/>
              <a:gd name="connsiteX7" fmla="*/ 87633 w 3942362"/>
              <a:gd name="connsiteY7" fmla="*/ 1625350 h 1625350"/>
              <a:gd name="connsiteX8" fmla="*/ 3584 w 3942362"/>
              <a:gd name="connsiteY8" fmla="*/ 1541301 h 1625350"/>
              <a:gd name="connsiteX0" fmla="*/ 4276 w 3943054"/>
              <a:gd name="connsiteY0" fmla="*/ 1525692 h 1609741"/>
              <a:gd name="connsiteX1" fmla="*/ 828 w 3943054"/>
              <a:gd name="connsiteY1" fmla="*/ 7803 h 1609741"/>
              <a:gd name="connsiteX2" fmla="*/ 88325 w 3943054"/>
              <a:gd name="connsiteY2" fmla="*/ 539 h 1609741"/>
              <a:gd name="connsiteX3" fmla="*/ 3859005 w 3943054"/>
              <a:gd name="connsiteY3" fmla="*/ 539 h 1609741"/>
              <a:gd name="connsiteX4" fmla="*/ 3943054 w 3943054"/>
              <a:gd name="connsiteY4" fmla="*/ 84588 h 1609741"/>
              <a:gd name="connsiteX5" fmla="*/ 3943054 w 3943054"/>
              <a:gd name="connsiteY5" fmla="*/ 1525692 h 1609741"/>
              <a:gd name="connsiteX6" fmla="*/ 3859005 w 3943054"/>
              <a:gd name="connsiteY6" fmla="*/ 1609741 h 1609741"/>
              <a:gd name="connsiteX7" fmla="*/ 88325 w 3943054"/>
              <a:gd name="connsiteY7" fmla="*/ 1609741 h 1609741"/>
              <a:gd name="connsiteX8" fmla="*/ 4276 w 3943054"/>
              <a:gd name="connsiteY8" fmla="*/ 1525692 h 1609741"/>
              <a:gd name="connsiteX0" fmla="*/ 3584 w 3942362"/>
              <a:gd name="connsiteY0" fmla="*/ 1525692 h 1609741"/>
              <a:gd name="connsiteX1" fmla="*/ 136 w 3942362"/>
              <a:gd name="connsiteY1" fmla="*/ 7803 h 1609741"/>
              <a:gd name="connsiteX2" fmla="*/ 87633 w 3942362"/>
              <a:gd name="connsiteY2" fmla="*/ 539 h 1609741"/>
              <a:gd name="connsiteX3" fmla="*/ 3858313 w 3942362"/>
              <a:gd name="connsiteY3" fmla="*/ 539 h 1609741"/>
              <a:gd name="connsiteX4" fmla="*/ 3942362 w 3942362"/>
              <a:gd name="connsiteY4" fmla="*/ 84588 h 1609741"/>
              <a:gd name="connsiteX5" fmla="*/ 3942362 w 3942362"/>
              <a:gd name="connsiteY5" fmla="*/ 1525692 h 1609741"/>
              <a:gd name="connsiteX6" fmla="*/ 3858313 w 3942362"/>
              <a:gd name="connsiteY6" fmla="*/ 1609741 h 1609741"/>
              <a:gd name="connsiteX7" fmla="*/ 87633 w 3942362"/>
              <a:gd name="connsiteY7" fmla="*/ 1609741 h 1609741"/>
              <a:gd name="connsiteX8" fmla="*/ 3584 w 3942362"/>
              <a:gd name="connsiteY8" fmla="*/ 1525692 h 1609741"/>
              <a:gd name="connsiteX0" fmla="*/ 3644 w 3942422"/>
              <a:gd name="connsiteY0" fmla="*/ 1525692 h 1609741"/>
              <a:gd name="connsiteX1" fmla="*/ 196 w 3942422"/>
              <a:gd name="connsiteY1" fmla="*/ 7803 h 1609741"/>
              <a:gd name="connsiteX2" fmla="*/ 87693 w 3942422"/>
              <a:gd name="connsiteY2" fmla="*/ 539 h 1609741"/>
              <a:gd name="connsiteX3" fmla="*/ 3858373 w 3942422"/>
              <a:gd name="connsiteY3" fmla="*/ 539 h 1609741"/>
              <a:gd name="connsiteX4" fmla="*/ 3942422 w 3942422"/>
              <a:gd name="connsiteY4" fmla="*/ 84588 h 1609741"/>
              <a:gd name="connsiteX5" fmla="*/ 3942422 w 3942422"/>
              <a:gd name="connsiteY5" fmla="*/ 1525692 h 1609741"/>
              <a:gd name="connsiteX6" fmla="*/ 3858373 w 3942422"/>
              <a:gd name="connsiteY6" fmla="*/ 1609741 h 1609741"/>
              <a:gd name="connsiteX7" fmla="*/ 87693 w 3942422"/>
              <a:gd name="connsiteY7" fmla="*/ 1609741 h 1609741"/>
              <a:gd name="connsiteX8" fmla="*/ 3644 w 3942422"/>
              <a:gd name="connsiteY8" fmla="*/ 1525692 h 1609741"/>
              <a:gd name="connsiteX0" fmla="*/ 225140 w 4163918"/>
              <a:gd name="connsiteY0" fmla="*/ 1528731 h 1674428"/>
              <a:gd name="connsiteX1" fmla="*/ 224074 w 4163918"/>
              <a:gd name="connsiteY1" fmla="*/ 3699 h 1674428"/>
              <a:gd name="connsiteX2" fmla="*/ 309189 w 4163918"/>
              <a:gd name="connsiteY2" fmla="*/ 3578 h 1674428"/>
              <a:gd name="connsiteX3" fmla="*/ 4079869 w 4163918"/>
              <a:gd name="connsiteY3" fmla="*/ 3578 h 1674428"/>
              <a:gd name="connsiteX4" fmla="*/ 4163918 w 4163918"/>
              <a:gd name="connsiteY4" fmla="*/ 87627 h 1674428"/>
              <a:gd name="connsiteX5" fmla="*/ 4163918 w 4163918"/>
              <a:gd name="connsiteY5" fmla="*/ 1528731 h 1674428"/>
              <a:gd name="connsiteX6" fmla="*/ 4079869 w 4163918"/>
              <a:gd name="connsiteY6" fmla="*/ 1612780 h 1674428"/>
              <a:gd name="connsiteX7" fmla="*/ 309189 w 4163918"/>
              <a:gd name="connsiteY7" fmla="*/ 1612780 h 1674428"/>
              <a:gd name="connsiteX8" fmla="*/ 225140 w 4163918"/>
              <a:gd name="connsiteY8" fmla="*/ 1528731 h 1674428"/>
              <a:gd name="connsiteX0" fmla="*/ 6880 w 3945658"/>
              <a:gd name="connsiteY0" fmla="*/ 1528731 h 1674428"/>
              <a:gd name="connsiteX1" fmla="*/ 5814 w 3945658"/>
              <a:gd name="connsiteY1" fmla="*/ 3699 h 1674428"/>
              <a:gd name="connsiteX2" fmla="*/ 90929 w 3945658"/>
              <a:gd name="connsiteY2" fmla="*/ 3578 h 1674428"/>
              <a:gd name="connsiteX3" fmla="*/ 3861609 w 3945658"/>
              <a:gd name="connsiteY3" fmla="*/ 3578 h 1674428"/>
              <a:gd name="connsiteX4" fmla="*/ 3945658 w 3945658"/>
              <a:gd name="connsiteY4" fmla="*/ 87627 h 1674428"/>
              <a:gd name="connsiteX5" fmla="*/ 3945658 w 3945658"/>
              <a:gd name="connsiteY5" fmla="*/ 1528731 h 1674428"/>
              <a:gd name="connsiteX6" fmla="*/ 3861609 w 3945658"/>
              <a:gd name="connsiteY6" fmla="*/ 1612780 h 1674428"/>
              <a:gd name="connsiteX7" fmla="*/ 90929 w 3945658"/>
              <a:gd name="connsiteY7" fmla="*/ 1612780 h 1674428"/>
              <a:gd name="connsiteX8" fmla="*/ 6880 w 3945658"/>
              <a:gd name="connsiteY8" fmla="*/ 1528731 h 1674428"/>
              <a:gd name="connsiteX0" fmla="*/ 225140 w 4163918"/>
              <a:gd name="connsiteY0" fmla="*/ 1526452 h 1671925"/>
              <a:gd name="connsiteX1" fmla="*/ 224074 w 4163918"/>
              <a:gd name="connsiteY1" fmla="*/ 4595 h 1671925"/>
              <a:gd name="connsiteX2" fmla="*/ 309189 w 4163918"/>
              <a:gd name="connsiteY2" fmla="*/ 1299 h 1671925"/>
              <a:gd name="connsiteX3" fmla="*/ 4079869 w 4163918"/>
              <a:gd name="connsiteY3" fmla="*/ 1299 h 1671925"/>
              <a:gd name="connsiteX4" fmla="*/ 4163918 w 4163918"/>
              <a:gd name="connsiteY4" fmla="*/ 85348 h 1671925"/>
              <a:gd name="connsiteX5" fmla="*/ 4163918 w 4163918"/>
              <a:gd name="connsiteY5" fmla="*/ 1526452 h 1671925"/>
              <a:gd name="connsiteX6" fmla="*/ 4079869 w 4163918"/>
              <a:gd name="connsiteY6" fmla="*/ 1610501 h 1671925"/>
              <a:gd name="connsiteX7" fmla="*/ 309189 w 4163918"/>
              <a:gd name="connsiteY7" fmla="*/ 1610501 h 1671925"/>
              <a:gd name="connsiteX8" fmla="*/ 225140 w 4163918"/>
              <a:gd name="connsiteY8" fmla="*/ 1526452 h 1671925"/>
              <a:gd name="connsiteX0" fmla="*/ 6880 w 3945658"/>
              <a:gd name="connsiteY0" fmla="*/ 1527596 h 1673069"/>
              <a:gd name="connsiteX1" fmla="*/ 5814 w 3945658"/>
              <a:gd name="connsiteY1" fmla="*/ 5739 h 1673069"/>
              <a:gd name="connsiteX2" fmla="*/ 90929 w 3945658"/>
              <a:gd name="connsiteY2" fmla="*/ 2443 h 1673069"/>
              <a:gd name="connsiteX3" fmla="*/ 3861609 w 3945658"/>
              <a:gd name="connsiteY3" fmla="*/ 2443 h 1673069"/>
              <a:gd name="connsiteX4" fmla="*/ 3945658 w 3945658"/>
              <a:gd name="connsiteY4" fmla="*/ 86492 h 1673069"/>
              <a:gd name="connsiteX5" fmla="*/ 3945658 w 3945658"/>
              <a:gd name="connsiteY5" fmla="*/ 1527596 h 1673069"/>
              <a:gd name="connsiteX6" fmla="*/ 3861609 w 3945658"/>
              <a:gd name="connsiteY6" fmla="*/ 1611645 h 1673069"/>
              <a:gd name="connsiteX7" fmla="*/ 90929 w 3945658"/>
              <a:gd name="connsiteY7" fmla="*/ 1611645 h 1673069"/>
              <a:gd name="connsiteX8" fmla="*/ 6880 w 3945658"/>
              <a:gd name="connsiteY8" fmla="*/ 1527596 h 1673069"/>
              <a:gd name="connsiteX0" fmla="*/ 4095 w 3942873"/>
              <a:gd name="connsiteY0" fmla="*/ 1527596 h 1611653"/>
              <a:gd name="connsiteX1" fmla="*/ 3029 w 3942873"/>
              <a:gd name="connsiteY1" fmla="*/ 5739 h 1611653"/>
              <a:gd name="connsiteX2" fmla="*/ 88144 w 3942873"/>
              <a:gd name="connsiteY2" fmla="*/ 2443 h 1611653"/>
              <a:gd name="connsiteX3" fmla="*/ 3858824 w 3942873"/>
              <a:gd name="connsiteY3" fmla="*/ 2443 h 1611653"/>
              <a:gd name="connsiteX4" fmla="*/ 3942873 w 3942873"/>
              <a:gd name="connsiteY4" fmla="*/ 86492 h 1611653"/>
              <a:gd name="connsiteX5" fmla="*/ 3942873 w 3942873"/>
              <a:gd name="connsiteY5" fmla="*/ 1527596 h 1611653"/>
              <a:gd name="connsiteX6" fmla="*/ 3858824 w 3942873"/>
              <a:gd name="connsiteY6" fmla="*/ 1611645 h 1611653"/>
              <a:gd name="connsiteX7" fmla="*/ 88144 w 3942873"/>
              <a:gd name="connsiteY7" fmla="*/ 1611645 h 1611653"/>
              <a:gd name="connsiteX8" fmla="*/ 4095 w 3942873"/>
              <a:gd name="connsiteY8" fmla="*/ 1527596 h 1611653"/>
              <a:gd name="connsiteX0" fmla="*/ 9512 w 3948290"/>
              <a:gd name="connsiteY0" fmla="*/ 1527596 h 1673069"/>
              <a:gd name="connsiteX1" fmla="*/ 8446 w 3948290"/>
              <a:gd name="connsiteY1" fmla="*/ 5739 h 1673069"/>
              <a:gd name="connsiteX2" fmla="*/ 93561 w 3948290"/>
              <a:gd name="connsiteY2" fmla="*/ 2443 h 1673069"/>
              <a:gd name="connsiteX3" fmla="*/ 3864241 w 3948290"/>
              <a:gd name="connsiteY3" fmla="*/ 2443 h 1673069"/>
              <a:gd name="connsiteX4" fmla="*/ 3948290 w 3948290"/>
              <a:gd name="connsiteY4" fmla="*/ 86492 h 1673069"/>
              <a:gd name="connsiteX5" fmla="*/ 3948290 w 3948290"/>
              <a:gd name="connsiteY5" fmla="*/ 1527596 h 1673069"/>
              <a:gd name="connsiteX6" fmla="*/ 3864241 w 3948290"/>
              <a:gd name="connsiteY6" fmla="*/ 1611645 h 1673069"/>
              <a:gd name="connsiteX7" fmla="*/ 129280 w 3948290"/>
              <a:gd name="connsiteY7" fmla="*/ 1611645 h 1673069"/>
              <a:gd name="connsiteX8" fmla="*/ 9512 w 3948290"/>
              <a:gd name="connsiteY8" fmla="*/ 1527596 h 1673069"/>
              <a:gd name="connsiteX0" fmla="*/ 3242 w 3942020"/>
              <a:gd name="connsiteY0" fmla="*/ 1527596 h 1614938"/>
              <a:gd name="connsiteX1" fmla="*/ 2176 w 3942020"/>
              <a:gd name="connsiteY1" fmla="*/ 5739 h 1614938"/>
              <a:gd name="connsiteX2" fmla="*/ 87291 w 3942020"/>
              <a:gd name="connsiteY2" fmla="*/ 2443 h 1614938"/>
              <a:gd name="connsiteX3" fmla="*/ 3857971 w 3942020"/>
              <a:gd name="connsiteY3" fmla="*/ 2443 h 1614938"/>
              <a:gd name="connsiteX4" fmla="*/ 3942020 w 3942020"/>
              <a:gd name="connsiteY4" fmla="*/ 86492 h 1614938"/>
              <a:gd name="connsiteX5" fmla="*/ 3942020 w 3942020"/>
              <a:gd name="connsiteY5" fmla="*/ 1527596 h 1614938"/>
              <a:gd name="connsiteX6" fmla="*/ 3857971 w 3942020"/>
              <a:gd name="connsiteY6" fmla="*/ 1611645 h 1614938"/>
              <a:gd name="connsiteX7" fmla="*/ 123010 w 3942020"/>
              <a:gd name="connsiteY7" fmla="*/ 1611645 h 1614938"/>
              <a:gd name="connsiteX8" fmla="*/ 3242 w 3942020"/>
              <a:gd name="connsiteY8" fmla="*/ 1527596 h 1614938"/>
              <a:gd name="connsiteX0" fmla="*/ 1552 w 3940330"/>
              <a:gd name="connsiteY0" fmla="*/ 1527596 h 1612398"/>
              <a:gd name="connsiteX1" fmla="*/ 486 w 3940330"/>
              <a:gd name="connsiteY1" fmla="*/ 5739 h 1612398"/>
              <a:gd name="connsiteX2" fmla="*/ 85601 w 3940330"/>
              <a:gd name="connsiteY2" fmla="*/ 2443 h 1612398"/>
              <a:gd name="connsiteX3" fmla="*/ 3856281 w 3940330"/>
              <a:gd name="connsiteY3" fmla="*/ 2443 h 1612398"/>
              <a:gd name="connsiteX4" fmla="*/ 3940330 w 3940330"/>
              <a:gd name="connsiteY4" fmla="*/ 86492 h 1612398"/>
              <a:gd name="connsiteX5" fmla="*/ 3940330 w 3940330"/>
              <a:gd name="connsiteY5" fmla="*/ 1527596 h 1612398"/>
              <a:gd name="connsiteX6" fmla="*/ 3856281 w 3940330"/>
              <a:gd name="connsiteY6" fmla="*/ 1611645 h 1612398"/>
              <a:gd name="connsiteX7" fmla="*/ 121320 w 3940330"/>
              <a:gd name="connsiteY7" fmla="*/ 1611645 h 1612398"/>
              <a:gd name="connsiteX8" fmla="*/ 1552 w 3940330"/>
              <a:gd name="connsiteY8" fmla="*/ 1527596 h 1612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40330" h="1612398">
                <a:moveTo>
                  <a:pt x="1552" y="1527596"/>
                </a:moveTo>
                <a:cubicBezTo>
                  <a:pt x="463" y="1429014"/>
                  <a:pt x="-671" y="14002"/>
                  <a:pt x="486" y="5739"/>
                </a:cubicBezTo>
                <a:cubicBezTo>
                  <a:pt x="1643" y="-2524"/>
                  <a:pt x="8119" y="-183"/>
                  <a:pt x="85601" y="2443"/>
                </a:cubicBezTo>
                <a:cubicBezTo>
                  <a:pt x="163083" y="5069"/>
                  <a:pt x="2599388" y="2443"/>
                  <a:pt x="3856281" y="2443"/>
                </a:cubicBezTo>
                <a:cubicBezTo>
                  <a:pt x="3902700" y="2443"/>
                  <a:pt x="3940330" y="40073"/>
                  <a:pt x="3940330" y="86492"/>
                </a:cubicBezTo>
                <a:lnTo>
                  <a:pt x="3940330" y="1527596"/>
                </a:lnTo>
                <a:cubicBezTo>
                  <a:pt x="3940330" y="1574015"/>
                  <a:pt x="3902700" y="1611645"/>
                  <a:pt x="3856281" y="1611645"/>
                </a:cubicBezTo>
                <a:lnTo>
                  <a:pt x="121320" y="1611645"/>
                </a:lnTo>
                <a:cubicBezTo>
                  <a:pt x="74901" y="1611645"/>
                  <a:pt x="2641" y="1626178"/>
                  <a:pt x="1552" y="1527596"/>
                </a:cubicBezTo>
                <a:close/>
              </a:path>
            </a:pathLst>
          </a:custGeom>
          <a:solidFill>
            <a:schemeClr val="bg2">
              <a:alpha val="85000"/>
            </a:schemeClr>
          </a:solidFill>
        </p:spPr>
        <p:txBody>
          <a:bodyPr vert="horz" lIns="360000" tIns="288000" rIns="360000" bIns="360000" rtlCol="0">
            <a:noAutofit/>
          </a:bodyPr>
          <a:lstStyle>
            <a:lvl1pPr>
              <a:lnSpc>
                <a:spcPct val="70000"/>
              </a:lnSpc>
              <a:defRPr lang="nl-NL" dirty="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70000"/>
              </a:lnSpc>
              <a:defRPr lang="nl-NL" dirty="0">
                <a:solidFill>
                  <a:schemeClr val="bg1"/>
                </a:solidFill>
                <a:latin typeface="+mj-lt"/>
              </a:defRPr>
            </a:lvl2pPr>
            <a:lvl3pPr>
              <a:lnSpc>
                <a:spcPct val="70000"/>
              </a:lnSpc>
              <a:defRPr lang="nl-NL" dirty="0">
                <a:solidFill>
                  <a:schemeClr val="bg1"/>
                </a:solidFill>
                <a:latin typeface="+mj-lt"/>
              </a:defRPr>
            </a:lvl3pPr>
            <a:lvl4pPr>
              <a:lnSpc>
                <a:spcPct val="70000"/>
              </a:lnSpc>
              <a:defRPr lang="nl-NL" sz="8419" dirty="0">
                <a:solidFill>
                  <a:schemeClr val="bg1"/>
                </a:solidFill>
                <a:latin typeface="+mj-lt"/>
              </a:defRPr>
            </a:lvl4pPr>
            <a:lvl5pPr>
              <a:lnSpc>
                <a:spcPct val="70000"/>
              </a:lnSpc>
              <a:defRPr lang="nl-NL" b="0" dirty="0">
                <a:solidFill>
                  <a:schemeClr val="bg1"/>
                </a:solidFill>
              </a:defRPr>
            </a:lvl5pPr>
            <a:lvl6pPr>
              <a:lnSpc>
                <a:spcPct val="70000"/>
              </a:lnSpc>
              <a:defRPr lang="nl-NL" dirty="0"/>
            </a:lvl6pPr>
          </a:lstStyle>
          <a:p>
            <a:pPr lvl="0">
              <a:lnSpc>
                <a:spcPct val="100000"/>
              </a:lnSpc>
            </a:pPr>
            <a:r>
              <a:rPr lang="nl-NL"/>
              <a:t>Tekststijl van het model bewerken</a:t>
            </a:r>
          </a:p>
          <a:p>
            <a:pPr lvl="1">
              <a:lnSpc>
                <a:spcPct val="100000"/>
              </a:lnSpc>
            </a:pPr>
            <a:r>
              <a:rPr lang="nl-NL"/>
              <a:t>Tweede niveau</a:t>
            </a:r>
          </a:p>
          <a:p>
            <a:pPr lvl="2">
              <a:lnSpc>
                <a:spcPct val="100000"/>
              </a:lnSpc>
            </a:pPr>
            <a:r>
              <a:rPr lang="nl-NL"/>
              <a:t>Derde niveau</a:t>
            </a:r>
          </a:p>
          <a:p>
            <a:pPr lvl="3">
              <a:lnSpc>
                <a:spcPct val="100000"/>
              </a:lnSpc>
            </a:pPr>
            <a:r>
              <a:rPr lang="nl-NL"/>
              <a:t>Vierde niveau</a:t>
            </a:r>
          </a:p>
          <a:p>
            <a:pPr lvl="4">
              <a:lnSpc>
                <a:spcPct val="100000"/>
              </a:lnSpc>
            </a:pPr>
            <a:r>
              <a:rPr lang="nl-NL"/>
              <a:t>Vijfde niveau</a:t>
            </a:r>
          </a:p>
          <a:p>
            <a:pPr lvl="5"/>
            <a:r>
              <a:rPr lang="nl-NL"/>
              <a:t>Zesde niveau</a:t>
            </a:r>
          </a:p>
        </p:txBody>
      </p:sp>
    </p:spTree>
    <p:extLst>
      <p:ext uri="{BB962C8B-B14F-4D97-AF65-F5344CB8AC3E}">
        <p14:creationId xmlns:p14="http://schemas.microsoft.com/office/powerpoint/2010/main" val="1658188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4250" fill="hold"/>
                                        <p:tgtEl>
                                          <p:spTgt spid="10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6" grpId="0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ande afbeelding met tekst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7429" y="9353"/>
          <a:ext cx="7423" cy="93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429" y="9353"/>
                        <a:ext cx="7423" cy="93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/>
              <a:t>Datum</a:t>
            </a:r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Titel van de presentatie</a:t>
            </a: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36286-4DC8-46DE-9269-8F728FBC0641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6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0609101" y="5721300"/>
            <a:ext cx="17258438" cy="20660250"/>
          </a:xfr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spcAft>
                <a:spcPts val="4676"/>
              </a:spcAft>
              <a:defRPr/>
            </a:lvl1pPr>
            <a:lvl2pPr>
              <a:lnSpc>
                <a:spcPct val="110000"/>
              </a:lnSpc>
              <a:spcAft>
                <a:spcPts val="4676"/>
              </a:spcAft>
              <a:defRPr/>
            </a:lvl2pPr>
            <a:lvl3pPr>
              <a:lnSpc>
                <a:spcPct val="110000"/>
              </a:lnSpc>
              <a:spcAft>
                <a:spcPts val="4676"/>
              </a:spcAft>
              <a:defRPr/>
            </a:lvl3pPr>
            <a:lvl4pPr>
              <a:lnSpc>
                <a:spcPct val="110000"/>
              </a:lnSpc>
              <a:spcAft>
                <a:spcPts val="4676"/>
              </a:spcAft>
              <a:defRPr/>
            </a:lvl4pPr>
            <a:lvl5pPr>
              <a:lnSpc>
                <a:spcPct val="110000"/>
              </a:lnSpc>
              <a:spcAft>
                <a:spcPts val="4676"/>
              </a:spcAft>
              <a:defRPr/>
            </a:lvl5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9" name="Tijdelijke aanduiding voor afbeelding 2"/>
          <p:cNvSpPr>
            <a:spLocks noGrp="1"/>
          </p:cNvSpPr>
          <p:nvPr>
            <p:ph type="pic" idx="13"/>
          </p:nvPr>
        </p:nvSpPr>
        <p:spPr>
          <a:xfrm>
            <a:off x="2508787" y="5721300"/>
            <a:ext cx="17258438" cy="20342400"/>
          </a:xfrm>
        </p:spPr>
        <p:txBody>
          <a:bodyPr/>
          <a:lstStyle>
            <a:lvl1pPr marL="0" indent="0">
              <a:buNone/>
              <a:defRPr sz="8885"/>
            </a:lvl1pPr>
            <a:lvl2pPr marL="2138273" indent="0">
              <a:buNone/>
              <a:defRPr sz="13096"/>
            </a:lvl2pPr>
            <a:lvl3pPr marL="4276548" indent="0">
              <a:buNone/>
              <a:defRPr sz="11225"/>
            </a:lvl3pPr>
            <a:lvl4pPr marL="6414815" indent="0">
              <a:buNone/>
              <a:defRPr sz="9355"/>
            </a:lvl4pPr>
            <a:lvl5pPr marL="8553090" indent="0">
              <a:buNone/>
              <a:defRPr sz="9355"/>
            </a:lvl5pPr>
            <a:lvl6pPr marL="10691363" indent="0">
              <a:buNone/>
              <a:defRPr sz="9355"/>
            </a:lvl6pPr>
            <a:lvl7pPr marL="12829637" indent="0">
              <a:buNone/>
              <a:defRPr sz="9355"/>
            </a:lvl7pPr>
            <a:lvl8pPr marL="14967907" indent="0">
              <a:buNone/>
              <a:defRPr sz="9355"/>
            </a:lvl8pPr>
            <a:lvl9pPr marL="17106180" indent="0">
              <a:buNone/>
              <a:defRPr sz="9355"/>
            </a:lvl9pPr>
          </a:lstStyle>
          <a:p>
            <a:r>
              <a:rPr lang="nl-NL"/>
              <a:t>Klik op het pictogram als u een afbeelding wilt toevoegen</a:t>
            </a:r>
          </a:p>
        </p:txBody>
      </p:sp>
    </p:spTree>
    <p:extLst>
      <p:ext uri="{BB962C8B-B14F-4D97-AF65-F5344CB8AC3E}">
        <p14:creationId xmlns:p14="http://schemas.microsoft.com/office/powerpoint/2010/main" val="1075666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6.xml"/><Relationship Id="rId18" Type="http://schemas.openxmlformats.org/officeDocument/2006/relationships/slideLayout" Target="../slideLayouts/slideLayout51.xml"/><Relationship Id="rId26" Type="http://schemas.openxmlformats.org/officeDocument/2006/relationships/slideLayout" Target="../slideLayouts/slideLayout59.xml"/><Relationship Id="rId3" Type="http://schemas.openxmlformats.org/officeDocument/2006/relationships/slideLayout" Target="../slideLayouts/slideLayout36.xml"/><Relationship Id="rId21" Type="http://schemas.openxmlformats.org/officeDocument/2006/relationships/slideLayout" Target="../slideLayouts/slideLayout54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5" Type="http://schemas.openxmlformats.org/officeDocument/2006/relationships/slideLayout" Target="../slideLayouts/slideLayout58.xml"/><Relationship Id="rId33" Type="http://schemas.openxmlformats.org/officeDocument/2006/relationships/theme" Target="../theme/theme2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slideLayout" Target="../slideLayouts/slideLayout53.xml"/><Relationship Id="rId29" Type="http://schemas.openxmlformats.org/officeDocument/2006/relationships/slideLayout" Target="../slideLayouts/slideLayout62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24" Type="http://schemas.openxmlformats.org/officeDocument/2006/relationships/slideLayout" Target="../slideLayouts/slideLayout57.xml"/><Relationship Id="rId32" Type="http://schemas.openxmlformats.org/officeDocument/2006/relationships/slideLayout" Target="../slideLayouts/slideLayout65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23" Type="http://schemas.openxmlformats.org/officeDocument/2006/relationships/slideLayout" Target="../slideLayouts/slideLayout56.xml"/><Relationship Id="rId28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43.xml"/><Relationship Id="rId19" Type="http://schemas.openxmlformats.org/officeDocument/2006/relationships/slideLayout" Target="../slideLayouts/slideLayout52.xml"/><Relationship Id="rId31" Type="http://schemas.openxmlformats.org/officeDocument/2006/relationships/slideLayout" Target="../slideLayouts/slideLayout64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Relationship Id="rId22" Type="http://schemas.openxmlformats.org/officeDocument/2006/relationships/slideLayout" Target="../slideLayouts/slideLayout55.xml"/><Relationship Id="rId27" Type="http://schemas.openxmlformats.org/officeDocument/2006/relationships/slideLayout" Target="../slideLayouts/slideLayout60.xml"/><Relationship Id="rId30" Type="http://schemas.openxmlformats.org/officeDocument/2006/relationships/slideLayout" Target="../slideLayouts/slideLayout63.xml"/><Relationship Id="rId8" Type="http://schemas.openxmlformats.org/officeDocument/2006/relationships/slideLayout" Target="../slideLayouts/slideLayout41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8.xml"/><Relationship Id="rId18" Type="http://schemas.openxmlformats.org/officeDocument/2006/relationships/slideLayout" Target="../slideLayouts/slideLayout83.xml"/><Relationship Id="rId26" Type="http://schemas.openxmlformats.org/officeDocument/2006/relationships/slideLayout" Target="../slideLayouts/slideLayout91.xml"/><Relationship Id="rId21" Type="http://schemas.openxmlformats.org/officeDocument/2006/relationships/slideLayout" Target="../slideLayouts/slideLayout86.xml"/><Relationship Id="rId34" Type="http://schemas.openxmlformats.org/officeDocument/2006/relationships/slideLayout" Target="../slideLayouts/slideLayout99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17" Type="http://schemas.openxmlformats.org/officeDocument/2006/relationships/slideLayout" Target="../slideLayouts/slideLayout82.xml"/><Relationship Id="rId25" Type="http://schemas.openxmlformats.org/officeDocument/2006/relationships/slideLayout" Target="../slideLayouts/slideLayout90.xml"/><Relationship Id="rId33" Type="http://schemas.openxmlformats.org/officeDocument/2006/relationships/slideLayout" Target="../slideLayouts/slideLayout98.xml"/><Relationship Id="rId38" Type="http://schemas.openxmlformats.org/officeDocument/2006/relationships/image" Target="../media/image21.emf"/><Relationship Id="rId2" Type="http://schemas.openxmlformats.org/officeDocument/2006/relationships/slideLayout" Target="../slideLayouts/slideLayout67.xml"/><Relationship Id="rId16" Type="http://schemas.openxmlformats.org/officeDocument/2006/relationships/slideLayout" Target="../slideLayouts/slideLayout81.xml"/><Relationship Id="rId20" Type="http://schemas.openxmlformats.org/officeDocument/2006/relationships/slideLayout" Target="../slideLayouts/slideLayout85.xml"/><Relationship Id="rId29" Type="http://schemas.openxmlformats.org/officeDocument/2006/relationships/slideLayout" Target="../slideLayouts/slideLayout94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24" Type="http://schemas.openxmlformats.org/officeDocument/2006/relationships/slideLayout" Target="../slideLayouts/slideLayout89.xml"/><Relationship Id="rId32" Type="http://schemas.openxmlformats.org/officeDocument/2006/relationships/slideLayout" Target="../slideLayouts/slideLayout97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70.xml"/><Relationship Id="rId15" Type="http://schemas.openxmlformats.org/officeDocument/2006/relationships/slideLayout" Target="../slideLayouts/slideLayout80.xml"/><Relationship Id="rId23" Type="http://schemas.openxmlformats.org/officeDocument/2006/relationships/slideLayout" Target="../slideLayouts/slideLayout88.xml"/><Relationship Id="rId28" Type="http://schemas.openxmlformats.org/officeDocument/2006/relationships/slideLayout" Target="../slideLayouts/slideLayout93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75.xml"/><Relationship Id="rId19" Type="http://schemas.openxmlformats.org/officeDocument/2006/relationships/slideLayout" Target="../slideLayouts/slideLayout84.xml"/><Relationship Id="rId31" Type="http://schemas.openxmlformats.org/officeDocument/2006/relationships/slideLayout" Target="../slideLayouts/slideLayout96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slideLayout" Target="../slideLayouts/slideLayout79.xml"/><Relationship Id="rId22" Type="http://schemas.openxmlformats.org/officeDocument/2006/relationships/slideLayout" Target="../slideLayouts/slideLayout87.xml"/><Relationship Id="rId27" Type="http://schemas.openxmlformats.org/officeDocument/2006/relationships/slideLayout" Target="../slideLayouts/slideLayout92.xml"/><Relationship Id="rId30" Type="http://schemas.openxmlformats.org/officeDocument/2006/relationships/slideLayout" Target="../slideLayouts/slideLayout95.xml"/><Relationship Id="rId35" Type="http://schemas.openxmlformats.org/officeDocument/2006/relationships/theme" Target="../theme/theme3.xml"/><Relationship Id="rId8" Type="http://schemas.openxmlformats.org/officeDocument/2006/relationships/slideLayout" Target="../slideLayouts/slideLayout73.xml"/><Relationship Id="rId3" Type="http://schemas.openxmlformats.org/officeDocument/2006/relationships/slideLayout" Target="../slideLayouts/slideLayout68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2.xml"/><Relationship Id="rId18" Type="http://schemas.openxmlformats.org/officeDocument/2006/relationships/slideLayout" Target="../slideLayouts/slideLayout117.xml"/><Relationship Id="rId26" Type="http://schemas.openxmlformats.org/officeDocument/2006/relationships/slideLayout" Target="../slideLayouts/slideLayout125.xml"/><Relationship Id="rId39" Type="http://schemas.openxmlformats.org/officeDocument/2006/relationships/oleObject" Target="../embeddings/oleObject3.bin"/><Relationship Id="rId21" Type="http://schemas.openxmlformats.org/officeDocument/2006/relationships/slideLayout" Target="../slideLayouts/slideLayout120.xml"/><Relationship Id="rId34" Type="http://schemas.openxmlformats.org/officeDocument/2006/relationships/slideLayout" Target="../slideLayouts/slideLayout133.xml"/><Relationship Id="rId7" Type="http://schemas.openxmlformats.org/officeDocument/2006/relationships/slideLayout" Target="../slideLayouts/slideLayout106.xml"/><Relationship Id="rId12" Type="http://schemas.openxmlformats.org/officeDocument/2006/relationships/slideLayout" Target="../slideLayouts/slideLayout111.xml"/><Relationship Id="rId17" Type="http://schemas.openxmlformats.org/officeDocument/2006/relationships/slideLayout" Target="../slideLayouts/slideLayout116.xml"/><Relationship Id="rId25" Type="http://schemas.openxmlformats.org/officeDocument/2006/relationships/slideLayout" Target="../slideLayouts/slideLayout124.xml"/><Relationship Id="rId33" Type="http://schemas.openxmlformats.org/officeDocument/2006/relationships/slideLayout" Target="../slideLayouts/slideLayout132.xml"/><Relationship Id="rId38" Type="http://schemas.openxmlformats.org/officeDocument/2006/relationships/tags" Target="../tags/tag4.xml"/><Relationship Id="rId2" Type="http://schemas.openxmlformats.org/officeDocument/2006/relationships/slideLayout" Target="../slideLayouts/slideLayout101.xml"/><Relationship Id="rId16" Type="http://schemas.openxmlformats.org/officeDocument/2006/relationships/slideLayout" Target="../slideLayouts/slideLayout115.xml"/><Relationship Id="rId20" Type="http://schemas.openxmlformats.org/officeDocument/2006/relationships/slideLayout" Target="../slideLayouts/slideLayout119.xml"/><Relationship Id="rId29" Type="http://schemas.openxmlformats.org/officeDocument/2006/relationships/slideLayout" Target="../slideLayouts/slideLayout128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24" Type="http://schemas.openxmlformats.org/officeDocument/2006/relationships/slideLayout" Target="../slideLayouts/slideLayout123.xml"/><Relationship Id="rId32" Type="http://schemas.openxmlformats.org/officeDocument/2006/relationships/slideLayout" Target="../slideLayouts/slideLayout131.xml"/><Relationship Id="rId37" Type="http://schemas.openxmlformats.org/officeDocument/2006/relationships/theme" Target="../theme/theme4.xml"/><Relationship Id="rId40" Type="http://schemas.openxmlformats.org/officeDocument/2006/relationships/image" Target="../media/image21.emf"/><Relationship Id="rId5" Type="http://schemas.openxmlformats.org/officeDocument/2006/relationships/slideLayout" Target="../slideLayouts/slideLayout104.xml"/><Relationship Id="rId15" Type="http://schemas.openxmlformats.org/officeDocument/2006/relationships/slideLayout" Target="../slideLayouts/slideLayout114.xml"/><Relationship Id="rId23" Type="http://schemas.openxmlformats.org/officeDocument/2006/relationships/slideLayout" Target="../slideLayouts/slideLayout122.xml"/><Relationship Id="rId28" Type="http://schemas.openxmlformats.org/officeDocument/2006/relationships/slideLayout" Target="../slideLayouts/slideLayout127.xml"/><Relationship Id="rId36" Type="http://schemas.openxmlformats.org/officeDocument/2006/relationships/slideLayout" Target="../slideLayouts/slideLayout135.xml"/><Relationship Id="rId10" Type="http://schemas.openxmlformats.org/officeDocument/2006/relationships/slideLayout" Target="../slideLayouts/slideLayout109.xml"/><Relationship Id="rId19" Type="http://schemas.openxmlformats.org/officeDocument/2006/relationships/slideLayout" Target="../slideLayouts/slideLayout118.xml"/><Relationship Id="rId31" Type="http://schemas.openxmlformats.org/officeDocument/2006/relationships/slideLayout" Target="../slideLayouts/slideLayout130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Relationship Id="rId14" Type="http://schemas.openxmlformats.org/officeDocument/2006/relationships/slideLayout" Target="../slideLayouts/slideLayout113.xml"/><Relationship Id="rId22" Type="http://schemas.openxmlformats.org/officeDocument/2006/relationships/slideLayout" Target="../slideLayouts/slideLayout121.xml"/><Relationship Id="rId27" Type="http://schemas.openxmlformats.org/officeDocument/2006/relationships/slideLayout" Target="../slideLayouts/slideLayout126.xml"/><Relationship Id="rId30" Type="http://schemas.openxmlformats.org/officeDocument/2006/relationships/slideLayout" Target="../slideLayouts/slideLayout129.xml"/><Relationship Id="rId35" Type="http://schemas.openxmlformats.org/officeDocument/2006/relationships/slideLayout" Target="../slideLayouts/slideLayout134.xml"/><Relationship Id="rId8" Type="http://schemas.openxmlformats.org/officeDocument/2006/relationships/slideLayout" Target="../slideLayouts/slideLayout107.xml"/><Relationship Id="rId3" Type="http://schemas.openxmlformats.org/officeDocument/2006/relationships/slideLayout" Target="../slideLayouts/slideLayout102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8.xml"/><Relationship Id="rId18" Type="http://schemas.openxmlformats.org/officeDocument/2006/relationships/slideLayout" Target="../slideLayouts/slideLayout153.xml"/><Relationship Id="rId26" Type="http://schemas.openxmlformats.org/officeDocument/2006/relationships/slideLayout" Target="../slideLayouts/slideLayout161.xml"/><Relationship Id="rId39" Type="http://schemas.openxmlformats.org/officeDocument/2006/relationships/image" Target="../media/image21.emf"/><Relationship Id="rId21" Type="http://schemas.openxmlformats.org/officeDocument/2006/relationships/slideLayout" Target="../slideLayouts/slideLayout156.xml"/><Relationship Id="rId34" Type="http://schemas.openxmlformats.org/officeDocument/2006/relationships/slideLayout" Target="../slideLayouts/slideLayout169.xml"/><Relationship Id="rId7" Type="http://schemas.openxmlformats.org/officeDocument/2006/relationships/slideLayout" Target="../slideLayouts/slideLayout142.xml"/><Relationship Id="rId12" Type="http://schemas.openxmlformats.org/officeDocument/2006/relationships/slideLayout" Target="../slideLayouts/slideLayout147.xml"/><Relationship Id="rId17" Type="http://schemas.openxmlformats.org/officeDocument/2006/relationships/slideLayout" Target="../slideLayouts/slideLayout152.xml"/><Relationship Id="rId25" Type="http://schemas.openxmlformats.org/officeDocument/2006/relationships/slideLayout" Target="../slideLayouts/slideLayout160.xml"/><Relationship Id="rId33" Type="http://schemas.openxmlformats.org/officeDocument/2006/relationships/slideLayout" Target="../slideLayouts/slideLayout168.xml"/><Relationship Id="rId38" Type="http://schemas.openxmlformats.org/officeDocument/2006/relationships/oleObject" Target="../embeddings/oleObject4.bin"/><Relationship Id="rId2" Type="http://schemas.openxmlformats.org/officeDocument/2006/relationships/slideLayout" Target="../slideLayouts/slideLayout137.xml"/><Relationship Id="rId16" Type="http://schemas.openxmlformats.org/officeDocument/2006/relationships/slideLayout" Target="../slideLayouts/slideLayout151.xml"/><Relationship Id="rId20" Type="http://schemas.openxmlformats.org/officeDocument/2006/relationships/slideLayout" Target="../slideLayouts/slideLayout155.xml"/><Relationship Id="rId29" Type="http://schemas.openxmlformats.org/officeDocument/2006/relationships/slideLayout" Target="../slideLayouts/slideLayout164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slideLayout" Target="../slideLayouts/slideLayout146.xml"/><Relationship Id="rId24" Type="http://schemas.openxmlformats.org/officeDocument/2006/relationships/slideLayout" Target="../slideLayouts/slideLayout159.xml"/><Relationship Id="rId32" Type="http://schemas.openxmlformats.org/officeDocument/2006/relationships/slideLayout" Target="../slideLayouts/slideLayout167.xml"/><Relationship Id="rId37" Type="http://schemas.openxmlformats.org/officeDocument/2006/relationships/tags" Target="../tags/tag5.xml"/><Relationship Id="rId5" Type="http://schemas.openxmlformats.org/officeDocument/2006/relationships/slideLayout" Target="../slideLayouts/slideLayout140.xml"/><Relationship Id="rId15" Type="http://schemas.openxmlformats.org/officeDocument/2006/relationships/slideLayout" Target="../slideLayouts/slideLayout150.xml"/><Relationship Id="rId23" Type="http://schemas.openxmlformats.org/officeDocument/2006/relationships/slideLayout" Target="../slideLayouts/slideLayout158.xml"/><Relationship Id="rId28" Type="http://schemas.openxmlformats.org/officeDocument/2006/relationships/slideLayout" Target="../slideLayouts/slideLayout163.xml"/><Relationship Id="rId36" Type="http://schemas.openxmlformats.org/officeDocument/2006/relationships/theme" Target="../theme/theme5.xml"/><Relationship Id="rId10" Type="http://schemas.openxmlformats.org/officeDocument/2006/relationships/slideLayout" Target="../slideLayouts/slideLayout145.xml"/><Relationship Id="rId19" Type="http://schemas.openxmlformats.org/officeDocument/2006/relationships/slideLayout" Target="../slideLayouts/slideLayout154.xml"/><Relationship Id="rId31" Type="http://schemas.openxmlformats.org/officeDocument/2006/relationships/slideLayout" Target="../slideLayouts/slideLayout166.xml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Relationship Id="rId14" Type="http://schemas.openxmlformats.org/officeDocument/2006/relationships/slideLayout" Target="../slideLayouts/slideLayout149.xml"/><Relationship Id="rId22" Type="http://schemas.openxmlformats.org/officeDocument/2006/relationships/slideLayout" Target="../slideLayouts/slideLayout157.xml"/><Relationship Id="rId27" Type="http://schemas.openxmlformats.org/officeDocument/2006/relationships/slideLayout" Target="../slideLayouts/slideLayout162.xml"/><Relationship Id="rId30" Type="http://schemas.openxmlformats.org/officeDocument/2006/relationships/slideLayout" Target="../slideLayouts/slideLayout165.xml"/><Relationship Id="rId35" Type="http://schemas.openxmlformats.org/officeDocument/2006/relationships/slideLayout" Target="../slideLayouts/slideLayout170.xml"/><Relationship Id="rId8" Type="http://schemas.openxmlformats.org/officeDocument/2006/relationships/slideLayout" Target="../slideLayouts/slideLayout143.xml"/><Relationship Id="rId3" Type="http://schemas.openxmlformats.org/officeDocument/2006/relationships/slideLayout" Target="../slideLayouts/slideLayout138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83.xml"/><Relationship Id="rId18" Type="http://schemas.openxmlformats.org/officeDocument/2006/relationships/slideLayout" Target="../slideLayouts/slideLayout188.xml"/><Relationship Id="rId26" Type="http://schemas.openxmlformats.org/officeDocument/2006/relationships/slideLayout" Target="../slideLayouts/slideLayout196.xml"/><Relationship Id="rId21" Type="http://schemas.openxmlformats.org/officeDocument/2006/relationships/slideLayout" Target="../slideLayouts/slideLayout191.xml"/><Relationship Id="rId34" Type="http://schemas.openxmlformats.org/officeDocument/2006/relationships/slideLayout" Target="../slideLayouts/slideLayout204.xml"/><Relationship Id="rId7" Type="http://schemas.openxmlformats.org/officeDocument/2006/relationships/slideLayout" Target="../slideLayouts/slideLayout177.xml"/><Relationship Id="rId12" Type="http://schemas.openxmlformats.org/officeDocument/2006/relationships/slideLayout" Target="../slideLayouts/slideLayout182.xml"/><Relationship Id="rId17" Type="http://schemas.openxmlformats.org/officeDocument/2006/relationships/slideLayout" Target="../slideLayouts/slideLayout187.xml"/><Relationship Id="rId25" Type="http://schemas.openxmlformats.org/officeDocument/2006/relationships/slideLayout" Target="../slideLayouts/slideLayout195.xml"/><Relationship Id="rId33" Type="http://schemas.openxmlformats.org/officeDocument/2006/relationships/slideLayout" Target="../slideLayouts/slideLayout203.xml"/><Relationship Id="rId38" Type="http://schemas.openxmlformats.org/officeDocument/2006/relationships/image" Target="../media/image21.emf"/><Relationship Id="rId2" Type="http://schemas.openxmlformats.org/officeDocument/2006/relationships/slideLayout" Target="../slideLayouts/slideLayout172.xml"/><Relationship Id="rId16" Type="http://schemas.openxmlformats.org/officeDocument/2006/relationships/slideLayout" Target="../slideLayouts/slideLayout186.xml"/><Relationship Id="rId20" Type="http://schemas.openxmlformats.org/officeDocument/2006/relationships/slideLayout" Target="../slideLayouts/slideLayout190.xml"/><Relationship Id="rId29" Type="http://schemas.openxmlformats.org/officeDocument/2006/relationships/slideLayout" Target="../slideLayouts/slideLayout199.xml"/><Relationship Id="rId1" Type="http://schemas.openxmlformats.org/officeDocument/2006/relationships/slideLayout" Target="../slideLayouts/slideLayout171.xml"/><Relationship Id="rId6" Type="http://schemas.openxmlformats.org/officeDocument/2006/relationships/slideLayout" Target="../slideLayouts/slideLayout176.xml"/><Relationship Id="rId11" Type="http://schemas.openxmlformats.org/officeDocument/2006/relationships/slideLayout" Target="../slideLayouts/slideLayout181.xml"/><Relationship Id="rId24" Type="http://schemas.openxmlformats.org/officeDocument/2006/relationships/slideLayout" Target="../slideLayouts/slideLayout194.xml"/><Relationship Id="rId32" Type="http://schemas.openxmlformats.org/officeDocument/2006/relationships/slideLayout" Target="../slideLayouts/slideLayout202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175.xml"/><Relationship Id="rId15" Type="http://schemas.openxmlformats.org/officeDocument/2006/relationships/slideLayout" Target="../slideLayouts/slideLayout185.xml"/><Relationship Id="rId23" Type="http://schemas.openxmlformats.org/officeDocument/2006/relationships/slideLayout" Target="../slideLayouts/slideLayout193.xml"/><Relationship Id="rId28" Type="http://schemas.openxmlformats.org/officeDocument/2006/relationships/slideLayout" Target="../slideLayouts/slideLayout198.xml"/><Relationship Id="rId36" Type="http://schemas.openxmlformats.org/officeDocument/2006/relationships/tags" Target="../tags/tag6.xml"/><Relationship Id="rId10" Type="http://schemas.openxmlformats.org/officeDocument/2006/relationships/slideLayout" Target="../slideLayouts/slideLayout180.xml"/><Relationship Id="rId19" Type="http://schemas.openxmlformats.org/officeDocument/2006/relationships/slideLayout" Target="../slideLayouts/slideLayout189.xml"/><Relationship Id="rId31" Type="http://schemas.openxmlformats.org/officeDocument/2006/relationships/slideLayout" Target="../slideLayouts/slideLayout201.xml"/><Relationship Id="rId4" Type="http://schemas.openxmlformats.org/officeDocument/2006/relationships/slideLayout" Target="../slideLayouts/slideLayout174.xml"/><Relationship Id="rId9" Type="http://schemas.openxmlformats.org/officeDocument/2006/relationships/slideLayout" Target="../slideLayouts/slideLayout179.xml"/><Relationship Id="rId14" Type="http://schemas.openxmlformats.org/officeDocument/2006/relationships/slideLayout" Target="../slideLayouts/slideLayout184.xml"/><Relationship Id="rId22" Type="http://schemas.openxmlformats.org/officeDocument/2006/relationships/slideLayout" Target="../slideLayouts/slideLayout192.xml"/><Relationship Id="rId27" Type="http://schemas.openxmlformats.org/officeDocument/2006/relationships/slideLayout" Target="../slideLayouts/slideLayout197.xml"/><Relationship Id="rId30" Type="http://schemas.openxmlformats.org/officeDocument/2006/relationships/slideLayout" Target="../slideLayouts/slideLayout200.xml"/><Relationship Id="rId35" Type="http://schemas.openxmlformats.org/officeDocument/2006/relationships/theme" Target="../theme/theme6.xml"/><Relationship Id="rId8" Type="http://schemas.openxmlformats.org/officeDocument/2006/relationships/slideLayout" Target="../slideLayouts/slideLayout178.xml"/><Relationship Id="rId3" Type="http://schemas.openxmlformats.org/officeDocument/2006/relationships/slideLayout" Target="../slideLayouts/slideLayout17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1690494" y="1752519"/>
            <a:ext cx="39334371" cy="17132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l-NL" noProof="0"/>
              <a:t>Koptitel</a:t>
            </a:r>
          </a:p>
        </p:txBody>
      </p:sp>
      <p:grpSp>
        <p:nvGrpSpPr>
          <p:cNvPr id="37" name="GRID" hidden="1"/>
          <p:cNvGrpSpPr/>
          <p:nvPr userDrawn="1"/>
        </p:nvGrpSpPr>
        <p:grpSpPr>
          <a:xfrm>
            <a:off x="3" y="0"/>
            <a:ext cx="42767255" cy="30275213"/>
            <a:chOff x="0" y="0"/>
            <a:chExt cx="12192002" cy="6858000"/>
          </a:xfrm>
        </p:grpSpPr>
        <p:sp>
          <p:nvSpPr>
            <p:cNvPr id="33" name="Rechthoek 32"/>
            <p:cNvSpPr/>
            <p:nvPr userDrawn="1"/>
          </p:nvSpPr>
          <p:spPr>
            <a:xfrm>
              <a:off x="0" y="0"/>
              <a:ext cx="838200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34" name="Rechthoek 33"/>
            <p:cNvSpPr/>
            <p:nvPr userDrawn="1"/>
          </p:nvSpPr>
          <p:spPr>
            <a:xfrm>
              <a:off x="11353800" y="0"/>
              <a:ext cx="838200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35" name="Rechthoek 34"/>
            <p:cNvSpPr/>
            <p:nvPr userDrawn="1"/>
          </p:nvSpPr>
          <p:spPr>
            <a:xfrm rot="5400000">
              <a:off x="5676900" y="-5676900"/>
              <a:ext cx="838200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36" name="Rechthoek 35"/>
            <p:cNvSpPr/>
            <p:nvPr userDrawn="1"/>
          </p:nvSpPr>
          <p:spPr>
            <a:xfrm rot="5400000">
              <a:off x="5676900" y="4872"/>
              <a:ext cx="838200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  <p:sp>
          <p:nvSpPr>
            <p:cNvPr id="38" name="Rechthoek 37"/>
            <p:cNvSpPr/>
            <p:nvPr userDrawn="1"/>
          </p:nvSpPr>
          <p:spPr>
            <a:xfrm rot="5400000">
              <a:off x="5865501" y="-4577408"/>
              <a:ext cx="46100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2515"/>
            </a:p>
          </p:txBody>
        </p:sp>
      </p:grp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1690494" y="6476680"/>
            <a:ext cx="39334371" cy="190743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bullet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bullet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31361630" y="27337503"/>
            <a:ext cx="9622631" cy="10008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256">
                <a:solidFill>
                  <a:schemeClr val="bg2"/>
                </a:solidFill>
              </a:defRPr>
            </a:lvl1pPr>
          </a:lstStyle>
          <a:p>
            <a:fld id="{064F1901-EE10-465E-9EEB-597F5C20CA69}" type="datetime1">
              <a:rPr lang="nl-NL" smtClean="0"/>
              <a:pPr/>
              <a:t>26-6-2023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2888367" y="27345278"/>
            <a:ext cx="18027561" cy="10008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56">
                <a:solidFill>
                  <a:schemeClr val="bg2"/>
                </a:solidFill>
              </a:defRPr>
            </a:lvl1pPr>
          </a:lstStyle>
          <a:p>
            <a:r>
              <a:rPr lang="nl-NL"/>
              <a:t>Plaats hier uw voetteks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684602" y="27329717"/>
            <a:ext cx="787882" cy="10164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56" b="1">
                <a:solidFill>
                  <a:schemeClr val="bg2"/>
                </a:solidFill>
              </a:defRPr>
            </a:lvl1pPr>
          </a:lstStyle>
          <a:p>
            <a:fld id="{55B2A88A-B7BD-41B1-9FCB-9BE633251ACA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154442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724" r:id="rId2"/>
    <p:sldLayoutId id="2147483692" r:id="rId3"/>
    <p:sldLayoutId id="2147483658" r:id="rId4"/>
    <p:sldLayoutId id="2147483683" r:id="rId5"/>
    <p:sldLayoutId id="2147483701" r:id="rId6"/>
    <p:sldLayoutId id="2147483682" r:id="rId7"/>
    <p:sldLayoutId id="2147483659" r:id="rId8"/>
    <p:sldLayoutId id="2147483661" r:id="rId9"/>
    <p:sldLayoutId id="2147483717" r:id="rId10"/>
    <p:sldLayoutId id="2147483663" r:id="rId11"/>
    <p:sldLayoutId id="2147483680" r:id="rId12"/>
    <p:sldLayoutId id="2147483700" r:id="rId13"/>
    <p:sldLayoutId id="2147483702" r:id="rId14"/>
    <p:sldLayoutId id="2147483710" r:id="rId15"/>
    <p:sldLayoutId id="2147483665" r:id="rId16"/>
    <p:sldLayoutId id="2147483669" r:id="rId17"/>
    <p:sldLayoutId id="2147483670" r:id="rId18"/>
    <p:sldLayoutId id="2147483671" r:id="rId19"/>
    <p:sldLayoutId id="2147483666" r:id="rId20"/>
    <p:sldLayoutId id="2147483725" r:id="rId21"/>
    <p:sldLayoutId id="2147483726" r:id="rId22"/>
    <p:sldLayoutId id="2147483727" r:id="rId23"/>
    <p:sldLayoutId id="2147483728" r:id="rId24"/>
    <p:sldLayoutId id="2147483729" r:id="rId25"/>
    <p:sldLayoutId id="2147483730" r:id="rId26"/>
    <p:sldLayoutId id="2147483732" r:id="rId27"/>
    <p:sldLayoutId id="2147483733" r:id="rId28"/>
    <p:sldLayoutId id="2147483734" r:id="rId29"/>
    <p:sldLayoutId id="2147483735" r:id="rId30"/>
    <p:sldLayoutId id="2147483736" r:id="rId31"/>
    <p:sldLayoutId id="2147483737" r:id="rId32"/>
    <p:sldLayoutId id="2147483738" r:id="rId33"/>
  </p:sldLayoutIdLst>
  <p:hf hdr="0" ftr="0" dt="0"/>
  <p:txStyles>
    <p:titleStyle>
      <a:lvl1pPr algn="l" defTabSz="1277217" rtl="0" eaLnBrk="1" latinLnBrk="0" hangingPunct="1">
        <a:lnSpc>
          <a:spcPct val="90000"/>
        </a:lnSpc>
        <a:spcBef>
          <a:spcPct val="0"/>
        </a:spcBef>
        <a:buNone/>
        <a:defRPr sz="3911" b="0" kern="1200">
          <a:solidFill>
            <a:schemeClr val="tx2"/>
          </a:solidFill>
          <a:latin typeface="+mj-lt"/>
          <a:ea typeface="+mj-ea"/>
          <a:cs typeface="Calibri Light" panose="020F0302020204030204" pitchFamily="34" charset="0"/>
        </a:defRPr>
      </a:lvl1pPr>
    </p:titleStyle>
    <p:bodyStyle>
      <a:lvl1pPr marL="0" indent="0" algn="l" defTabSz="1277217" rtl="0" eaLnBrk="1" latinLnBrk="0" hangingPunct="1">
        <a:lnSpc>
          <a:spcPct val="120000"/>
        </a:lnSpc>
        <a:spcBef>
          <a:spcPts val="0"/>
        </a:spcBef>
        <a:spcAft>
          <a:spcPts val="0"/>
        </a:spcAft>
        <a:buClr>
          <a:schemeClr val="accent1"/>
        </a:buClr>
        <a:buFontTx/>
        <a:buNone/>
        <a:defRPr sz="2515" b="1" kern="1200">
          <a:solidFill>
            <a:schemeClr val="tx2"/>
          </a:solidFill>
          <a:latin typeface="+mn-lt"/>
          <a:ea typeface="+mn-ea"/>
          <a:cs typeface="Calibri Light" panose="020F0302020204030204" pitchFamily="34" charset="0"/>
        </a:defRPr>
      </a:lvl1pPr>
      <a:lvl2pPr marL="0" indent="0" algn="l" defTabSz="1277217" rtl="0" eaLnBrk="1" latinLnBrk="0" hangingPunct="1">
        <a:lnSpc>
          <a:spcPct val="120000"/>
        </a:lnSpc>
        <a:spcBef>
          <a:spcPts val="0"/>
        </a:spcBef>
        <a:spcAft>
          <a:spcPts val="1677"/>
        </a:spcAft>
        <a:buClr>
          <a:schemeClr val="accent2"/>
        </a:buClr>
        <a:buFontTx/>
        <a:buNone/>
        <a:defRPr sz="2235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alibri Light" panose="020F0302020204030204" pitchFamily="34" charset="0"/>
        </a:defRPr>
      </a:lvl2pPr>
      <a:lvl3pPr marL="252781" indent="-252781" algn="l" defTabSz="1277217" rtl="0" eaLnBrk="1" latinLnBrk="0" hangingPunct="1">
        <a:lnSpc>
          <a:spcPct val="120000"/>
        </a:lnSpc>
        <a:spcBef>
          <a:spcPts val="0"/>
        </a:spcBef>
        <a:spcAft>
          <a:spcPts val="1677"/>
        </a:spcAft>
        <a:buClr>
          <a:schemeClr val="accent1"/>
        </a:buClr>
        <a:buFont typeface="Arial" panose="020B0604020202020204" pitchFamily="34" charset="0"/>
        <a:buChar char="•"/>
        <a:defRPr sz="2235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alibri Light" panose="020F0302020204030204" pitchFamily="34" charset="0"/>
        </a:defRPr>
      </a:lvl3pPr>
      <a:lvl4pPr marL="505566" indent="-252781" algn="l" defTabSz="1277217" rtl="0" eaLnBrk="1" latinLnBrk="0" hangingPunct="1">
        <a:lnSpc>
          <a:spcPct val="120000"/>
        </a:lnSpc>
        <a:spcBef>
          <a:spcPts val="0"/>
        </a:spcBef>
        <a:spcAft>
          <a:spcPts val="1677"/>
        </a:spcAft>
        <a:buClr>
          <a:schemeClr val="tx2"/>
        </a:buClr>
        <a:buFont typeface="Arial" panose="020B0604020202020204" pitchFamily="34" charset="0"/>
        <a:buChar char="•"/>
        <a:defRPr sz="2235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alibri Light" panose="020F0302020204030204" pitchFamily="34" charset="0"/>
        </a:defRPr>
      </a:lvl4pPr>
      <a:lvl5pPr marL="252781" indent="-252781" algn="l" defTabSz="1277217" rtl="0" eaLnBrk="1" latinLnBrk="0" hangingPunct="1">
        <a:lnSpc>
          <a:spcPct val="120000"/>
        </a:lnSpc>
        <a:spcBef>
          <a:spcPts val="0"/>
        </a:spcBef>
        <a:spcAft>
          <a:spcPts val="1677"/>
        </a:spcAft>
        <a:buClr>
          <a:schemeClr val="tx2"/>
        </a:buClr>
        <a:buFont typeface="+mj-lt"/>
        <a:buAutoNum type="arabicPeriod"/>
        <a:defRPr sz="2235" b="0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Calibri Light" panose="020F0302020204030204" pitchFamily="34" charset="0"/>
        </a:defRPr>
      </a:lvl5pPr>
      <a:lvl6pPr marL="505566" indent="-252781" algn="l" defTabSz="1277217" rtl="0" eaLnBrk="1" latinLnBrk="0" hangingPunct="1">
        <a:lnSpc>
          <a:spcPct val="120000"/>
        </a:lnSpc>
        <a:spcBef>
          <a:spcPts val="0"/>
        </a:spcBef>
        <a:spcAft>
          <a:spcPts val="1677"/>
        </a:spcAft>
        <a:buClr>
          <a:schemeClr val="accent1"/>
        </a:buClr>
        <a:buFont typeface="Arial" panose="020B0604020202020204" pitchFamily="34" charset="0"/>
        <a:buChar char="•"/>
        <a:defRPr sz="1957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alibri Light" panose="020F0302020204030204" pitchFamily="34" charset="0"/>
        </a:defRPr>
      </a:lvl6pPr>
      <a:lvl7pPr marL="0" indent="0" algn="l" defTabSz="1277217" rtl="0" eaLnBrk="1" latinLnBrk="0" hangingPunct="1">
        <a:lnSpc>
          <a:spcPct val="120000"/>
        </a:lnSpc>
        <a:spcBef>
          <a:spcPts val="0"/>
        </a:spcBef>
        <a:spcAft>
          <a:spcPts val="1677"/>
        </a:spcAft>
        <a:buClr>
          <a:schemeClr val="accent2"/>
        </a:buClr>
        <a:buFontTx/>
        <a:buNone/>
        <a:defRPr sz="2235" kern="1200">
          <a:solidFill>
            <a:schemeClr val="tx2"/>
          </a:solidFill>
          <a:latin typeface="+mj-lt"/>
          <a:ea typeface="+mn-ea"/>
          <a:cs typeface="Calibri Light" panose="020F0302020204030204" pitchFamily="34" charset="0"/>
        </a:defRPr>
      </a:lvl7pPr>
      <a:lvl8pPr marL="756132" indent="-503347" algn="l" defTabSz="1277217" rtl="0" eaLnBrk="1" latinLnBrk="0" hangingPunct="1">
        <a:lnSpc>
          <a:spcPct val="120000"/>
        </a:lnSpc>
        <a:spcBef>
          <a:spcPts val="0"/>
        </a:spcBef>
        <a:spcAft>
          <a:spcPts val="1677"/>
        </a:spcAft>
        <a:buClr>
          <a:schemeClr val="bg2"/>
        </a:buClr>
        <a:buFont typeface="Wingdings" panose="05000000000000000000" pitchFamily="2" charset="2"/>
        <a:buChar char="à"/>
        <a:defRPr sz="1957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alibri Light" panose="020F0302020204030204" pitchFamily="34" charset="0"/>
        </a:defRPr>
      </a:lvl8pPr>
      <a:lvl9pPr marL="0" indent="0" algn="l" defTabSz="1277217" rtl="0" eaLnBrk="1" latinLnBrk="0" hangingPunct="1">
        <a:lnSpc>
          <a:spcPct val="12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3911" kern="1200">
          <a:solidFill>
            <a:schemeClr val="tx2"/>
          </a:solidFill>
          <a:latin typeface="+mj-lt"/>
          <a:ea typeface="+mn-ea"/>
          <a:cs typeface="Calibri Light" panose="020F0302020204030204" pitchFamily="34" charset="0"/>
        </a:defRPr>
      </a:lvl9pPr>
    </p:bodyStyle>
    <p:otherStyle>
      <a:defPPr>
        <a:defRPr lang="nl-NL"/>
      </a:defPPr>
      <a:lvl1pPr marL="0" algn="l" defTabSz="1277217" rtl="0" eaLnBrk="1" latinLnBrk="0" hangingPunct="1">
        <a:defRPr sz="2515" kern="1200">
          <a:solidFill>
            <a:schemeClr val="tx1"/>
          </a:solidFill>
          <a:latin typeface="+mn-lt"/>
          <a:ea typeface="+mn-ea"/>
          <a:cs typeface="+mn-cs"/>
        </a:defRPr>
      </a:lvl1pPr>
      <a:lvl2pPr marL="638608" algn="l" defTabSz="1277217" rtl="0" eaLnBrk="1" latinLnBrk="0" hangingPunct="1">
        <a:defRPr sz="2515" kern="1200">
          <a:solidFill>
            <a:schemeClr val="tx1"/>
          </a:solidFill>
          <a:latin typeface="+mn-lt"/>
          <a:ea typeface="+mn-ea"/>
          <a:cs typeface="+mn-cs"/>
        </a:defRPr>
      </a:lvl2pPr>
      <a:lvl3pPr marL="1277217" algn="l" defTabSz="1277217" rtl="0" eaLnBrk="1" latinLnBrk="0" hangingPunct="1">
        <a:defRPr sz="2515" kern="1200">
          <a:solidFill>
            <a:schemeClr val="tx1"/>
          </a:solidFill>
          <a:latin typeface="+mn-lt"/>
          <a:ea typeface="+mn-ea"/>
          <a:cs typeface="+mn-cs"/>
        </a:defRPr>
      </a:lvl3pPr>
      <a:lvl4pPr marL="1915825" algn="l" defTabSz="1277217" rtl="0" eaLnBrk="1" latinLnBrk="0" hangingPunct="1">
        <a:defRPr sz="2515" kern="1200">
          <a:solidFill>
            <a:schemeClr val="tx1"/>
          </a:solidFill>
          <a:latin typeface="+mn-lt"/>
          <a:ea typeface="+mn-ea"/>
          <a:cs typeface="+mn-cs"/>
        </a:defRPr>
      </a:lvl4pPr>
      <a:lvl5pPr marL="2554435" algn="l" defTabSz="1277217" rtl="0" eaLnBrk="1" latinLnBrk="0" hangingPunct="1">
        <a:defRPr sz="2515" kern="1200">
          <a:solidFill>
            <a:schemeClr val="tx1"/>
          </a:solidFill>
          <a:latin typeface="+mn-lt"/>
          <a:ea typeface="+mn-ea"/>
          <a:cs typeface="+mn-cs"/>
        </a:defRPr>
      </a:lvl5pPr>
      <a:lvl6pPr marL="3193041" algn="l" defTabSz="1277217" rtl="0" eaLnBrk="1" latinLnBrk="0" hangingPunct="1">
        <a:defRPr sz="2515" kern="1200">
          <a:solidFill>
            <a:schemeClr val="tx1"/>
          </a:solidFill>
          <a:latin typeface="+mn-lt"/>
          <a:ea typeface="+mn-ea"/>
          <a:cs typeface="+mn-cs"/>
        </a:defRPr>
      </a:lvl6pPr>
      <a:lvl7pPr marL="3831650" algn="l" defTabSz="1277217" rtl="0" eaLnBrk="1" latinLnBrk="0" hangingPunct="1">
        <a:defRPr sz="2515" kern="1200">
          <a:solidFill>
            <a:schemeClr val="tx1"/>
          </a:solidFill>
          <a:latin typeface="+mn-lt"/>
          <a:ea typeface="+mn-ea"/>
          <a:cs typeface="+mn-cs"/>
        </a:defRPr>
      </a:lvl7pPr>
      <a:lvl8pPr marL="4470258" algn="l" defTabSz="1277217" rtl="0" eaLnBrk="1" latinLnBrk="0" hangingPunct="1">
        <a:defRPr sz="2515" kern="1200">
          <a:solidFill>
            <a:schemeClr val="tx1"/>
          </a:solidFill>
          <a:latin typeface="+mn-lt"/>
          <a:ea typeface="+mn-ea"/>
          <a:cs typeface="+mn-cs"/>
        </a:defRPr>
      </a:lvl8pPr>
      <a:lvl9pPr marL="5108866" algn="l" defTabSz="1277217" rtl="0" eaLnBrk="1" latinLnBrk="0" hangingPunct="1">
        <a:defRPr sz="25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1690494" y="1752512"/>
            <a:ext cx="39334368" cy="171327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l-NL" noProof="0"/>
              <a:t>Koptitel</a:t>
            </a:r>
          </a:p>
        </p:txBody>
      </p:sp>
      <p:grpSp>
        <p:nvGrpSpPr>
          <p:cNvPr id="37" name="GRID" hidden="1"/>
          <p:cNvGrpSpPr/>
          <p:nvPr userDrawn="1"/>
        </p:nvGrpSpPr>
        <p:grpSpPr>
          <a:xfrm>
            <a:off x="2" y="0"/>
            <a:ext cx="42767257" cy="30275213"/>
            <a:chOff x="0" y="0"/>
            <a:chExt cx="12192002" cy="6858000"/>
          </a:xfrm>
        </p:grpSpPr>
        <p:sp>
          <p:nvSpPr>
            <p:cNvPr id="33" name="Rechthoek 32"/>
            <p:cNvSpPr/>
            <p:nvPr userDrawn="1"/>
          </p:nvSpPr>
          <p:spPr>
            <a:xfrm>
              <a:off x="0" y="0"/>
              <a:ext cx="838200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34" name="Rechthoek 33"/>
            <p:cNvSpPr/>
            <p:nvPr userDrawn="1"/>
          </p:nvSpPr>
          <p:spPr>
            <a:xfrm>
              <a:off x="11353800" y="0"/>
              <a:ext cx="838200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35" name="Rechthoek 34"/>
            <p:cNvSpPr/>
            <p:nvPr userDrawn="1"/>
          </p:nvSpPr>
          <p:spPr>
            <a:xfrm rot="5400000">
              <a:off x="5676900" y="-5676900"/>
              <a:ext cx="838200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36" name="Rechthoek 35"/>
            <p:cNvSpPr/>
            <p:nvPr userDrawn="1"/>
          </p:nvSpPr>
          <p:spPr>
            <a:xfrm rot="5400000">
              <a:off x="5676900" y="4872"/>
              <a:ext cx="838200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38" name="Rechthoek 37"/>
            <p:cNvSpPr/>
            <p:nvPr userDrawn="1"/>
          </p:nvSpPr>
          <p:spPr>
            <a:xfrm rot="5400000">
              <a:off x="5865501" y="-4577408"/>
              <a:ext cx="46100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1690490" y="6476679"/>
            <a:ext cx="39334368" cy="190743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bullet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bullet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31361630" y="27337493"/>
            <a:ext cx="9622631" cy="10008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3158">
                <a:solidFill>
                  <a:schemeClr val="bg2"/>
                </a:solidFill>
              </a:defRPr>
            </a:lvl1pPr>
          </a:lstStyle>
          <a:p>
            <a:fld id="{064F1901-EE10-465E-9EEB-597F5C20CA69}" type="datetime1">
              <a:rPr lang="nl-NL" smtClean="0"/>
              <a:pPr/>
              <a:t>26-6-2023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2888361" y="27345272"/>
            <a:ext cx="18027560" cy="10008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3158">
                <a:solidFill>
                  <a:schemeClr val="bg2"/>
                </a:solidFill>
              </a:defRPr>
            </a:lvl1pPr>
          </a:lstStyle>
          <a:p>
            <a:r>
              <a:rPr lang="nl-NL"/>
              <a:t>Plaats hier uw voetteks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684599" y="27329718"/>
            <a:ext cx="787883" cy="10164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3158" b="1">
                <a:solidFill>
                  <a:schemeClr val="bg2"/>
                </a:solidFill>
              </a:defRPr>
            </a:lvl1pPr>
          </a:lstStyle>
          <a:p>
            <a:fld id="{55B2A88A-B7BD-41B1-9FCB-9BE633251ACA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80620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  <p:sldLayoutId id="2147483787" r:id="rId12"/>
    <p:sldLayoutId id="2147483788" r:id="rId13"/>
    <p:sldLayoutId id="2147483789" r:id="rId14"/>
    <p:sldLayoutId id="2147483790" r:id="rId15"/>
    <p:sldLayoutId id="2147483791" r:id="rId16"/>
    <p:sldLayoutId id="2147483792" r:id="rId17"/>
    <p:sldLayoutId id="2147483793" r:id="rId18"/>
    <p:sldLayoutId id="2147483794" r:id="rId19"/>
    <p:sldLayoutId id="2147483795" r:id="rId20"/>
    <p:sldLayoutId id="2147483796" r:id="rId21"/>
    <p:sldLayoutId id="2147483797" r:id="rId22"/>
    <p:sldLayoutId id="2147483798" r:id="rId23"/>
    <p:sldLayoutId id="2147483799" r:id="rId24"/>
    <p:sldLayoutId id="2147483800" r:id="rId25"/>
    <p:sldLayoutId id="2147483801" r:id="rId26"/>
    <p:sldLayoutId id="2147483802" r:id="rId27"/>
    <p:sldLayoutId id="2147483803" r:id="rId28"/>
    <p:sldLayoutId id="2147483804" r:id="rId29"/>
    <p:sldLayoutId id="2147483805" r:id="rId30"/>
    <p:sldLayoutId id="2147483806" r:id="rId31"/>
    <p:sldLayoutId id="2147483807" r:id="rId32"/>
  </p:sldLayoutIdLst>
  <p:hf hdr="0" ftr="0" dt="0"/>
  <p:txStyles>
    <p:titleStyle>
      <a:lvl1pPr algn="l" defTabSz="3207489" rtl="0" eaLnBrk="1" latinLnBrk="0" hangingPunct="1">
        <a:lnSpc>
          <a:spcPct val="90000"/>
        </a:lnSpc>
        <a:spcBef>
          <a:spcPct val="0"/>
        </a:spcBef>
        <a:buNone/>
        <a:defRPr sz="9823" b="0" kern="1200">
          <a:solidFill>
            <a:schemeClr val="tx2"/>
          </a:solidFill>
          <a:latin typeface="+mj-lt"/>
          <a:ea typeface="+mj-ea"/>
          <a:cs typeface="Calibri Light" panose="020F0302020204030204" pitchFamily="34" charset="0"/>
        </a:defRPr>
      </a:lvl1pPr>
    </p:titleStyle>
    <p:bodyStyle>
      <a:lvl1pPr marL="0" indent="0" algn="l" defTabSz="3207489" rtl="0" eaLnBrk="1" latinLnBrk="0" hangingPunct="1">
        <a:lnSpc>
          <a:spcPct val="120000"/>
        </a:lnSpc>
        <a:spcBef>
          <a:spcPts val="0"/>
        </a:spcBef>
        <a:spcAft>
          <a:spcPts val="0"/>
        </a:spcAft>
        <a:buClr>
          <a:schemeClr val="accent1"/>
        </a:buClr>
        <a:buFontTx/>
        <a:buNone/>
        <a:defRPr sz="6314" b="1" kern="1200">
          <a:solidFill>
            <a:schemeClr val="tx2"/>
          </a:solidFill>
          <a:latin typeface="+mn-lt"/>
          <a:ea typeface="+mn-ea"/>
          <a:cs typeface="Calibri Light" panose="020F0302020204030204" pitchFamily="34" charset="0"/>
        </a:defRPr>
      </a:lvl1pPr>
      <a:lvl2pPr marL="0" indent="0" algn="l" defTabSz="3207489" rtl="0" eaLnBrk="1" latinLnBrk="0" hangingPunct="1">
        <a:lnSpc>
          <a:spcPct val="120000"/>
        </a:lnSpc>
        <a:spcBef>
          <a:spcPts val="0"/>
        </a:spcBef>
        <a:spcAft>
          <a:spcPts val="4209"/>
        </a:spcAft>
        <a:buClr>
          <a:schemeClr val="accent2"/>
        </a:buClr>
        <a:buFontTx/>
        <a:buNone/>
        <a:defRPr sz="5612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alibri Light" panose="020F0302020204030204" pitchFamily="34" charset="0"/>
        </a:defRPr>
      </a:lvl2pPr>
      <a:lvl3pPr marL="634816" indent="-634816" algn="l" defTabSz="3207489" rtl="0" eaLnBrk="1" latinLnBrk="0" hangingPunct="1">
        <a:lnSpc>
          <a:spcPct val="120000"/>
        </a:lnSpc>
        <a:spcBef>
          <a:spcPts val="0"/>
        </a:spcBef>
        <a:spcAft>
          <a:spcPts val="4209"/>
        </a:spcAft>
        <a:buClr>
          <a:schemeClr val="accent1"/>
        </a:buClr>
        <a:buFont typeface="Arial" panose="020B0604020202020204" pitchFamily="34" charset="0"/>
        <a:buChar char="•"/>
        <a:defRPr sz="5612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alibri Light" panose="020F0302020204030204" pitchFamily="34" charset="0"/>
        </a:defRPr>
      </a:lvl3pPr>
      <a:lvl4pPr marL="1269631" indent="-634816" algn="l" defTabSz="3207489" rtl="0" eaLnBrk="1" latinLnBrk="0" hangingPunct="1">
        <a:lnSpc>
          <a:spcPct val="120000"/>
        </a:lnSpc>
        <a:spcBef>
          <a:spcPts val="0"/>
        </a:spcBef>
        <a:spcAft>
          <a:spcPts val="4209"/>
        </a:spcAft>
        <a:buClr>
          <a:schemeClr val="tx2"/>
        </a:buClr>
        <a:buFont typeface="Arial" panose="020B0604020202020204" pitchFamily="34" charset="0"/>
        <a:buChar char="•"/>
        <a:defRPr sz="5612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alibri Light" panose="020F0302020204030204" pitchFamily="34" charset="0"/>
        </a:defRPr>
      </a:lvl4pPr>
      <a:lvl5pPr marL="634816" indent="-634816" algn="l" defTabSz="3207489" rtl="0" eaLnBrk="1" latinLnBrk="0" hangingPunct="1">
        <a:lnSpc>
          <a:spcPct val="120000"/>
        </a:lnSpc>
        <a:spcBef>
          <a:spcPts val="0"/>
        </a:spcBef>
        <a:spcAft>
          <a:spcPts val="4209"/>
        </a:spcAft>
        <a:buClr>
          <a:schemeClr val="tx2"/>
        </a:buClr>
        <a:buFont typeface="+mj-lt"/>
        <a:buAutoNum type="arabicPeriod"/>
        <a:defRPr sz="5612" b="0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Calibri Light" panose="020F0302020204030204" pitchFamily="34" charset="0"/>
        </a:defRPr>
      </a:lvl5pPr>
      <a:lvl6pPr marL="1269631" indent="-634816" algn="l" defTabSz="3207489" rtl="0" eaLnBrk="1" latinLnBrk="0" hangingPunct="1">
        <a:lnSpc>
          <a:spcPct val="120000"/>
        </a:lnSpc>
        <a:spcBef>
          <a:spcPts val="0"/>
        </a:spcBef>
        <a:spcAft>
          <a:spcPts val="4209"/>
        </a:spcAft>
        <a:buClr>
          <a:schemeClr val="accent1"/>
        </a:buClr>
        <a:buFont typeface="Arial" panose="020B0604020202020204" pitchFamily="34" charset="0"/>
        <a:buChar char="•"/>
        <a:defRPr sz="491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alibri Light" panose="020F0302020204030204" pitchFamily="34" charset="0"/>
        </a:defRPr>
      </a:lvl6pPr>
      <a:lvl7pPr marL="0" indent="0" algn="l" defTabSz="3207489" rtl="0" eaLnBrk="1" latinLnBrk="0" hangingPunct="1">
        <a:lnSpc>
          <a:spcPct val="120000"/>
        </a:lnSpc>
        <a:spcBef>
          <a:spcPts val="0"/>
        </a:spcBef>
        <a:spcAft>
          <a:spcPts val="4209"/>
        </a:spcAft>
        <a:buClr>
          <a:schemeClr val="accent2"/>
        </a:buClr>
        <a:buFontTx/>
        <a:buNone/>
        <a:defRPr sz="5612" kern="1200">
          <a:solidFill>
            <a:schemeClr val="tx2"/>
          </a:solidFill>
          <a:latin typeface="+mj-lt"/>
          <a:ea typeface="+mn-ea"/>
          <a:cs typeface="Calibri Light" panose="020F0302020204030204" pitchFamily="34" charset="0"/>
        </a:defRPr>
      </a:lvl7pPr>
      <a:lvl8pPr marL="1898880" indent="-1264064" algn="l" defTabSz="3207489" rtl="0" eaLnBrk="1" latinLnBrk="0" hangingPunct="1">
        <a:lnSpc>
          <a:spcPct val="120000"/>
        </a:lnSpc>
        <a:spcBef>
          <a:spcPts val="0"/>
        </a:spcBef>
        <a:spcAft>
          <a:spcPts val="4209"/>
        </a:spcAft>
        <a:buClr>
          <a:schemeClr val="bg2"/>
        </a:buClr>
        <a:buFont typeface="Wingdings" panose="05000000000000000000" pitchFamily="2" charset="2"/>
        <a:buChar char="à"/>
        <a:defRPr sz="491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alibri Light" panose="020F0302020204030204" pitchFamily="34" charset="0"/>
        </a:defRPr>
      </a:lvl8pPr>
      <a:lvl9pPr marL="0" indent="0" algn="l" defTabSz="3207489" rtl="0" eaLnBrk="1" latinLnBrk="0" hangingPunct="1">
        <a:lnSpc>
          <a:spcPct val="12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9823" kern="1200">
          <a:solidFill>
            <a:schemeClr val="tx2"/>
          </a:solidFill>
          <a:latin typeface="+mj-lt"/>
          <a:ea typeface="+mn-ea"/>
          <a:cs typeface="Calibri Light" panose="020F0302020204030204" pitchFamily="34" charset="0"/>
        </a:defRPr>
      </a:lvl9pPr>
    </p:bodyStyle>
    <p:otherStyle>
      <a:defPPr>
        <a:defRPr lang="nl-NL"/>
      </a:defPPr>
      <a:lvl1pPr marL="0" algn="l" defTabSz="3207489" rtl="0" eaLnBrk="1" latinLnBrk="0" hangingPunct="1">
        <a:defRPr sz="6314" kern="1200">
          <a:solidFill>
            <a:schemeClr val="tx1"/>
          </a:solidFill>
          <a:latin typeface="+mn-lt"/>
          <a:ea typeface="+mn-ea"/>
          <a:cs typeface="+mn-cs"/>
        </a:defRPr>
      </a:lvl1pPr>
      <a:lvl2pPr marL="1603744" algn="l" defTabSz="3207489" rtl="0" eaLnBrk="1" latinLnBrk="0" hangingPunct="1">
        <a:defRPr sz="6314" kern="1200">
          <a:solidFill>
            <a:schemeClr val="tx1"/>
          </a:solidFill>
          <a:latin typeface="+mn-lt"/>
          <a:ea typeface="+mn-ea"/>
          <a:cs typeface="+mn-cs"/>
        </a:defRPr>
      </a:lvl2pPr>
      <a:lvl3pPr marL="3207489" algn="l" defTabSz="3207489" rtl="0" eaLnBrk="1" latinLnBrk="0" hangingPunct="1">
        <a:defRPr sz="6314" kern="1200">
          <a:solidFill>
            <a:schemeClr val="tx1"/>
          </a:solidFill>
          <a:latin typeface="+mn-lt"/>
          <a:ea typeface="+mn-ea"/>
          <a:cs typeface="+mn-cs"/>
        </a:defRPr>
      </a:lvl3pPr>
      <a:lvl4pPr marL="4811232" algn="l" defTabSz="3207489" rtl="0" eaLnBrk="1" latinLnBrk="0" hangingPunct="1">
        <a:defRPr sz="6314" kern="1200">
          <a:solidFill>
            <a:schemeClr val="tx1"/>
          </a:solidFill>
          <a:latin typeface="+mn-lt"/>
          <a:ea typeface="+mn-ea"/>
          <a:cs typeface="+mn-cs"/>
        </a:defRPr>
      </a:lvl4pPr>
      <a:lvl5pPr marL="6414978" algn="l" defTabSz="3207489" rtl="0" eaLnBrk="1" latinLnBrk="0" hangingPunct="1">
        <a:defRPr sz="6314" kern="1200">
          <a:solidFill>
            <a:schemeClr val="tx1"/>
          </a:solidFill>
          <a:latin typeface="+mn-lt"/>
          <a:ea typeface="+mn-ea"/>
          <a:cs typeface="+mn-cs"/>
        </a:defRPr>
      </a:lvl5pPr>
      <a:lvl6pPr marL="8018723" algn="l" defTabSz="3207489" rtl="0" eaLnBrk="1" latinLnBrk="0" hangingPunct="1">
        <a:defRPr sz="6314" kern="1200">
          <a:solidFill>
            <a:schemeClr val="tx1"/>
          </a:solidFill>
          <a:latin typeface="+mn-lt"/>
          <a:ea typeface="+mn-ea"/>
          <a:cs typeface="+mn-cs"/>
        </a:defRPr>
      </a:lvl6pPr>
      <a:lvl7pPr marL="9622466" algn="l" defTabSz="3207489" rtl="0" eaLnBrk="1" latinLnBrk="0" hangingPunct="1">
        <a:defRPr sz="6314" kern="1200">
          <a:solidFill>
            <a:schemeClr val="tx1"/>
          </a:solidFill>
          <a:latin typeface="+mn-lt"/>
          <a:ea typeface="+mn-ea"/>
          <a:cs typeface="+mn-cs"/>
        </a:defRPr>
      </a:lvl7pPr>
      <a:lvl8pPr marL="11226211" algn="l" defTabSz="3207489" rtl="0" eaLnBrk="1" latinLnBrk="0" hangingPunct="1">
        <a:defRPr sz="6314" kern="1200">
          <a:solidFill>
            <a:schemeClr val="tx1"/>
          </a:solidFill>
          <a:latin typeface="+mn-lt"/>
          <a:ea typeface="+mn-ea"/>
          <a:cs typeface="+mn-cs"/>
        </a:defRPr>
      </a:lvl8pPr>
      <a:lvl9pPr marL="12829955" algn="l" defTabSz="3207489" rtl="0" eaLnBrk="1" latinLnBrk="0" hangingPunct="1">
        <a:defRPr sz="631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1187415630"/>
              </p:ext>
            </p:extLst>
          </p:nvPr>
        </p:nvGraphicFramePr>
        <p:xfrm>
          <a:off x="5571" y="7011"/>
          <a:ext cx="5570" cy="70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425" imgH="424" progId="TCLayout.ActiveDocument.1">
                  <p:embed/>
                </p:oleObj>
              </mc:Choice>
              <mc:Fallback>
                <p:oleObj name="think-cell Slide" r:id="rId37" imgW="425" imgH="42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5571" y="7011"/>
                        <a:ext cx="5570" cy="70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1690494" y="1752512"/>
            <a:ext cx="39334368" cy="171327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l-NL" noProof="0"/>
              <a:t>Koptitel</a:t>
            </a:r>
          </a:p>
        </p:txBody>
      </p:sp>
      <p:grpSp>
        <p:nvGrpSpPr>
          <p:cNvPr id="37" name="GRID" hidden="1"/>
          <p:cNvGrpSpPr/>
          <p:nvPr userDrawn="1"/>
        </p:nvGrpSpPr>
        <p:grpSpPr>
          <a:xfrm>
            <a:off x="2" y="0"/>
            <a:ext cx="42767257" cy="30275213"/>
            <a:chOff x="0" y="0"/>
            <a:chExt cx="12192002" cy="6858000"/>
          </a:xfrm>
        </p:grpSpPr>
        <p:sp>
          <p:nvSpPr>
            <p:cNvPr id="33" name="Rechthoek 32"/>
            <p:cNvSpPr/>
            <p:nvPr userDrawn="1"/>
          </p:nvSpPr>
          <p:spPr>
            <a:xfrm>
              <a:off x="0" y="0"/>
              <a:ext cx="838200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34" name="Rechthoek 33"/>
            <p:cNvSpPr/>
            <p:nvPr userDrawn="1"/>
          </p:nvSpPr>
          <p:spPr>
            <a:xfrm>
              <a:off x="11353800" y="0"/>
              <a:ext cx="838200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35" name="Rechthoek 34"/>
            <p:cNvSpPr/>
            <p:nvPr userDrawn="1"/>
          </p:nvSpPr>
          <p:spPr>
            <a:xfrm rot="5400000">
              <a:off x="5676900" y="-5676900"/>
              <a:ext cx="838200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36" name="Rechthoek 35"/>
            <p:cNvSpPr/>
            <p:nvPr userDrawn="1"/>
          </p:nvSpPr>
          <p:spPr>
            <a:xfrm rot="5400000">
              <a:off x="5676900" y="4872"/>
              <a:ext cx="838200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38" name="Rechthoek 37"/>
            <p:cNvSpPr/>
            <p:nvPr userDrawn="1"/>
          </p:nvSpPr>
          <p:spPr>
            <a:xfrm rot="5400000">
              <a:off x="5865501" y="-4577408"/>
              <a:ext cx="46100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1690490" y="6476679"/>
            <a:ext cx="39334368" cy="190743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bullet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bullet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31361630" y="27337493"/>
            <a:ext cx="9622631" cy="10008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3158">
                <a:solidFill>
                  <a:schemeClr val="bg2"/>
                </a:solidFill>
              </a:defRPr>
            </a:lvl1pPr>
          </a:lstStyle>
          <a:p>
            <a:fld id="{064F1901-EE10-465E-9EEB-597F5C20CA69}" type="datetime1">
              <a:rPr lang="nl-NL" smtClean="0"/>
              <a:pPr/>
              <a:t>26-6-2023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2888361" y="27345272"/>
            <a:ext cx="18027560" cy="10008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3158">
                <a:solidFill>
                  <a:schemeClr val="bg2"/>
                </a:solidFill>
              </a:defRPr>
            </a:lvl1pPr>
          </a:lstStyle>
          <a:p>
            <a:r>
              <a:rPr lang="nl-NL"/>
              <a:t>Plaats hier uw voetteks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684599" y="27329718"/>
            <a:ext cx="787883" cy="10164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3158" b="1">
                <a:solidFill>
                  <a:schemeClr val="bg2"/>
                </a:solidFill>
              </a:defRPr>
            </a:lvl1pPr>
          </a:lstStyle>
          <a:p>
            <a:fld id="{55B2A88A-B7BD-41B1-9FCB-9BE633251ACA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833939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0" r:id="rId2"/>
    <p:sldLayoutId id="2147483811" r:id="rId3"/>
    <p:sldLayoutId id="2147483812" r:id="rId4"/>
    <p:sldLayoutId id="2147483813" r:id="rId5"/>
    <p:sldLayoutId id="2147483814" r:id="rId6"/>
    <p:sldLayoutId id="2147483815" r:id="rId7"/>
    <p:sldLayoutId id="2147483816" r:id="rId8"/>
    <p:sldLayoutId id="2147483817" r:id="rId9"/>
    <p:sldLayoutId id="2147483818" r:id="rId10"/>
    <p:sldLayoutId id="2147483819" r:id="rId11"/>
    <p:sldLayoutId id="2147483820" r:id="rId12"/>
    <p:sldLayoutId id="2147483821" r:id="rId13"/>
    <p:sldLayoutId id="2147483822" r:id="rId14"/>
    <p:sldLayoutId id="2147483823" r:id="rId15"/>
    <p:sldLayoutId id="2147483824" r:id="rId16"/>
    <p:sldLayoutId id="2147483825" r:id="rId17"/>
    <p:sldLayoutId id="2147483826" r:id="rId18"/>
    <p:sldLayoutId id="2147483827" r:id="rId19"/>
    <p:sldLayoutId id="2147483828" r:id="rId20"/>
    <p:sldLayoutId id="2147483829" r:id="rId21"/>
    <p:sldLayoutId id="2147483830" r:id="rId22"/>
    <p:sldLayoutId id="2147483831" r:id="rId23"/>
    <p:sldLayoutId id="2147483832" r:id="rId24"/>
    <p:sldLayoutId id="2147483833" r:id="rId25"/>
    <p:sldLayoutId id="2147483834" r:id="rId26"/>
    <p:sldLayoutId id="2147483835" r:id="rId27"/>
    <p:sldLayoutId id="2147483836" r:id="rId28"/>
    <p:sldLayoutId id="2147483837" r:id="rId29"/>
    <p:sldLayoutId id="2147483838" r:id="rId30"/>
    <p:sldLayoutId id="2147483839" r:id="rId31"/>
    <p:sldLayoutId id="2147483840" r:id="rId32"/>
    <p:sldLayoutId id="2147483841" r:id="rId33"/>
    <p:sldLayoutId id="2147483842" r:id="rId34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txStyles>
    <p:titleStyle>
      <a:lvl1pPr algn="l" defTabSz="3207489" rtl="0" eaLnBrk="1" latinLnBrk="0" hangingPunct="1">
        <a:lnSpc>
          <a:spcPct val="90000"/>
        </a:lnSpc>
        <a:spcBef>
          <a:spcPct val="0"/>
        </a:spcBef>
        <a:buNone/>
        <a:defRPr sz="9823" b="0" kern="1200">
          <a:solidFill>
            <a:schemeClr val="tx2"/>
          </a:solidFill>
          <a:latin typeface="+mj-lt"/>
          <a:ea typeface="+mj-ea"/>
          <a:cs typeface="Calibri Light" panose="020F0302020204030204" pitchFamily="34" charset="0"/>
        </a:defRPr>
      </a:lvl1pPr>
    </p:titleStyle>
    <p:bodyStyle>
      <a:lvl1pPr marL="0" indent="0" algn="l" defTabSz="3207489" rtl="0" eaLnBrk="1" latinLnBrk="0" hangingPunct="1">
        <a:lnSpc>
          <a:spcPct val="120000"/>
        </a:lnSpc>
        <a:spcBef>
          <a:spcPts val="0"/>
        </a:spcBef>
        <a:spcAft>
          <a:spcPts val="0"/>
        </a:spcAft>
        <a:buClr>
          <a:schemeClr val="accent1"/>
        </a:buClr>
        <a:buFontTx/>
        <a:buNone/>
        <a:defRPr sz="6314" b="1" kern="1200">
          <a:solidFill>
            <a:schemeClr val="tx2"/>
          </a:solidFill>
          <a:latin typeface="+mn-lt"/>
          <a:ea typeface="+mn-ea"/>
          <a:cs typeface="Calibri Light" panose="020F0302020204030204" pitchFamily="34" charset="0"/>
        </a:defRPr>
      </a:lvl1pPr>
      <a:lvl2pPr marL="0" indent="0" algn="l" defTabSz="3207489" rtl="0" eaLnBrk="1" latinLnBrk="0" hangingPunct="1">
        <a:lnSpc>
          <a:spcPct val="120000"/>
        </a:lnSpc>
        <a:spcBef>
          <a:spcPts val="0"/>
        </a:spcBef>
        <a:spcAft>
          <a:spcPts val="4209"/>
        </a:spcAft>
        <a:buClr>
          <a:schemeClr val="accent2"/>
        </a:buClr>
        <a:buFontTx/>
        <a:buNone/>
        <a:defRPr sz="5612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alibri Light" panose="020F0302020204030204" pitchFamily="34" charset="0"/>
        </a:defRPr>
      </a:lvl2pPr>
      <a:lvl3pPr marL="634816" indent="-634816" algn="l" defTabSz="3207489" rtl="0" eaLnBrk="1" latinLnBrk="0" hangingPunct="1">
        <a:lnSpc>
          <a:spcPct val="120000"/>
        </a:lnSpc>
        <a:spcBef>
          <a:spcPts val="0"/>
        </a:spcBef>
        <a:spcAft>
          <a:spcPts val="4209"/>
        </a:spcAft>
        <a:buClr>
          <a:schemeClr val="accent1"/>
        </a:buClr>
        <a:buFont typeface="Arial" panose="020B0604020202020204" pitchFamily="34" charset="0"/>
        <a:buChar char="•"/>
        <a:defRPr sz="5612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alibri Light" panose="020F0302020204030204" pitchFamily="34" charset="0"/>
        </a:defRPr>
      </a:lvl3pPr>
      <a:lvl4pPr marL="1269631" indent="-634816" algn="l" defTabSz="3207489" rtl="0" eaLnBrk="1" latinLnBrk="0" hangingPunct="1">
        <a:lnSpc>
          <a:spcPct val="120000"/>
        </a:lnSpc>
        <a:spcBef>
          <a:spcPts val="0"/>
        </a:spcBef>
        <a:spcAft>
          <a:spcPts val="4209"/>
        </a:spcAft>
        <a:buClr>
          <a:schemeClr val="tx2"/>
        </a:buClr>
        <a:buFont typeface="Arial" panose="020B0604020202020204" pitchFamily="34" charset="0"/>
        <a:buChar char="•"/>
        <a:defRPr sz="5612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alibri Light" panose="020F0302020204030204" pitchFamily="34" charset="0"/>
        </a:defRPr>
      </a:lvl4pPr>
      <a:lvl5pPr marL="634816" indent="-634816" algn="l" defTabSz="3207489" rtl="0" eaLnBrk="1" latinLnBrk="0" hangingPunct="1">
        <a:lnSpc>
          <a:spcPct val="120000"/>
        </a:lnSpc>
        <a:spcBef>
          <a:spcPts val="0"/>
        </a:spcBef>
        <a:spcAft>
          <a:spcPts val="4209"/>
        </a:spcAft>
        <a:buClr>
          <a:schemeClr val="tx2"/>
        </a:buClr>
        <a:buFont typeface="+mj-lt"/>
        <a:buAutoNum type="arabicPeriod"/>
        <a:defRPr sz="5612" b="0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Calibri Light" panose="020F0302020204030204" pitchFamily="34" charset="0"/>
        </a:defRPr>
      </a:lvl5pPr>
      <a:lvl6pPr marL="1269631" indent="-634816" algn="l" defTabSz="3207489" rtl="0" eaLnBrk="1" latinLnBrk="0" hangingPunct="1">
        <a:lnSpc>
          <a:spcPct val="120000"/>
        </a:lnSpc>
        <a:spcBef>
          <a:spcPts val="0"/>
        </a:spcBef>
        <a:spcAft>
          <a:spcPts val="4209"/>
        </a:spcAft>
        <a:buClr>
          <a:schemeClr val="accent1"/>
        </a:buClr>
        <a:buFont typeface="Arial" panose="020B0604020202020204" pitchFamily="34" charset="0"/>
        <a:buChar char="•"/>
        <a:defRPr sz="491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alibri Light" panose="020F0302020204030204" pitchFamily="34" charset="0"/>
        </a:defRPr>
      </a:lvl6pPr>
      <a:lvl7pPr marL="0" indent="0" algn="l" defTabSz="3207489" rtl="0" eaLnBrk="1" latinLnBrk="0" hangingPunct="1">
        <a:lnSpc>
          <a:spcPct val="120000"/>
        </a:lnSpc>
        <a:spcBef>
          <a:spcPts val="0"/>
        </a:spcBef>
        <a:spcAft>
          <a:spcPts val="4209"/>
        </a:spcAft>
        <a:buClr>
          <a:schemeClr val="accent2"/>
        </a:buClr>
        <a:buFontTx/>
        <a:buNone/>
        <a:defRPr sz="5612" kern="1200">
          <a:solidFill>
            <a:schemeClr val="tx2"/>
          </a:solidFill>
          <a:latin typeface="+mj-lt"/>
          <a:ea typeface="+mn-ea"/>
          <a:cs typeface="Calibri Light" panose="020F0302020204030204" pitchFamily="34" charset="0"/>
        </a:defRPr>
      </a:lvl7pPr>
      <a:lvl8pPr marL="1898880" indent="-1264064" algn="l" defTabSz="3207489" rtl="0" eaLnBrk="1" latinLnBrk="0" hangingPunct="1">
        <a:lnSpc>
          <a:spcPct val="120000"/>
        </a:lnSpc>
        <a:spcBef>
          <a:spcPts val="0"/>
        </a:spcBef>
        <a:spcAft>
          <a:spcPts val="4209"/>
        </a:spcAft>
        <a:buClr>
          <a:schemeClr val="bg2"/>
        </a:buClr>
        <a:buFont typeface="Wingdings" panose="05000000000000000000" pitchFamily="2" charset="2"/>
        <a:buChar char="à"/>
        <a:defRPr sz="491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alibri Light" panose="020F0302020204030204" pitchFamily="34" charset="0"/>
        </a:defRPr>
      </a:lvl8pPr>
      <a:lvl9pPr marL="0" indent="0" algn="l" defTabSz="3207489" rtl="0" eaLnBrk="1" latinLnBrk="0" hangingPunct="1">
        <a:lnSpc>
          <a:spcPct val="12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9823" kern="1200">
          <a:solidFill>
            <a:schemeClr val="tx2"/>
          </a:solidFill>
          <a:latin typeface="+mj-lt"/>
          <a:ea typeface="+mn-ea"/>
          <a:cs typeface="Calibri Light" panose="020F0302020204030204" pitchFamily="34" charset="0"/>
        </a:defRPr>
      </a:lvl9pPr>
    </p:bodyStyle>
    <p:otherStyle>
      <a:defPPr>
        <a:defRPr lang="nl-NL"/>
      </a:defPPr>
      <a:lvl1pPr marL="0" algn="l" defTabSz="3207489" rtl="0" eaLnBrk="1" latinLnBrk="0" hangingPunct="1">
        <a:defRPr sz="6314" kern="1200">
          <a:solidFill>
            <a:schemeClr val="tx1"/>
          </a:solidFill>
          <a:latin typeface="+mn-lt"/>
          <a:ea typeface="+mn-ea"/>
          <a:cs typeface="+mn-cs"/>
        </a:defRPr>
      </a:lvl1pPr>
      <a:lvl2pPr marL="1603744" algn="l" defTabSz="3207489" rtl="0" eaLnBrk="1" latinLnBrk="0" hangingPunct="1">
        <a:defRPr sz="6314" kern="1200">
          <a:solidFill>
            <a:schemeClr val="tx1"/>
          </a:solidFill>
          <a:latin typeface="+mn-lt"/>
          <a:ea typeface="+mn-ea"/>
          <a:cs typeface="+mn-cs"/>
        </a:defRPr>
      </a:lvl2pPr>
      <a:lvl3pPr marL="3207489" algn="l" defTabSz="3207489" rtl="0" eaLnBrk="1" latinLnBrk="0" hangingPunct="1">
        <a:defRPr sz="6314" kern="1200">
          <a:solidFill>
            <a:schemeClr val="tx1"/>
          </a:solidFill>
          <a:latin typeface="+mn-lt"/>
          <a:ea typeface="+mn-ea"/>
          <a:cs typeface="+mn-cs"/>
        </a:defRPr>
      </a:lvl3pPr>
      <a:lvl4pPr marL="4811232" algn="l" defTabSz="3207489" rtl="0" eaLnBrk="1" latinLnBrk="0" hangingPunct="1">
        <a:defRPr sz="6314" kern="1200">
          <a:solidFill>
            <a:schemeClr val="tx1"/>
          </a:solidFill>
          <a:latin typeface="+mn-lt"/>
          <a:ea typeface="+mn-ea"/>
          <a:cs typeface="+mn-cs"/>
        </a:defRPr>
      </a:lvl4pPr>
      <a:lvl5pPr marL="6414978" algn="l" defTabSz="3207489" rtl="0" eaLnBrk="1" latinLnBrk="0" hangingPunct="1">
        <a:defRPr sz="6314" kern="1200">
          <a:solidFill>
            <a:schemeClr val="tx1"/>
          </a:solidFill>
          <a:latin typeface="+mn-lt"/>
          <a:ea typeface="+mn-ea"/>
          <a:cs typeface="+mn-cs"/>
        </a:defRPr>
      </a:lvl5pPr>
      <a:lvl6pPr marL="8018723" algn="l" defTabSz="3207489" rtl="0" eaLnBrk="1" latinLnBrk="0" hangingPunct="1">
        <a:defRPr sz="6314" kern="1200">
          <a:solidFill>
            <a:schemeClr val="tx1"/>
          </a:solidFill>
          <a:latin typeface="+mn-lt"/>
          <a:ea typeface="+mn-ea"/>
          <a:cs typeface="+mn-cs"/>
        </a:defRPr>
      </a:lvl6pPr>
      <a:lvl7pPr marL="9622466" algn="l" defTabSz="3207489" rtl="0" eaLnBrk="1" latinLnBrk="0" hangingPunct="1">
        <a:defRPr sz="6314" kern="1200">
          <a:solidFill>
            <a:schemeClr val="tx1"/>
          </a:solidFill>
          <a:latin typeface="+mn-lt"/>
          <a:ea typeface="+mn-ea"/>
          <a:cs typeface="+mn-cs"/>
        </a:defRPr>
      </a:lvl7pPr>
      <a:lvl8pPr marL="11226211" algn="l" defTabSz="3207489" rtl="0" eaLnBrk="1" latinLnBrk="0" hangingPunct="1">
        <a:defRPr sz="6314" kern="1200">
          <a:solidFill>
            <a:schemeClr val="tx1"/>
          </a:solidFill>
          <a:latin typeface="+mn-lt"/>
          <a:ea typeface="+mn-ea"/>
          <a:cs typeface="+mn-cs"/>
        </a:defRPr>
      </a:lvl8pPr>
      <a:lvl9pPr marL="12829955" algn="l" defTabSz="3207489" rtl="0" eaLnBrk="1" latinLnBrk="0" hangingPunct="1">
        <a:defRPr sz="631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E3B6990-8FDB-47D1-A55A-D8F6373C4A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930304575"/>
              </p:ext>
            </p:extLst>
          </p:nvPr>
        </p:nvGraphicFramePr>
        <p:xfrm>
          <a:off x="5571" y="7011"/>
          <a:ext cx="5570" cy="70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425" imgH="424" progId="TCLayout.ActiveDocument.1">
                  <p:embed/>
                </p:oleObj>
              </mc:Choice>
              <mc:Fallback>
                <p:oleObj name="think-cell Slide" r:id="rId39" imgW="425" imgH="4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E3B6990-8FDB-47D1-A55A-D8F6373C4A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5571" y="7011"/>
                        <a:ext cx="5570" cy="70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1690494" y="1752512"/>
            <a:ext cx="39334368" cy="171327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l-NL" noProof="0"/>
              <a:t>Koptitel</a:t>
            </a:r>
          </a:p>
        </p:txBody>
      </p:sp>
      <p:grpSp>
        <p:nvGrpSpPr>
          <p:cNvPr id="37" name="GRID" hidden="1"/>
          <p:cNvGrpSpPr/>
          <p:nvPr userDrawn="1"/>
        </p:nvGrpSpPr>
        <p:grpSpPr>
          <a:xfrm>
            <a:off x="2" y="0"/>
            <a:ext cx="42767257" cy="30275213"/>
            <a:chOff x="0" y="0"/>
            <a:chExt cx="12192002" cy="6858000"/>
          </a:xfrm>
        </p:grpSpPr>
        <p:sp>
          <p:nvSpPr>
            <p:cNvPr id="33" name="Rechthoek 32"/>
            <p:cNvSpPr/>
            <p:nvPr userDrawn="1"/>
          </p:nvSpPr>
          <p:spPr>
            <a:xfrm>
              <a:off x="0" y="0"/>
              <a:ext cx="838200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34" name="Rechthoek 33"/>
            <p:cNvSpPr/>
            <p:nvPr userDrawn="1"/>
          </p:nvSpPr>
          <p:spPr>
            <a:xfrm>
              <a:off x="11353800" y="0"/>
              <a:ext cx="838200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35" name="Rechthoek 34"/>
            <p:cNvSpPr/>
            <p:nvPr userDrawn="1"/>
          </p:nvSpPr>
          <p:spPr>
            <a:xfrm rot="5400000">
              <a:off x="5676900" y="-5676900"/>
              <a:ext cx="838200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36" name="Rechthoek 35"/>
            <p:cNvSpPr/>
            <p:nvPr userDrawn="1"/>
          </p:nvSpPr>
          <p:spPr>
            <a:xfrm rot="5400000">
              <a:off x="5676900" y="4872"/>
              <a:ext cx="838200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38" name="Rechthoek 37"/>
            <p:cNvSpPr/>
            <p:nvPr userDrawn="1"/>
          </p:nvSpPr>
          <p:spPr>
            <a:xfrm rot="5400000">
              <a:off x="5865501" y="-4577408"/>
              <a:ext cx="46100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1690490" y="6476679"/>
            <a:ext cx="39334368" cy="190743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bullet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bullet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31361630" y="27337493"/>
            <a:ext cx="9622631" cy="10008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3158">
                <a:solidFill>
                  <a:schemeClr val="bg2"/>
                </a:solidFill>
              </a:defRPr>
            </a:lvl1pPr>
          </a:lstStyle>
          <a:p>
            <a:fld id="{064F1901-EE10-465E-9EEB-597F5C20CA69}" type="datetime1">
              <a:rPr lang="nl-NL" smtClean="0"/>
              <a:pPr/>
              <a:t>26-6-2023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2888361" y="27345272"/>
            <a:ext cx="18027560" cy="10008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3158">
                <a:solidFill>
                  <a:schemeClr val="bg2"/>
                </a:solidFill>
              </a:defRPr>
            </a:lvl1pPr>
          </a:lstStyle>
          <a:p>
            <a:r>
              <a:rPr lang="nl-NL"/>
              <a:t>Plaats hier uw voetteks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684599" y="27329718"/>
            <a:ext cx="787883" cy="10164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3158" b="1">
                <a:solidFill>
                  <a:schemeClr val="bg2"/>
                </a:solidFill>
              </a:defRPr>
            </a:lvl1pPr>
          </a:lstStyle>
          <a:p>
            <a:fld id="{55B2A88A-B7BD-41B1-9FCB-9BE633251ACA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61374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5" r:id="rId2"/>
    <p:sldLayoutId id="2147483846" r:id="rId3"/>
    <p:sldLayoutId id="2147483847" r:id="rId4"/>
    <p:sldLayoutId id="2147483848" r:id="rId5"/>
    <p:sldLayoutId id="2147483849" r:id="rId6"/>
    <p:sldLayoutId id="2147483850" r:id="rId7"/>
    <p:sldLayoutId id="2147483851" r:id="rId8"/>
    <p:sldLayoutId id="2147483852" r:id="rId9"/>
    <p:sldLayoutId id="2147483853" r:id="rId10"/>
    <p:sldLayoutId id="2147483854" r:id="rId11"/>
    <p:sldLayoutId id="2147483855" r:id="rId12"/>
    <p:sldLayoutId id="2147483856" r:id="rId13"/>
    <p:sldLayoutId id="2147483857" r:id="rId14"/>
    <p:sldLayoutId id="2147483858" r:id="rId15"/>
    <p:sldLayoutId id="2147483859" r:id="rId16"/>
    <p:sldLayoutId id="2147483860" r:id="rId17"/>
    <p:sldLayoutId id="2147483861" r:id="rId18"/>
    <p:sldLayoutId id="2147483862" r:id="rId19"/>
    <p:sldLayoutId id="2147483863" r:id="rId20"/>
    <p:sldLayoutId id="2147483864" r:id="rId21"/>
    <p:sldLayoutId id="2147483865" r:id="rId22"/>
    <p:sldLayoutId id="2147483866" r:id="rId23"/>
    <p:sldLayoutId id="2147483867" r:id="rId24"/>
    <p:sldLayoutId id="2147483868" r:id="rId25"/>
    <p:sldLayoutId id="2147483869" r:id="rId26"/>
    <p:sldLayoutId id="2147483870" r:id="rId27"/>
    <p:sldLayoutId id="2147483871" r:id="rId28"/>
    <p:sldLayoutId id="2147483872" r:id="rId29"/>
    <p:sldLayoutId id="2147483873" r:id="rId30"/>
    <p:sldLayoutId id="2147483874" r:id="rId31"/>
    <p:sldLayoutId id="2147483875" r:id="rId32"/>
    <p:sldLayoutId id="2147483877" r:id="rId33"/>
    <p:sldLayoutId id="2147483878" r:id="rId34"/>
    <p:sldLayoutId id="2147483879" r:id="rId35"/>
    <p:sldLayoutId id="2147483880" r:id="rId36"/>
  </p:sldLayoutIdLst>
  <p:hf hdr="0" ftr="0" dt="0"/>
  <p:txStyles>
    <p:titleStyle>
      <a:lvl1pPr algn="l" defTabSz="3207489" rtl="0" eaLnBrk="1" latinLnBrk="0" hangingPunct="1">
        <a:lnSpc>
          <a:spcPct val="90000"/>
        </a:lnSpc>
        <a:spcBef>
          <a:spcPct val="0"/>
        </a:spcBef>
        <a:buNone/>
        <a:defRPr sz="9823" b="0" kern="1200">
          <a:solidFill>
            <a:schemeClr val="tx2"/>
          </a:solidFill>
          <a:latin typeface="+mj-lt"/>
          <a:ea typeface="+mj-ea"/>
          <a:cs typeface="Calibri Light" panose="020F0302020204030204" pitchFamily="34" charset="0"/>
        </a:defRPr>
      </a:lvl1pPr>
    </p:titleStyle>
    <p:bodyStyle>
      <a:lvl1pPr marL="0" indent="0" algn="l" defTabSz="3207489" rtl="0" eaLnBrk="1" latinLnBrk="0" hangingPunct="1">
        <a:lnSpc>
          <a:spcPct val="120000"/>
        </a:lnSpc>
        <a:spcBef>
          <a:spcPts val="0"/>
        </a:spcBef>
        <a:spcAft>
          <a:spcPts val="0"/>
        </a:spcAft>
        <a:buClr>
          <a:schemeClr val="accent1"/>
        </a:buClr>
        <a:buFontTx/>
        <a:buNone/>
        <a:defRPr sz="6314" b="1" kern="1200">
          <a:solidFill>
            <a:schemeClr val="tx2"/>
          </a:solidFill>
          <a:latin typeface="+mn-lt"/>
          <a:ea typeface="+mn-ea"/>
          <a:cs typeface="Calibri Light" panose="020F0302020204030204" pitchFamily="34" charset="0"/>
        </a:defRPr>
      </a:lvl1pPr>
      <a:lvl2pPr marL="0" indent="0" algn="l" defTabSz="3207489" rtl="0" eaLnBrk="1" latinLnBrk="0" hangingPunct="1">
        <a:lnSpc>
          <a:spcPct val="120000"/>
        </a:lnSpc>
        <a:spcBef>
          <a:spcPts val="0"/>
        </a:spcBef>
        <a:spcAft>
          <a:spcPts val="0"/>
        </a:spcAft>
        <a:buClr>
          <a:schemeClr val="accent2"/>
        </a:buClr>
        <a:buFontTx/>
        <a:buNone/>
        <a:defRPr sz="5612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alibri Light" panose="020F0302020204030204" pitchFamily="34" charset="0"/>
        </a:defRPr>
      </a:lvl2pPr>
      <a:lvl3pPr marL="634816" indent="-634816" algn="l" defTabSz="3207489" rtl="0" eaLnBrk="1" latinLnBrk="0" hangingPunct="1">
        <a:lnSpc>
          <a:spcPct val="120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defRPr sz="5612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alibri Light" panose="020F0302020204030204" pitchFamily="34" charset="0"/>
        </a:defRPr>
      </a:lvl3pPr>
      <a:lvl4pPr marL="1269631" indent="-634816" algn="l" defTabSz="3207489" rtl="0" eaLnBrk="1" latinLnBrk="0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5612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alibri Light" panose="020F0302020204030204" pitchFamily="34" charset="0"/>
        </a:defRPr>
      </a:lvl4pPr>
      <a:lvl5pPr marL="634816" indent="-634816" algn="l" defTabSz="3207489" rtl="0" eaLnBrk="1" latinLnBrk="0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Font typeface="+mj-lt"/>
        <a:buAutoNum type="arabicPeriod"/>
        <a:defRPr sz="5612" b="0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Calibri Light" panose="020F0302020204030204" pitchFamily="34" charset="0"/>
        </a:defRPr>
      </a:lvl5pPr>
      <a:lvl6pPr marL="1269631" indent="-634816" algn="l" defTabSz="3207489" rtl="0" eaLnBrk="1" latinLnBrk="0" hangingPunct="1">
        <a:lnSpc>
          <a:spcPct val="120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defRPr sz="491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alibri Light" panose="020F0302020204030204" pitchFamily="34" charset="0"/>
        </a:defRPr>
      </a:lvl6pPr>
      <a:lvl7pPr marL="0" indent="0" algn="l" defTabSz="3207489" rtl="0" eaLnBrk="1" latinLnBrk="0" hangingPunct="1">
        <a:lnSpc>
          <a:spcPct val="120000"/>
        </a:lnSpc>
        <a:spcBef>
          <a:spcPts val="0"/>
        </a:spcBef>
        <a:spcAft>
          <a:spcPts val="0"/>
        </a:spcAft>
        <a:buClr>
          <a:schemeClr val="accent2"/>
        </a:buClr>
        <a:buFontTx/>
        <a:buNone/>
        <a:defRPr sz="5612" kern="1200">
          <a:solidFill>
            <a:schemeClr val="tx2"/>
          </a:solidFill>
          <a:latin typeface="+mj-lt"/>
          <a:ea typeface="+mn-ea"/>
          <a:cs typeface="Calibri Light" panose="020F0302020204030204" pitchFamily="34" charset="0"/>
        </a:defRPr>
      </a:lvl7pPr>
      <a:lvl8pPr marL="1898880" indent="-1264064" algn="l" defTabSz="3207489" rtl="0" eaLnBrk="1" latinLnBrk="0" hangingPunct="1">
        <a:lnSpc>
          <a:spcPct val="120000"/>
        </a:lnSpc>
        <a:spcBef>
          <a:spcPts val="0"/>
        </a:spcBef>
        <a:spcAft>
          <a:spcPts val="0"/>
        </a:spcAft>
        <a:buClr>
          <a:schemeClr val="bg2"/>
        </a:buClr>
        <a:buFont typeface="Wingdings" panose="05000000000000000000" pitchFamily="2" charset="2"/>
        <a:buChar char="à"/>
        <a:defRPr sz="491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alibri Light" panose="020F0302020204030204" pitchFamily="34" charset="0"/>
        </a:defRPr>
      </a:lvl8pPr>
      <a:lvl9pPr marL="0" indent="0" algn="l" defTabSz="3207489" rtl="0" eaLnBrk="1" latinLnBrk="0" hangingPunct="1">
        <a:lnSpc>
          <a:spcPct val="12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9823" kern="1200">
          <a:solidFill>
            <a:schemeClr val="tx2"/>
          </a:solidFill>
          <a:latin typeface="+mj-lt"/>
          <a:ea typeface="+mn-ea"/>
          <a:cs typeface="Calibri Light" panose="020F0302020204030204" pitchFamily="34" charset="0"/>
        </a:defRPr>
      </a:lvl9pPr>
    </p:bodyStyle>
    <p:otherStyle>
      <a:defPPr>
        <a:defRPr lang="nl-NL"/>
      </a:defPPr>
      <a:lvl1pPr marL="0" algn="l" defTabSz="3207489" rtl="0" eaLnBrk="1" latinLnBrk="0" hangingPunct="1">
        <a:defRPr sz="6314" kern="1200">
          <a:solidFill>
            <a:schemeClr val="tx1"/>
          </a:solidFill>
          <a:latin typeface="+mn-lt"/>
          <a:ea typeface="+mn-ea"/>
          <a:cs typeface="+mn-cs"/>
        </a:defRPr>
      </a:lvl1pPr>
      <a:lvl2pPr marL="1603744" algn="l" defTabSz="3207489" rtl="0" eaLnBrk="1" latinLnBrk="0" hangingPunct="1">
        <a:defRPr sz="6314" kern="1200">
          <a:solidFill>
            <a:schemeClr val="tx1"/>
          </a:solidFill>
          <a:latin typeface="+mn-lt"/>
          <a:ea typeface="+mn-ea"/>
          <a:cs typeface="+mn-cs"/>
        </a:defRPr>
      </a:lvl2pPr>
      <a:lvl3pPr marL="3207489" algn="l" defTabSz="3207489" rtl="0" eaLnBrk="1" latinLnBrk="0" hangingPunct="1">
        <a:defRPr sz="6314" kern="1200">
          <a:solidFill>
            <a:schemeClr val="tx1"/>
          </a:solidFill>
          <a:latin typeface="+mn-lt"/>
          <a:ea typeface="+mn-ea"/>
          <a:cs typeface="+mn-cs"/>
        </a:defRPr>
      </a:lvl3pPr>
      <a:lvl4pPr marL="4811232" algn="l" defTabSz="3207489" rtl="0" eaLnBrk="1" latinLnBrk="0" hangingPunct="1">
        <a:defRPr sz="6314" kern="1200">
          <a:solidFill>
            <a:schemeClr val="tx1"/>
          </a:solidFill>
          <a:latin typeface="+mn-lt"/>
          <a:ea typeface="+mn-ea"/>
          <a:cs typeface="+mn-cs"/>
        </a:defRPr>
      </a:lvl4pPr>
      <a:lvl5pPr marL="6414978" algn="l" defTabSz="3207489" rtl="0" eaLnBrk="1" latinLnBrk="0" hangingPunct="1">
        <a:defRPr sz="6314" kern="1200">
          <a:solidFill>
            <a:schemeClr val="tx1"/>
          </a:solidFill>
          <a:latin typeface="+mn-lt"/>
          <a:ea typeface="+mn-ea"/>
          <a:cs typeface="+mn-cs"/>
        </a:defRPr>
      </a:lvl5pPr>
      <a:lvl6pPr marL="8018723" algn="l" defTabSz="3207489" rtl="0" eaLnBrk="1" latinLnBrk="0" hangingPunct="1">
        <a:defRPr sz="6314" kern="1200">
          <a:solidFill>
            <a:schemeClr val="tx1"/>
          </a:solidFill>
          <a:latin typeface="+mn-lt"/>
          <a:ea typeface="+mn-ea"/>
          <a:cs typeface="+mn-cs"/>
        </a:defRPr>
      </a:lvl6pPr>
      <a:lvl7pPr marL="9622466" algn="l" defTabSz="3207489" rtl="0" eaLnBrk="1" latinLnBrk="0" hangingPunct="1">
        <a:defRPr sz="6314" kern="1200">
          <a:solidFill>
            <a:schemeClr val="tx1"/>
          </a:solidFill>
          <a:latin typeface="+mn-lt"/>
          <a:ea typeface="+mn-ea"/>
          <a:cs typeface="+mn-cs"/>
        </a:defRPr>
      </a:lvl7pPr>
      <a:lvl8pPr marL="11226211" algn="l" defTabSz="3207489" rtl="0" eaLnBrk="1" latinLnBrk="0" hangingPunct="1">
        <a:defRPr sz="6314" kern="1200">
          <a:solidFill>
            <a:schemeClr val="tx1"/>
          </a:solidFill>
          <a:latin typeface="+mn-lt"/>
          <a:ea typeface="+mn-ea"/>
          <a:cs typeface="+mn-cs"/>
        </a:defRPr>
      </a:lvl8pPr>
      <a:lvl9pPr marL="12829955" algn="l" defTabSz="3207489" rtl="0" eaLnBrk="1" latinLnBrk="0" hangingPunct="1">
        <a:defRPr sz="631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3A87818-07BF-4DBE-BB8E-63138641D1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314210043"/>
              </p:ext>
            </p:extLst>
          </p:nvPr>
        </p:nvGraphicFramePr>
        <p:xfrm>
          <a:off x="5571" y="7011"/>
          <a:ext cx="5570" cy="70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425" imgH="424" progId="TCLayout.ActiveDocument.1">
                  <p:embed/>
                </p:oleObj>
              </mc:Choice>
              <mc:Fallback>
                <p:oleObj name="think-cell Slide" r:id="rId38" imgW="425" imgH="4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3A87818-07BF-4DBE-BB8E-63138641D1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5571" y="7011"/>
                        <a:ext cx="5570" cy="70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1690494" y="1752512"/>
            <a:ext cx="39334368" cy="171327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l-NL" noProof="0"/>
              <a:t>Koptitel</a:t>
            </a:r>
          </a:p>
        </p:txBody>
      </p:sp>
      <p:grpSp>
        <p:nvGrpSpPr>
          <p:cNvPr id="37" name="GRID" hidden="1"/>
          <p:cNvGrpSpPr/>
          <p:nvPr userDrawn="1"/>
        </p:nvGrpSpPr>
        <p:grpSpPr>
          <a:xfrm>
            <a:off x="2" y="0"/>
            <a:ext cx="42767257" cy="30275213"/>
            <a:chOff x="0" y="0"/>
            <a:chExt cx="12192002" cy="6858000"/>
          </a:xfrm>
        </p:grpSpPr>
        <p:sp>
          <p:nvSpPr>
            <p:cNvPr id="33" name="Rechthoek 32"/>
            <p:cNvSpPr/>
            <p:nvPr userDrawn="1"/>
          </p:nvSpPr>
          <p:spPr>
            <a:xfrm>
              <a:off x="0" y="0"/>
              <a:ext cx="838200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34" name="Rechthoek 33"/>
            <p:cNvSpPr/>
            <p:nvPr userDrawn="1"/>
          </p:nvSpPr>
          <p:spPr>
            <a:xfrm>
              <a:off x="11353800" y="0"/>
              <a:ext cx="838200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35" name="Rechthoek 34"/>
            <p:cNvSpPr/>
            <p:nvPr userDrawn="1"/>
          </p:nvSpPr>
          <p:spPr>
            <a:xfrm rot="5400000">
              <a:off x="5676900" y="-5676900"/>
              <a:ext cx="838200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36" name="Rechthoek 35"/>
            <p:cNvSpPr/>
            <p:nvPr userDrawn="1"/>
          </p:nvSpPr>
          <p:spPr>
            <a:xfrm rot="5400000">
              <a:off x="5676900" y="4872"/>
              <a:ext cx="838200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38" name="Rechthoek 37"/>
            <p:cNvSpPr/>
            <p:nvPr userDrawn="1"/>
          </p:nvSpPr>
          <p:spPr>
            <a:xfrm rot="5400000">
              <a:off x="5865501" y="-4577408"/>
              <a:ext cx="46100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1690490" y="6476679"/>
            <a:ext cx="39334368" cy="190743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bullet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bullet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31361630" y="27337493"/>
            <a:ext cx="9622631" cy="10008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3158">
                <a:solidFill>
                  <a:schemeClr val="bg2"/>
                </a:solidFill>
              </a:defRPr>
            </a:lvl1pPr>
          </a:lstStyle>
          <a:p>
            <a:fld id="{064F1901-EE10-465E-9EEB-597F5C20CA69}" type="datetime1">
              <a:rPr lang="nl-NL" smtClean="0"/>
              <a:pPr/>
              <a:t>26-6-2023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2888361" y="27345272"/>
            <a:ext cx="18027560" cy="10008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3158">
                <a:solidFill>
                  <a:schemeClr val="bg2"/>
                </a:solidFill>
              </a:defRPr>
            </a:lvl1pPr>
          </a:lstStyle>
          <a:p>
            <a:r>
              <a:rPr lang="nl-NL"/>
              <a:t>Plaats hier uw voetteks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684599" y="27329718"/>
            <a:ext cx="787883" cy="10164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3158" b="1">
                <a:solidFill>
                  <a:schemeClr val="bg2"/>
                </a:solidFill>
              </a:defRPr>
            </a:lvl1pPr>
          </a:lstStyle>
          <a:p>
            <a:fld id="{55B2A88A-B7BD-41B1-9FCB-9BE633251ACA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15344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2" r:id="rId1"/>
    <p:sldLayoutId id="2147483883" r:id="rId2"/>
    <p:sldLayoutId id="2147483884" r:id="rId3"/>
    <p:sldLayoutId id="2147483885" r:id="rId4"/>
    <p:sldLayoutId id="2147483886" r:id="rId5"/>
    <p:sldLayoutId id="2147483887" r:id="rId6"/>
    <p:sldLayoutId id="2147483888" r:id="rId7"/>
    <p:sldLayoutId id="2147483889" r:id="rId8"/>
    <p:sldLayoutId id="2147483890" r:id="rId9"/>
    <p:sldLayoutId id="2147483891" r:id="rId10"/>
    <p:sldLayoutId id="2147483892" r:id="rId11"/>
    <p:sldLayoutId id="2147483893" r:id="rId12"/>
    <p:sldLayoutId id="2147483894" r:id="rId13"/>
    <p:sldLayoutId id="2147483895" r:id="rId14"/>
    <p:sldLayoutId id="2147483896" r:id="rId15"/>
    <p:sldLayoutId id="2147483897" r:id="rId16"/>
    <p:sldLayoutId id="2147483898" r:id="rId17"/>
    <p:sldLayoutId id="2147483899" r:id="rId18"/>
    <p:sldLayoutId id="2147483900" r:id="rId19"/>
    <p:sldLayoutId id="2147483901" r:id="rId20"/>
    <p:sldLayoutId id="2147483902" r:id="rId21"/>
    <p:sldLayoutId id="2147483903" r:id="rId22"/>
    <p:sldLayoutId id="2147483904" r:id="rId23"/>
    <p:sldLayoutId id="2147483905" r:id="rId24"/>
    <p:sldLayoutId id="2147483906" r:id="rId25"/>
    <p:sldLayoutId id="2147483907" r:id="rId26"/>
    <p:sldLayoutId id="2147483908" r:id="rId27"/>
    <p:sldLayoutId id="2147483909" r:id="rId28"/>
    <p:sldLayoutId id="2147483910" r:id="rId29"/>
    <p:sldLayoutId id="2147483911" r:id="rId30"/>
    <p:sldLayoutId id="2147483912" r:id="rId31"/>
    <p:sldLayoutId id="2147483913" r:id="rId32"/>
    <p:sldLayoutId id="2147483914" r:id="rId33"/>
    <p:sldLayoutId id="2147483915" r:id="rId34"/>
    <p:sldLayoutId id="2147483916" r:id="rId35"/>
  </p:sldLayoutIdLst>
  <p:hf hdr="0" ftr="0" dt="0"/>
  <p:txStyles>
    <p:titleStyle>
      <a:lvl1pPr algn="l" defTabSz="3207489" rtl="0" eaLnBrk="1" latinLnBrk="0" hangingPunct="1">
        <a:lnSpc>
          <a:spcPct val="90000"/>
        </a:lnSpc>
        <a:spcBef>
          <a:spcPct val="0"/>
        </a:spcBef>
        <a:buNone/>
        <a:defRPr sz="9823" b="0" kern="1200">
          <a:solidFill>
            <a:schemeClr val="tx2"/>
          </a:solidFill>
          <a:latin typeface="+mj-lt"/>
          <a:ea typeface="+mj-ea"/>
          <a:cs typeface="Calibri Light" panose="020F0302020204030204" pitchFamily="34" charset="0"/>
        </a:defRPr>
      </a:lvl1pPr>
    </p:titleStyle>
    <p:bodyStyle>
      <a:lvl1pPr marL="0" indent="0" algn="l" defTabSz="3207489" rtl="0" eaLnBrk="1" latinLnBrk="0" hangingPunct="1">
        <a:lnSpc>
          <a:spcPct val="120000"/>
        </a:lnSpc>
        <a:spcBef>
          <a:spcPts val="0"/>
        </a:spcBef>
        <a:spcAft>
          <a:spcPts val="0"/>
        </a:spcAft>
        <a:buClr>
          <a:schemeClr val="accent1"/>
        </a:buClr>
        <a:buFontTx/>
        <a:buNone/>
        <a:defRPr sz="6314" b="1" kern="1200">
          <a:solidFill>
            <a:schemeClr val="tx2"/>
          </a:solidFill>
          <a:latin typeface="+mn-lt"/>
          <a:ea typeface="+mn-ea"/>
          <a:cs typeface="Calibri Light" panose="020F0302020204030204" pitchFamily="34" charset="0"/>
        </a:defRPr>
      </a:lvl1pPr>
      <a:lvl2pPr marL="0" indent="0" algn="l" defTabSz="3207489" rtl="0" eaLnBrk="1" latinLnBrk="0" hangingPunct="1">
        <a:lnSpc>
          <a:spcPct val="120000"/>
        </a:lnSpc>
        <a:spcBef>
          <a:spcPts val="0"/>
        </a:spcBef>
        <a:spcAft>
          <a:spcPts val="4209"/>
        </a:spcAft>
        <a:buClr>
          <a:schemeClr val="accent2"/>
        </a:buClr>
        <a:buFontTx/>
        <a:buNone/>
        <a:defRPr sz="5612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alibri Light" panose="020F0302020204030204" pitchFamily="34" charset="0"/>
        </a:defRPr>
      </a:lvl2pPr>
      <a:lvl3pPr marL="634816" indent="-634816" algn="l" defTabSz="3207489" rtl="0" eaLnBrk="1" latinLnBrk="0" hangingPunct="1">
        <a:lnSpc>
          <a:spcPct val="120000"/>
        </a:lnSpc>
        <a:spcBef>
          <a:spcPts val="0"/>
        </a:spcBef>
        <a:spcAft>
          <a:spcPts val="4209"/>
        </a:spcAft>
        <a:buClr>
          <a:schemeClr val="accent1"/>
        </a:buClr>
        <a:buFont typeface="Arial" panose="020B0604020202020204" pitchFamily="34" charset="0"/>
        <a:buChar char="•"/>
        <a:defRPr sz="5612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alibri Light" panose="020F0302020204030204" pitchFamily="34" charset="0"/>
        </a:defRPr>
      </a:lvl3pPr>
      <a:lvl4pPr marL="1269631" indent="-634816" algn="l" defTabSz="3207489" rtl="0" eaLnBrk="1" latinLnBrk="0" hangingPunct="1">
        <a:lnSpc>
          <a:spcPct val="120000"/>
        </a:lnSpc>
        <a:spcBef>
          <a:spcPts val="0"/>
        </a:spcBef>
        <a:spcAft>
          <a:spcPts val="4209"/>
        </a:spcAft>
        <a:buClr>
          <a:schemeClr val="tx2"/>
        </a:buClr>
        <a:buFont typeface="Arial" panose="020B0604020202020204" pitchFamily="34" charset="0"/>
        <a:buChar char="•"/>
        <a:defRPr sz="5612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alibri Light" panose="020F0302020204030204" pitchFamily="34" charset="0"/>
        </a:defRPr>
      </a:lvl4pPr>
      <a:lvl5pPr marL="634816" indent="-634816" algn="l" defTabSz="3207489" rtl="0" eaLnBrk="1" latinLnBrk="0" hangingPunct="1">
        <a:lnSpc>
          <a:spcPct val="120000"/>
        </a:lnSpc>
        <a:spcBef>
          <a:spcPts val="0"/>
        </a:spcBef>
        <a:spcAft>
          <a:spcPts val="4209"/>
        </a:spcAft>
        <a:buClr>
          <a:schemeClr val="tx2"/>
        </a:buClr>
        <a:buFont typeface="+mj-lt"/>
        <a:buAutoNum type="arabicPeriod"/>
        <a:defRPr sz="5612" b="0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Calibri Light" panose="020F0302020204030204" pitchFamily="34" charset="0"/>
        </a:defRPr>
      </a:lvl5pPr>
      <a:lvl6pPr marL="1269631" indent="-634816" algn="l" defTabSz="3207489" rtl="0" eaLnBrk="1" latinLnBrk="0" hangingPunct="1">
        <a:lnSpc>
          <a:spcPct val="120000"/>
        </a:lnSpc>
        <a:spcBef>
          <a:spcPts val="0"/>
        </a:spcBef>
        <a:spcAft>
          <a:spcPts val="4209"/>
        </a:spcAft>
        <a:buClr>
          <a:schemeClr val="accent1"/>
        </a:buClr>
        <a:buFont typeface="Arial" panose="020B0604020202020204" pitchFamily="34" charset="0"/>
        <a:buChar char="•"/>
        <a:defRPr sz="491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alibri Light" panose="020F0302020204030204" pitchFamily="34" charset="0"/>
        </a:defRPr>
      </a:lvl6pPr>
      <a:lvl7pPr marL="0" indent="0" algn="l" defTabSz="3207489" rtl="0" eaLnBrk="1" latinLnBrk="0" hangingPunct="1">
        <a:lnSpc>
          <a:spcPct val="120000"/>
        </a:lnSpc>
        <a:spcBef>
          <a:spcPts val="0"/>
        </a:spcBef>
        <a:spcAft>
          <a:spcPts val="4209"/>
        </a:spcAft>
        <a:buClr>
          <a:schemeClr val="accent2"/>
        </a:buClr>
        <a:buFontTx/>
        <a:buNone/>
        <a:defRPr sz="5612" kern="1200">
          <a:solidFill>
            <a:schemeClr val="tx2"/>
          </a:solidFill>
          <a:latin typeface="+mj-lt"/>
          <a:ea typeface="+mn-ea"/>
          <a:cs typeface="Calibri Light" panose="020F0302020204030204" pitchFamily="34" charset="0"/>
        </a:defRPr>
      </a:lvl7pPr>
      <a:lvl8pPr marL="1898880" indent="-1264064" algn="l" defTabSz="3207489" rtl="0" eaLnBrk="1" latinLnBrk="0" hangingPunct="1">
        <a:lnSpc>
          <a:spcPct val="120000"/>
        </a:lnSpc>
        <a:spcBef>
          <a:spcPts val="0"/>
        </a:spcBef>
        <a:spcAft>
          <a:spcPts val="4209"/>
        </a:spcAft>
        <a:buClr>
          <a:schemeClr val="bg2"/>
        </a:buClr>
        <a:buFont typeface="Wingdings" panose="05000000000000000000" pitchFamily="2" charset="2"/>
        <a:buChar char="à"/>
        <a:defRPr sz="491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alibri Light" panose="020F0302020204030204" pitchFamily="34" charset="0"/>
        </a:defRPr>
      </a:lvl8pPr>
      <a:lvl9pPr marL="0" indent="0" algn="l" defTabSz="3207489" rtl="0" eaLnBrk="1" latinLnBrk="0" hangingPunct="1">
        <a:lnSpc>
          <a:spcPct val="12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9823" kern="1200">
          <a:solidFill>
            <a:schemeClr val="tx2"/>
          </a:solidFill>
          <a:latin typeface="+mj-lt"/>
          <a:ea typeface="+mn-ea"/>
          <a:cs typeface="Calibri Light" panose="020F0302020204030204" pitchFamily="34" charset="0"/>
        </a:defRPr>
      </a:lvl9pPr>
    </p:bodyStyle>
    <p:otherStyle>
      <a:defPPr>
        <a:defRPr lang="nl-NL"/>
      </a:defPPr>
      <a:lvl1pPr marL="0" algn="l" defTabSz="3207489" rtl="0" eaLnBrk="1" latinLnBrk="0" hangingPunct="1">
        <a:defRPr sz="6314" kern="1200">
          <a:solidFill>
            <a:schemeClr val="tx1"/>
          </a:solidFill>
          <a:latin typeface="+mn-lt"/>
          <a:ea typeface="+mn-ea"/>
          <a:cs typeface="+mn-cs"/>
        </a:defRPr>
      </a:lvl1pPr>
      <a:lvl2pPr marL="1603744" algn="l" defTabSz="3207489" rtl="0" eaLnBrk="1" latinLnBrk="0" hangingPunct="1">
        <a:defRPr sz="6314" kern="1200">
          <a:solidFill>
            <a:schemeClr val="tx1"/>
          </a:solidFill>
          <a:latin typeface="+mn-lt"/>
          <a:ea typeface="+mn-ea"/>
          <a:cs typeface="+mn-cs"/>
        </a:defRPr>
      </a:lvl2pPr>
      <a:lvl3pPr marL="3207489" algn="l" defTabSz="3207489" rtl="0" eaLnBrk="1" latinLnBrk="0" hangingPunct="1">
        <a:defRPr sz="6314" kern="1200">
          <a:solidFill>
            <a:schemeClr val="tx1"/>
          </a:solidFill>
          <a:latin typeface="+mn-lt"/>
          <a:ea typeface="+mn-ea"/>
          <a:cs typeface="+mn-cs"/>
        </a:defRPr>
      </a:lvl3pPr>
      <a:lvl4pPr marL="4811232" algn="l" defTabSz="3207489" rtl="0" eaLnBrk="1" latinLnBrk="0" hangingPunct="1">
        <a:defRPr sz="6314" kern="1200">
          <a:solidFill>
            <a:schemeClr val="tx1"/>
          </a:solidFill>
          <a:latin typeface="+mn-lt"/>
          <a:ea typeface="+mn-ea"/>
          <a:cs typeface="+mn-cs"/>
        </a:defRPr>
      </a:lvl4pPr>
      <a:lvl5pPr marL="6414978" algn="l" defTabSz="3207489" rtl="0" eaLnBrk="1" latinLnBrk="0" hangingPunct="1">
        <a:defRPr sz="6314" kern="1200">
          <a:solidFill>
            <a:schemeClr val="tx1"/>
          </a:solidFill>
          <a:latin typeface="+mn-lt"/>
          <a:ea typeface="+mn-ea"/>
          <a:cs typeface="+mn-cs"/>
        </a:defRPr>
      </a:lvl5pPr>
      <a:lvl6pPr marL="8018723" algn="l" defTabSz="3207489" rtl="0" eaLnBrk="1" latinLnBrk="0" hangingPunct="1">
        <a:defRPr sz="6314" kern="1200">
          <a:solidFill>
            <a:schemeClr val="tx1"/>
          </a:solidFill>
          <a:latin typeface="+mn-lt"/>
          <a:ea typeface="+mn-ea"/>
          <a:cs typeface="+mn-cs"/>
        </a:defRPr>
      </a:lvl6pPr>
      <a:lvl7pPr marL="9622466" algn="l" defTabSz="3207489" rtl="0" eaLnBrk="1" latinLnBrk="0" hangingPunct="1">
        <a:defRPr sz="6314" kern="1200">
          <a:solidFill>
            <a:schemeClr val="tx1"/>
          </a:solidFill>
          <a:latin typeface="+mn-lt"/>
          <a:ea typeface="+mn-ea"/>
          <a:cs typeface="+mn-cs"/>
        </a:defRPr>
      </a:lvl7pPr>
      <a:lvl8pPr marL="11226211" algn="l" defTabSz="3207489" rtl="0" eaLnBrk="1" latinLnBrk="0" hangingPunct="1">
        <a:defRPr sz="6314" kern="1200">
          <a:solidFill>
            <a:schemeClr val="tx1"/>
          </a:solidFill>
          <a:latin typeface="+mn-lt"/>
          <a:ea typeface="+mn-ea"/>
          <a:cs typeface="+mn-cs"/>
        </a:defRPr>
      </a:lvl8pPr>
      <a:lvl9pPr marL="12829955" algn="l" defTabSz="3207489" rtl="0" eaLnBrk="1" latinLnBrk="0" hangingPunct="1">
        <a:defRPr sz="631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2105710783"/>
              </p:ext>
            </p:extLst>
          </p:nvPr>
        </p:nvGraphicFramePr>
        <p:xfrm>
          <a:off x="5571" y="7011"/>
          <a:ext cx="5570" cy="70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425" imgH="424" progId="TCLayout.ActiveDocument.1">
                  <p:embed/>
                </p:oleObj>
              </mc:Choice>
              <mc:Fallback>
                <p:oleObj name="think-cell Slide" r:id="rId37" imgW="425" imgH="42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5571" y="7011"/>
                        <a:ext cx="5570" cy="70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1690494" y="1752512"/>
            <a:ext cx="39334368" cy="171327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l-NL" noProof="0"/>
              <a:t>Koptitel</a:t>
            </a:r>
          </a:p>
        </p:txBody>
      </p:sp>
      <p:grpSp>
        <p:nvGrpSpPr>
          <p:cNvPr id="37" name="GRID" hidden="1"/>
          <p:cNvGrpSpPr/>
          <p:nvPr userDrawn="1"/>
        </p:nvGrpSpPr>
        <p:grpSpPr>
          <a:xfrm>
            <a:off x="2" y="0"/>
            <a:ext cx="42767257" cy="30275213"/>
            <a:chOff x="0" y="0"/>
            <a:chExt cx="12192002" cy="6858000"/>
          </a:xfrm>
        </p:grpSpPr>
        <p:sp>
          <p:nvSpPr>
            <p:cNvPr id="33" name="Rechthoek 32"/>
            <p:cNvSpPr/>
            <p:nvPr userDrawn="1"/>
          </p:nvSpPr>
          <p:spPr>
            <a:xfrm>
              <a:off x="0" y="0"/>
              <a:ext cx="838200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34" name="Rechthoek 33"/>
            <p:cNvSpPr/>
            <p:nvPr userDrawn="1"/>
          </p:nvSpPr>
          <p:spPr>
            <a:xfrm>
              <a:off x="11353800" y="0"/>
              <a:ext cx="838200" cy="6858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35" name="Rechthoek 34"/>
            <p:cNvSpPr/>
            <p:nvPr userDrawn="1"/>
          </p:nvSpPr>
          <p:spPr>
            <a:xfrm rot="5400000">
              <a:off x="5676900" y="-5676900"/>
              <a:ext cx="838200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36" name="Rechthoek 35"/>
            <p:cNvSpPr/>
            <p:nvPr userDrawn="1"/>
          </p:nvSpPr>
          <p:spPr>
            <a:xfrm rot="5400000">
              <a:off x="5676900" y="4872"/>
              <a:ext cx="838200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  <p:sp>
          <p:nvSpPr>
            <p:cNvPr id="38" name="Rechthoek 37"/>
            <p:cNvSpPr/>
            <p:nvPr userDrawn="1"/>
          </p:nvSpPr>
          <p:spPr>
            <a:xfrm rot="5400000">
              <a:off x="5865501" y="-4577408"/>
              <a:ext cx="461001" cy="12192000"/>
            </a:xfrm>
            <a:prstGeom prst="rect">
              <a:avLst/>
            </a:prstGeom>
            <a:solidFill>
              <a:schemeClr val="accent4">
                <a:alpha val="1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213"/>
            </a:p>
          </p:txBody>
        </p:sp>
      </p:grp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1690490" y="6476679"/>
            <a:ext cx="39334368" cy="190743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/>
              <a:t>Header</a:t>
            </a:r>
          </a:p>
          <a:p>
            <a:pPr lvl="1"/>
            <a:r>
              <a:rPr lang="nl-NL" noProof="0"/>
              <a:t>Platte tekst</a:t>
            </a:r>
          </a:p>
          <a:p>
            <a:pPr lvl="2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1</a:t>
            </a:r>
          </a:p>
          <a:p>
            <a:pPr lvl="3"/>
            <a:r>
              <a:rPr lang="nl-NL" noProof="0"/>
              <a:t>Sub-bullet#2</a:t>
            </a:r>
          </a:p>
          <a:p>
            <a:pPr lvl="4"/>
            <a:r>
              <a:rPr lang="nl-NL" noProof="0"/>
              <a:t>Nummer-</a:t>
            </a:r>
            <a:r>
              <a:rPr lang="nl-NL" noProof="0" err="1"/>
              <a:t>bullet</a:t>
            </a:r>
            <a:endParaRPr lang="nl-NL" noProof="0"/>
          </a:p>
          <a:p>
            <a:pPr lvl="5"/>
            <a:r>
              <a:rPr lang="nl-NL" noProof="0"/>
              <a:t>Sub-bullet#3</a:t>
            </a:r>
          </a:p>
          <a:p>
            <a:pPr lvl="6"/>
            <a:r>
              <a:rPr lang="nl-NL" noProof="0"/>
              <a:t>Platte tekst2</a:t>
            </a:r>
          </a:p>
          <a:p>
            <a:pPr lvl="7"/>
            <a:r>
              <a:rPr lang="nl-NL" noProof="0"/>
              <a:t>Sub-</a:t>
            </a:r>
            <a:r>
              <a:rPr lang="nl-NL" noProof="0" err="1"/>
              <a:t>bullet</a:t>
            </a:r>
            <a:r>
              <a:rPr lang="nl-NL" noProof="0"/>
              <a:t> #4</a:t>
            </a:r>
          </a:p>
          <a:p>
            <a:pPr lvl="8"/>
            <a:r>
              <a:rPr lang="nl-NL" noProof="0"/>
              <a:t>Header2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31361630" y="27337493"/>
            <a:ext cx="9622631" cy="10008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3158">
                <a:solidFill>
                  <a:schemeClr val="bg2"/>
                </a:solidFill>
              </a:defRPr>
            </a:lvl1pPr>
          </a:lstStyle>
          <a:p>
            <a:fld id="{064F1901-EE10-465E-9EEB-597F5C20CA69}" type="datetime1">
              <a:rPr lang="nl-NL" smtClean="0"/>
              <a:pPr/>
              <a:t>26-6-2023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2888361" y="27345272"/>
            <a:ext cx="18027560" cy="10008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3158">
                <a:solidFill>
                  <a:schemeClr val="bg2"/>
                </a:solidFill>
              </a:defRPr>
            </a:lvl1pPr>
          </a:lstStyle>
          <a:p>
            <a:r>
              <a:rPr lang="nl-NL"/>
              <a:t>Plaats hier uw voetteks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684599" y="27329718"/>
            <a:ext cx="787883" cy="10164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3158" b="1">
                <a:solidFill>
                  <a:schemeClr val="bg2"/>
                </a:solidFill>
              </a:defRPr>
            </a:lvl1pPr>
          </a:lstStyle>
          <a:p>
            <a:fld id="{55B2A88A-B7BD-41B1-9FCB-9BE633251ACA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68897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8" r:id="rId1"/>
    <p:sldLayoutId id="2147483919" r:id="rId2"/>
    <p:sldLayoutId id="2147483920" r:id="rId3"/>
    <p:sldLayoutId id="2147483921" r:id="rId4"/>
    <p:sldLayoutId id="2147483922" r:id="rId5"/>
    <p:sldLayoutId id="2147483923" r:id="rId6"/>
    <p:sldLayoutId id="2147483924" r:id="rId7"/>
    <p:sldLayoutId id="2147483925" r:id="rId8"/>
    <p:sldLayoutId id="2147483926" r:id="rId9"/>
    <p:sldLayoutId id="2147483927" r:id="rId10"/>
    <p:sldLayoutId id="2147483928" r:id="rId11"/>
    <p:sldLayoutId id="2147483929" r:id="rId12"/>
    <p:sldLayoutId id="2147483930" r:id="rId13"/>
    <p:sldLayoutId id="2147483931" r:id="rId14"/>
    <p:sldLayoutId id="2147483932" r:id="rId15"/>
    <p:sldLayoutId id="2147483933" r:id="rId16"/>
    <p:sldLayoutId id="2147483934" r:id="rId17"/>
    <p:sldLayoutId id="2147483935" r:id="rId18"/>
    <p:sldLayoutId id="2147483936" r:id="rId19"/>
    <p:sldLayoutId id="2147483937" r:id="rId20"/>
    <p:sldLayoutId id="2147483938" r:id="rId21"/>
    <p:sldLayoutId id="2147483939" r:id="rId22"/>
    <p:sldLayoutId id="2147483940" r:id="rId23"/>
    <p:sldLayoutId id="2147483941" r:id="rId24"/>
    <p:sldLayoutId id="2147483942" r:id="rId25"/>
    <p:sldLayoutId id="2147483943" r:id="rId26"/>
    <p:sldLayoutId id="2147483944" r:id="rId27"/>
    <p:sldLayoutId id="2147483945" r:id="rId28"/>
    <p:sldLayoutId id="2147483946" r:id="rId29"/>
    <p:sldLayoutId id="2147483947" r:id="rId30"/>
    <p:sldLayoutId id="2147483948" r:id="rId31"/>
    <p:sldLayoutId id="2147483949" r:id="rId32"/>
    <p:sldLayoutId id="2147483950" r:id="rId33"/>
    <p:sldLayoutId id="2147483951" r:id="rId34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txStyles>
    <p:titleStyle>
      <a:lvl1pPr algn="l" defTabSz="3207489" rtl="0" eaLnBrk="1" latinLnBrk="0" hangingPunct="1">
        <a:lnSpc>
          <a:spcPct val="90000"/>
        </a:lnSpc>
        <a:spcBef>
          <a:spcPct val="0"/>
        </a:spcBef>
        <a:buNone/>
        <a:defRPr sz="9823" b="0" kern="1200">
          <a:solidFill>
            <a:schemeClr val="tx2"/>
          </a:solidFill>
          <a:latin typeface="+mj-lt"/>
          <a:ea typeface="+mj-ea"/>
          <a:cs typeface="Calibri Light" panose="020F0302020204030204" pitchFamily="34" charset="0"/>
        </a:defRPr>
      </a:lvl1pPr>
    </p:titleStyle>
    <p:bodyStyle>
      <a:lvl1pPr marL="0" indent="0" algn="l" defTabSz="3207489" rtl="0" eaLnBrk="1" latinLnBrk="0" hangingPunct="1">
        <a:lnSpc>
          <a:spcPct val="120000"/>
        </a:lnSpc>
        <a:spcBef>
          <a:spcPts val="0"/>
        </a:spcBef>
        <a:spcAft>
          <a:spcPts val="0"/>
        </a:spcAft>
        <a:buClr>
          <a:schemeClr val="accent1"/>
        </a:buClr>
        <a:buFontTx/>
        <a:buNone/>
        <a:defRPr sz="6314" b="1" kern="1200">
          <a:solidFill>
            <a:schemeClr val="tx2"/>
          </a:solidFill>
          <a:latin typeface="+mn-lt"/>
          <a:ea typeface="+mn-ea"/>
          <a:cs typeface="Calibri Light" panose="020F0302020204030204" pitchFamily="34" charset="0"/>
        </a:defRPr>
      </a:lvl1pPr>
      <a:lvl2pPr marL="0" indent="0" algn="l" defTabSz="3207489" rtl="0" eaLnBrk="1" latinLnBrk="0" hangingPunct="1">
        <a:lnSpc>
          <a:spcPct val="120000"/>
        </a:lnSpc>
        <a:spcBef>
          <a:spcPts val="0"/>
        </a:spcBef>
        <a:spcAft>
          <a:spcPts val="4209"/>
        </a:spcAft>
        <a:buClr>
          <a:schemeClr val="accent2"/>
        </a:buClr>
        <a:buFontTx/>
        <a:buNone/>
        <a:defRPr sz="5612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alibri Light" panose="020F0302020204030204" pitchFamily="34" charset="0"/>
        </a:defRPr>
      </a:lvl2pPr>
      <a:lvl3pPr marL="634816" indent="-634816" algn="l" defTabSz="3207489" rtl="0" eaLnBrk="1" latinLnBrk="0" hangingPunct="1">
        <a:lnSpc>
          <a:spcPct val="120000"/>
        </a:lnSpc>
        <a:spcBef>
          <a:spcPts val="0"/>
        </a:spcBef>
        <a:spcAft>
          <a:spcPts val="4209"/>
        </a:spcAft>
        <a:buClr>
          <a:schemeClr val="accent1"/>
        </a:buClr>
        <a:buFont typeface="Arial" panose="020B0604020202020204" pitchFamily="34" charset="0"/>
        <a:buChar char="•"/>
        <a:defRPr sz="5612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alibri Light" panose="020F0302020204030204" pitchFamily="34" charset="0"/>
        </a:defRPr>
      </a:lvl3pPr>
      <a:lvl4pPr marL="1269631" indent="-634816" algn="l" defTabSz="3207489" rtl="0" eaLnBrk="1" latinLnBrk="0" hangingPunct="1">
        <a:lnSpc>
          <a:spcPct val="120000"/>
        </a:lnSpc>
        <a:spcBef>
          <a:spcPts val="0"/>
        </a:spcBef>
        <a:spcAft>
          <a:spcPts val="4209"/>
        </a:spcAft>
        <a:buClr>
          <a:schemeClr val="tx2"/>
        </a:buClr>
        <a:buFont typeface="Arial" panose="020B0604020202020204" pitchFamily="34" charset="0"/>
        <a:buChar char="•"/>
        <a:defRPr sz="5612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alibri Light" panose="020F0302020204030204" pitchFamily="34" charset="0"/>
        </a:defRPr>
      </a:lvl4pPr>
      <a:lvl5pPr marL="634816" indent="-634816" algn="l" defTabSz="3207489" rtl="0" eaLnBrk="1" latinLnBrk="0" hangingPunct="1">
        <a:lnSpc>
          <a:spcPct val="120000"/>
        </a:lnSpc>
        <a:spcBef>
          <a:spcPts val="0"/>
        </a:spcBef>
        <a:spcAft>
          <a:spcPts val="4209"/>
        </a:spcAft>
        <a:buClr>
          <a:schemeClr val="tx2"/>
        </a:buClr>
        <a:buFont typeface="+mj-lt"/>
        <a:buAutoNum type="arabicPeriod"/>
        <a:defRPr sz="5612" b="0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Calibri Light" panose="020F0302020204030204" pitchFamily="34" charset="0"/>
        </a:defRPr>
      </a:lvl5pPr>
      <a:lvl6pPr marL="1269631" indent="-634816" algn="l" defTabSz="3207489" rtl="0" eaLnBrk="1" latinLnBrk="0" hangingPunct="1">
        <a:lnSpc>
          <a:spcPct val="120000"/>
        </a:lnSpc>
        <a:spcBef>
          <a:spcPts val="0"/>
        </a:spcBef>
        <a:spcAft>
          <a:spcPts val="4209"/>
        </a:spcAft>
        <a:buClr>
          <a:schemeClr val="accent1"/>
        </a:buClr>
        <a:buFont typeface="Arial" panose="020B0604020202020204" pitchFamily="34" charset="0"/>
        <a:buChar char="•"/>
        <a:defRPr sz="491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alibri Light" panose="020F0302020204030204" pitchFamily="34" charset="0"/>
        </a:defRPr>
      </a:lvl6pPr>
      <a:lvl7pPr marL="0" indent="0" algn="l" defTabSz="3207489" rtl="0" eaLnBrk="1" latinLnBrk="0" hangingPunct="1">
        <a:lnSpc>
          <a:spcPct val="120000"/>
        </a:lnSpc>
        <a:spcBef>
          <a:spcPts val="0"/>
        </a:spcBef>
        <a:spcAft>
          <a:spcPts val="4209"/>
        </a:spcAft>
        <a:buClr>
          <a:schemeClr val="accent2"/>
        </a:buClr>
        <a:buFontTx/>
        <a:buNone/>
        <a:defRPr sz="5612" kern="1200">
          <a:solidFill>
            <a:schemeClr val="tx2"/>
          </a:solidFill>
          <a:latin typeface="+mj-lt"/>
          <a:ea typeface="+mn-ea"/>
          <a:cs typeface="Calibri Light" panose="020F0302020204030204" pitchFamily="34" charset="0"/>
        </a:defRPr>
      </a:lvl7pPr>
      <a:lvl8pPr marL="1898880" indent="-1264064" algn="l" defTabSz="3207489" rtl="0" eaLnBrk="1" latinLnBrk="0" hangingPunct="1">
        <a:lnSpc>
          <a:spcPct val="120000"/>
        </a:lnSpc>
        <a:spcBef>
          <a:spcPts val="0"/>
        </a:spcBef>
        <a:spcAft>
          <a:spcPts val="4209"/>
        </a:spcAft>
        <a:buClr>
          <a:schemeClr val="bg2"/>
        </a:buClr>
        <a:buFont typeface="Wingdings" panose="05000000000000000000" pitchFamily="2" charset="2"/>
        <a:buChar char="à"/>
        <a:defRPr sz="491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alibri Light" panose="020F0302020204030204" pitchFamily="34" charset="0"/>
        </a:defRPr>
      </a:lvl8pPr>
      <a:lvl9pPr marL="0" indent="0" algn="l" defTabSz="3207489" rtl="0" eaLnBrk="1" latinLnBrk="0" hangingPunct="1">
        <a:lnSpc>
          <a:spcPct val="12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9823" kern="1200">
          <a:solidFill>
            <a:schemeClr val="tx2"/>
          </a:solidFill>
          <a:latin typeface="+mj-lt"/>
          <a:ea typeface="+mn-ea"/>
          <a:cs typeface="Calibri Light" panose="020F0302020204030204" pitchFamily="34" charset="0"/>
        </a:defRPr>
      </a:lvl9pPr>
    </p:bodyStyle>
    <p:otherStyle>
      <a:defPPr>
        <a:defRPr lang="nl-NL"/>
      </a:defPPr>
      <a:lvl1pPr marL="0" algn="l" defTabSz="3207489" rtl="0" eaLnBrk="1" latinLnBrk="0" hangingPunct="1">
        <a:defRPr sz="6314" kern="1200">
          <a:solidFill>
            <a:schemeClr val="tx1"/>
          </a:solidFill>
          <a:latin typeface="+mn-lt"/>
          <a:ea typeface="+mn-ea"/>
          <a:cs typeface="+mn-cs"/>
        </a:defRPr>
      </a:lvl1pPr>
      <a:lvl2pPr marL="1603744" algn="l" defTabSz="3207489" rtl="0" eaLnBrk="1" latinLnBrk="0" hangingPunct="1">
        <a:defRPr sz="6314" kern="1200">
          <a:solidFill>
            <a:schemeClr val="tx1"/>
          </a:solidFill>
          <a:latin typeface="+mn-lt"/>
          <a:ea typeface="+mn-ea"/>
          <a:cs typeface="+mn-cs"/>
        </a:defRPr>
      </a:lvl2pPr>
      <a:lvl3pPr marL="3207489" algn="l" defTabSz="3207489" rtl="0" eaLnBrk="1" latinLnBrk="0" hangingPunct="1">
        <a:defRPr sz="6314" kern="1200">
          <a:solidFill>
            <a:schemeClr val="tx1"/>
          </a:solidFill>
          <a:latin typeface="+mn-lt"/>
          <a:ea typeface="+mn-ea"/>
          <a:cs typeface="+mn-cs"/>
        </a:defRPr>
      </a:lvl3pPr>
      <a:lvl4pPr marL="4811232" algn="l" defTabSz="3207489" rtl="0" eaLnBrk="1" latinLnBrk="0" hangingPunct="1">
        <a:defRPr sz="6314" kern="1200">
          <a:solidFill>
            <a:schemeClr val="tx1"/>
          </a:solidFill>
          <a:latin typeface="+mn-lt"/>
          <a:ea typeface="+mn-ea"/>
          <a:cs typeface="+mn-cs"/>
        </a:defRPr>
      </a:lvl4pPr>
      <a:lvl5pPr marL="6414978" algn="l" defTabSz="3207489" rtl="0" eaLnBrk="1" latinLnBrk="0" hangingPunct="1">
        <a:defRPr sz="6314" kern="1200">
          <a:solidFill>
            <a:schemeClr val="tx1"/>
          </a:solidFill>
          <a:latin typeface="+mn-lt"/>
          <a:ea typeface="+mn-ea"/>
          <a:cs typeface="+mn-cs"/>
        </a:defRPr>
      </a:lvl5pPr>
      <a:lvl6pPr marL="8018723" algn="l" defTabSz="3207489" rtl="0" eaLnBrk="1" latinLnBrk="0" hangingPunct="1">
        <a:defRPr sz="6314" kern="1200">
          <a:solidFill>
            <a:schemeClr val="tx1"/>
          </a:solidFill>
          <a:latin typeface="+mn-lt"/>
          <a:ea typeface="+mn-ea"/>
          <a:cs typeface="+mn-cs"/>
        </a:defRPr>
      </a:lvl6pPr>
      <a:lvl7pPr marL="9622466" algn="l" defTabSz="3207489" rtl="0" eaLnBrk="1" latinLnBrk="0" hangingPunct="1">
        <a:defRPr sz="6314" kern="1200">
          <a:solidFill>
            <a:schemeClr val="tx1"/>
          </a:solidFill>
          <a:latin typeface="+mn-lt"/>
          <a:ea typeface="+mn-ea"/>
          <a:cs typeface="+mn-cs"/>
        </a:defRPr>
      </a:lvl7pPr>
      <a:lvl8pPr marL="11226211" algn="l" defTabSz="3207489" rtl="0" eaLnBrk="1" latinLnBrk="0" hangingPunct="1">
        <a:defRPr sz="6314" kern="1200">
          <a:solidFill>
            <a:schemeClr val="tx1"/>
          </a:solidFill>
          <a:latin typeface="+mn-lt"/>
          <a:ea typeface="+mn-ea"/>
          <a:cs typeface="+mn-cs"/>
        </a:defRPr>
      </a:lvl8pPr>
      <a:lvl9pPr marL="12829955" algn="l" defTabSz="3207489" rtl="0" eaLnBrk="1" latinLnBrk="0" hangingPunct="1">
        <a:defRPr sz="631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png"/><Relationship Id="rId3" Type="http://schemas.openxmlformats.org/officeDocument/2006/relationships/slideLayout" Target="../slideLayouts/slideLayout103.xml"/><Relationship Id="rId7" Type="http://schemas.openxmlformats.org/officeDocument/2006/relationships/image" Target="../media/image24.png"/><Relationship Id="rId12" Type="http://schemas.openxmlformats.org/officeDocument/2006/relationships/image" Target="../media/image29.jpe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1.emf"/><Relationship Id="rId11" Type="http://schemas.openxmlformats.org/officeDocument/2006/relationships/image" Target="../media/image28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27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2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ige driehoek 5">
            <a:extLst>
              <a:ext uri="{FF2B5EF4-FFF2-40B4-BE49-F238E27FC236}">
                <a16:creationId xmlns:a16="http://schemas.microsoft.com/office/drawing/2014/main" id="{2F8FEEC2-9004-62A0-8CE7-D69A8EBA752C}"/>
              </a:ext>
            </a:extLst>
          </p:cNvPr>
          <p:cNvSpPr/>
          <p:nvPr/>
        </p:nvSpPr>
        <p:spPr>
          <a:xfrm>
            <a:off x="1" y="11333748"/>
            <a:ext cx="25529422" cy="14792931"/>
          </a:xfrm>
          <a:prstGeom prst="rtTriangle">
            <a:avLst/>
          </a:prstGeom>
          <a:solidFill>
            <a:srgbClr val="ACD0DF">
              <a:alpha val="4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 defTabSz="4276605">
              <a:defRPr/>
            </a:pPr>
            <a:endParaRPr lang="nl-NL" sz="8419">
              <a:solidFill>
                <a:srgbClr val="ACD0DF"/>
              </a:solidFill>
              <a:latin typeface="Arial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0E153C3-11CF-4FD9-BD9B-3C1E1E16B4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5571" y="3114888"/>
          <a:ext cx="5570" cy="55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0E153C3-11CF-4FD9-BD9B-3C1E1E16B4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571" y="3114888"/>
                        <a:ext cx="5570" cy="55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hoek 1" hidden="1">
            <a:extLst>
              <a:ext uri="{FF2B5EF4-FFF2-40B4-BE49-F238E27FC236}">
                <a16:creationId xmlns:a16="http://schemas.microsoft.com/office/drawing/2014/main" id="{8FCEAF1C-3AE3-40A1-9395-43719B87B43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3109317"/>
            <a:ext cx="556865" cy="5568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3207532">
              <a:defRPr/>
            </a:pPr>
            <a:endParaRPr lang="nl-NL" sz="9822">
              <a:solidFill>
                <a:prstClr val="white"/>
              </a:solidFill>
              <a:latin typeface="Microsoft JhengHei Light" panose="020B0304030504040204" pitchFamily="34" charset="-120"/>
              <a:cs typeface="Calibri Light" panose="020F0302020204030204" pitchFamily="34" charset="0"/>
              <a:sym typeface="Microsoft JhengHei Light" panose="020B0304030504040204" pitchFamily="34" charset="-120"/>
            </a:endParaRPr>
          </a:p>
        </p:txBody>
      </p:sp>
      <p:pic>
        <p:nvPicPr>
          <p:cNvPr id="34" name="Afbeelding 33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56027" y="5665329"/>
            <a:ext cx="35282981" cy="22625934"/>
          </a:xfrm>
          <a:prstGeom prst="rect">
            <a:avLst/>
          </a:prstGeom>
        </p:spPr>
      </p:pic>
      <p:pic>
        <p:nvPicPr>
          <p:cNvPr id="32" name="Afbeelding 31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99731" y="5665329"/>
            <a:ext cx="35282981" cy="22625934"/>
          </a:xfrm>
          <a:prstGeom prst="rect">
            <a:avLst/>
          </a:prstGeom>
        </p:spPr>
      </p:pic>
      <p:pic>
        <p:nvPicPr>
          <p:cNvPr id="9" name="Afbeelding 8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51253" y="5665332"/>
            <a:ext cx="35282981" cy="22625934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/>
              <a:t>Werking van het elektriciteitsnet: het benodigde vermogen bepaalt waar in het net je wordt aangesloten</a:t>
            </a:r>
          </a:p>
        </p:txBody>
      </p:sp>
      <p:pic>
        <p:nvPicPr>
          <p:cNvPr id="10" name="Afbeelding 9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51253" y="5665332"/>
            <a:ext cx="35282981" cy="22625934"/>
          </a:xfrm>
          <a:prstGeom prst="rect">
            <a:avLst/>
          </a:prstGeom>
        </p:spPr>
      </p:pic>
      <p:pic>
        <p:nvPicPr>
          <p:cNvPr id="12" name="Afbeelding 11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59575" y="9336424"/>
            <a:ext cx="9404154" cy="700621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3" name="Afbeelding 32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51253" y="5720189"/>
            <a:ext cx="35282981" cy="22625934"/>
          </a:xfrm>
          <a:prstGeom prst="rect">
            <a:avLst/>
          </a:prstGeom>
        </p:spPr>
      </p:pic>
      <p:grpSp>
        <p:nvGrpSpPr>
          <p:cNvPr id="31" name="Groep 30"/>
          <p:cNvGrpSpPr/>
          <p:nvPr/>
        </p:nvGrpSpPr>
        <p:grpSpPr>
          <a:xfrm>
            <a:off x="26175883" y="10336221"/>
            <a:ext cx="6998289" cy="6084476"/>
            <a:chOff x="7389371" y="2056182"/>
            <a:chExt cx="1995058" cy="1734550"/>
          </a:xfrm>
          <a:solidFill>
            <a:schemeClr val="bg2"/>
          </a:solidFill>
        </p:grpSpPr>
        <p:sp>
          <p:nvSpPr>
            <p:cNvPr id="17" name="Pijl-omlaag 16"/>
            <p:cNvSpPr/>
            <p:nvPr/>
          </p:nvSpPr>
          <p:spPr>
            <a:xfrm>
              <a:off x="7597659" y="2691181"/>
              <a:ext cx="427331" cy="1099551"/>
            </a:xfrm>
            <a:prstGeom prst="down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78844" tIns="378844" rIns="378844" bIns="378844" rtlCol="0" anchor="ctr"/>
            <a:lstStyle/>
            <a:p>
              <a:pPr algn="ctr" defTabSz="3207532">
                <a:defRPr/>
              </a:pPr>
              <a:endParaRPr lang="nl-NL" sz="4911">
                <a:solidFill>
                  <a:prstClr val="white"/>
                </a:solidFill>
                <a:latin typeface="Microsoft JhengHei Light"/>
              </a:endParaRPr>
            </a:p>
          </p:txBody>
        </p:sp>
        <p:sp>
          <p:nvSpPr>
            <p:cNvPr id="18" name="Afgeronde rechthoek 17"/>
            <p:cNvSpPr/>
            <p:nvPr/>
          </p:nvSpPr>
          <p:spPr>
            <a:xfrm>
              <a:off x="7389371" y="2056182"/>
              <a:ext cx="1995058" cy="635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78844" tIns="378844" rIns="378844" bIns="378844" rtlCol="0" anchor="ctr"/>
            <a:lstStyle/>
            <a:p>
              <a:pPr algn="ctr" defTabSz="3207532">
                <a:defRPr/>
              </a:pPr>
              <a:r>
                <a:rPr lang="nl-NL" sz="4911">
                  <a:solidFill>
                    <a:prstClr val="white"/>
                  </a:solidFill>
                  <a:latin typeface="Microsoft JhengHei Light"/>
                </a:rPr>
                <a:t>160 kW – 2 MW</a:t>
              </a:r>
            </a:p>
            <a:p>
              <a:pPr algn="ctr" defTabSz="3207532">
                <a:defRPr/>
              </a:pPr>
              <a:r>
                <a:rPr lang="nl-NL" sz="4911" err="1">
                  <a:solidFill>
                    <a:prstClr val="white"/>
                  </a:solidFill>
                  <a:latin typeface="Microsoft JhengHei Light"/>
                </a:rPr>
                <a:t>Middenspanningsnet</a:t>
              </a:r>
              <a:endParaRPr lang="nl-NL" sz="4911">
                <a:solidFill>
                  <a:prstClr val="white"/>
                </a:solidFill>
                <a:latin typeface="Microsoft JhengHei Light"/>
              </a:endParaRPr>
            </a:p>
          </p:txBody>
        </p:sp>
      </p:grpSp>
      <p:pic>
        <p:nvPicPr>
          <p:cNvPr id="15362" name="Picture 2" descr="Afbeeldingsresultaat voor hoogspanning station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0222" y="16071440"/>
            <a:ext cx="11242830" cy="748442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8" name="Rechthoek 27"/>
          <p:cNvSpPr/>
          <p:nvPr/>
        </p:nvSpPr>
        <p:spPr>
          <a:xfrm>
            <a:off x="31464848" y="19813651"/>
            <a:ext cx="9911314" cy="6313028"/>
          </a:xfrm>
          <a:prstGeom prst="rect">
            <a:avLst/>
          </a:prstGeom>
          <a:blipFill dpi="0" rotWithShape="1">
            <a:blip r:embed="rId13"/>
            <a:srcRect/>
            <a:stretch>
              <a:fillRect/>
            </a:stretch>
          </a:blipFill>
          <a:ln w="5715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78844" tIns="378844" rIns="378844" bIns="378844" rtlCol="0" anchor="ctr"/>
          <a:lstStyle/>
          <a:p>
            <a:pPr algn="ctr" defTabSz="3207532">
              <a:defRPr/>
            </a:pPr>
            <a:endParaRPr lang="nl-NL" sz="4911">
              <a:solidFill>
                <a:prstClr val="white"/>
              </a:solidFill>
              <a:latin typeface="Microsoft JhengHei Light"/>
            </a:endParaRPr>
          </a:p>
        </p:txBody>
      </p:sp>
      <p:grpSp>
        <p:nvGrpSpPr>
          <p:cNvPr id="27" name="Groep 26"/>
          <p:cNvGrpSpPr/>
          <p:nvPr/>
        </p:nvGrpSpPr>
        <p:grpSpPr>
          <a:xfrm>
            <a:off x="27499928" y="17595099"/>
            <a:ext cx="6548735" cy="6664563"/>
            <a:chOff x="7839623" y="4129577"/>
            <a:chExt cx="1866900" cy="1899920"/>
          </a:xfrm>
          <a:solidFill>
            <a:schemeClr val="bg2"/>
          </a:solidFill>
        </p:grpSpPr>
        <p:sp>
          <p:nvSpPr>
            <p:cNvPr id="13" name="Afgeronde rechthoek 12"/>
            <p:cNvSpPr/>
            <p:nvPr/>
          </p:nvSpPr>
          <p:spPr>
            <a:xfrm>
              <a:off x="7839623" y="5394497"/>
              <a:ext cx="1866900" cy="635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78844" tIns="378844" rIns="378844" bIns="378844" rtlCol="0" anchor="ctr"/>
            <a:lstStyle/>
            <a:p>
              <a:pPr algn="ctr" defTabSz="3207532">
                <a:defRPr/>
              </a:pPr>
              <a:r>
                <a:rPr lang="nl-NL" sz="4911">
                  <a:solidFill>
                    <a:prstClr val="white"/>
                  </a:solidFill>
                  <a:latin typeface="Microsoft JhengHei Light"/>
                </a:rPr>
                <a:t>0 – 55 kW </a:t>
              </a:r>
            </a:p>
            <a:p>
              <a:pPr algn="ctr" defTabSz="3207532">
                <a:defRPr/>
              </a:pPr>
              <a:r>
                <a:rPr lang="nl-NL" sz="4911">
                  <a:solidFill>
                    <a:prstClr val="white"/>
                  </a:solidFill>
                  <a:latin typeface="Microsoft JhengHei Light"/>
                </a:rPr>
                <a:t>Laagspanningsnet</a:t>
              </a:r>
            </a:p>
          </p:txBody>
        </p:sp>
        <p:sp>
          <p:nvSpPr>
            <p:cNvPr id="15" name="Pijl-omlaag 14"/>
            <p:cNvSpPr/>
            <p:nvPr/>
          </p:nvSpPr>
          <p:spPr>
            <a:xfrm rot="10800000">
              <a:off x="7973204" y="4129577"/>
              <a:ext cx="381000" cy="1264920"/>
            </a:xfrm>
            <a:prstGeom prst="down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78844" tIns="378844" rIns="378844" bIns="378844" rtlCol="0" anchor="ctr"/>
            <a:lstStyle/>
            <a:p>
              <a:pPr algn="ctr" defTabSz="3207532">
                <a:defRPr/>
              </a:pPr>
              <a:endParaRPr lang="nl-NL" sz="4911">
                <a:solidFill>
                  <a:prstClr val="white"/>
                </a:solidFill>
                <a:latin typeface="Microsoft JhengHei Light"/>
              </a:endParaRPr>
            </a:p>
          </p:txBody>
        </p:sp>
      </p:grpSp>
      <p:grpSp>
        <p:nvGrpSpPr>
          <p:cNvPr id="35" name="Groep 34"/>
          <p:cNvGrpSpPr/>
          <p:nvPr/>
        </p:nvGrpSpPr>
        <p:grpSpPr>
          <a:xfrm>
            <a:off x="9933786" y="10210652"/>
            <a:ext cx="4757713" cy="8047245"/>
            <a:chOff x="1065540" y="1595310"/>
            <a:chExt cx="1356319" cy="2294092"/>
          </a:xfrm>
          <a:solidFill>
            <a:schemeClr val="bg2"/>
          </a:solidFill>
        </p:grpSpPr>
        <p:sp>
          <p:nvSpPr>
            <p:cNvPr id="23" name="Afgeronde rechthoek 22"/>
            <p:cNvSpPr/>
            <p:nvPr/>
          </p:nvSpPr>
          <p:spPr>
            <a:xfrm>
              <a:off x="1065540" y="1595310"/>
              <a:ext cx="1356319" cy="635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78844" tIns="378844" rIns="378844" bIns="378844" rtlCol="0" anchor="ctr"/>
            <a:lstStyle/>
            <a:p>
              <a:pPr algn="ctr" defTabSz="3207532">
                <a:defRPr/>
              </a:pPr>
              <a:r>
                <a:rPr lang="nl-NL" sz="4911">
                  <a:solidFill>
                    <a:prstClr val="white"/>
                  </a:solidFill>
                  <a:latin typeface="Microsoft JhengHei Light"/>
                </a:rPr>
                <a:t>&gt;2 MW</a:t>
              </a:r>
            </a:p>
            <a:p>
              <a:pPr algn="ctr" defTabSz="3207532">
                <a:defRPr/>
              </a:pPr>
              <a:r>
                <a:rPr lang="nl-NL" sz="4911">
                  <a:solidFill>
                    <a:prstClr val="white"/>
                  </a:solidFill>
                  <a:latin typeface="Microsoft JhengHei Light"/>
                </a:rPr>
                <a:t>Onderstation </a:t>
              </a:r>
            </a:p>
          </p:txBody>
        </p:sp>
        <p:sp>
          <p:nvSpPr>
            <p:cNvPr id="22" name="Pijl-omlaag 21"/>
            <p:cNvSpPr/>
            <p:nvPr/>
          </p:nvSpPr>
          <p:spPr>
            <a:xfrm>
              <a:off x="1996875" y="2230310"/>
              <a:ext cx="381000" cy="1659092"/>
            </a:xfrm>
            <a:prstGeom prst="down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78844" tIns="378844" rIns="378844" bIns="378844" rtlCol="0" anchor="ctr"/>
            <a:lstStyle/>
            <a:p>
              <a:pPr algn="ctr" defTabSz="3207532">
                <a:defRPr/>
              </a:pPr>
              <a:endParaRPr lang="nl-NL" sz="4911">
                <a:solidFill>
                  <a:prstClr val="white"/>
                </a:solidFill>
                <a:latin typeface="Microsoft JhengHei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99874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3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53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5" dur="500"/>
                                        <p:tgtEl>
                                          <p:spTgt spid="1536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3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" name="Rechthoek 285">
            <a:extLst>
              <a:ext uri="{FF2B5EF4-FFF2-40B4-BE49-F238E27FC236}">
                <a16:creationId xmlns:a16="http://schemas.microsoft.com/office/drawing/2014/main" id="{05A50282-CB10-4452-A982-0055B7DCFEEB}"/>
              </a:ext>
            </a:extLst>
          </p:cNvPr>
          <p:cNvSpPr/>
          <p:nvPr/>
        </p:nvSpPr>
        <p:spPr>
          <a:xfrm>
            <a:off x="0" y="5497669"/>
            <a:ext cx="42767250" cy="23328584"/>
          </a:xfrm>
          <a:prstGeom prst="rect">
            <a:avLst/>
          </a:prstGeom>
          <a:solidFill>
            <a:srgbClr val="D2D5D5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78844" tIns="378844" rIns="378844" bIns="378844" rtlCol="0" anchor="ctr"/>
          <a:lstStyle/>
          <a:p>
            <a:pPr algn="ctr"/>
            <a:endParaRPr lang="nl-NL" sz="4911"/>
          </a:p>
        </p:txBody>
      </p:sp>
      <p:sp>
        <p:nvSpPr>
          <p:cNvPr id="223" name="Ovaal 222">
            <a:extLst>
              <a:ext uri="{FF2B5EF4-FFF2-40B4-BE49-F238E27FC236}">
                <a16:creationId xmlns:a16="http://schemas.microsoft.com/office/drawing/2014/main" id="{6D300019-81DC-45D7-BF73-C416E9CE9550}"/>
              </a:ext>
            </a:extLst>
          </p:cNvPr>
          <p:cNvSpPr/>
          <p:nvPr/>
        </p:nvSpPr>
        <p:spPr>
          <a:xfrm>
            <a:off x="19940487" y="24324714"/>
            <a:ext cx="616610" cy="57195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78844" tIns="378844" rIns="378844" bIns="378844" rtlCol="0" anchor="ctr"/>
          <a:lstStyle/>
          <a:p>
            <a:pPr algn="ctr"/>
            <a:endParaRPr lang="nl-NL" sz="4911"/>
          </a:p>
        </p:txBody>
      </p:sp>
      <p:sp>
        <p:nvSpPr>
          <p:cNvPr id="224" name="Ovaal 223">
            <a:extLst>
              <a:ext uri="{FF2B5EF4-FFF2-40B4-BE49-F238E27FC236}">
                <a16:creationId xmlns:a16="http://schemas.microsoft.com/office/drawing/2014/main" id="{8496A862-1E2F-41EA-9BFF-4FB208574056}"/>
              </a:ext>
            </a:extLst>
          </p:cNvPr>
          <p:cNvSpPr/>
          <p:nvPr/>
        </p:nvSpPr>
        <p:spPr>
          <a:xfrm>
            <a:off x="19955465" y="25070731"/>
            <a:ext cx="616610" cy="57195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78844" tIns="378844" rIns="378844" bIns="378844" rtlCol="0" anchor="ctr"/>
          <a:lstStyle/>
          <a:p>
            <a:pPr algn="ctr"/>
            <a:endParaRPr lang="nl-NL" sz="4911"/>
          </a:p>
        </p:txBody>
      </p:sp>
      <p:sp>
        <p:nvSpPr>
          <p:cNvPr id="225" name="Gelijkbenige driehoek 224">
            <a:extLst>
              <a:ext uri="{FF2B5EF4-FFF2-40B4-BE49-F238E27FC236}">
                <a16:creationId xmlns:a16="http://schemas.microsoft.com/office/drawing/2014/main" id="{186DF5E4-29D5-40C3-9135-5044B757B157}"/>
              </a:ext>
            </a:extLst>
          </p:cNvPr>
          <p:cNvSpPr/>
          <p:nvPr/>
        </p:nvSpPr>
        <p:spPr>
          <a:xfrm>
            <a:off x="15622178" y="26502260"/>
            <a:ext cx="402097" cy="372972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78844" tIns="378844" rIns="378844" bIns="378844" rtlCol="0" anchor="ctr"/>
          <a:lstStyle/>
          <a:p>
            <a:pPr algn="ctr"/>
            <a:endParaRPr lang="nl-NL" sz="4911"/>
          </a:p>
        </p:txBody>
      </p:sp>
      <p:sp>
        <p:nvSpPr>
          <p:cNvPr id="226" name="Ovaal 225">
            <a:extLst>
              <a:ext uri="{FF2B5EF4-FFF2-40B4-BE49-F238E27FC236}">
                <a16:creationId xmlns:a16="http://schemas.microsoft.com/office/drawing/2014/main" id="{47554291-C42B-4382-A446-51FF74FDFD0B}"/>
              </a:ext>
            </a:extLst>
          </p:cNvPr>
          <p:cNvSpPr/>
          <p:nvPr/>
        </p:nvSpPr>
        <p:spPr>
          <a:xfrm>
            <a:off x="15622178" y="25899829"/>
            <a:ext cx="402097" cy="3729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78844" tIns="378844" rIns="378844" bIns="378844" rtlCol="0" anchor="ctr"/>
          <a:lstStyle/>
          <a:p>
            <a:pPr algn="ctr"/>
            <a:endParaRPr lang="nl-NL" sz="4911"/>
          </a:p>
        </p:txBody>
      </p:sp>
      <p:sp>
        <p:nvSpPr>
          <p:cNvPr id="227" name="Ovaal 226">
            <a:extLst>
              <a:ext uri="{FF2B5EF4-FFF2-40B4-BE49-F238E27FC236}">
                <a16:creationId xmlns:a16="http://schemas.microsoft.com/office/drawing/2014/main" id="{815B580D-6506-442C-80CA-FC04992CA1D8}"/>
              </a:ext>
            </a:extLst>
          </p:cNvPr>
          <p:cNvSpPr/>
          <p:nvPr/>
        </p:nvSpPr>
        <p:spPr>
          <a:xfrm>
            <a:off x="15482080" y="25021292"/>
            <a:ext cx="668354" cy="619946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285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78844" tIns="378844" rIns="378844" bIns="378844" rtlCol="0" anchor="ctr"/>
          <a:lstStyle/>
          <a:p>
            <a:pPr algn="ctr"/>
            <a:endParaRPr lang="nl-NL" sz="4911"/>
          </a:p>
        </p:txBody>
      </p:sp>
      <p:sp>
        <p:nvSpPr>
          <p:cNvPr id="228" name="Tekstvak 227">
            <a:extLst>
              <a:ext uri="{FF2B5EF4-FFF2-40B4-BE49-F238E27FC236}">
                <a16:creationId xmlns:a16="http://schemas.microsoft.com/office/drawing/2014/main" id="{EFB05994-6C6B-435C-A1D1-FC68A7044F6E}"/>
              </a:ext>
            </a:extLst>
          </p:cNvPr>
          <p:cNvSpPr txBox="1"/>
          <p:nvPr/>
        </p:nvSpPr>
        <p:spPr>
          <a:xfrm>
            <a:off x="16213664" y="24932552"/>
            <a:ext cx="3225637" cy="5781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3157"/>
              <a:t>150kV station</a:t>
            </a:r>
          </a:p>
        </p:txBody>
      </p:sp>
      <p:sp>
        <p:nvSpPr>
          <p:cNvPr id="229" name="Tekstvak 228">
            <a:extLst>
              <a:ext uri="{FF2B5EF4-FFF2-40B4-BE49-F238E27FC236}">
                <a16:creationId xmlns:a16="http://schemas.microsoft.com/office/drawing/2014/main" id="{DDEE1494-2918-49FC-A859-8D285EC21D46}"/>
              </a:ext>
            </a:extLst>
          </p:cNvPr>
          <p:cNvSpPr txBox="1"/>
          <p:nvPr/>
        </p:nvSpPr>
        <p:spPr>
          <a:xfrm>
            <a:off x="16238780" y="25742491"/>
            <a:ext cx="3075250" cy="5781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3157"/>
              <a:t>50kV station</a:t>
            </a:r>
          </a:p>
        </p:txBody>
      </p:sp>
      <p:sp>
        <p:nvSpPr>
          <p:cNvPr id="230" name="Tekstvak 229">
            <a:extLst>
              <a:ext uri="{FF2B5EF4-FFF2-40B4-BE49-F238E27FC236}">
                <a16:creationId xmlns:a16="http://schemas.microsoft.com/office/drawing/2014/main" id="{B09B1303-3211-4050-BA97-0874AE072C83}"/>
              </a:ext>
            </a:extLst>
          </p:cNvPr>
          <p:cNvSpPr txBox="1"/>
          <p:nvPr/>
        </p:nvSpPr>
        <p:spPr>
          <a:xfrm>
            <a:off x="16262007" y="26357728"/>
            <a:ext cx="3712714" cy="5781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3157"/>
              <a:t>Regelstation</a:t>
            </a:r>
          </a:p>
        </p:txBody>
      </p:sp>
      <p:sp>
        <p:nvSpPr>
          <p:cNvPr id="231" name="Ruit 230">
            <a:extLst>
              <a:ext uri="{FF2B5EF4-FFF2-40B4-BE49-F238E27FC236}">
                <a16:creationId xmlns:a16="http://schemas.microsoft.com/office/drawing/2014/main" id="{8007834B-8B8F-4D90-AAD4-1B9AFF750F5D}"/>
              </a:ext>
            </a:extLst>
          </p:cNvPr>
          <p:cNvSpPr/>
          <p:nvPr/>
        </p:nvSpPr>
        <p:spPr>
          <a:xfrm>
            <a:off x="15622178" y="27099420"/>
            <a:ext cx="402097" cy="372972"/>
          </a:xfrm>
          <a:prstGeom prst="diamond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78844" tIns="378844" rIns="378844" bIns="378844" rtlCol="0" anchor="ctr"/>
          <a:lstStyle/>
          <a:p>
            <a:pPr algn="ctr"/>
            <a:endParaRPr lang="nl-NL" sz="4911"/>
          </a:p>
        </p:txBody>
      </p:sp>
      <p:sp>
        <p:nvSpPr>
          <p:cNvPr id="232" name="Tekstvak 231">
            <a:extLst>
              <a:ext uri="{FF2B5EF4-FFF2-40B4-BE49-F238E27FC236}">
                <a16:creationId xmlns:a16="http://schemas.microsoft.com/office/drawing/2014/main" id="{B2483128-D0AC-465E-B27C-1355E7A765E1}"/>
              </a:ext>
            </a:extLst>
          </p:cNvPr>
          <p:cNvSpPr txBox="1"/>
          <p:nvPr/>
        </p:nvSpPr>
        <p:spPr>
          <a:xfrm>
            <a:off x="16238785" y="26972962"/>
            <a:ext cx="3712714" cy="5781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3157"/>
              <a:t>Schakelstation</a:t>
            </a:r>
          </a:p>
        </p:txBody>
      </p:sp>
      <p:sp>
        <p:nvSpPr>
          <p:cNvPr id="233" name="Tekstvak 232">
            <a:extLst>
              <a:ext uri="{FF2B5EF4-FFF2-40B4-BE49-F238E27FC236}">
                <a16:creationId xmlns:a16="http://schemas.microsoft.com/office/drawing/2014/main" id="{3E518FB8-AF97-44CE-8A95-D94E1F2BFC12}"/>
              </a:ext>
            </a:extLst>
          </p:cNvPr>
          <p:cNvSpPr txBox="1"/>
          <p:nvPr/>
        </p:nvSpPr>
        <p:spPr>
          <a:xfrm>
            <a:off x="20557099" y="24207367"/>
            <a:ext cx="7127394" cy="5781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3157"/>
              <a:t>Uitbreiding </a:t>
            </a:r>
            <a:r>
              <a:rPr lang="nl-NL" sz="3157" err="1"/>
              <a:t>Liander</a:t>
            </a:r>
            <a:endParaRPr lang="nl-NL" sz="3157"/>
          </a:p>
        </p:txBody>
      </p:sp>
      <p:sp>
        <p:nvSpPr>
          <p:cNvPr id="234" name="Tekstvak 233">
            <a:extLst>
              <a:ext uri="{FF2B5EF4-FFF2-40B4-BE49-F238E27FC236}">
                <a16:creationId xmlns:a16="http://schemas.microsoft.com/office/drawing/2014/main" id="{6AA2E262-29D9-4644-B8E8-273DCF28B611}"/>
              </a:ext>
            </a:extLst>
          </p:cNvPr>
          <p:cNvSpPr txBox="1"/>
          <p:nvPr/>
        </p:nvSpPr>
        <p:spPr>
          <a:xfrm>
            <a:off x="20585351" y="24976682"/>
            <a:ext cx="7127394" cy="5781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3157"/>
              <a:t>Nieuwbouw Liander</a:t>
            </a:r>
          </a:p>
        </p:txBody>
      </p:sp>
      <p:grpSp>
        <p:nvGrpSpPr>
          <p:cNvPr id="424" name="Groep 423">
            <a:extLst>
              <a:ext uri="{FF2B5EF4-FFF2-40B4-BE49-F238E27FC236}">
                <a16:creationId xmlns:a16="http://schemas.microsoft.com/office/drawing/2014/main" id="{99896B01-D2D0-466E-907E-ABCF8A6A73AC}"/>
              </a:ext>
            </a:extLst>
          </p:cNvPr>
          <p:cNvGrpSpPr/>
          <p:nvPr/>
        </p:nvGrpSpPr>
        <p:grpSpPr>
          <a:xfrm>
            <a:off x="1683096" y="5772871"/>
            <a:ext cx="18625737" cy="22325389"/>
            <a:chOff x="1840669" y="1123036"/>
            <a:chExt cx="4238539" cy="5387773"/>
          </a:xfrm>
        </p:grpSpPr>
        <p:grpSp>
          <p:nvGrpSpPr>
            <p:cNvPr id="28" name="Groep 27">
              <a:extLst>
                <a:ext uri="{FF2B5EF4-FFF2-40B4-BE49-F238E27FC236}">
                  <a16:creationId xmlns:a16="http://schemas.microsoft.com/office/drawing/2014/main" id="{7D026044-6D75-4129-8368-DE6FC6E83C86}"/>
                </a:ext>
              </a:extLst>
            </p:cNvPr>
            <p:cNvGrpSpPr/>
            <p:nvPr/>
          </p:nvGrpSpPr>
          <p:grpSpPr>
            <a:xfrm>
              <a:off x="2113688" y="1123036"/>
              <a:ext cx="3186966" cy="5374223"/>
              <a:chOff x="1204716" y="1128714"/>
              <a:chExt cx="3186966" cy="5374223"/>
            </a:xfrm>
          </p:grpSpPr>
          <p:sp>
            <p:nvSpPr>
              <p:cNvPr id="5" name="Vrije vorm: vorm 4">
                <a:extLst>
                  <a:ext uri="{FF2B5EF4-FFF2-40B4-BE49-F238E27FC236}">
                    <a16:creationId xmlns:a16="http://schemas.microsoft.com/office/drawing/2014/main" id="{51E72D67-C25E-4A82-9688-379292D8BC3B}"/>
                  </a:ext>
                </a:extLst>
              </p:cNvPr>
              <p:cNvSpPr/>
              <p:nvPr/>
            </p:nvSpPr>
            <p:spPr>
              <a:xfrm>
                <a:off x="1512700" y="1128714"/>
                <a:ext cx="2201977" cy="3337747"/>
              </a:xfrm>
              <a:custGeom>
                <a:avLst/>
                <a:gdLst>
                  <a:gd name="connsiteX0" fmla="*/ 645160 w 1635760"/>
                  <a:gd name="connsiteY0" fmla="*/ 0 h 2580640"/>
                  <a:gd name="connsiteX1" fmla="*/ 645160 w 1635760"/>
                  <a:gd name="connsiteY1" fmla="*/ 0 h 2580640"/>
                  <a:gd name="connsiteX2" fmla="*/ 589280 w 1635760"/>
                  <a:gd name="connsiteY2" fmla="*/ 25400 h 2580640"/>
                  <a:gd name="connsiteX3" fmla="*/ 340360 w 1635760"/>
                  <a:gd name="connsiteY3" fmla="*/ 416560 h 2580640"/>
                  <a:gd name="connsiteX4" fmla="*/ 299720 w 1635760"/>
                  <a:gd name="connsiteY4" fmla="*/ 436880 h 2580640"/>
                  <a:gd name="connsiteX5" fmla="*/ 172720 w 1635760"/>
                  <a:gd name="connsiteY5" fmla="*/ 802640 h 2580640"/>
                  <a:gd name="connsiteX6" fmla="*/ 233680 w 1635760"/>
                  <a:gd name="connsiteY6" fmla="*/ 1041400 h 2580640"/>
                  <a:gd name="connsiteX7" fmla="*/ 243840 w 1635760"/>
                  <a:gd name="connsiteY7" fmla="*/ 1188720 h 2580640"/>
                  <a:gd name="connsiteX8" fmla="*/ 198120 w 1635760"/>
                  <a:gd name="connsiteY8" fmla="*/ 1254760 h 2580640"/>
                  <a:gd name="connsiteX9" fmla="*/ 193040 w 1635760"/>
                  <a:gd name="connsiteY9" fmla="*/ 1437640 h 2580640"/>
                  <a:gd name="connsiteX10" fmla="*/ 193040 w 1635760"/>
                  <a:gd name="connsiteY10" fmla="*/ 1584960 h 2580640"/>
                  <a:gd name="connsiteX11" fmla="*/ 0 w 1635760"/>
                  <a:gd name="connsiteY11" fmla="*/ 2250440 h 2580640"/>
                  <a:gd name="connsiteX12" fmla="*/ 198120 w 1635760"/>
                  <a:gd name="connsiteY12" fmla="*/ 2489200 h 2580640"/>
                  <a:gd name="connsiteX13" fmla="*/ 213360 w 1635760"/>
                  <a:gd name="connsiteY13" fmla="*/ 2534920 h 2580640"/>
                  <a:gd name="connsiteX14" fmla="*/ 243840 w 1635760"/>
                  <a:gd name="connsiteY14" fmla="*/ 2580640 h 2580640"/>
                  <a:gd name="connsiteX15" fmla="*/ 365760 w 1635760"/>
                  <a:gd name="connsiteY15" fmla="*/ 2545080 h 2580640"/>
                  <a:gd name="connsiteX16" fmla="*/ 396240 w 1635760"/>
                  <a:gd name="connsiteY16" fmla="*/ 2382520 h 2580640"/>
                  <a:gd name="connsiteX17" fmla="*/ 431800 w 1635760"/>
                  <a:gd name="connsiteY17" fmla="*/ 2392680 h 2580640"/>
                  <a:gd name="connsiteX18" fmla="*/ 431800 w 1635760"/>
                  <a:gd name="connsiteY18" fmla="*/ 2392680 h 2580640"/>
                  <a:gd name="connsiteX19" fmla="*/ 467360 w 1635760"/>
                  <a:gd name="connsiteY19" fmla="*/ 2438400 h 2580640"/>
                  <a:gd name="connsiteX20" fmla="*/ 477520 w 1635760"/>
                  <a:gd name="connsiteY20" fmla="*/ 2479040 h 2580640"/>
                  <a:gd name="connsiteX21" fmla="*/ 650240 w 1635760"/>
                  <a:gd name="connsiteY21" fmla="*/ 2423160 h 2580640"/>
                  <a:gd name="connsiteX22" fmla="*/ 772160 w 1635760"/>
                  <a:gd name="connsiteY22" fmla="*/ 2509520 h 2580640"/>
                  <a:gd name="connsiteX23" fmla="*/ 878840 w 1635760"/>
                  <a:gd name="connsiteY23" fmla="*/ 2331720 h 2580640"/>
                  <a:gd name="connsiteX24" fmla="*/ 894080 w 1635760"/>
                  <a:gd name="connsiteY24" fmla="*/ 2286000 h 2580640"/>
                  <a:gd name="connsiteX25" fmla="*/ 944880 w 1635760"/>
                  <a:gd name="connsiteY25" fmla="*/ 2260600 h 2580640"/>
                  <a:gd name="connsiteX26" fmla="*/ 980440 w 1635760"/>
                  <a:gd name="connsiteY26" fmla="*/ 2291080 h 2580640"/>
                  <a:gd name="connsiteX27" fmla="*/ 1198880 w 1635760"/>
                  <a:gd name="connsiteY27" fmla="*/ 2275840 h 2580640"/>
                  <a:gd name="connsiteX28" fmla="*/ 1295400 w 1635760"/>
                  <a:gd name="connsiteY28" fmla="*/ 2245360 h 2580640"/>
                  <a:gd name="connsiteX29" fmla="*/ 1325880 w 1635760"/>
                  <a:gd name="connsiteY29" fmla="*/ 2179320 h 2580640"/>
                  <a:gd name="connsiteX30" fmla="*/ 1432560 w 1635760"/>
                  <a:gd name="connsiteY30" fmla="*/ 2148840 h 2580640"/>
                  <a:gd name="connsiteX31" fmla="*/ 1452880 w 1635760"/>
                  <a:gd name="connsiteY31" fmla="*/ 1783080 h 2580640"/>
                  <a:gd name="connsiteX32" fmla="*/ 1254760 w 1635760"/>
                  <a:gd name="connsiteY32" fmla="*/ 1351280 h 2580640"/>
                  <a:gd name="connsiteX33" fmla="*/ 1254760 w 1635760"/>
                  <a:gd name="connsiteY33" fmla="*/ 1351280 h 2580640"/>
                  <a:gd name="connsiteX34" fmla="*/ 1635760 w 1635760"/>
                  <a:gd name="connsiteY34" fmla="*/ 985520 h 2580640"/>
                  <a:gd name="connsiteX35" fmla="*/ 1635760 w 1635760"/>
                  <a:gd name="connsiteY35" fmla="*/ 985520 h 2580640"/>
                  <a:gd name="connsiteX36" fmla="*/ 1224280 w 1635760"/>
                  <a:gd name="connsiteY36" fmla="*/ 1315720 h 2580640"/>
                  <a:gd name="connsiteX37" fmla="*/ 1178560 w 1635760"/>
                  <a:gd name="connsiteY37" fmla="*/ 1310640 h 2580640"/>
                  <a:gd name="connsiteX38" fmla="*/ 1148080 w 1635760"/>
                  <a:gd name="connsiteY38" fmla="*/ 1325880 h 2580640"/>
                  <a:gd name="connsiteX39" fmla="*/ 1148080 w 1635760"/>
                  <a:gd name="connsiteY39" fmla="*/ 1325880 h 2580640"/>
                  <a:gd name="connsiteX40" fmla="*/ 1000760 w 1635760"/>
                  <a:gd name="connsiteY40" fmla="*/ 1341120 h 2580640"/>
                  <a:gd name="connsiteX41" fmla="*/ 889000 w 1635760"/>
                  <a:gd name="connsiteY41" fmla="*/ 1488440 h 2580640"/>
                  <a:gd name="connsiteX42" fmla="*/ 777240 w 1635760"/>
                  <a:gd name="connsiteY42" fmla="*/ 1524000 h 2580640"/>
                  <a:gd name="connsiteX43" fmla="*/ 706120 w 1635760"/>
                  <a:gd name="connsiteY43" fmla="*/ 1549400 h 2580640"/>
                  <a:gd name="connsiteX44" fmla="*/ 492760 w 1635760"/>
                  <a:gd name="connsiteY44" fmla="*/ 1427480 h 2580640"/>
                  <a:gd name="connsiteX45" fmla="*/ 477520 w 1635760"/>
                  <a:gd name="connsiteY45" fmla="*/ 1386840 h 2580640"/>
                  <a:gd name="connsiteX46" fmla="*/ 462280 w 1635760"/>
                  <a:gd name="connsiteY46" fmla="*/ 1264920 h 2580640"/>
                  <a:gd name="connsiteX47" fmla="*/ 497840 w 1635760"/>
                  <a:gd name="connsiteY47" fmla="*/ 1173480 h 2580640"/>
                  <a:gd name="connsiteX48" fmla="*/ 457200 w 1635760"/>
                  <a:gd name="connsiteY48" fmla="*/ 1153160 h 2580640"/>
                  <a:gd name="connsiteX49" fmla="*/ 391160 w 1635760"/>
                  <a:gd name="connsiteY49" fmla="*/ 1158240 h 2580640"/>
                  <a:gd name="connsiteX50" fmla="*/ 248920 w 1635760"/>
                  <a:gd name="connsiteY50" fmla="*/ 1163320 h 2580640"/>
                  <a:gd name="connsiteX51" fmla="*/ 238760 w 1635760"/>
                  <a:gd name="connsiteY51" fmla="*/ 1016000 h 2580640"/>
                  <a:gd name="connsiteX52" fmla="*/ 340360 w 1635760"/>
                  <a:gd name="connsiteY52" fmla="*/ 995680 h 2580640"/>
                  <a:gd name="connsiteX53" fmla="*/ 467360 w 1635760"/>
                  <a:gd name="connsiteY53" fmla="*/ 949960 h 2580640"/>
                  <a:gd name="connsiteX54" fmla="*/ 487680 w 1635760"/>
                  <a:gd name="connsiteY54" fmla="*/ 883920 h 2580640"/>
                  <a:gd name="connsiteX55" fmla="*/ 533400 w 1635760"/>
                  <a:gd name="connsiteY55" fmla="*/ 802640 h 2580640"/>
                  <a:gd name="connsiteX56" fmla="*/ 604520 w 1635760"/>
                  <a:gd name="connsiteY56" fmla="*/ 807720 h 2580640"/>
                  <a:gd name="connsiteX57" fmla="*/ 706120 w 1635760"/>
                  <a:gd name="connsiteY57" fmla="*/ 680720 h 2580640"/>
                  <a:gd name="connsiteX58" fmla="*/ 721360 w 1635760"/>
                  <a:gd name="connsiteY58" fmla="*/ 624840 h 2580640"/>
                  <a:gd name="connsiteX59" fmla="*/ 762000 w 1635760"/>
                  <a:gd name="connsiteY59" fmla="*/ 563880 h 2580640"/>
                  <a:gd name="connsiteX60" fmla="*/ 792480 w 1635760"/>
                  <a:gd name="connsiteY60" fmla="*/ 304800 h 2580640"/>
                  <a:gd name="connsiteX61" fmla="*/ 812800 w 1635760"/>
                  <a:gd name="connsiteY61" fmla="*/ 269240 h 2580640"/>
                  <a:gd name="connsiteX62" fmla="*/ 751840 w 1635760"/>
                  <a:gd name="connsiteY62" fmla="*/ 142240 h 2580640"/>
                  <a:gd name="connsiteX63" fmla="*/ 721360 w 1635760"/>
                  <a:gd name="connsiteY63" fmla="*/ 132080 h 2580640"/>
                  <a:gd name="connsiteX64" fmla="*/ 716280 w 1635760"/>
                  <a:gd name="connsiteY64" fmla="*/ 71120 h 2580640"/>
                  <a:gd name="connsiteX65" fmla="*/ 645160 w 1635760"/>
                  <a:gd name="connsiteY65" fmla="*/ 0 h 2580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</a:cxnLst>
                <a:rect l="l" t="t" r="r" b="b"/>
                <a:pathLst>
                  <a:path w="1635760" h="2580640">
                    <a:moveTo>
                      <a:pt x="645160" y="0"/>
                    </a:moveTo>
                    <a:lnTo>
                      <a:pt x="645160" y="0"/>
                    </a:lnTo>
                    <a:cubicBezTo>
                      <a:pt x="596480" y="27045"/>
                      <a:pt x="616874" y="25400"/>
                      <a:pt x="589280" y="25400"/>
                    </a:cubicBezTo>
                    <a:lnTo>
                      <a:pt x="340360" y="416560"/>
                    </a:lnTo>
                    <a:lnTo>
                      <a:pt x="299720" y="436880"/>
                    </a:lnTo>
                    <a:lnTo>
                      <a:pt x="172720" y="802640"/>
                    </a:lnTo>
                    <a:lnTo>
                      <a:pt x="233680" y="1041400"/>
                    </a:lnTo>
                    <a:lnTo>
                      <a:pt x="243840" y="1188720"/>
                    </a:lnTo>
                    <a:lnTo>
                      <a:pt x="198120" y="1254760"/>
                    </a:lnTo>
                    <a:lnTo>
                      <a:pt x="193040" y="1437640"/>
                    </a:lnTo>
                    <a:lnTo>
                      <a:pt x="193040" y="1584960"/>
                    </a:lnTo>
                    <a:lnTo>
                      <a:pt x="0" y="2250440"/>
                    </a:lnTo>
                    <a:lnTo>
                      <a:pt x="198120" y="2489200"/>
                    </a:lnTo>
                    <a:lnTo>
                      <a:pt x="213360" y="2534920"/>
                    </a:lnTo>
                    <a:lnTo>
                      <a:pt x="243840" y="2580640"/>
                    </a:lnTo>
                    <a:lnTo>
                      <a:pt x="365760" y="2545080"/>
                    </a:lnTo>
                    <a:lnTo>
                      <a:pt x="396240" y="2382520"/>
                    </a:lnTo>
                    <a:lnTo>
                      <a:pt x="431800" y="2392680"/>
                    </a:lnTo>
                    <a:lnTo>
                      <a:pt x="431800" y="2392680"/>
                    </a:lnTo>
                    <a:lnTo>
                      <a:pt x="467360" y="2438400"/>
                    </a:lnTo>
                    <a:lnTo>
                      <a:pt x="477520" y="2479040"/>
                    </a:lnTo>
                    <a:lnTo>
                      <a:pt x="650240" y="2423160"/>
                    </a:lnTo>
                    <a:lnTo>
                      <a:pt x="772160" y="2509520"/>
                    </a:lnTo>
                    <a:lnTo>
                      <a:pt x="878840" y="2331720"/>
                    </a:lnTo>
                    <a:lnTo>
                      <a:pt x="894080" y="2286000"/>
                    </a:lnTo>
                    <a:lnTo>
                      <a:pt x="944880" y="2260600"/>
                    </a:lnTo>
                    <a:lnTo>
                      <a:pt x="980440" y="2291080"/>
                    </a:lnTo>
                    <a:lnTo>
                      <a:pt x="1198880" y="2275840"/>
                    </a:lnTo>
                    <a:lnTo>
                      <a:pt x="1295400" y="2245360"/>
                    </a:lnTo>
                    <a:lnTo>
                      <a:pt x="1325880" y="2179320"/>
                    </a:lnTo>
                    <a:lnTo>
                      <a:pt x="1432560" y="2148840"/>
                    </a:lnTo>
                    <a:lnTo>
                      <a:pt x="1452880" y="1783080"/>
                    </a:lnTo>
                    <a:lnTo>
                      <a:pt x="1254760" y="1351280"/>
                    </a:lnTo>
                    <a:lnTo>
                      <a:pt x="1254760" y="1351280"/>
                    </a:lnTo>
                    <a:lnTo>
                      <a:pt x="1635760" y="985520"/>
                    </a:lnTo>
                    <a:lnTo>
                      <a:pt x="1635760" y="985520"/>
                    </a:lnTo>
                    <a:lnTo>
                      <a:pt x="1224280" y="1315720"/>
                    </a:lnTo>
                    <a:lnTo>
                      <a:pt x="1178560" y="1310640"/>
                    </a:lnTo>
                    <a:lnTo>
                      <a:pt x="1148080" y="1325880"/>
                    </a:lnTo>
                    <a:lnTo>
                      <a:pt x="1148080" y="1325880"/>
                    </a:lnTo>
                    <a:lnTo>
                      <a:pt x="1000760" y="1341120"/>
                    </a:lnTo>
                    <a:lnTo>
                      <a:pt x="889000" y="1488440"/>
                    </a:lnTo>
                    <a:lnTo>
                      <a:pt x="777240" y="1524000"/>
                    </a:lnTo>
                    <a:lnTo>
                      <a:pt x="706120" y="1549400"/>
                    </a:lnTo>
                    <a:lnTo>
                      <a:pt x="492760" y="1427480"/>
                    </a:lnTo>
                    <a:lnTo>
                      <a:pt x="477520" y="1386840"/>
                    </a:lnTo>
                    <a:lnTo>
                      <a:pt x="462280" y="1264920"/>
                    </a:lnTo>
                    <a:lnTo>
                      <a:pt x="497840" y="1173480"/>
                    </a:lnTo>
                    <a:lnTo>
                      <a:pt x="457200" y="1153160"/>
                    </a:lnTo>
                    <a:lnTo>
                      <a:pt x="391160" y="1158240"/>
                    </a:lnTo>
                    <a:lnTo>
                      <a:pt x="248920" y="1163320"/>
                    </a:lnTo>
                    <a:lnTo>
                      <a:pt x="238760" y="1016000"/>
                    </a:lnTo>
                    <a:lnTo>
                      <a:pt x="340360" y="995680"/>
                    </a:lnTo>
                    <a:lnTo>
                      <a:pt x="467360" y="949960"/>
                    </a:lnTo>
                    <a:lnTo>
                      <a:pt x="487680" y="883920"/>
                    </a:lnTo>
                    <a:lnTo>
                      <a:pt x="533400" y="802640"/>
                    </a:lnTo>
                    <a:lnTo>
                      <a:pt x="604520" y="807720"/>
                    </a:lnTo>
                    <a:lnTo>
                      <a:pt x="706120" y="680720"/>
                    </a:lnTo>
                    <a:lnTo>
                      <a:pt x="721360" y="624840"/>
                    </a:lnTo>
                    <a:lnTo>
                      <a:pt x="762000" y="563880"/>
                    </a:lnTo>
                    <a:lnTo>
                      <a:pt x="792480" y="304800"/>
                    </a:lnTo>
                    <a:lnTo>
                      <a:pt x="812800" y="269240"/>
                    </a:lnTo>
                    <a:lnTo>
                      <a:pt x="751840" y="142240"/>
                    </a:lnTo>
                    <a:lnTo>
                      <a:pt x="721360" y="132080"/>
                    </a:lnTo>
                    <a:lnTo>
                      <a:pt x="716280" y="71120"/>
                    </a:lnTo>
                    <a:lnTo>
                      <a:pt x="645160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6" name="Vrije vorm: vorm 5">
                <a:extLst>
                  <a:ext uri="{FF2B5EF4-FFF2-40B4-BE49-F238E27FC236}">
                    <a16:creationId xmlns:a16="http://schemas.microsoft.com/office/drawing/2014/main" id="{91CE0333-3D11-4B8C-8921-64FA9F75B03E}"/>
                  </a:ext>
                </a:extLst>
              </p:cNvPr>
              <p:cNvSpPr/>
              <p:nvPr/>
            </p:nvSpPr>
            <p:spPr>
              <a:xfrm>
                <a:off x="2517950" y="4010608"/>
                <a:ext cx="1873732" cy="1222088"/>
              </a:xfrm>
              <a:custGeom>
                <a:avLst/>
                <a:gdLst>
                  <a:gd name="connsiteX0" fmla="*/ 111760 w 1391920"/>
                  <a:gd name="connsiteY0" fmla="*/ 360680 h 944880"/>
                  <a:gd name="connsiteX1" fmla="*/ 213360 w 1391920"/>
                  <a:gd name="connsiteY1" fmla="*/ 182880 h 944880"/>
                  <a:gd name="connsiteX2" fmla="*/ 223520 w 1391920"/>
                  <a:gd name="connsiteY2" fmla="*/ 137160 h 944880"/>
                  <a:gd name="connsiteX3" fmla="*/ 264160 w 1391920"/>
                  <a:gd name="connsiteY3" fmla="*/ 101600 h 944880"/>
                  <a:gd name="connsiteX4" fmla="*/ 304800 w 1391920"/>
                  <a:gd name="connsiteY4" fmla="*/ 116840 h 944880"/>
                  <a:gd name="connsiteX5" fmla="*/ 487680 w 1391920"/>
                  <a:gd name="connsiteY5" fmla="*/ 127000 h 944880"/>
                  <a:gd name="connsiteX6" fmla="*/ 629920 w 1391920"/>
                  <a:gd name="connsiteY6" fmla="*/ 91440 h 944880"/>
                  <a:gd name="connsiteX7" fmla="*/ 670560 w 1391920"/>
                  <a:gd name="connsiteY7" fmla="*/ 15240 h 944880"/>
                  <a:gd name="connsiteX8" fmla="*/ 777240 w 1391920"/>
                  <a:gd name="connsiteY8" fmla="*/ 0 h 944880"/>
                  <a:gd name="connsiteX9" fmla="*/ 802640 w 1391920"/>
                  <a:gd name="connsiteY9" fmla="*/ 35560 h 944880"/>
                  <a:gd name="connsiteX10" fmla="*/ 812800 w 1391920"/>
                  <a:gd name="connsiteY10" fmla="*/ 91440 h 944880"/>
                  <a:gd name="connsiteX11" fmla="*/ 899160 w 1391920"/>
                  <a:gd name="connsiteY11" fmla="*/ 172720 h 944880"/>
                  <a:gd name="connsiteX12" fmla="*/ 1000760 w 1391920"/>
                  <a:gd name="connsiteY12" fmla="*/ 187960 h 944880"/>
                  <a:gd name="connsiteX13" fmla="*/ 1046480 w 1391920"/>
                  <a:gd name="connsiteY13" fmla="*/ 106680 h 944880"/>
                  <a:gd name="connsiteX14" fmla="*/ 1122680 w 1391920"/>
                  <a:gd name="connsiteY14" fmla="*/ 111760 h 944880"/>
                  <a:gd name="connsiteX15" fmla="*/ 1270000 w 1391920"/>
                  <a:gd name="connsiteY15" fmla="*/ 106680 h 944880"/>
                  <a:gd name="connsiteX16" fmla="*/ 1341120 w 1391920"/>
                  <a:gd name="connsiteY16" fmla="*/ 187960 h 944880"/>
                  <a:gd name="connsiteX17" fmla="*/ 1341120 w 1391920"/>
                  <a:gd name="connsiteY17" fmla="*/ 309880 h 944880"/>
                  <a:gd name="connsiteX18" fmla="*/ 1391920 w 1391920"/>
                  <a:gd name="connsiteY18" fmla="*/ 360680 h 944880"/>
                  <a:gd name="connsiteX19" fmla="*/ 1336040 w 1391920"/>
                  <a:gd name="connsiteY19" fmla="*/ 447040 h 944880"/>
                  <a:gd name="connsiteX20" fmla="*/ 1295400 w 1391920"/>
                  <a:gd name="connsiteY20" fmla="*/ 467360 h 944880"/>
                  <a:gd name="connsiteX21" fmla="*/ 1203960 w 1391920"/>
                  <a:gd name="connsiteY21" fmla="*/ 467360 h 944880"/>
                  <a:gd name="connsiteX22" fmla="*/ 1178560 w 1391920"/>
                  <a:gd name="connsiteY22" fmla="*/ 624840 h 944880"/>
                  <a:gd name="connsiteX23" fmla="*/ 1148080 w 1391920"/>
                  <a:gd name="connsiteY23" fmla="*/ 655320 h 944880"/>
                  <a:gd name="connsiteX24" fmla="*/ 1071880 w 1391920"/>
                  <a:gd name="connsiteY24" fmla="*/ 670560 h 944880"/>
                  <a:gd name="connsiteX25" fmla="*/ 1056640 w 1391920"/>
                  <a:gd name="connsiteY25" fmla="*/ 721360 h 944880"/>
                  <a:gd name="connsiteX26" fmla="*/ 1005840 w 1391920"/>
                  <a:gd name="connsiteY26" fmla="*/ 726440 h 944880"/>
                  <a:gd name="connsiteX27" fmla="*/ 924560 w 1391920"/>
                  <a:gd name="connsiteY27" fmla="*/ 792480 h 944880"/>
                  <a:gd name="connsiteX28" fmla="*/ 833120 w 1391920"/>
                  <a:gd name="connsiteY28" fmla="*/ 812800 h 944880"/>
                  <a:gd name="connsiteX29" fmla="*/ 828040 w 1391920"/>
                  <a:gd name="connsiteY29" fmla="*/ 746760 h 944880"/>
                  <a:gd name="connsiteX30" fmla="*/ 731520 w 1391920"/>
                  <a:gd name="connsiteY30" fmla="*/ 726440 h 944880"/>
                  <a:gd name="connsiteX31" fmla="*/ 706120 w 1391920"/>
                  <a:gd name="connsiteY31" fmla="*/ 690880 h 944880"/>
                  <a:gd name="connsiteX32" fmla="*/ 670560 w 1391920"/>
                  <a:gd name="connsiteY32" fmla="*/ 716280 h 944880"/>
                  <a:gd name="connsiteX33" fmla="*/ 624840 w 1391920"/>
                  <a:gd name="connsiteY33" fmla="*/ 741680 h 944880"/>
                  <a:gd name="connsiteX34" fmla="*/ 574040 w 1391920"/>
                  <a:gd name="connsiteY34" fmla="*/ 695960 h 944880"/>
                  <a:gd name="connsiteX35" fmla="*/ 482600 w 1391920"/>
                  <a:gd name="connsiteY35" fmla="*/ 746760 h 944880"/>
                  <a:gd name="connsiteX36" fmla="*/ 482600 w 1391920"/>
                  <a:gd name="connsiteY36" fmla="*/ 838200 h 944880"/>
                  <a:gd name="connsiteX37" fmla="*/ 431800 w 1391920"/>
                  <a:gd name="connsiteY37" fmla="*/ 863600 h 944880"/>
                  <a:gd name="connsiteX38" fmla="*/ 447040 w 1391920"/>
                  <a:gd name="connsiteY38" fmla="*/ 909320 h 944880"/>
                  <a:gd name="connsiteX39" fmla="*/ 335280 w 1391920"/>
                  <a:gd name="connsiteY39" fmla="*/ 924560 h 944880"/>
                  <a:gd name="connsiteX40" fmla="*/ 259080 w 1391920"/>
                  <a:gd name="connsiteY40" fmla="*/ 944880 h 944880"/>
                  <a:gd name="connsiteX41" fmla="*/ 274320 w 1391920"/>
                  <a:gd name="connsiteY41" fmla="*/ 904240 h 944880"/>
                  <a:gd name="connsiteX42" fmla="*/ 304800 w 1391920"/>
                  <a:gd name="connsiteY42" fmla="*/ 889000 h 944880"/>
                  <a:gd name="connsiteX43" fmla="*/ 264160 w 1391920"/>
                  <a:gd name="connsiteY43" fmla="*/ 838200 h 944880"/>
                  <a:gd name="connsiteX44" fmla="*/ 213360 w 1391920"/>
                  <a:gd name="connsiteY44" fmla="*/ 868680 h 944880"/>
                  <a:gd name="connsiteX45" fmla="*/ 213360 w 1391920"/>
                  <a:gd name="connsiteY45" fmla="*/ 868680 h 944880"/>
                  <a:gd name="connsiteX46" fmla="*/ 172720 w 1391920"/>
                  <a:gd name="connsiteY46" fmla="*/ 848360 h 944880"/>
                  <a:gd name="connsiteX47" fmla="*/ 50800 w 1391920"/>
                  <a:gd name="connsiteY47" fmla="*/ 838200 h 944880"/>
                  <a:gd name="connsiteX48" fmla="*/ 66040 w 1391920"/>
                  <a:gd name="connsiteY48" fmla="*/ 751840 h 944880"/>
                  <a:gd name="connsiteX49" fmla="*/ 50800 w 1391920"/>
                  <a:gd name="connsiteY49" fmla="*/ 695960 h 944880"/>
                  <a:gd name="connsiteX50" fmla="*/ 0 w 1391920"/>
                  <a:gd name="connsiteY50" fmla="*/ 624840 h 944880"/>
                  <a:gd name="connsiteX51" fmla="*/ 25400 w 1391920"/>
                  <a:gd name="connsiteY51" fmla="*/ 558800 h 944880"/>
                  <a:gd name="connsiteX52" fmla="*/ 40640 w 1391920"/>
                  <a:gd name="connsiteY52" fmla="*/ 492760 h 944880"/>
                  <a:gd name="connsiteX53" fmla="*/ 40640 w 1391920"/>
                  <a:gd name="connsiteY53" fmla="*/ 447040 h 944880"/>
                  <a:gd name="connsiteX54" fmla="*/ 81280 w 1391920"/>
                  <a:gd name="connsiteY54" fmla="*/ 416560 h 944880"/>
                  <a:gd name="connsiteX55" fmla="*/ 111760 w 1391920"/>
                  <a:gd name="connsiteY55" fmla="*/ 360680 h 944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1391920" h="944880">
                    <a:moveTo>
                      <a:pt x="111760" y="360680"/>
                    </a:moveTo>
                    <a:lnTo>
                      <a:pt x="213360" y="182880"/>
                    </a:lnTo>
                    <a:lnTo>
                      <a:pt x="223520" y="137160"/>
                    </a:lnTo>
                    <a:lnTo>
                      <a:pt x="264160" y="101600"/>
                    </a:lnTo>
                    <a:lnTo>
                      <a:pt x="304800" y="116840"/>
                    </a:lnTo>
                    <a:lnTo>
                      <a:pt x="487680" y="127000"/>
                    </a:lnTo>
                    <a:lnTo>
                      <a:pt x="629920" y="91440"/>
                    </a:lnTo>
                    <a:lnTo>
                      <a:pt x="670560" y="15240"/>
                    </a:lnTo>
                    <a:lnTo>
                      <a:pt x="777240" y="0"/>
                    </a:lnTo>
                    <a:lnTo>
                      <a:pt x="802640" y="35560"/>
                    </a:lnTo>
                    <a:lnTo>
                      <a:pt x="812800" y="91440"/>
                    </a:lnTo>
                    <a:lnTo>
                      <a:pt x="899160" y="172720"/>
                    </a:lnTo>
                    <a:lnTo>
                      <a:pt x="1000760" y="187960"/>
                    </a:lnTo>
                    <a:lnTo>
                      <a:pt x="1046480" y="106680"/>
                    </a:lnTo>
                    <a:lnTo>
                      <a:pt x="1122680" y="111760"/>
                    </a:lnTo>
                    <a:lnTo>
                      <a:pt x="1270000" y="106680"/>
                    </a:lnTo>
                    <a:lnTo>
                      <a:pt x="1341120" y="187960"/>
                    </a:lnTo>
                    <a:lnTo>
                      <a:pt x="1341120" y="309880"/>
                    </a:lnTo>
                    <a:lnTo>
                      <a:pt x="1391920" y="360680"/>
                    </a:lnTo>
                    <a:lnTo>
                      <a:pt x="1336040" y="447040"/>
                    </a:lnTo>
                    <a:lnTo>
                      <a:pt x="1295400" y="467360"/>
                    </a:lnTo>
                    <a:lnTo>
                      <a:pt x="1203960" y="467360"/>
                    </a:lnTo>
                    <a:lnTo>
                      <a:pt x="1178560" y="624840"/>
                    </a:lnTo>
                    <a:lnTo>
                      <a:pt x="1148080" y="655320"/>
                    </a:lnTo>
                    <a:lnTo>
                      <a:pt x="1071880" y="670560"/>
                    </a:lnTo>
                    <a:lnTo>
                      <a:pt x="1056640" y="721360"/>
                    </a:lnTo>
                    <a:lnTo>
                      <a:pt x="1005840" y="726440"/>
                    </a:lnTo>
                    <a:lnTo>
                      <a:pt x="924560" y="792480"/>
                    </a:lnTo>
                    <a:lnTo>
                      <a:pt x="833120" y="812800"/>
                    </a:lnTo>
                    <a:lnTo>
                      <a:pt x="828040" y="746760"/>
                    </a:lnTo>
                    <a:lnTo>
                      <a:pt x="731520" y="726440"/>
                    </a:lnTo>
                    <a:lnTo>
                      <a:pt x="706120" y="690880"/>
                    </a:lnTo>
                    <a:lnTo>
                      <a:pt x="670560" y="716280"/>
                    </a:lnTo>
                    <a:lnTo>
                      <a:pt x="624840" y="741680"/>
                    </a:lnTo>
                    <a:lnTo>
                      <a:pt x="574040" y="695960"/>
                    </a:lnTo>
                    <a:lnTo>
                      <a:pt x="482600" y="746760"/>
                    </a:lnTo>
                    <a:lnTo>
                      <a:pt x="482600" y="838200"/>
                    </a:lnTo>
                    <a:lnTo>
                      <a:pt x="431800" y="863600"/>
                    </a:lnTo>
                    <a:lnTo>
                      <a:pt x="447040" y="909320"/>
                    </a:lnTo>
                    <a:lnTo>
                      <a:pt x="335280" y="924560"/>
                    </a:lnTo>
                    <a:lnTo>
                      <a:pt x="259080" y="944880"/>
                    </a:lnTo>
                    <a:lnTo>
                      <a:pt x="274320" y="904240"/>
                    </a:lnTo>
                    <a:lnTo>
                      <a:pt x="304800" y="889000"/>
                    </a:lnTo>
                    <a:lnTo>
                      <a:pt x="264160" y="838200"/>
                    </a:lnTo>
                    <a:lnTo>
                      <a:pt x="213360" y="868680"/>
                    </a:lnTo>
                    <a:lnTo>
                      <a:pt x="213360" y="868680"/>
                    </a:lnTo>
                    <a:lnTo>
                      <a:pt x="172720" y="848360"/>
                    </a:lnTo>
                    <a:lnTo>
                      <a:pt x="50800" y="838200"/>
                    </a:lnTo>
                    <a:lnTo>
                      <a:pt x="66040" y="751840"/>
                    </a:lnTo>
                    <a:lnTo>
                      <a:pt x="50800" y="695960"/>
                    </a:lnTo>
                    <a:lnTo>
                      <a:pt x="0" y="624840"/>
                    </a:lnTo>
                    <a:lnTo>
                      <a:pt x="25400" y="558800"/>
                    </a:lnTo>
                    <a:lnTo>
                      <a:pt x="40640" y="492760"/>
                    </a:lnTo>
                    <a:lnTo>
                      <a:pt x="40640" y="447040"/>
                    </a:lnTo>
                    <a:lnTo>
                      <a:pt x="81280" y="416560"/>
                    </a:lnTo>
                    <a:lnTo>
                      <a:pt x="111760" y="36068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7" name="Vrije vorm: vorm 6">
                <a:extLst>
                  <a:ext uri="{FF2B5EF4-FFF2-40B4-BE49-F238E27FC236}">
                    <a16:creationId xmlns:a16="http://schemas.microsoft.com/office/drawing/2014/main" id="{080EBA9B-5317-4C62-8BD9-E238C029A5BB}"/>
                  </a:ext>
                </a:extLst>
              </p:cNvPr>
              <p:cNvSpPr/>
              <p:nvPr/>
            </p:nvSpPr>
            <p:spPr>
              <a:xfrm>
                <a:off x="1204716" y="4183998"/>
                <a:ext cx="1477102" cy="1767429"/>
              </a:xfrm>
              <a:custGeom>
                <a:avLst/>
                <a:gdLst>
                  <a:gd name="connsiteX0" fmla="*/ 0 w 1097280"/>
                  <a:gd name="connsiteY0" fmla="*/ 1158240 h 1366520"/>
                  <a:gd name="connsiteX1" fmla="*/ 142240 w 1097280"/>
                  <a:gd name="connsiteY1" fmla="*/ 411480 h 1366520"/>
                  <a:gd name="connsiteX2" fmla="*/ 203200 w 1097280"/>
                  <a:gd name="connsiteY2" fmla="*/ 0 h 1366520"/>
                  <a:gd name="connsiteX3" fmla="*/ 472440 w 1097280"/>
                  <a:gd name="connsiteY3" fmla="*/ 325120 h 1366520"/>
                  <a:gd name="connsiteX4" fmla="*/ 599440 w 1097280"/>
                  <a:gd name="connsiteY4" fmla="*/ 299720 h 1366520"/>
                  <a:gd name="connsiteX5" fmla="*/ 624840 w 1097280"/>
                  <a:gd name="connsiteY5" fmla="*/ 132080 h 1366520"/>
                  <a:gd name="connsiteX6" fmla="*/ 645160 w 1097280"/>
                  <a:gd name="connsiteY6" fmla="*/ 132080 h 1366520"/>
                  <a:gd name="connsiteX7" fmla="*/ 706120 w 1097280"/>
                  <a:gd name="connsiteY7" fmla="*/ 223520 h 1366520"/>
                  <a:gd name="connsiteX8" fmla="*/ 868680 w 1097280"/>
                  <a:gd name="connsiteY8" fmla="*/ 172720 h 1366520"/>
                  <a:gd name="connsiteX9" fmla="*/ 995680 w 1097280"/>
                  <a:gd name="connsiteY9" fmla="*/ 269240 h 1366520"/>
                  <a:gd name="connsiteX10" fmla="*/ 944880 w 1097280"/>
                  <a:gd name="connsiteY10" fmla="*/ 320040 h 1366520"/>
                  <a:gd name="connsiteX11" fmla="*/ 919480 w 1097280"/>
                  <a:gd name="connsiteY11" fmla="*/ 340360 h 1366520"/>
                  <a:gd name="connsiteX12" fmla="*/ 889000 w 1097280"/>
                  <a:gd name="connsiteY12" fmla="*/ 518160 h 1366520"/>
                  <a:gd name="connsiteX13" fmla="*/ 955040 w 1097280"/>
                  <a:gd name="connsiteY13" fmla="*/ 609600 h 1366520"/>
                  <a:gd name="connsiteX14" fmla="*/ 939800 w 1097280"/>
                  <a:gd name="connsiteY14" fmla="*/ 736600 h 1366520"/>
                  <a:gd name="connsiteX15" fmla="*/ 1097280 w 1097280"/>
                  <a:gd name="connsiteY15" fmla="*/ 767080 h 1366520"/>
                  <a:gd name="connsiteX16" fmla="*/ 985520 w 1097280"/>
                  <a:gd name="connsiteY16" fmla="*/ 797560 h 1366520"/>
                  <a:gd name="connsiteX17" fmla="*/ 949960 w 1097280"/>
                  <a:gd name="connsiteY17" fmla="*/ 894080 h 1366520"/>
                  <a:gd name="connsiteX18" fmla="*/ 919480 w 1097280"/>
                  <a:gd name="connsiteY18" fmla="*/ 939800 h 1366520"/>
                  <a:gd name="connsiteX19" fmla="*/ 894080 w 1097280"/>
                  <a:gd name="connsiteY19" fmla="*/ 949960 h 1366520"/>
                  <a:gd name="connsiteX20" fmla="*/ 873760 w 1097280"/>
                  <a:gd name="connsiteY20" fmla="*/ 1041400 h 1366520"/>
                  <a:gd name="connsiteX21" fmla="*/ 817880 w 1097280"/>
                  <a:gd name="connsiteY21" fmla="*/ 1122680 h 1366520"/>
                  <a:gd name="connsiteX22" fmla="*/ 756920 w 1097280"/>
                  <a:gd name="connsiteY22" fmla="*/ 1137920 h 1366520"/>
                  <a:gd name="connsiteX23" fmla="*/ 721360 w 1097280"/>
                  <a:gd name="connsiteY23" fmla="*/ 1183640 h 1366520"/>
                  <a:gd name="connsiteX24" fmla="*/ 635000 w 1097280"/>
                  <a:gd name="connsiteY24" fmla="*/ 1249680 h 1366520"/>
                  <a:gd name="connsiteX25" fmla="*/ 518160 w 1097280"/>
                  <a:gd name="connsiteY25" fmla="*/ 1234440 h 1366520"/>
                  <a:gd name="connsiteX26" fmla="*/ 502920 w 1097280"/>
                  <a:gd name="connsiteY26" fmla="*/ 1249680 h 1366520"/>
                  <a:gd name="connsiteX27" fmla="*/ 518160 w 1097280"/>
                  <a:gd name="connsiteY27" fmla="*/ 1285240 h 1366520"/>
                  <a:gd name="connsiteX28" fmla="*/ 447040 w 1097280"/>
                  <a:gd name="connsiteY28" fmla="*/ 1366520 h 1366520"/>
                  <a:gd name="connsiteX29" fmla="*/ 406400 w 1097280"/>
                  <a:gd name="connsiteY29" fmla="*/ 1361440 h 1366520"/>
                  <a:gd name="connsiteX30" fmla="*/ 365760 w 1097280"/>
                  <a:gd name="connsiteY30" fmla="*/ 1300480 h 1366520"/>
                  <a:gd name="connsiteX31" fmla="*/ 350520 w 1097280"/>
                  <a:gd name="connsiteY31" fmla="*/ 1270000 h 1366520"/>
                  <a:gd name="connsiteX32" fmla="*/ 345440 w 1097280"/>
                  <a:gd name="connsiteY32" fmla="*/ 1178560 h 1366520"/>
                  <a:gd name="connsiteX33" fmla="*/ 0 w 1097280"/>
                  <a:gd name="connsiteY33" fmla="*/ 1158240 h 13665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097280" h="1366520">
                    <a:moveTo>
                      <a:pt x="0" y="1158240"/>
                    </a:moveTo>
                    <a:lnTo>
                      <a:pt x="142240" y="411480"/>
                    </a:lnTo>
                    <a:lnTo>
                      <a:pt x="203200" y="0"/>
                    </a:lnTo>
                    <a:lnTo>
                      <a:pt x="472440" y="325120"/>
                    </a:lnTo>
                    <a:lnTo>
                      <a:pt x="599440" y="299720"/>
                    </a:lnTo>
                    <a:lnTo>
                      <a:pt x="624840" y="132080"/>
                    </a:lnTo>
                    <a:lnTo>
                      <a:pt x="645160" y="132080"/>
                    </a:lnTo>
                    <a:lnTo>
                      <a:pt x="706120" y="223520"/>
                    </a:lnTo>
                    <a:lnTo>
                      <a:pt x="868680" y="172720"/>
                    </a:lnTo>
                    <a:lnTo>
                      <a:pt x="995680" y="269240"/>
                    </a:lnTo>
                    <a:lnTo>
                      <a:pt x="944880" y="320040"/>
                    </a:lnTo>
                    <a:lnTo>
                      <a:pt x="919480" y="340360"/>
                    </a:lnTo>
                    <a:lnTo>
                      <a:pt x="889000" y="518160"/>
                    </a:lnTo>
                    <a:lnTo>
                      <a:pt x="955040" y="609600"/>
                    </a:lnTo>
                    <a:lnTo>
                      <a:pt x="939800" y="736600"/>
                    </a:lnTo>
                    <a:lnTo>
                      <a:pt x="1097280" y="767080"/>
                    </a:lnTo>
                    <a:lnTo>
                      <a:pt x="985520" y="797560"/>
                    </a:lnTo>
                    <a:lnTo>
                      <a:pt x="949960" y="894080"/>
                    </a:lnTo>
                    <a:lnTo>
                      <a:pt x="919480" y="939800"/>
                    </a:lnTo>
                    <a:lnTo>
                      <a:pt x="894080" y="949960"/>
                    </a:lnTo>
                    <a:lnTo>
                      <a:pt x="873760" y="1041400"/>
                    </a:lnTo>
                    <a:lnTo>
                      <a:pt x="817880" y="1122680"/>
                    </a:lnTo>
                    <a:lnTo>
                      <a:pt x="756920" y="1137920"/>
                    </a:lnTo>
                    <a:lnTo>
                      <a:pt x="721360" y="1183640"/>
                    </a:lnTo>
                    <a:lnTo>
                      <a:pt x="635000" y="1249680"/>
                    </a:lnTo>
                    <a:lnTo>
                      <a:pt x="518160" y="1234440"/>
                    </a:lnTo>
                    <a:lnTo>
                      <a:pt x="502920" y="1249680"/>
                    </a:lnTo>
                    <a:lnTo>
                      <a:pt x="518160" y="1285240"/>
                    </a:lnTo>
                    <a:lnTo>
                      <a:pt x="447040" y="1366520"/>
                    </a:lnTo>
                    <a:lnTo>
                      <a:pt x="406400" y="1361440"/>
                    </a:lnTo>
                    <a:lnTo>
                      <a:pt x="365760" y="1300480"/>
                    </a:lnTo>
                    <a:lnTo>
                      <a:pt x="350520" y="1270000"/>
                    </a:lnTo>
                    <a:lnTo>
                      <a:pt x="345440" y="1178560"/>
                    </a:lnTo>
                    <a:lnTo>
                      <a:pt x="0" y="115824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8" name="Vrije vorm: vorm 7">
                <a:extLst>
                  <a:ext uri="{FF2B5EF4-FFF2-40B4-BE49-F238E27FC236}">
                    <a16:creationId xmlns:a16="http://schemas.microsoft.com/office/drawing/2014/main" id="{5E940389-A1FA-4661-901E-90CF0F50EAB8}"/>
                  </a:ext>
                </a:extLst>
              </p:cNvPr>
              <p:cNvSpPr/>
              <p:nvPr/>
            </p:nvSpPr>
            <p:spPr>
              <a:xfrm>
                <a:off x="1687080" y="5123160"/>
                <a:ext cx="1976308" cy="1379777"/>
              </a:xfrm>
              <a:custGeom>
                <a:avLst/>
                <a:gdLst>
                  <a:gd name="connsiteX0" fmla="*/ 0 w 1468120"/>
                  <a:gd name="connsiteY0" fmla="*/ 817880 h 1066800"/>
                  <a:gd name="connsiteX1" fmla="*/ 121920 w 1468120"/>
                  <a:gd name="connsiteY1" fmla="*/ 629920 h 1066800"/>
                  <a:gd name="connsiteX2" fmla="*/ 121920 w 1468120"/>
                  <a:gd name="connsiteY2" fmla="*/ 629920 h 1066800"/>
                  <a:gd name="connsiteX3" fmla="*/ 233680 w 1468120"/>
                  <a:gd name="connsiteY3" fmla="*/ 568960 h 1066800"/>
                  <a:gd name="connsiteX4" fmla="*/ 233680 w 1468120"/>
                  <a:gd name="connsiteY4" fmla="*/ 518160 h 1066800"/>
                  <a:gd name="connsiteX5" fmla="*/ 254000 w 1468120"/>
                  <a:gd name="connsiteY5" fmla="*/ 502920 h 1066800"/>
                  <a:gd name="connsiteX6" fmla="*/ 350520 w 1468120"/>
                  <a:gd name="connsiteY6" fmla="*/ 523240 h 1066800"/>
                  <a:gd name="connsiteX7" fmla="*/ 467360 w 1468120"/>
                  <a:gd name="connsiteY7" fmla="*/ 421640 h 1066800"/>
                  <a:gd name="connsiteX8" fmla="*/ 558800 w 1468120"/>
                  <a:gd name="connsiteY8" fmla="*/ 386080 h 1066800"/>
                  <a:gd name="connsiteX9" fmla="*/ 589280 w 1468120"/>
                  <a:gd name="connsiteY9" fmla="*/ 289560 h 1066800"/>
                  <a:gd name="connsiteX10" fmla="*/ 599440 w 1468120"/>
                  <a:gd name="connsiteY10" fmla="*/ 223520 h 1066800"/>
                  <a:gd name="connsiteX11" fmla="*/ 650240 w 1468120"/>
                  <a:gd name="connsiteY11" fmla="*/ 193040 h 1066800"/>
                  <a:gd name="connsiteX12" fmla="*/ 685800 w 1468120"/>
                  <a:gd name="connsiteY12" fmla="*/ 71120 h 1066800"/>
                  <a:gd name="connsiteX13" fmla="*/ 899160 w 1468120"/>
                  <a:gd name="connsiteY13" fmla="*/ 5080 h 1066800"/>
                  <a:gd name="connsiteX14" fmla="*/ 904240 w 1468120"/>
                  <a:gd name="connsiteY14" fmla="*/ 45720 h 1066800"/>
                  <a:gd name="connsiteX15" fmla="*/ 863600 w 1468120"/>
                  <a:gd name="connsiteY15" fmla="*/ 106680 h 1066800"/>
                  <a:gd name="connsiteX16" fmla="*/ 1061720 w 1468120"/>
                  <a:gd name="connsiteY16" fmla="*/ 81280 h 1066800"/>
                  <a:gd name="connsiteX17" fmla="*/ 1041400 w 1468120"/>
                  <a:gd name="connsiteY17" fmla="*/ 40640 h 1066800"/>
                  <a:gd name="connsiteX18" fmla="*/ 1092200 w 1468120"/>
                  <a:gd name="connsiteY18" fmla="*/ 0 h 1066800"/>
                  <a:gd name="connsiteX19" fmla="*/ 1132840 w 1468120"/>
                  <a:gd name="connsiteY19" fmla="*/ 198120 h 1066800"/>
                  <a:gd name="connsiteX20" fmla="*/ 1132840 w 1468120"/>
                  <a:gd name="connsiteY20" fmla="*/ 259080 h 1066800"/>
                  <a:gd name="connsiteX21" fmla="*/ 1183640 w 1468120"/>
                  <a:gd name="connsiteY21" fmla="*/ 284480 h 1066800"/>
                  <a:gd name="connsiteX22" fmla="*/ 1178560 w 1468120"/>
                  <a:gd name="connsiteY22" fmla="*/ 355600 h 1066800"/>
                  <a:gd name="connsiteX23" fmla="*/ 1214120 w 1468120"/>
                  <a:gd name="connsiteY23" fmla="*/ 406400 h 1066800"/>
                  <a:gd name="connsiteX24" fmla="*/ 1234440 w 1468120"/>
                  <a:gd name="connsiteY24" fmla="*/ 452120 h 1066800"/>
                  <a:gd name="connsiteX25" fmla="*/ 1310640 w 1468120"/>
                  <a:gd name="connsiteY25" fmla="*/ 568960 h 1066800"/>
                  <a:gd name="connsiteX26" fmla="*/ 1275080 w 1468120"/>
                  <a:gd name="connsiteY26" fmla="*/ 635000 h 1066800"/>
                  <a:gd name="connsiteX27" fmla="*/ 1219200 w 1468120"/>
                  <a:gd name="connsiteY27" fmla="*/ 660400 h 1066800"/>
                  <a:gd name="connsiteX28" fmla="*/ 1214120 w 1468120"/>
                  <a:gd name="connsiteY28" fmla="*/ 726440 h 1066800"/>
                  <a:gd name="connsiteX29" fmla="*/ 1254760 w 1468120"/>
                  <a:gd name="connsiteY29" fmla="*/ 762000 h 1066800"/>
                  <a:gd name="connsiteX30" fmla="*/ 1224280 w 1468120"/>
                  <a:gd name="connsiteY30" fmla="*/ 782320 h 1066800"/>
                  <a:gd name="connsiteX31" fmla="*/ 1137920 w 1468120"/>
                  <a:gd name="connsiteY31" fmla="*/ 782320 h 1066800"/>
                  <a:gd name="connsiteX32" fmla="*/ 1143000 w 1468120"/>
                  <a:gd name="connsiteY32" fmla="*/ 802640 h 1066800"/>
                  <a:gd name="connsiteX33" fmla="*/ 1209040 w 1468120"/>
                  <a:gd name="connsiteY33" fmla="*/ 802640 h 1066800"/>
                  <a:gd name="connsiteX34" fmla="*/ 1183640 w 1468120"/>
                  <a:gd name="connsiteY34" fmla="*/ 838200 h 1066800"/>
                  <a:gd name="connsiteX35" fmla="*/ 1183640 w 1468120"/>
                  <a:gd name="connsiteY35" fmla="*/ 899160 h 1066800"/>
                  <a:gd name="connsiteX36" fmla="*/ 1239520 w 1468120"/>
                  <a:gd name="connsiteY36" fmla="*/ 924560 h 1066800"/>
                  <a:gd name="connsiteX37" fmla="*/ 1305560 w 1468120"/>
                  <a:gd name="connsiteY37" fmla="*/ 919480 h 1066800"/>
                  <a:gd name="connsiteX38" fmla="*/ 1325880 w 1468120"/>
                  <a:gd name="connsiteY38" fmla="*/ 853440 h 1066800"/>
                  <a:gd name="connsiteX39" fmla="*/ 1356360 w 1468120"/>
                  <a:gd name="connsiteY39" fmla="*/ 762000 h 1066800"/>
                  <a:gd name="connsiteX40" fmla="*/ 1386840 w 1468120"/>
                  <a:gd name="connsiteY40" fmla="*/ 802640 h 1066800"/>
                  <a:gd name="connsiteX41" fmla="*/ 1468120 w 1468120"/>
                  <a:gd name="connsiteY41" fmla="*/ 807720 h 1066800"/>
                  <a:gd name="connsiteX42" fmla="*/ 1356360 w 1468120"/>
                  <a:gd name="connsiteY42" fmla="*/ 858520 h 1066800"/>
                  <a:gd name="connsiteX43" fmla="*/ 1320800 w 1468120"/>
                  <a:gd name="connsiteY43" fmla="*/ 883920 h 1066800"/>
                  <a:gd name="connsiteX44" fmla="*/ 1310640 w 1468120"/>
                  <a:gd name="connsiteY44" fmla="*/ 955040 h 1066800"/>
                  <a:gd name="connsiteX45" fmla="*/ 1264920 w 1468120"/>
                  <a:gd name="connsiteY45" fmla="*/ 970280 h 1066800"/>
                  <a:gd name="connsiteX46" fmla="*/ 1264920 w 1468120"/>
                  <a:gd name="connsiteY46" fmla="*/ 1016000 h 1066800"/>
                  <a:gd name="connsiteX47" fmla="*/ 1209040 w 1468120"/>
                  <a:gd name="connsiteY47" fmla="*/ 1066800 h 1066800"/>
                  <a:gd name="connsiteX48" fmla="*/ 1163320 w 1468120"/>
                  <a:gd name="connsiteY48" fmla="*/ 1061720 h 1066800"/>
                  <a:gd name="connsiteX49" fmla="*/ 1102360 w 1468120"/>
                  <a:gd name="connsiteY49" fmla="*/ 1026160 h 1066800"/>
                  <a:gd name="connsiteX50" fmla="*/ 1021080 w 1468120"/>
                  <a:gd name="connsiteY50" fmla="*/ 995680 h 1066800"/>
                  <a:gd name="connsiteX51" fmla="*/ 975360 w 1468120"/>
                  <a:gd name="connsiteY51" fmla="*/ 995680 h 1066800"/>
                  <a:gd name="connsiteX52" fmla="*/ 975360 w 1468120"/>
                  <a:gd name="connsiteY52" fmla="*/ 995680 h 1066800"/>
                  <a:gd name="connsiteX53" fmla="*/ 894080 w 1468120"/>
                  <a:gd name="connsiteY53" fmla="*/ 1010920 h 1066800"/>
                  <a:gd name="connsiteX54" fmla="*/ 863600 w 1468120"/>
                  <a:gd name="connsiteY54" fmla="*/ 1000760 h 1066800"/>
                  <a:gd name="connsiteX55" fmla="*/ 848360 w 1468120"/>
                  <a:gd name="connsiteY55" fmla="*/ 1051560 h 1066800"/>
                  <a:gd name="connsiteX56" fmla="*/ 797560 w 1468120"/>
                  <a:gd name="connsiteY56" fmla="*/ 1046480 h 1066800"/>
                  <a:gd name="connsiteX57" fmla="*/ 701040 w 1468120"/>
                  <a:gd name="connsiteY57" fmla="*/ 995680 h 1066800"/>
                  <a:gd name="connsiteX58" fmla="*/ 635000 w 1468120"/>
                  <a:gd name="connsiteY58" fmla="*/ 995680 h 1066800"/>
                  <a:gd name="connsiteX59" fmla="*/ 584200 w 1468120"/>
                  <a:gd name="connsiteY59" fmla="*/ 965200 h 1066800"/>
                  <a:gd name="connsiteX60" fmla="*/ 574040 w 1468120"/>
                  <a:gd name="connsiteY60" fmla="*/ 1026160 h 1066800"/>
                  <a:gd name="connsiteX61" fmla="*/ 345440 w 1468120"/>
                  <a:gd name="connsiteY61" fmla="*/ 975360 h 1066800"/>
                  <a:gd name="connsiteX62" fmla="*/ 172720 w 1468120"/>
                  <a:gd name="connsiteY62" fmla="*/ 955040 h 1066800"/>
                  <a:gd name="connsiteX63" fmla="*/ 0 w 1468120"/>
                  <a:gd name="connsiteY63" fmla="*/ 817880 h 1066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1468120" h="1066800">
                    <a:moveTo>
                      <a:pt x="0" y="817880"/>
                    </a:moveTo>
                    <a:lnTo>
                      <a:pt x="121920" y="629920"/>
                    </a:lnTo>
                    <a:lnTo>
                      <a:pt x="121920" y="629920"/>
                    </a:lnTo>
                    <a:lnTo>
                      <a:pt x="233680" y="568960"/>
                    </a:lnTo>
                    <a:lnTo>
                      <a:pt x="233680" y="518160"/>
                    </a:lnTo>
                    <a:lnTo>
                      <a:pt x="254000" y="502920"/>
                    </a:lnTo>
                    <a:lnTo>
                      <a:pt x="350520" y="523240"/>
                    </a:lnTo>
                    <a:lnTo>
                      <a:pt x="467360" y="421640"/>
                    </a:lnTo>
                    <a:lnTo>
                      <a:pt x="558800" y="386080"/>
                    </a:lnTo>
                    <a:lnTo>
                      <a:pt x="589280" y="289560"/>
                    </a:lnTo>
                    <a:lnTo>
                      <a:pt x="599440" y="223520"/>
                    </a:lnTo>
                    <a:lnTo>
                      <a:pt x="650240" y="193040"/>
                    </a:lnTo>
                    <a:lnTo>
                      <a:pt x="685800" y="71120"/>
                    </a:lnTo>
                    <a:lnTo>
                      <a:pt x="899160" y="5080"/>
                    </a:lnTo>
                    <a:lnTo>
                      <a:pt x="904240" y="45720"/>
                    </a:lnTo>
                    <a:lnTo>
                      <a:pt x="863600" y="106680"/>
                    </a:lnTo>
                    <a:lnTo>
                      <a:pt x="1061720" y="81280"/>
                    </a:lnTo>
                    <a:lnTo>
                      <a:pt x="1041400" y="40640"/>
                    </a:lnTo>
                    <a:lnTo>
                      <a:pt x="1092200" y="0"/>
                    </a:lnTo>
                    <a:lnTo>
                      <a:pt x="1132840" y="198120"/>
                    </a:lnTo>
                    <a:lnTo>
                      <a:pt x="1132840" y="259080"/>
                    </a:lnTo>
                    <a:lnTo>
                      <a:pt x="1183640" y="284480"/>
                    </a:lnTo>
                    <a:lnTo>
                      <a:pt x="1178560" y="355600"/>
                    </a:lnTo>
                    <a:lnTo>
                      <a:pt x="1214120" y="406400"/>
                    </a:lnTo>
                    <a:lnTo>
                      <a:pt x="1234440" y="452120"/>
                    </a:lnTo>
                    <a:lnTo>
                      <a:pt x="1310640" y="568960"/>
                    </a:lnTo>
                    <a:lnTo>
                      <a:pt x="1275080" y="635000"/>
                    </a:lnTo>
                    <a:lnTo>
                      <a:pt x="1219200" y="660400"/>
                    </a:lnTo>
                    <a:lnTo>
                      <a:pt x="1214120" y="726440"/>
                    </a:lnTo>
                    <a:lnTo>
                      <a:pt x="1254760" y="762000"/>
                    </a:lnTo>
                    <a:lnTo>
                      <a:pt x="1224280" y="782320"/>
                    </a:lnTo>
                    <a:lnTo>
                      <a:pt x="1137920" y="782320"/>
                    </a:lnTo>
                    <a:lnTo>
                      <a:pt x="1143000" y="802640"/>
                    </a:lnTo>
                    <a:lnTo>
                      <a:pt x="1209040" y="802640"/>
                    </a:lnTo>
                    <a:lnTo>
                      <a:pt x="1183640" y="838200"/>
                    </a:lnTo>
                    <a:lnTo>
                      <a:pt x="1183640" y="899160"/>
                    </a:lnTo>
                    <a:lnTo>
                      <a:pt x="1239520" y="924560"/>
                    </a:lnTo>
                    <a:lnTo>
                      <a:pt x="1305560" y="919480"/>
                    </a:lnTo>
                    <a:lnTo>
                      <a:pt x="1325880" y="853440"/>
                    </a:lnTo>
                    <a:lnTo>
                      <a:pt x="1356360" y="762000"/>
                    </a:lnTo>
                    <a:lnTo>
                      <a:pt x="1386840" y="802640"/>
                    </a:lnTo>
                    <a:lnTo>
                      <a:pt x="1468120" y="807720"/>
                    </a:lnTo>
                    <a:lnTo>
                      <a:pt x="1356360" y="858520"/>
                    </a:lnTo>
                    <a:lnTo>
                      <a:pt x="1320800" y="883920"/>
                    </a:lnTo>
                    <a:lnTo>
                      <a:pt x="1310640" y="955040"/>
                    </a:lnTo>
                    <a:lnTo>
                      <a:pt x="1264920" y="970280"/>
                    </a:lnTo>
                    <a:lnTo>
                      <a:pt x="1264920" y="1016000"/>
                    </a:lnTo>
                    <a:lnTo>
                      <a:pt x="1209040" y="1066800"/>
                    </a:lnTo>
                    <a:lnTo>
                      <a:pt x="1163320" y="1061720"/>
                    </a:lnTo>
                    <a:lnTo>
                      <a:pt x="1102360" y="1026160"/>
                    </a:lnTo>
                    <a:lnTo>
                      <a:pt x="1021080" y="995680"/>
                    </a:lnTo>
                    <a:lnTo>
                      <a:pt x="975360" y="995680"/>
                    </a:lnTo>
                    <a:lnTo>
                      <a:pt x="975360" y="995680"/>
                    </a:lnTo>
                    <a:lnTo>
                      <a:pt x="894080" y="1010920"/>
                    </a:lnTo>
                    <a:lnTo>
                      <a:pt x="863600" y="1000760"/>
                    </a:lnTo>
                    <a:lnTo>
                      <a:pt x="848360" y="1051560"/>
                    </a:lnTo>
                    <a:lnTo>
                      <a:pt x="797560" y="1046480"/>
                    </a:lnTo>
                    <a:lnTo>
                      <a:pt x="701040" y="995680"/>
                    </a:lnTo>
                    <a:lnTo>
                      <a:pt x="635000" y="995680"/>
                    </a:lnTo>
                    <a:lnTo>
                      <a:pt x="584200" y="965200"/>
                    </a:lnTo>
                    <a:lnTo>
                      <a:pt x="574040" y="1026160"/>
                    </a:lnTo>
                    <a:lnTo>
                      <a:pt x="345440" y="975360"/>
                    </a:lnTo>
                    <a:lnTo>
                      <a:pt x="172720" y="955040"/>
                    </a:lnTo>
                    <a:lnTo>
                      <a:pt x="0" y="81788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</p:grpSp>
        <p:sp>
          <p:nvSpPr>
            <p:cNvPr id="182" name="Ovaal 181">
              <a:extLst>
                <a:ext uri="{FF2B5EF4-FFF2-40B4-BE49-F238E27FC236}">
                  <a16:creationId xmlns:a16="http://schemas.microsoft.com/office/drawing/2014/main" id="{4ECA6C30-F949-4CCD-91A4-342155E53565}"/>
                </a:ext>
              </a:extLst>
            </p:cNvPr>
            <p:cNvSpPr/>
            <p:nvPr/>
          </p:nvSpPr>
          <p:spPr>
            <a:xfrm>
              <a:off x="3004022" y="2014032"/>
              <a:ext cx="89085" cy="94474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78844" tIns="378844" rIns="378844" bIns="378844" rtlCol="0" anchor="ctr"/>
            <a:lstStyle/>
            <a:p>
              <a:pPr algn="ctr"/>
              <a:endParaRPr lang="nl-NL" sz="3508"/>
            </a:p>
          </p:txBody>
        </p:sp>
        <p:sp>
          <p:nvSpPr>
            <p:cNvPr id="183" name="Tekstvak 182">
              <a:extLst>
                <a:ext uri="{FF2B5EF4-FFF2-40B4-BE49-F238E27FC236}">
                  <a16:creationId xmlns:a16="http://schemas.microsoft.com/office/drawing/2014/main" id="{63E17D94-49D1-42CF-9F25-513389CD7930}"/>
                </a:ext>
              </a:extLst>
            </p:cNvPr>
            <p:cNvSpPr txBox="1"/>
            <p:nvPr/>
          </p:nvSpPr>
          <p:spPr>
            <a:xfrm>
              <a:off x="3056154" y="1959824"/>
              <a:ext cx="1170638" cy="1525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l-NL" sz="3508"/>
                <a:t>Texel</a:t>
              </a:r>
            </a:p>
          </p:txBody>
        </p:sp>
        <p:sp>
          <p:nvSpPr>
            <p:cNvPr id="184" name="Gelijkbenige driehoek 183">
              <a:extLst>
                <a:ext uri="{FF2B5EF4-FFF2-40B4-BE49-F238E27FC236}">
                  <a16:creationId xmlns:a16="http://schemas.microsoft.com/office/drawing/2014/main" id="{0A7A6316-A44D-4957-8CC4-CFD1AEAC64AB}"/>
                </a:ext>
              </a:extLst>
            </p:cNvPr>
            <p:cNvSpPr/>
            <p:nvPr/>
          </p:nvSpPr>
          <p:spPr>
            <a:xfrm>
              <a:off x="3206742" y="1495036"/>
              <a:ext cx="89085" cy="94474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78844" tIns="378844" rIns="378844" bIns="378844" rtlCol="0" anchor="ctr"/>
            <a:lstStyle/>
            <a:p>
              <a:pPr algn="ctr"/>
              <a:endParaRPr lang="nl-NL" sz="3508"/>
            </a:p>
          </p:txBody>
        </p:sp>
        <p:sp>
          <p:nvSpPr>
            <p:cNvPr id="185" name="Tekstvak 184">
              <a:extLst>
                <a:ext uri="{FF2B5EF4-FFF2-40B4-BE49-F238E27FC236}">
                  <a16:creationId xmlns:a16="http://schemas.microsoft.com/office/drawing/2014/main" id="{992BC08B-803C-4079-B548-7DFD10B9AFA4}"/>
                </a:ext>
              </a:extLst>
            </p:cNvPr>
            <p:cNvSpPr txBox="1"/>
            <p:nvPr/>
          </p:nvSpPr>
          <p:spPr>
            <a:xfrm>
              <a:off x="3266763" y="1454342"/>
              <a:ext cx="1040084" cy="1525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l-NL" sz="3508">
                  <a:solidFill>
                    <a:srgbClr val="7030A0"/>
                  </a:solidFill>
                </a:rPr>
                <a:t>Zuid Eierland</a:t>
              </a:r>
            </a:p>
          </p:txBody>
        </p:sp>
        <p:grpSp>
          <p:nvGrpSpPr>
            <p:cNvPr id="220" name="Groep 219">
              <a:extLst>
                <a:ext uri="{FF2B5EF4-FFF2-40B4-BE49-F238E27FC236}">
                  <a16:creationId xmlns:a16="http://schemas.microsoft.com/office/drawing/2014/main" id="{1A92306D-4055-4A64-89E4-09F17B5D80AD}"/>
                </a:ext>
              </a:extLst>
            </p:cNvPr>
            <p:cNvGrpSpPr/>
            <p:nvPr/>
          </p:nvGrpSpPr>
          <p:grpSpPr>
            <a:xfrm>
              <a:off x="1906194" y="2567615"/>
              <a:ext cx="3255839" cy="1781239"/>
              <a:chOff x="1697084" y="2010962"/>
              <a:chExt cx="3927071" cy="2114003"/>
            </a:xfrm>
          </p:grpSpPr>
          <p:sp>
            <p:nvSpPr>
              <p:cNvPr id="186" name="Ovaal 185">
                <a:extLst>
                  <a:ext uri="{FF2B5EF4-FFF2-40B4-BE49-F238E27FC236}">
                    <a16:creationId xmlns:a16="http://schemas.microsoft.com/office/drawing/2014/main" id="{D368ED2C-D22A-4180-9566-3E0FA6C72F65}"/>
                  </a:ext>
                </a:extLst>
              </p:cNvPr>
              <p:cNvSpPr/>
              <p:nvPr/>
            </p:nvSpPr>
            <p:spPr>
              <a:xfrm>
                <a:off x="3084129" y="3437048"/>
                <a:ext cx="107451" cy="110603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187" name="Ovaal 186">
                <a:extLst>
                  <a:ext uri="{FF2B5EF4-FFF2-40B4-BE49-F238E27FC236}">
                    <a16:creationId xmlns:a16="http://schemas.microsoft.com/office/drawing/2014/main" id="{E09D3656-EDD3-443A-A1D4-A75218F9FEEE}"/>
                  </a:ext>
                </a:extLst>
              </p:cNvPr>
              <p:cNvSpPr/>
              <p:nvPr/>
            </p:nvSpPr>
            <p:spPr>
              <a:xfrm>
                <a:off x="4543389" y="3507547"/>
                <a:ext cx="107451" cy="110603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188" name="Ovaal 187">
                <a:extLst>
                  <a:ext uri="{FF2B5EF4-FFF2-40B4-BE49-F238E27FC236}">
                    <a16:creationId xmlns:a16="http://schemas.microsoft.com/office/drawing/2014/main" id="{1EA4B61B-40C1-4143-86A5-C0069947BA5B}"/>
                  </a:ext>
                </a:extLst>
              </p:cNvPr>
              <p:cNvSpPr/>
              <p:nvPr/>
            </p:nvSpPr>
            <p:spPr>
              <a:xfrm>
                <a:off x="4173862" y="3397560"/>
                <a:ext cx="107451" cy="110603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189" name="Gelijkbenige driehoek 188">
                <a:extLst>
                  <a:ext uri="{FF2B5EF4-FFF2-40B4-BE49-F238E27FC236}">
                    <a16:creationId xmlns:a16="http://schemas.microsoft.com/office/drawing/2014/main" id="{1AF1160E-BBF0-4BFA-B62E-AB2F7A8A1891}"/>
                  </a:ext>
                </a:extLst>
              </p:cNvPr>
              <p:cNvSpPr/>
              <p:nvPr/>
            </p:nvSpPr>
            <p:spPr>
              <a:xfrm>
                <a:off x="4119469" y="3058088"/>
                <a:ext cx="107451" cy="110603"/>
              </a:xfrm>
              <a:prstGeom prst="triangl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190" name="Ovaal 189">
                <a:extLst>
                  <a:ext uri="{FF2B5EF4-FFF2-40B4-BE49-F238E27FC236}">
                    <a16:creationId xmlns:a16="http://schemas.microsoft.com/office/drawing/2014/main" id="{B848FB8F-1E06-48A0-99D7-5117463E304F}"/>
                  </a:ext>
                </a:extLst>
              </p:cNvPr>
              <p:cNvSpPr/>
              <p:nvPr/>
            </p:nvSpPr>
            <p:spPr>
              <a:xfrm>
                <a:off x="3518641" y="2827290"/>
                <a:ext cx="107451" cy="110603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191" name="Ovaal 190">
                <a:extLst>
                  <a:ext uri="{FF2B5EF4-FFF2-40B4-BE49-F238E27FC236}">
                    <a16:creationId xmlns:a16="http://schemas.microsoft.com/office/drawing/2014/main" id="{D540BCF4-1521-414E-AD5E-9923ACB16CD0}"/>
                  </a:ext>
                </a:extLst>
              </p:cNvPr>
              <p:cNvSpPr/>
              <p:nvPr/>
            </p:nvSpPr>
            <p:spPr>
              <a:xfrm>
                <a:off x="2875437" y="2348923"/>
                <a:ext cx="107451" cy="110603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192" name="Tekstvak 191">
                <a:extLst>
                  <a:ext uri="{FF2B5EF4-FFF2-40B4-BE49-F238E27FC236}">
                    <a16:creationId xmlns:a16="http://schemas.microsoft.com/office/drawing/2014/main" id="{A23591B9-21E1-4835-BA60-1CB5F60864F5}"/>
                  </a:ext>
                </a:extLst>
              </p:cNvPr>
              <p:cNvSpPr txBox="1"/>
              <p:nvPr/>
            </p:nvSpPr>
            <p:spPr>
              <a:xfrm>
                <a:off x="4623375" y="3455774"/>
                <a:ext cx="1000780" cy="1810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chemeClr val="accent1"/>
                    </a:solidFill>
                  </a:rPr>
                  <a:t>Medemblik</a:t>
                </a:r>
              </a:p>
            </p:txBody>
          </p:sp>
          <p:sp>
            <p:nvSpPr>
              <p:cNvPr id="193" name="Tekstvak 192">
                <a:extLst>
                  <a:ext uri="{FF2B5EF4-FFF2-40B4-BE49-F238E27FC236}">
                    <a16:creationId xmlns:a16="http://schemas.microsoft.com/office/drawing/2014/main" id="{F2190E6C-EEAA-4DCF-9390-00DF52470F20}"/>
                  </a:ext>
                </a:extLst>
              </p:cNvPr>
              <p:cNvSpPr txBox="1"/>
              <p:nvPr/>
            </p:nvSpPr>
            <p:spPr>
              <a:xfrm>
                <a:off x="4185153" y="2998752"/>
                <a:ext cx="1000780" cy="1810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/>
                  <a:t>Wieringerwerf</a:t>
                </a:r>
              </a:p>
            </p:txBody>
          </p:sp>
          <p:sp>
            <p:nvSpPr>
              <p:cNvPr id="194" name="Tekstvak 193">
                <a:extLst>
                  <a:ext uri="{FF2B5EF4-FFF2-40B4-BE49-F238E27FC236}">
                    <a16:creationId xmlns:a16="http://schemas.microsoft.com/office/drawing/2014/main" id="{EA9DEAD6-1BBD-42B1-A51E-FE911286AD9A}"/>
                  </a:ext>
                </a:extLst>
              </p:cNvPr>
              <p:cNvSpPr txBox="1"/>
              <p:nvPr/>
            </p:nvSpPr>
            <p:spPr>
              <a:xfrm>
                <a:off x="4205268" y="3248845"/>
                <a:ext cx="1000780" cy="1810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/>
                  <a:t>Middenmeer</a:t>
                </a:r>
              </a:p>
            </p:txBody>
          </p:sp>
          <p:sp>
            <p:nvSpPr>
              <p:cNvPr id="195" name="Tekstvak 194">
                <a:extLst>
                  <a:ext uri="{FF2B5EF4-FFF2-40B4-BE49-F238E27FC236}">
                    <a16:creationId xmlns:a16="http://schemas.microsoft.com/office/drawing/2014/main" id="{A7D6C41F-252E-4712-B61F-97ACAF1F0383}"/>
                  </a:ext>
                </a:extLst>
              </p:cNvPr>
              <p:cNvSpPr txBox="1"/>
              <p:nvPr/>
            </p:nvSpPr>
            <p:spPr>
              <a:xfrm>
                <a:off x="3098559" y="2854975"/>
                <a:ext cx="1000780" cy="1810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 err="1"/>
                  <a:t>Ulkesluis</a:t>
                </a:r>
                <a:endParaRPr lang="nl-NL" sz="3508"/>
              </a:p>
            </p:txBody>
          </p:sp>
          <p:sp>
            <p:nvSpPr>
              <p:cNvPr id="196" name="Tekstvak 195">
                <a:extLst>
                  <a:ext uri="{FF2B5EF4-FFF2-40B4-BE49-F238E27FC236}">
                    <a16:creationId xmlns:a16="http://schemas.microsoft.com/office/drawing/2014/main" id="{F5B84025-02A8-475C-9849-90B3C02AA5E0}"/>
                  </a:ext>
                </a:extLst>
              </p:cNvPr>
              <p:cNvSpPr txBox="1"/>
              <p:nvPr/>
            </p:nvSpPr>
            <p:spPr>
              <a:xfrm>
                <a:off x="2613731" y="3265905"/>
                <a:ext cx="1000780" cy="1810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chemeClr val="accent1"/>
                    </a:solidFill>
                  </a:rPr>
                  <a:t>Schagen</a:t>
                </a:r>
              </a:p>
            </p:txBody>
          </p:sp>
          <p:sp>
            <p:nvSpPr>
              <p:cNvPr id="198" name="Tekstvak 197">
                <a:extLst>
                  <a:ext uri="{FF2B5EF4-FFF2-40B4-BE49-F238E27FC236}">
                    <a16:creationId xmlns:a16="http://schemas.microsoft.com/office/drawing/2014/main" id="{5E8AD7D2-0357-473D-AE7B-EAF5B1FDE45F}"/>
                  </a:ext>
                </a:extLst>
              </p:cNvPr>
              <p:cNvSpPr txBox="1"/>
              <p:nvPr/>
            </p:nvSpPr>
            <p:spPr>
              <a:xfrm>
                <a:off x="2941208" y="2316067"/>
                <a:ext cx="1177130" cy="1810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chemeClr val="accent1"/>
                    </a:solidFill>
                  </a:rPr>
                  <a:t>DH de </a:t>
                </a:r>
                <a:r>
                  <a:rPr lang="nl-NL" sz="3508" err="1">
                    <a:solidFill>
                      <a:schemeClr val="accent1"/>
                    </a:solidFill>
                  </a:rPr>
                  <a:t>Schooten</a:t>
                </a:r>
                <a:endParaRPr lang="nl-NL" sz="3508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99" name="Tekstvak 198">
                <a:extLst>
                  <a:ext uri="{FF2B5EF4-FFF2-40B4-BE49-F238E27FC236}">
                    <a16:creationId xmlns:a16="http://schemas.microsoft.com/office/drawing/2014/main" id="{06516C04-3DAD-42D6-A25C-E4CACFEE7AF0}"/>
                  </a:ext>
                </a:extLst>
              </p:cNvPr>
              <p:cNvSpPr txBox="1"/>
              <p:nvPr/>
            </p:nvSpPr>
            <p:spPr>
              <a:xfrm>
                <a:off x="2971102" y="2010962"/>
                <a:ext cx="1177130" cy="1810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/>
                  <a:t>DH Marine</a:t>
                </a:r>
              </a:p>
            </p:txBody>
          </p:sp>
          <p:sp>
            <p:nvSpPr>
              <p:cNvPr id="201" name="Ovaal 200">
                <a:extLst>
                  <a:ext uri="{FF2B5EF4-FFF2-40B4-BE49-F238E27FC236}">
                    <a16:creationId xmlns:a16="http://schemas.microsoft.com/office/drawing/2014/main" id="{2DD28D11-E514-4919-8DB6-104C476B3463}"/>
                  </a:ext>
                </a:extLst>
              </p:cNvPr>
              <p:cNvSpPr/>
              <p:nvPr/>
            </p:nvSpPr>
            <p:spPr>
              <a:xfrm>
                <a:off x="2697513" y="4004757"/>
                <a:ext cx="107451" cy="110603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204" name="Ovaal 203">
                <a:extLst>
                  <a:ext uri="{FF2B5EF4-FFF2-40B4-BE49-F238E27FC236}">
                    <a16:creationId xmlns:a16="http://schemas.microsoft.com/office/drawing/2014/main" id="{ACA03F06-AC29-4417-81EE-1AA631FDFA9C}"/>
                  </a:ext>
                </a:extLst>
              </p:cNvPr>
              <p:cNvSpPr/>
              <p:nvPr/>
            </p:nvSpPr>
            <p:spPr>
              <a:xfrm>
                <a:off x="2881579" y="2655263"/>
                <a:ext cx="173308" cy="180842"/>
              </a:xfrm>
              <a:prstGeom prst="ellipse">
                <a:avLst/>
              </a:prstGeom>
              <a:solidFill>
                <a:schemeClr val="accent1"/>
              </a:solidFill>
              <a:ln w="285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205" name="Ovaal 204">
                <a:extLst>
                  <a:ext uri="{FF2B5EF4-FFF2-40B4-BE49-F238E27FC236}">
                    <a16:creationId xmlns:a16="http://schemas.microsoft.com/office/drawing/2014/main" id="{55B7C1EC-738D-49E2-8069-A34F252BC9EF}"/>
                  </a:ext>
                </a:extLst>
              </p:cNvPr>
              <p:cNvSpPr/>
              <p:nvPr/>
            </p:nvSpPr>
            <p:spPr>
              <a:xfrm>
                <a:off x="3254622" y="3944123"/>
                <a:ext cx="173308" cy="180842"/>
              </a:xfrm>
              <a:prstGeom prst="ellipse">
                <a:avLst/>
              </a:prstGeom>
              <a:solidFill>
                <a:schemeClr val="accent1"/>
              </a:solidFill>
              <a:ln w="2857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206" name="Ovaal 205">
                <a:extLst>
                  <a:ext uri="{FF2B5EF4-FFF2-40B4-BE49-F238E27FC236}">
                    <a16:creationId xmlns:a16="http://schemas.microsoft.com/office/drawing/2014/main" id="{83280619-5844-4C09-AA3E-1B41A5D6904E}"/>
                  </a:ext>
                </a:extLst>
              </p:cNvPr>
              <p:cNvSpPr/>
              <p:nvPr/>
            </p:nvSpPr>
            <p:spPr>
              <a:xfrm>
                <a:off x="2852282" y="2164638"/>
                <a:ext cx="107451" cy="112122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208" name="Tekstvak 207">
                <a:extLst>
                  <a:ext uri="{FF2B5EF4-FFF2-40B4-BE49-F238E27FC236}">
                    <a16:creationId xmlns:a16="http://schemas.microsoft.com/office/drawing/2014/main" id="{5971C77F-B620-4451-BA1C-FC84C47062AA}"/>
                  </a:ext>
                </a:extLst>
              </p:cNvPr>
              <p:cNvSpPr txBox="1"/>
              <p:nvPr/>
            </p:nvSpPr>
            <p:spPr>
              <a:xfrm>
                <a:off x="2449977" y="2650685"/>
                <a:ext cx="918917" cy="1810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chemeClr val="accent1"/>
                    </a:solidFill>
                  </a:rPr>
                  <a:t>Anna Paulowna</a:t>
                </a:r>
              </a:p>
            </p:txBody>
          </p:sp>
          <p:sp>
            <p:nvSpPr>
              <p:cNvPr id="209" name="Tekstvak 208">
                <a:extLst>
                  <a:ext uri="{FF2B5EF4-FFF2-40B4-BE49-F238E27FC236}">
                    <a16:creationId xmlns:a16="http://schemas.microsoft.com/office/drawing/2014/main" id="{DDA0330F-5B21-4BFA-9FA5-8D991D3834C5}"/>
                  </a:ext>
                </a:extLst>
              </p:cNvPr>
              <p:cNvSpPr txBox="1"/>
              <p:nvPr/>
            </p:nvSpPr>
            <p:spPr>
              <a:xfrm>
                <a:off x="1968768" y="2125095"/>
                <a:ext cx="991525" cy="1810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/>
                  <a:t>DH Vogelwijk</a:t>
                </a:r>
              </a:p>
            </p:txBody>
          </p:sp>
          <p:sp>
            <p:nvSpPr>
              <p:cNvPr id="210" name="Tekstvak 209">
                <a:extLst>
                  <a:ext uri="{FF2B5EF4-FFF2-40B4-BE49-F238E27FC236}">
                    <a16:creationId xmlns:a16="http://schemas.microsoft.com/office/drawing/2014/main" id="{8A64D7D1-44E9-437D-8DDB-43A1B68E95C0}"/>
                  </a:ext>
                </a:extLst>
              </p:cNvPr>
              <p:cNvSpPr txBox="1"/>
              <p:nvPr/>
            </p:nvSpPr>
            <p:spPr>
              <a:xfrm>
                <a:off x="2815609" y="3730414"/>
                <a:ext cx="1000780" cy="1810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chemeClr val="accent1"/>
                    </a:solidFill>
                  </a:rPr>
                  <a:t>De Weel</a:t>
                </a:r>
              </a:p>
            </p:txBody>
          </p:sp>
          <p:sp>
            <p:nvSpPr>
              <p:cNvPr id="215" name="Gelijkbenige driehoek 214">
                <a:extLst>
                  <a:ext uri="{FF2B5EF4-FFF2-40B4-BE49-F238E27FC236}">
                    <a16:creationId xmlns:a16="http://schemas.microsoft.com/office/drawing/2014/main" id="{34E60B72-2E83-44CF-8701-2337A5881BE9}"/>
                  </a:ext>
                </a:extLst>
              </p:cNvPr>
              <p:cNvSpPr/>
              <p:nvPr/>
            </p:nvSpPr>
            <p:spPr>
              <a:xfrm>
                <a:off x="2516360" y="3498439"/>
                <a:ext cx="107451" cy="110603"/>
              </a:xfrm>
              <a:prstGeom prst="triangl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216" name="Tekstvak 215">
                <a:extLst>
                  <a:ext uri="{FF2B5EF4-FFF2-40B4-BE49-F238E27FC236}">
                    <a16:creationId xmlns:a16="http://schemas.microsoft.com/office/drawing/2014/main" id="{01E5C660-166E-423D-8F51-9C2A14F672BC}"/>
                  </a:ext>
                </a:extLst>
              </p:cNvPr>
              <p:cNvSpPr txBox="1"/>
              <p:nvPr/>
            </p:nvSpPr>
            <p:spPr>
              <a:xfrm>
                <a:off x="1697084" y="3416625"/>
                <a:ext cx="886061" cy="1810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rgbClr val="7030A0"/>
                    </a:solidFill>
                  </a:rPr>
                  <a:t>Sint Maarten</a:t>
                </a:r>
              </a:p>
            </p:txBody>
          </p:sp>
          <p:sp>
            <p:nvSpPr>
              <p:cNvPr id="217" name="Ovaal 216">
                <a:extLst>
                  <a:ext uri="{FF2B5EF4-FFF2-40B4-BE49-F238E27FC236}">
                    <a16:creationId xmlns:a16="http://schemas.microsoft.com/office/drawing/2014/main" id="{5D13296B-CF76-4EFB-88DF-0022EDD8CE71}"/>
                  </a:ext>
                </a:extLst>
              </p:cNvPr>
              <p:cNvSpPr/>
              <p:nvPr/>
            </p:nvSpPr>
            <p:spPr>
              <a:xfrm>
                <a:off x="3791355" y="2894894"/>
                <a:ext cx="173308" cy="180842"/>
              </a:xfrm>
              <a:prstGeom prst="ellipse">
                <a:avLst/>
              </a:prstGeom>
              <a:solidFill>
                <a:schemeClr val="accent2"/>
              </a:solidFill>
              <a:ln w="285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218" name="Tekstvak 217">
                <a:extLst>
                  <a:ext uri="{FF2B5EF4-FFF2-40B4-BE49-F238E27FC236}">
                    <a16:creationId xmlns:a16="http://schemas.microsoft.com/office/drawing/2014/main" id="{21DEDF6D-FE68-4D97-B05D-0A1B02C0463A}"/>
                  </a:ext>
                </a:extLst>
              </p:cNvPr>
              <p:cNvSpPr txBox="1"/>
              <p:nvPr/>
            </p:nvSpPr>
            <p:spPr>
              <a:xfrm>
                <a:off x="3985401" y="2848948"/>
                <a:ext cx="1040084" cy="1810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rgbClr val="7030A0"/>
                    </a:solidFill>
                  </a:rPr>
                  <a:t>Hollands Kroon</a:t>
                </a:r>
              </a:p>
            </p:txBody>
          </p:sp>
          <p:sp>
            <p:nvSpPr>
              <p:cNvPr id="219" name="Ovaal 218">
                <a:extLst>
                  <a:ext uri="{FF2B5EF4-FFF2-40B4-BE49-F238E27FC236}">
                    <a16:creationId xmlns:a16="http://schemas.microsoft.com/office/drawing/2014/main" id="{ED59CDD4-FFA8-4B88-9EA5-DE04BC7930D5}"/>
                  </a:ext>
                </a:extLst>
              </p:cNvPr>
              <p:cNvSpPr/>
              <p:nvPr/>
            </p:nvSpPr>
            <p:spPr>
              <a:xfrm>
                <a:off x="2914366" y="2101739"/>
                <a:ext cx="107451" cy="112122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</p:grpSp>
        <p:sp>
          <p:nvSpPr>
            <p:cNvPr id="221" name="Tekstvak 220">
              <a:extLst>
                <a:ext uri="{FF2B5EF4-FFF2-40B4-BE49-F238E27FC236}">
                  <a16:creationId xmlns:a16="http://schemas.microsoft.com/office/drawing/2014/main" id="{083A438B-7A02-4A22-BA21-B851D153AAFF}"/>
                </a:ext>
              </a:extLst>
            </p:cNvPr>
            <p:cNvSpPr txBox="1"/>
            <p:nvPr/>
          </p:nvSpPr>
          <p:spPr>
            <a:xfrm>
              <a:off x="2113411" y="4053771"/>
              <a:ext cx="981289" cy="1525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l-NL" sz="3508">
                  <a:solidFill>
                    <a:schemeClr val="accent1"/>
                  </a:solidFill>
                </a:rPr>
                <a:t>Warmenhuizen</a:t>
              </a:r>
            </a:p>
          </p:txBody>
        </p:sp>
        <p:grpSp>
          <p:nvGrpSpPr>
            <p:cNvPr id="272" name="Groep 271">
              <a:extLst>
                <a:ext uri="{FF2B5EF4-FFF2-40B4-BE49-F238E27FC236}">
                  <a16:creationId xmlns:a16="http://schemas.microsoft.com/office/drawing/2014/main" id="{AB869B37-DF2F-4CF2-9BC7-20708C1E8936}"/>
                </a:ext>
              </a:extLst>
            </p:cNvPr>
            <p:cNvGrpSpPr/>
            <p:nvPr/>
          </p:nvGrpSpPr>
          <p:grpSpPr>
            <a:xfrm>
              <a:off x="3244930" y="4026591"/>
              <a:ext cx="2834278" cy="1079040"/>
              <a:chOff x="3168745" y="3608535"/>
              <a:chExt cx="3289975" cy="1248247"/>
            </a:xfrm>
          </p:grpSpPr>
          <p:sp>
            <p:nvSpPr>
              <p:cNvPr id="236" name="Ovaal 235">
                <a:extLst>
                  <a:ext uri="{FF2B5EF4-FFF2-40B4-BE49-F238E27FC236}">
                    <a16:creationId xmlns:a16="http://schemas.microsoft.com/office/drawing/2014/main" id="{79455DAC-11BA-466E-B4C5-38DBD79D8E78}"/>
                  </a:ext>
                </a:extLst>
              </p:cNvPr>
              <p:cNvSpPr/>
              <p:nvPr/>
            </p:nvSpPr>
            <p:spPr>
              <a:xfrm>
                <a:off x="4192908" y="4502874"/>
                <a:ext cx="103408" cy="110603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237" name="Ovaal 236">
                <a:extLst>
                  <a:ext uri="{FF2B5EF4-FFF2-40B4-BE49-F238E27FC236}">
                    <a16:creationId xmlns:a16="http://schemas.microsoft.com/office/drawing/2014/main" id="{9A243D4D-4654-46B0-9A01-6F41693FA2D1}"/>
                  </a:ext>
                </a:extLst>
              </p:cNvPr>
              <p:cNvSpPr/>
              <p:nvPr/>
            </p:nvSpPr>
            <p:spPr>
              <a:xfrm>
                <a:off x="4719628" y="4102642"/>
                <a:ext cx="116741" cy="110603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242" name="Ovaal 241">
                <a:extLst>
                  <a:ext uri="{FF2B5EF4-FFF2-40B4-BE49-F238E27FC236}">
                    <a16:creationId xmlns:a16="http://schemas.microsoft.com/office/drawing/2014/main" id="{88D76E27-AAF1-4627-AC42-F1D52EFF62FB}"/>
                  </a:ext>
                </a:extLst>
              </p:cNvPr>
              <p:cNvSpPr/>
              <p:nvPr/>
            </p:nvSpPr>
            <p:spPr>
              <a:xfrm>
                <a:off x="4676425" y="4066021"/>
                <a:ext cx="166787" cy="176272"/>
              </a:xfrm>
              <a:prstGeom prst="ellipse">
                <a:avLst/>
              </a:prstGeom>
              <a:solidFill>
                <a:schemeClr val="accent1"/>
              </a:solidFill>
              <a:ln w="2857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243" name="Tekstvak 242">
                <a:extLst>
                  <a:ext uri="{FF2B5EF4-FFF2-40B4-BE49-F238E27FC236}">
                    <a16:creationId xmlns:a16="http://schemas.microsoft.com/office/drawing/2014/main" id="{594B0ACC-AEAE-4258-801F-CA4B0ECFF8C6}"/>
                  </a:ext>
                </a:extLst>
              </p:cNvPr>
              <p:cNvSpPr txBox="1"/>
              <p:nvPr/>
            </p:nvSpPr>
            <p:spPr>
              <a:xfrm>
                <a:off x="4473468" y="4202454"/>
                <a:ext cx="1000780" cy="1764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chemeClr val="accent1"/>
                    </a:solidFill>
                  </a:rPr>
                  <a:t>Westwoud</a:t>
                </a:r>
              </a:p>
            </p:txBody>
          </p:sp>
          <p:sp>
            <p:nvSpPr>
              <p:cNvPr id="248" name="Tekstvak 247">
                <a:extLst>
                  <a:ext uri="{FF2B5EF4-FFF2-40B4-BE49-F238E27FC236}">
                    <a16:creationId xmlns:a16="http://schemas.microsoft.com/office/drawing/2014/main" id="{597C7814-8295-4460-B513-97827472B188}"/>
                  </a:ext>
                </a:extLst>
              </p:cNvPr>
              <p:cNvSpPr txBox="1"/>
              <p:nvPr/>
            </p:nvSpPr>
            <p:spPr>
              <a:xfrm>
                <a:off x="3529077" y="3746922"/>
                <a:ext cx="1000780" cy="1764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chemeClr val="accent1"/>
                    </a:solidFill>
                  </a:rPr>
                  <a:t>Hoogwoud</a:t>
                </a:r>
              </a:p>
            </p:txBody>
          </p:sp>
          <p:sp>
            <p:nvSpPr>
              <p:cNvPr id="250" name="Ovaal 249">
                <a:extLst>
                  <a:ext uri="{FF2B5EF4-FFF2-40B4-BE49-F238E27FC236}">
                    <a16:creationId xmlns:a16="http://schemas.microsoft.com/office/drawing/2014/main" id="{0278D880-BF02-4118-B03F-FB3633F7855A}"/>
                  </a:ext>
                </a:extLst>
              </p:cNvPr>
              <p:cNvSpPr/>
              <p:nvPr/>
            </p:nvSpPr>
            <p:spPr>
              <a:xfrm>
                <a:off x="3626772" y="3938537"/>
                <a:ext cx="103408" cy="110603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251" name="Ovaal 250">
                <a:extLst>
                  <a:ext uri="{FF2B5EF4-FFF2-40B4-BE49-F238E27FC236}">
                    <a16:creationId xmlns:a16="http://schemas.microsoft.com/office/drawing/2014/main" id="{52E38407-05AA-4004-9B57-6FB209A51A3A}"/>
                  </a:ext>
                </a:extLst>
              </p:cNvPr>
              <p:cNvSpPr/>
              <p:nvPr/>
            </p:nvSpPr>
            <p:spPr>
              <a:xfrm>
                <a:off x="4430764" y="4494506"/>
                <a:ext cx="103408" cy="110603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252" name="Ovaal 251">
                <a:extLst>
                  <a:ext uri="{FF2B5EF4-FFF2-40B4-BE49-F238E27FC236}">
                    <a16:creationId xmlns:a16="http://schemas.microsoft.com/office/drawing/2014/main" id="{FA3392B4-03F4-43E9-AF2F-D40D7E8260F5}"/>
                  </a:ext>
                </a:extLst>
              </p:cNvPr>
              <p:cNvSpPr/>
              <p:nvPr/>
            </p:nvSpPr>
            <p:spPr>
              <a:xfrm>
                <a:off x="5393086" y="4094908"/>
                <a:ext cx="103408" cy="110603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253" name="Ovaal 252">
                <a:extLst>
                  <a:ext uri="{FF2B5EF4-FFF2-40B4-BE49-F238E27FC236}">
                    <a16:creationId xmlns:a16="http://schemas.microsoft.com/office/drawing/2014/main" id="{62C467E0-B3E6-42D1-AA1A-8BAA69593D4A}"/>
                  </a:ext>
                </a:extLst>
              </p:cNvPr>
              <p:cNvSpPr/>
              <p:nvPr/>
            </p:nvSpPr>
            <p:spPr>
              <a:xfrm>
                <a:off x="4933188" y="3900787"/>
                <a:ext cx="103408" cy="110603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254" name="Tekstvak 253">
                <a:extLst>
                  <a:ext uri="{FF2B5EF4-FFF2-40B4-BE49-F238E27FC236}">
                    <a16:creationId xmlns:a16="http://schemas.microsoft.com/office/drawing/2014/main" id="{D8A4B03D-75E5-4251-9038-D6F22A5B0076}"/>
                  </a:ext>
                </a:extLst>
              </p:cNvPr>
              <p:cNvSpPr txBox="1"/>
              <p:nvPr/>
            </p:nvSpPr>
            <p:spPr>
              <a:xfrm>
                <a:off x="4102139" y="4611455"/>
                <a:ext cx="1566111" cy="1764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chemeClr val="accent1"/>
                    </a:solidFill>
                  </a:rPr>
                  <a:t>Hoorn </a:t>
                </a:r>
                <a:r>
                  <a:rPr lang="nl-NL" sz="3508" err="1">
                    <a:solidFill>
                      <a:schemeClr val="accent1"/>
                    </a:solidFill>
                  </a:rPr>
                  <a:t>Geldelozeweg</a:t>
                </a:r>
                <a:endParaRPr lang="nl-NL" sz="3508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55" name="Tekstvak 254">
                <a:extLst>
                  <a:ext uri="{FF2B5EF4-FFF2-40B4-BE49-F238E27FC236}">
                    <a16:creationId xmlns:a16="http://schemas.microsoft.com/office/drawing/2014/main" id="{3A9B2522-FD75-44DA-8AB7-817F14DAC5E9}"/>
                  </a:ext>
                </a:extLst>
              </p:cNvPr>
              <p:cNvSpPr txBox="1"/>
              <p:nvPr/>
            </p:nvSpPr>
            <p:spPr>
              <a:xfrm>
                <a:off x="4457489" y="4467391"/>
                <a:ext cx="1392639" cy="1764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chemeClr val="accent1"/>
                    </a:solidFill>
                  </a:rPr>
                  <a:t>Hoorn Holenweg</a:t>
                </a:r>
              </a:p>
            </p:txBody>
          </p:sp>
          <p:sp>
            <p:nvSpPr>
              <p:cNvPr id="256" name="Tekstvak 255">
                <a:extLst>
                  <a:ext uri="{FF2B5EF4-FFF2-40B4-BE49-F238E27FC236}">
                    <a16:creationId xmlns:a16="http://schemas.microsoft.com/office/drawing/2014/main" id="{FC8B942C-03DE-4B73-9CCD-79616CE15EC1}"/>
                  </a:ext>
                </a:extLst>
              </p:cNvPr>
              <p:cNvSpPr txBox="1"/>
              <p:nvPr/>
            </p:nvSpPr>
            <p:spPr>
              <a:xfrm>
                <a:off x="4995090" y="3861495"/>
                <a:ext cx="1000780" cy="1764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/>
                  <a:t>Wervershoof</a:t>
                </a:r>
              </a:p>
            </p:txBody>
          </p:sp>
          <p:sp>
            <p:nvSpPr>
              <p:cNvPr id="257" name="Tekstvak 256">
                <a:extLst>
                  <a:ext uri="{FF2B5EF4-FFF2-40B4-BE49-F238E27FC236}">
                    <a16:creationId xmlns:a16="http://schemas.microsoft.com/office/drawing/2014/main" id="{CC2D4300-0FB8-43A7-BBE6-18DD546F345B}"/>
                  </a:ext>
                </a:extLst>
              </p:cNvPr>
              <p:cNvSpPr txBox="1"/>
              <p:nvPr/>
            </p:nvSpPr>
            <p:spPr>
              <a:xfrm>
                <a:off x="5457940" y="4085664"/>
                <a:ext cx="1000780" cy="1764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chemeClr val="accent1"/>
                    </a:solidFill>
                  </a:rPr>
                  <a:t>Enkhuizen</a:t>
                </a:r>
              </a:p>
            </p:txBody>
          </p:sp>
          <p:sp>
            <p:nvSpPr>
              <p:cNvPr id="258" name="Gelijkbenige driehoek 257">
                <a:extLst>
                  <a:ext uri="{FF2B5EF4-FFF2-40B4-BE49-F238E27FC236}">
                    <a16:creationId xmlns:a16="http://schemas.microsoft.com/office/drawing/2014/main" id="{2D8352E1-9221-41A2-85F5-C6609FD2FA88}"/>
                  </a:ext>
                </a:extLst>
              </p:cNvPr>
              <p:cNvSpPr/>
              <p:nvPr/>
            </p:nvSpPr>
            <p:spPr>
              <a:xfrm>
                <a:off x="4991559" y="4426249"/>
                <a:ext cx="103408" cy="110603"/>
              </a:xfrm>
              <a:prstGeom prst="triangl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259" name="Tekstvak 258">
                <a:extLst>
                  <a:ext uri="{FF2B5EF4-FFF2-40B4-BE49-F238E27FC236}">
                    <a16:creationId xmlns:a16="http://schemas.microsoft.com/office/drawing/2014/main" id="{54445BA5-F9B1-4F6E-8DCF-CB3EF29D94FF}"/>
                  </a:ext>
                </a:extLst>
              </p:cNvPr>
              <p:cNvSpPr txBox="1"/>
              <p:nvPr/>
            </p:nvSpPr>
            <p:spPr>
              <a:xfrm>
                <a:off x="5040779" y="4342048"/>
                <a:ext cx="844351" cy="1764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rgbClr val="7030A0"/>
                    </a:solidFill>
                  </a:rPr>
                  <a:t>Venhuizen</a:t>
                </a:r>
              </a:p>
            </p:txBody>
          </p:sp>
          <p:sp>
            <p:nvSpPr>
              <p:cNvPr id="260" name="Ovaal 259">
                <a:extLst>
                  <a:ext uri="{FF2B5EF4-FFF2-40B4-BE49-F238E27FC236}">
                    <a16:creationId xmlns:a16="http://schemas.microsoft.com/office/drawing/2014/main" id="{BCCC04B7-541E-48FF-B55C-D2C4243ACD5D}"/>
                  </a:ext>
                </a:extLst>
              </p:cNvPr>
              <p:cNvSpPr/>
              <p:nvPr/>
            </p:nvSpPr>
            <p:spPr>
              <a:xfrm>
                <a:off x="5090712" y="3795496"/>
                <a:ext cx="103408" cy="110603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261" name="Tekstvak 260">
                <a:extLst>
                  <a:ext uri="{FF2B5EF4-FFF2-40B4-BE49-F238E27FC236}">
                    <a16:creationId xmlns:a16="http://schemas.microsoft.com/office/drawing/2014/main" id="{966ACB6A-D075-4F8D-80AD-AD5A578E02A9}"/>
                  </a:ext>
                </a:extLst>
              </p:cNvPr>
              <p:cNvSpPr txBox="1"/>
              <p:nvPr/>
            </p:nvSpPr>
            <p:spPr>
              <a:xfrm>
                <a:off x="5040780" y="3608535"/>
                <a:ext cx="909014" cy="1764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rgbClr val="7030A0"/>
                    </a:solidFill>
                  </a:rPr>
                  <a:t>Andijk</a:t>
                </a:r>
              </a:p>
            </p:txBody>
          </p:sp>
          <p:sp>
            <p:nvSpPr>
              <p:cNvPr id="262" name="Ovaal 261">
                <a:extLst>
                  <a:ext uri="{FF2B5EF4-FFF2-40B4-BE49-F238E27FC236}">
                    <a16:creationId xmlns:a16="http://schemas.microsoft.com/office/drawing/2014/main" id="{86977CAB-487E-4AC4-B04D-30BA25392228}"/>
                  </a:ext>
                </a:extLst>
              </p:cNvPr>
              <p:cNvSpPr/>
              <p:nvPr/>
            </p:nvSpPr>
            <p:spPr>
              <a:xfrm>
                <a:off x="4284976" y="3745104"/>
                <a:ext cx="166787" cy="176272"/>
              </a:xfrm>
              <a:prstGeom prst="ellipse">
                <a:avLst/>
              </a:prstGeom>
              <a:solidFill>
                <a:schemeClr val="accent2"/>
              </a:solidFill>
              <a:ln w="285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263" name="Tekstvak 262">
                <a:extLst>
                  <a:ext uri="{FF2B5EF4-FFF2-40B4-BE49-F238E27FC236}">
                    <a16:creationId xmlns:a16="http://schemas.microsoft.com/office/drawing/2014/main" id="{FC7D3F52-5433-4A50-ADA6-9945C9D511C4}"/>
                  </a:ext>
                </a:extLst>
              </p:cNvPr>
              <p:cNvSpPr txBox="1"/>
              <p:nvPr/>
            </p:nvSpPr>
            <p:spPr>
              <a:xfrm>
                <a:off x="4403468" y="3655993"/>
                <a:ext cx="909014" cy="1764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rgbClr val="7030A0"/>
                    </a:solidFill>
                  </a:rPr>
                  <a:t>Abbekerk</a:t>
                </a:r>
              </a:p>
            </p:txBody>
          </p:sp>
          <p:sp>
            <p:nvSpPr>
              <p:cNvPr id="264" name="Ovaal 263">
                <a:extLst>
                  <a:ext uri="{FF2B5EF4-FFF2-40B4-BE49-F238E27FC236}">
                    <a16:creationId xmlns:a16="http://schemas.microsoft.com/office/drawing/2014/main" id="{1BB2EA49-7C61-4687-826A-4F1BB8F10CB3}"/>
                  </a:ext>
                </a:extLst>
              </p:cNvPr>
              <p:cNvSpPr/>
              <p:nvPr/>
            </p:nvSpPr>
            <p:spPr>
              <a:xfrm>
                <a:off x="4045521" y="4445297"/>
                <a:ext cx="103408" cy="110603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265" name="Tekstvak 264">
                <a:extLst>
                  <a:ext uri="{FF2B5EF4-FFF2-40B4-BE49-F238E27FC236}">
                    <a16:creationId xmlns:a16="http://schemas.microsoft.com/office/drawing/2014/main" id="{6CC620F4-796A-4E3D-8CCF-3B9E730473D1}"/>
                  </a:ext>
                </a:extLst>
              </p:cNvPr>
              <p:cNvSpPr txBox="1"/>
              <p:nvPr/>
            </p:nvSpPr>
            <p:spPr>
              <a:xfrm>
                <a:off x="3168745" y="4381748"/>
                <a:ext cx="941028" cy="1764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rgbClr val="7030A0"/>
                    </a:solidFill>
                  </a:rPr>
                  <a:t>Hoorn IJsbaan</a:t>
                </a:r>
              </a:p>
            </p:txBody>
          </p:sp>
          <p:sp>
            <p:nvSpPr>
              <p:cNvPr id="266" name="Ovaal 265">
                <a:extLst>
                  <a:ext uri="{FF2B5EF4-FFF2-40B4-BE49-F238E27FC236}">
                    <a16:creationId xmlns:a16="http://schemas.microsoft.com/office/drawing/2014/main" id="{F675B560-AF2A-4103-9E8C-BCBC60D5E48B}"/>
                  </a:ext>
                </a:extLst>
              </p:cNvPr>
              <p:cNvSpPr/>
              <p:nvPr/>
            </p:nvSpPr>
            <p:spPr>
              <a:xfrm>
                <a:off x="4008447" y="4746179"/>
                <a:ext cx="103408" cy="110603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267" name="Ovaal 266">
                <a:extLst>
                  <a:ext uri="{FF2B5EF4-FFF2-40B4-BE49-F238E27FC236}">
                    <a16:creationId xmlns:a16="http://schemas.microsoft.com/office/drawing/2014/main" id="{90838040-A198-4FCB-84FE-C5661EE4848D}"/>
                  </a:ext>
                </a:extLst>
              </p:cNvPr>
              <p:cNvSpPr/>
              <p:nvPr/>
            </p:nvSpPr>
            <p:spPr>
              <a:xfrm>
                <a:off x="3491348" y="4306512"/>
                <a:ext cx="103408" cy="110603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268" name="Tekstvak 267">
                <a:extLst>
                  <a:ext uri="{FF2B5EF4-FFF2-40B4-BE49-F238E27FC236}">
                    <a16:creationId xmlns:a16="http://schemas.microsoft.com/office/drawing/2014/main" id="{7D38679B-0F00-4434-9A04-468E3708F090}"/>
                  </a:ext>
                </a:extLst>
              </p:cNvPr>
              <p:cNvSpPr txBox="1"/>
              <p:nvPr/>
            </p:nvSpPr>
            <p:spPr>
              <a:xfrm>
                <a:off x="3548070" y="4184474"/>
                <a:ext cx="909014" cy="1764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rgbClr val="7030A0"/>
                    </a:solidFill>
                  </a:rPr>
                  <a:t>Obdam</a:t>
                </a:r>
              </a:p>
            </p:txBody>
          </p:sp>
        </p:grpSp>
        <p:sp>
          <p:nvSpPr>
            <p:cNvPr id="273" name="Tekstvak 272">
              <a:extLst>
                <a:ext uri="{FF2B5EF4-FFF2-40B4-BE49-F238E27FC236}">
                  <a16:creationId xmlns:a16="http://schemas.microsoft.com/office/drawing/2014/main" id="{7FA8B34E-0CD5-486F-8574-54BC50D14843}"/>
                </a:ext>
              </a:extLst>
            </p:cNvPr>
            <p:cNvSpPr txBox="1"/>
            <p:nvPr/>
          </p:nvSpPr>
          <p:spPr>
            <a:xfrm>
              <a:off x="3460021" y="4878865"/>
              <a:ext cx="909014" cy="1525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l-NL" sz="3508">
                  <a:solidFill>
                    <a:srgbClr val="7030A0"/>
                  </a:solidFill>
                </a:rPr>
                <a:t>Avenhorn</a:t>
              </a:r>
            </a:p>
          </p:txBody>
        </p:sp>
        <p:grpSp>
          <p:nvGrpSpPr>
            <p:cNvPr id="297" name="Groep 296">
              <a:extLst>
                <a:ext uri="{FF2B5EF4-FFF2-40B4-BE49-F238E27FC236}">
                  <a16:creationId xmlns:a16="http://schemas.microsoft.com/office/drawing/2014/main" id="{3E13971E-4198-4F2E-85FE-BBAB05D210EC}"/>
                </a:ext>
              </a:extLst>
            </p:cNvPr>
            <p:cNvGrpSpPr/>
            <p:nvPr/>
          </p:nvGrpSpPr>
          <p:grpSpPr>
            <a:xfrm>
              <a:off x="1840669" y="4545533"/>
              <a:ext cx="1982660" cy="1242888"/>
              <a:chOff x="1762364" y="4166219"/>
              <a:chExt cx="2097546" cy="1403941"/>
            </a:xfrm>
          </p:grpSpPr>
          <p:sp>
            <p:nvSpPr>
              <p:cNvPr id="274" name="Ovaal 273">
                <a:extLst>
                  <a:ext uri="{FF2B5EF4-FFF2-40B4-BE49-F238E27FC236}">
                    <a16:creationId xmlns:a16="http://schemas.microsoft.com/office/drawing/2014/main" id="{F07245EB-D2CC-4A57-A3F6-9B437850585C}"/>
                  </a:ext>
                </a:extLst>
              </p:cNvPr>
              <p:cNvSpPr/>
              <p:nvPr/>
            </p:nvSpPr>
            <p:spPr>
              <a:xfrm>
                <a:off x="2559913" y="4966191"/>
                <a:ext cx="94247" cy="106716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275" name="Ovaal 274">
                <a:extLst>
                  <a:ext uri="{FF2B5EF4-FFF2-40B4-BE49-F238E27FC236}">
                    <a16:creationId xmlns:a16="http://schemas.microsoft.com/office/drawing/2014/main" id="{E75EA180-14FD-4667-8855-F46697C70934}"/>
                  </a:ext>
                </a:extLst>
              </p:cNvPr>
              <p:cNvSpPr/>
              <p:nvPr/>
            </p:nvSpPr>
            <p:spPr>
              <a:xfrm>
                <a:off x="2877465" y="4668614"/>
                <a:ext cx="94247" cy="106716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276" name="Ovaal 275">
                <a:extLst>
                  <a:ext uri="{FF2B5EF4-FFF2-40B4-BE49-F238E27FC236}">
                    <a16:creationId xmlns:a16="http://schemas.microsoft.com/office/drawing/2014/main" id="{984EF66F-678F-44E4-84BA-FEEDD4D13FF0}"/>
                  </a:ext>
                </a:extLst>
              </p:cNvPr>
              <p:cNvSpPr/>
              <p:nvPr/>
            </p:nvSpPr>
            <p:spPr>
              <a:xfrm>
                <a:off x="2739170" y="4592120"/>
                <a:ext cx="94247" cy="106716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277" name="Ovaal 276">
                <a:extLst>
                  <a:ext uri="{FF2B5EF4-FFF2-40B4-BE49-F238E27FC236}">
                    <a16:creationId xmlns:a16="http://schemas.microsoft.com/office/drawing/2014/main" id="{97449A66-8740-427A-9C3F-3B3EA08AFB51}"/>
                  </a:ext>
                </a:extLst>
              </p:cNvPr>
              <p:cNvSpPr/>
              <p:nvPr/>
            </p:nvSpPr>
            <p:spPr>
              <a:xfrm>
                <a:off x="3185094" y="4594844"/>
                <a:ext cx="116741" cy="110603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278" name="Ovaal 277">
                <a:extLst>
                  <a:ext uri="{FF2B5EF4-FFF2-40B4-BE49-F238E27FC236}">
                    <a16:creationId xmlns:a16="http://schemas.microsoft.com/office/drawing/2014/main" id="{8D3957B7-7450-4DA9-9B10-3DDF51994E2C}"/>
                  </a:ext>
                </a:extLst>
              </p:cNvPr>
              <p:cNvSpPr/>
              <p:nvPr/>
            </p:nvSpPr>
            <p:spPr>
              <a:xfrm>
                <a:off x="3163595" y="4305043"/>
                <a:ext cx="94247" cy="106716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279" name="Ovaal 278">
                <a:extLst>
                  <a:ext uri="{FF2B5EF4-FFF2-40B4-BE49-F238E27FC236}">
                    <a16:creationId xmlns:a16="http://schemas.microsoft.com/office/drawing/2014/main" id="{81225451-4FFC-4791-A148-863CD3ACCF4C}"/>
                  </a:ext>
                </a:extLst>
              </p:cNvPr>
              <p:cNvSpPr/>
              <p:nvPr/>
            </p:nvSpPr>
            <p:spPr>
              <a:xfrm>
                <a:off x="3157285" y="4557881"/>
                <a:ext cx="152011" cy="172122"/>
              </a:xfrm>
              <a:prstGeom prst="ellipse">
                <a:avLst/>
              </a:prstGeom>
              <a:solidFill>
                <a:schemeClr val="accent1"/>
              </a:solidFill>
              <a:ln w="2857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280" name="Tekstvak 279">
                <a:extLst>
                  <a:ext uri="{FF2B5EF4-FFF2-40B4-BE49-F238E27FC236}">
                    <a16:creationId xmlns:a16="http://schemas.microsoft.com/office/drawing/2014/main" id="{73E561FA-7B3A-4EB5-AF0B-23E1EA9281C2}"/>
                  </a:ext>
                </a:extLst>
              </p:cNvPr>
              <p:cNvSpPr txBox="1"/>
              <p:nvPr/>
            </p:nvSpPr>
            <p:spPr>
              <a:xfrm>
                <a:off x="2223801" y="4180191"/>
                <a:ext cx="1120922" cy="17232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chemeClr val="accent1"/>
                    </a:solidFill>
                  </a:rPr>
                  <a:t>Heerhugowaard</a:t>
                </a:r>
              </a:p>
            </p:txBody>
          </p:sp>
          <p:sp>
            <p:nvSpPr>
              <p:cNvPr id="281" name="Tekstvak 280">
                <a:extLst>
                  <a:ext uri="{FF2B5EF4-FFF2-40B4-BE49-F238E27FC236}">
                    <a16:creationId xmlns:a16="http://schemas.microsoft.com/office/drawing/2014/main" id="{FF1C0443-174C-48D4-946D-6052F8237ADC}"/>
                  </a:ext>
                </a:extLst>
              </p:cNvPr>
              <p:cNvSpPr txBox="1"/>
              <p:nvPr/>
            </p:nvSpPr>
            <p:spPr>
              <a:xfrm>
                <a:off x="2985797" y="4708450"/>
                <a:ext cx="685683" cy="17232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chemeClr val="accent1"/>
                    </a:solidFill>
                  </a:rPr>
                  <a:t>Oterleek</a:t>
                </a:r>
              </a:p>
            </p:txBody>
          </p:sp>
          <p:sp>
            <p:nvSpPr>
              <p:cNvPr id="282" name="Tekstvak 281">
                <a:extLst>
                  <a:ext uri="{FF2B5EF4-FFF2-40B4-BE49-F238E27FC236}">
                    <a16:creationId xmlns:a16="http://schemas.microsoft.com/office/drawing/2014/main" id="{F4962082-8BFD-47B9-BC34-155764672E6E}"/>
                  </a:ext>
                </a:extLst>
              </p:cNvPr>
              <p:cNvSpPr txBox="1"/>
              <p:nvPr/>
            </p:nvSpPr>
            <p:spPr>
              <a:xfrm>
                <a:off x="2140834" y="4888033"/>
                <a:ext cx="610849" cy="17232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chemeClr val="accent1"/>
                    </a:solidFill>
                  </a:rPr>
                  <a:t>Heiloo</a:t>
                </a:r>
              </a:p>
            </p:txBody>
          </p:sp>
          <p:sp>
            <p:nvSpPr>
              <p:cNvPr id="283" name="Tekstvak 282">
                <a:extLst>
                  <a:ext uri="{FF2B5EF4-FFF2-40B4-BE49-F238E27FC236}">
                    <a16:creationId xmlns:a16="http://schemas.microsoft.com/office/drawing/2014/main" id="{64D41F6B-524C-4753-8CE8-1E9E0D34284E}"/>
                  </a:ext>
                </a:extLst>
              </p:cNvPr>
              <p:cNvSpPr txBox="1"/>
              <p:nvPr/>
            </p:nvSpPr>
            <p:spPr>
              <a:xfrm>
                <a:off x="2239430" y="4486485"/>
                <a:ext cx="613764" cy="17232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chemeClr val="accent1"/>
                    </a:solidFill>
                  </a:rPr>
                  <a:t>Alkmaar</a:t>
                </a:r>
              </a:p>
            </p:txBody>
          </p:sp>
          <p:sp>
            <p:nvSpPr>
              <p:cNvPr id="284" name="Tekstvak 283">
                <a:extLst>
                  <a:ext uri="{FF2B5EF4-FFF2-40B4-BE49-F238E27FC236}">
                    <a16:creationId xmlns:a16="http://schemas.microsoft.com/office/drawing/2014/main" id="{03225865-0613-406B-B4DD-756350A0F477}"/>
                  </a:ext>
                </a:extLst>
              </p:cNvPr>
              <p:cNvSpPr txBox="1"/>
              <p:nvPr/>
            </p:nvSpPr>
            <p:spPr>
              <a:xfrm>
                <a:off x="2361672" y="4633677"/>
                <a:ext cx="633266" cy="17232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chemeClr val="accent1"/>
                    </a:solidFill>
                  </a:rPr>
                  <a:t>Oudorp</a:t>
                </a:r>
              </a:p>
            </p:txBody>
          </p:sp>
          <p:sp>
            <p:nvSpPr>
              <p:cNvPr id="288" name="Ovaal 287">
                <a:extLst>
                  <a:ext uri="{FF2B5EF4-FFF2-40B4-BE49-F238E27FC236}">
                    <a16:creationId xmlns:a16="http://schemas.microsoft.com/office/drawing/2014/main" id="{88E09AF0-7F91-4B9E-BCA9-78DECCEE7171}"/>
                  </a:ext>
                </a:extLst>
              </p:cNvPr>
              <p:cNvSpPr/>
              <p:nvPr/>
            </p:nvSpPr>
            <p:spPr>
              <a:xfrm>
                <a:off x="2574731" y="5463444"/>
                <a:ext cx="94247" cy="106716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289" name="Tekstvak 288">
                <a:extLst>
                  <a:ext uri="{FF2B5EF4-FFF2-40B4-BE49-F238E27FC236}">
                    <a16:creationId xmlns:a16="http://schemas.microsoft.com/office/drawing/2014/main" id="{392C7198-EF7F-4509-A64C-58E6AE91ADA5}"/>
                  </a:ext>
                </a:extLst>
              </p:cNvPr>
              <p:cNvSpPr txBox="1"/>
              <p:nvPr/>
            </p:nvSpPr>
            <p:spPr>
              <a:xfrm>
                <a:off x="2233880" y="5279471"/>
                <a:ext cx="633266" cy="17232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chemeClr val="accent1"/>
                    </a:solidFill>
                  </a:rPr>
                  <a:t>Uitgeest</a:t>
                </a:r>
              </a:p>
            </p:txBody>
          </p:sp>
          <p:sp>
            <p:nvSpPr>
              <p:cNvPr id="290" name="Gelijkbenige driehoek 289">
                <a:extLst>
                  <a:ext uri="{FF2B5EF4-FFF2-40B4-BE49-F238E27FC236}">
                    <a16:creationId xmlns:a16="http://schemas.microsoft.com/office/drawing/2014/main" id="{6A4A3CD5-A74D-40C0-BA64-7B58B91DC4B8}"/>
                  </a:ext>
                </a:extLst>
              </p:cNvPr>
              <p:cNvSpPr/>
              <p:nvPr/>
            </p:nvSpPr>
            <p:spPr>
              <a:xfrm>
                <a:off x="2571115" y="4448217"/>
                <a:ext cx="94247" cy="106716"/>
              </a:xfrm>
              <a:prstGeom prst="triangl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291" name="Gelijkbenige driehoek 290">
                <a:extLst>
                  <a:ext uri="{FF2B5EF4-FFF2-40B4-BE49-F238E27FC236}">
                    <a16:creationId xmlns:a16="http://schemas.microsoft.com/office/drawing/2014/main" id="{C7F33AD8-F9AC-4EE0-AA9D-EBE18E39C30A}"/>
                  </a:ext>
                </a:extLst>
              </p:cNvPr>
              <p:cNvSpPr/>
              <p:nvPr/>
            </p:nvSpPr>
            <p:spPr>
              <a:xfrm>
                <a:off x="3189207" y="4166219"/>
                <a:ext cx="94247" cy="106716"/>
              </a:xfrm>
              <a:prstGeom prst="triangl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292" name="Tekstvak 291">
                <a:extLst>
                  <a:ext uri="{FF2B5EF4-FFF2-40B4-BE49-F238E27FC236}">
                    <a16:creationId xmlns:a16="http://schemas.microsoft.com/office/drawing/2014/main" id="{1A8C38AE-F4BC-4883-B50B-84DDD9C9A868}"/>
                  </a:ext>
                </a:extLst>
              </p:cNvPr>
              <p:cNvSpPr txBox="1"/>
              <p:nvPr/>
            </p:nvSpPr>
            <p:spPr>
              <a:xfrm>
                <a:off x="1762364" y="4315319"/>
                <a:ext cx="1001516" cy="17232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chemeClr val="accent1"/>
                    </a:solidFill>
                  </a:rPr>
                  <a:t>Alkmaar</a:t>
                </a:r>
                <a:r>
                  <a:rPr lang="nl-NL" sz="3508"/>
                  <a:t> </a:t>
                </a:r>
                <a:r>
                  <a:rPr lang="nl-NL" sz="3508">
                    <a:solidFill>
                      <a:schemeClr val="accent1"/>
                    </a:solidFill>
                  </a:rPr>
                  <a:t>Noord</a:t>
                </a:r>
              </a:p>
            </p:txBody>
          </p:sp>
          <p:sp>
            <p:nvSpPr>
              <p:cNvPr id="293" name="Tekstvak 292">
                <a:extLst>
                  <a:ext uri="{FF2B5EF4-FFF2-40B4-BE49-F238E27FC236}">
                    <a16:creationId xmlns:a16="http://schemas.microsoft.com/office/drawing/2014/main" id="{99305505-EDC1-4969-B15E-FE6DC6BAAEFC}"/>
                  </a:ext>
                </a:extLst>
              </p:cNvPr>
              <p:cNvSpPr txBox="1"/>
              <p:nvPr/>
            </p:nvSpPr>
            <p:spPr>
              <a:xfrm>
                <a:off x="2786163" y="4800501"/>
                <a:ext cx="1073747" cy="3194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/>
                  <a:t>Alkmaar </a:t>
                </a:r>
                <a:r>
                  <a:rPr lang="nl-NL" sz="3508" err="1"/>
                  <a:t>Boekelermeer</a:t>
                </a:r>
                <a:endParaRPr lang="nl-NL" sz="3508"/>
              </a:p>
            </p:txBody>
          </p:sp>
          <p:sp>
            <p:nvSpPr>
              <p:cNvPr id="294" name="Ovaal 293">
                <a:extLst>
                  <a:ext uri="{FF2B5EF4-FFF2-40B4-BE49-F238E27FC236}">
                    <a16:creationId xmlns:a16="http://schemas.microsoft.com/office/drawing/2014/main" id="{94537DBD-D95E-4D65-B8D7-564D4D8B5A64}"/>
                  </a:ext>
                </a:extLst>
              </p:cNvPr>
              <p:cNvSpPr/>
              <p:nvPr/>
            </p:nvSpPr>
            <p:spPr>
              <a:xfrm>
                <a:off x="2665719" y="4879028"/>
                <a:ext cx="152011" cy="172122"/>
              </a:xfrm>
              <a:prstGeom prst="ellipse">
                <a:avLst/>
              </a:prstGeom>
              <a:solidFill>
                <a:schemeClr val="accent2"/>
              </a:solidFill>
              <a:ln w="285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295" name="Tekstvak 294">
                <a:extLst>
                  <a:ext uri="{FF2B5EF4-FFF2-40B4-BE49-F238E27FC236}">
                    <a16:creationId xmlns:a16="http://schemas.microsoft.com/office/drawing/2014/main" id="{1D612CB9-EF0B-45BD-9A8B-C8D146E82BBA}"/>
                  </a:ext>
                </a:extLst>
              </p:cNvPr>
              <p:cNvSpPr txBox="1"/>
              <p:nvPr/>
            </p:nvSpPr>
            <p:spPr>
              <a:xfrm>
                <a:off x="1891622" y="4749730"/>
                <a:ext cx="909014" cy="17232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 err="1">
                    <a:solidFill>
                      <a:srgbClr val="7030A0"/>
                    </a:solidFill>
                  </a:rPr>
                  <a:t>Boekelermeer</a:t>
                </a:r>
                <a:endParaRPr lang="nl-NL" sz="3508">
                  <a:solidFill>
                    <a:srgbClr val="7030A0"/>
                  </a:solidFill>
                </a:endParaRPr>
              </a:p>
            </p:txBody>
          </p:sp>
          <p:sp>
            <p:nvSpPr>
              <p:cNvPr id="296" name="Ruit 295">
                <a:extLst>
                  <a:ext uri="{FF2B5EF4-FFF2-40B4-BE49-F238E27FC236}">
                    <a16:creationId xmlns:a16="http://schemas.microsoft.com/office/drawing/2014/main" id="{9C9FDA1C-BB7A-4E16-B986-4AAEB90EAB5A}"/>
                  </a:ext>
                </a:extLst>
              </p:cNvPr>
              <p:cNvSpPr/>
              <p:nvPr/>
            </p:nvSpPr>
            <p:spPr>
              <a:xfrm>
                <a:off x="2764841" y="4830506"/>
                <a:ext cx="94247" cy="106716"/>
              </a:xfrm>
              <a:prstGeom prst="diamond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</p:grpSp>
        <p:sp>
          <p:nvSpPr>
            <p:cNvPr id="300" name="Tekstvak 299">
              <a:extLst>
                <a:ext uri="{FF2B5EF4-FFF2-40B4-BE49-F238E27FC236}">
                  <a16:creationId xmlns:a16="http://schemas.microsoft.com/office/drawing/2014/main" id="{D41C1384-987F-4962-8575-D0FF079F3F4A}"/>
                </a:ext>
              </a:extLst>
            </p:cNvPr>
            <p:cNvSpPr txBox="1"/>
            <p:nvPr/>
          </p:nvSpPr>
          <p:spPr>
            <a:xfrm>
              <a:off x="2382757" y="4381832"/>
              <a:ext cx="1443725" cy="1525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l-NL" sz="3508"/>
                <a:t>Heerhugowaard Noord</a:t>
              </a:r>
            </a:p>
          </p:txBody>
        </p:sp>
        <p:grpSp>
          <p:nvGrpSpPr>
            <p:cNvPr id="337" name="Groep 336">
              <a:extLst>
                <a:ext uri="{FF2B5EF4-FFF2-40B4-BE49-F238E27FC236}">
                  <a16:creationId xmlns:a16="http://schemas.microsoft.com/office/drawing/2014/main" id="{E76B5E9F-1A69-44F5-811B-A3D81802F1E3}"/>
                </a:ext>
              </a:extLst>
            </p:cNvPr>
            <p:cNvGrpSpPr/>
            <p:nvPr/>
          </p:nvGrpSpPr>
          <p:grpSpPr>
            <a:xfrm>
              <a:off x="2322126" y="5549420"/>
              <a:ext cx="2966221" cy="961389"/>
              <a:chOff x="2011561" y="5266206"/>
              <a:chExt cx="3560966" cy="1239650"/>
            </a:xfrm>
          </p:grpSpPr>
          <p:sp>
            <p:nvSpPr>
              <p:cNvPr id="302" name="Ovaal 301">
                <a:extLst>
                  <a:ext uri="{FF2B5EF4-FFF2-40B4-BE49-F238E27FC236}">
                    <a16:creationId xmlns:a16="http://schemas.microsoft.com/office/drawing/2014/main" id="{556DF411-45A4-49E1-B5B2-01C9A2614D23}"/>
                  </a:ext>
                </a:extLst>
              </p:cNvPr>
              <p:cNvSpPr/>
              <p:nvPr/>
            </p:nvSpPr>
            <p:spPr>
              <a:xfrm>
                <a:off x="3860298" y="5508074"/>
                <a:ext cx="106947" cy="121818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>
                  <a:noFill/>
                </a:endParaRPr>
              </a:p>
            </p:txBody>
          </p:sp>
          <p:sp>
            <p:nvSpPr>
              <p:cNvPr id="303" name="Ovaal 302">
                <a:extLst>
                  <a:ext uri="{FF2B5EF4-FFF2-40B4-BE49-F238E27FC236}">
                    <a16:creationId xmlns:a16="http://schemas.microsoft.com/office/drawing/2014/main" id="{F8FFED1E-B9EA-4155-B73E-6C29DAC6A0C1}"/>
                  </a:ext>
                </a:extLst>
              </p:cNvPr>
              <p:cNvSpPr/>
              <p:nvPr/>
            </p:nvSpPr>
            <p:spPr>
              <a:xfrm>
                <a:off x="3518641" y="5596653"/>
                <a:ext cx="116741" cy="110603"/>
              </a:xfrm>
              <a:prstGeom prst="ellipse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>
                  <a:noFill/>
                </a:endParaRPr>
              </a:p>
            </p:txBody>
          </p:sp>
          <p:sp>
            <p:nvSpPr>
              <p:cNvPr id="304" name="Tekstvak 303">
                <a:extLst>
                  <a:ext uri="{FF2B5EF4-FFF2-40B4-BE49-F238E27FC236}">
                    <a16:creationId xmlns:a16="http://schemas.microsoft.com/office/drawing/2014/main" id="{BA9D2A26-8CFD-4716-9C92-D35091F5D5A5}"/>
                  </a:ext>
                </a:extLst>
              </p:cNvPr>
              <p:cNvSpPr txBox="1"/>
              <p:nvPr/>
            </p:nvSpPr>
            <p:spPr>
              <a:xfrm>
                <a:off x="3630953" y="5266206"/>
                <a:ext cx="1300599" cy="1967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/>
                  <a:t>Purmerend K.</a:t>
                </a:r>
              </a:p>
            </p:txBody>
          </p:sp>
          <p:sp>
            <p:nvSpPr>
              <p:cNvPr id="305" name="Tekstvak 304">
                <a:extLst>
                  <a:ext uri="{FF2B5EF4-FFF2-40B4-BE49-F238E27FC236}">
                    <a16:creationId xmlns:a16="http://schemas.microsoft.com/office/drawing/2014/main" id="{4BBFC9E8-D3A4-4101-A55A-0E3AEECA1181}"/>
                  </a:ext>
                </a:extLst>
              </p:cNvPr>
              <p:cNvSpPr txBox="1"/>
              <p:nvPr/>
            </p:nvSpPr>
            <p:spPr>
              <a:xfrm>
                <a:off x="3724884" y="5653538"/>
                <a:ext cx="1300599" cy="1967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chemeClr val="accent1"/>
                    </a:solidFill>
                  </a:rPr>
                  <a:t>Purmerend S.</a:t>
                </a:r>
              </a:p>
            </p:txBody>
          </p:sp>
          <p:sp>
            <p:nvSpPr>
              <p:cNvPr id="306" name="Tekstvak 305">
                <a:extLst>
                  <a:ext uri="{FF2B5EF4-FFF2-40B4-BE49-F238E27FC236}">
                    <a16:creationId xmlns:a16="http://schemas.microsoft.com/office/drawing/2014/main" id="{7AB8A8D3-FE87-40FE-98B3-1EB5A42D1D2D}"/>
                  </a:ext>
                </a:extLst>
              </p:cNvPr>
              <p:cNvSpPr txBox="1"/>
              <p:nvPr/>
            </p:nvSpPr>
            <p:spPr>
              <a:xfrm>
                <a:off x="2880464" y="5341770"/>
                <a:ext cx="987602" cy="1967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chemeClr val="accent1"/>
                    </a:solidFill>
                  </a:rPr>
                  <a:t>Wijdewormer</a:t>
                </a:r>
              </a:p>
            </p:txBody>
          </p:sp>
          <p:sp>
            <p:nvSpPr>
              <p:cNvPr id="308" name="Ovaal 307">
                <a:extLst>
                  <a:ext uri="{FF2B5EF4-FFF2-40B4-BE49-F238E27FC236}">
                    <a16:creationId xmlns:a16="http://schemas.microsoft.com/office/drawing/2014/main" id="{054F6074-905C-4935-A0FD-B7A692F63ADD}"/>
                  </a:ext>
                </a:extLst>
              </p:cNvPr>
              <p:cNvSpPr/>
              <p:nvPr/>
            </p:nvSpPr>
            <p:spPr>
              <a:xfrm>
                <a:off x="3481371" y="5556951"/>
                <a:ext cx="172495" cy="196481"/>
              </a:xfrm>
              <a:prstGeom prst="ellipse">
                <a:avLst/>
              </a:prstGeom>
              <a:solidFill>
                <a:schemeClr val="accent1"/>
              </a:solidFill>
              <a:ln w="2857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>
                  <a:noFill/>
                </a:endParaRPr>
              </a:p>
            </p:txBody>
          </p:sp>
          <p:sp>
            <p:nvSpPr>
              <p:cNvPr id="311" name="Ovaal 310">
                <a:extLst>
                  <a:ext uri="{FF2B5EF4-FFF2-40B4-BE49-F238E27FC236}">
                    <a16:creationId xmlns:a16="http://schemas.microsoft.com/office/drawing/2014/main" id="{BE3B7B94-B59C-4564-AA15-06D6BBD5FF69}"/>
                  </a:ext>
                </a:extLst>
              </p:cNvPr>
              <p:cNvSpPr/>
              <p:nvPr/>
            </p:nvSpPr>
            <p:spPr>
              <a:xfrm>
                <a:off x="3721194" y="5606055"/>
                <a:ext cx="106947" cy="12181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312" name="Ovaal 311">
                <a:extLst>
                  <a:ext uri="{FF2B5EF4-FFF2-40B4-BE49-F238E27FC236}">
                    <a16:creationId xmlns:a16="http://schemas.microsoft.com/office/drawing/2014/main" id="{AFFB5EF1-BFFF-474A-BF2F-1E7E1823B932}"/>
                  </a:ext>
                </a:extLst>
              </p:cNvPr>
              <p:cNvSpPr/>
              <p:nvPr/>
            </p:nvSpPr>
            <p:spPr>
              <a:xfrm>
                <a:off x="4189344" y="5572281"/>
                <a:ext cx="106947" cy="121818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313" name="Tekstvak 312">
                <a:extLst>
                  <a:ext uri="{FF2B5EF4-FFF2-40B4-BE49-F238E27FC236}">
                    <a16:creationId xmlns:a16="http://schemas.microsoft.com/office/drawing/2014/main" id="{4D26C6D8-CF6F-4377-9FE4-73B457220AD2}"/>
                  </a:ext>
                </a:extLst>
              </p:cNvPr>
              <p:cNvSpPr txBox="1"/>
              <p:nvPr/>
            </p:nvSpPr>
            <p:spPr>
              <a:xfrm>
                <a:off x="4271928" y="5525527"/>
                <a:ext cx="1300599" cy="1967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/>
                  <a:t>Edam</a:t>
                </a:r>
              </a:p>
            </p:txBody>
          </p:sp>
          <p:sp>
            <p:nvSpPr>
              <p:cNvPr id="314" name="Ovaal 313">
                <a:extLst>
                  <a:ext uri="{FF2B5EF4-FFF2-40B4-BE49-F238E27FC236}">
                    <a16:creationId xmlns:a16="http://schemas.microsoft.com/office/drawing/2014/main" id="{4B68BB01-C40E-4CC0-92CA-C07A6D8AACF4}"/>
                  </a:ext>
                </a:extLst>
              </p:cNvPr>
              <p:cNvSpPr/>
              <p:nvPr/>
            </p:nvSpPr>
            <p:spPr>
              <a:xfrm>
                <a:off x="3132684" y="6201611"/>
                <a:ext cx="106947" cy="12181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>
                  <a:noFill/>
                </a:endParaRPr>
              </a:p>
            </p:txBody>
          </p:sp>
          <p:sp>
            <p:nvSpPr>
              <p:cNvPr id="315" name="Tekstvak 314">
                <a:extLst>
                  <a:ext uri="{FF2B5EF4-FFF2-40B4-BE49-F238E27FC236}">
                    <a16:creationId xmlns:a16="http://schemas.microsoft.com/office/drawing/2014/main" id="{647917DA-4984-4A50-BA3F-41E4BE14ADA3}"/>
                  </a:ext>
                </a:extLst>
              </p:cNvPr>
              <p:cNvSpPr txBox="1"/>
              <p:nvPr/>
            </p:nvSpPr>
            <p:spPr>
              <a:xfrm>
                <a:off x="2957791" y="6309141"/>
                <a:ext cx="1300599" cy="1967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chemeClr val="accent1"/>
                    </a:solidFill>
                  </a:rPr>
                  <a:t>Zaandam West</a:t>
                </a:r>
              </a:p>
            </p:txBody>
          </p:sp>
          <p:sp>
            <p:nvSpPr>
              <p:cNvPr id="316" name="Ovaal 315">
                <a:extLst>
                  <a:ext uri="{FF2B5EF4-FFF2-40B4-BE49-F238E27FC236}">
                    <a16:creationId xmlns:a16="http://schemas.microsoft.com/office/drawing/2014/main" id="{9B7950DE-E794-4C62-8418-35A5F13931B2}"/>
                  </a:ext>
                </a:extLst>
              </p:cNvPr>
              <p:cNvSpPr/>
              <p:nvPr/>
            </p:nvSpPr>
            <p:spPr>
              <a:xfrm>
                <a:off x="3088678" y="6032655"/>
                <a:ext cx="106947" cy="121818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>
                  <a:noFill/>
                </a:endParaRPr>
              </a:p>
            </p:txBody>
          </p:sp>
          <p:sp>
            <p:nvSpPr>
              <p:cNvPr id="317" name="Ovaal 316">
                <a:extLst>
                  <a:ext uri="{FF2B5EF4-FFF2-40B4-BE49-F238E27FC236}">
                    <a16:creationId xmlns:a16="http://schemas.microsoft.com/office/drawing/2014/main" id="{8B27CB91-B952-4596-B898-9E21B400E433}"/>
                  </a:ext>
                </a:extLst>
              </p:cNvPr>
              <p:cNvSpPr/>
              <p:nvPr/>
            </p:nvSpPr>
            <p:spPr>
              <a:xfrm>
                <a:off x="2797897" y="5621823"/>
                <a:ext cx="106947" cy="12181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>
                  <a:noFill/>
                </a:endParaRPr>
              </a:p>
            </p:txBody>
          </p:sp>
          <p:sp>
            <p:nvSpPr>
              <p:cNvPr id="318" name="Ovaal 317">
                <a:extLst>
                  <a:ext uri="{FF2B5EF4-FFF2-40B4-BE49-F238E27FC236}">
                    <a16:creationId xmlns:a16="http://schemas.microsoft.com/office/drawing/2014/main" id="{34A8154D-F106-4C52-A1FE-46C551A9D60A}"/>
                  </a:ext>
                </a:extLst>
              </p:cNvPr>
              <p:cNvSpPr/>
              <p:nvPr/>
            </p:nvSpPr>
            <p:spPr>
              <a:xfrm>
                <a:off x="2974658" y="5736254"/>
                <a:ext cx="106947" cy="121818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319" name="Ovaal 318">
                <a:extLst>
                  <a:ext uri="{FF2B5EF4-FFF2-40B4-BE49-F238E27FC236}">
                    <a16:creationId xmlns:a16="http://schemas.microsoft.com/office/drawing/2014/main" id="{D03D2AD4-89C3-4D2A-8045-F9C73EC8C837}"/>
                  </a:ext>
                </a:extLst>
              </p:cNvPr>
              <p:cNvSpPr/>
              <p:nvPr/>
            </p:nvSpPr>
            <p:spPr>
              <a:xfrm>
                <a:off x="2958882" y="5906514"/>
                <a:ext cx="106947" cy="12181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>
                  <a:noFill/>
                </a:endParaRPr>
              </a:p>
            </p:txBody>
          </p:sp>
          <p:sp>
            <p:nvSpPr>
              <p:cNvPr id="322" name="Tekstvak 321">
                <a:extLst>
                  <a:ext uri="{FF2B5EF4-FFF2-40B4-BE49-F238E27FC236}">
                    <a16:creationId xmlns:a16="http://schemas.microsoft.com/office/drawing/2014/main" id="{1523EE4A-625E-4481-97EC-8568F9FAAB67}"/>
                  </a:ext>
                </a:extLst>
              </p:cNvPr>
              <p:cNvSpPr txBox="1"/>
              <p:nvPr/>
            </p:nvSpPr>
            <p:spPr>
              <a:xfrm>
                <a:off x="3137080" y="5966546"/>
                <a:ext cx="1300599" cy="1967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rgbClr val="7030A0"/>
                    </a:solidFill>
                  </a:rPr>
                  <a:t>Zaandam Noord</a:t>
                </a:r>
              </a:p>
            </p:txBody>
          </p:sp>
          <p:sp>
            <p:nvSpPr>
              <p:cNvPr id="324" name="Tekstvak 323">
                <a:extLst>
                  <a:ext uri="{FF2B5EF4-FFF2-40B4-BE49-F238E27FC236}">
                    <a16:creationId xmlns:a16="http://schemas.microsoft.com/office/drawing/2014/main" id="{C020F266-3092-4DE3-A4B7-6F35A62134E5}"/>
                  </a:ext>
                </a:extLst>
              </p:cNvPr>
              <p:cNvSpPr txBox="1"/>
              <p:nvPr/>
            </p:nvSpPr>
            <p:spPr>
              <a:xfrm>
                <a:off x="2199825" y="5657945"/>
                <a:ext cx="840633" cy="1967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chemeClr val="accent1"/>
                    </a:solidFill>
                  </a:rPr>
                  <a:t>Krommenie</a:t>
                </a:r>
              </a:p>
            </p:txBody>
          </p:sp>
          <p:sp>
            <p:nvSpPr>
              <p:cNvPr id="325" name="Tekstvak 324">
                <a:extLst>
                  <a:ext uri="{FF2B5EF4-FFF2-40B4-BE49-F238E27FC236}">
                    <a16:creationId xmlns:a16="http://schemas.microsoft.com/office/drawing/2014/main" id="{B93DD93B-3B67-4C38-917E-A2B3EE9E936E}"/>
                  </a:ext>
                </a:extLst>
              </p:cNvPr>
              <p:cNvSpPr txBox="1"/>
              <p:nvPr/>
            </p:nvSpPr>
            <p:spPr>
              <a:xfrm>
                <a:off x="2998521" y="5819322"/>
                <a:ext cx="1120922" cy="1967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chemeClr val="accent1"/>
                    </a:solidFill>
                  </a:rPr>
                  <a:t>Zaandijk</a:t>
                </a:r>
              </a:p>
            </p:txBody>
          </p:sp>
          <p:sp>
            <p:nvSpPr>
              <p:cNvPr id="326" name="Tekstvak 325">
                <a:extLst>
                  <a:ext uri="{FF2B5EF4-FFF2-40B4-BE49-F238E27FC236}">
                    <a16:creationId xmlns:a16="http://schemas.microsoft.com/office/drawing/2014/main" id="{042C5D13-539D-44EE-A9B6-08D45F50E72C}"/>
                  </a:ext>
                </a:extLst>
              </p:cNvPr>
              <p:cNvSpPr txBox="1"/>
              <p:nvPr/>
            </p:nvSpPr>
            <p:spPr>
              <a:xfrm>
                <a:off x="3022314" y="5664735"/>
                <a:ext cx="1120922" cy="1967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/>
                  <a:t>Wormerveer</a:t>
                </a:r>
              </a:p>
            </p:txBody>
          </p:sp>
          <p:sp>
            <p:nvSpPr>
              <p:cNvPr id="327" name="Ruit 326">
                <a:extLst>
                  <a:ext uri="{FF2B5EF4-FFF2-40B4-BE49-F238E27FC236}">
                    <a16:creationId xmlns:a16="http://schemas.microsoft.com/office/drawing/2014/main" id="{ECE48C20-CF81-4681-BE0A-E1B76854C97F}"/>
                  </a:ext>
                </a:extLst>
              </p:cNvPr>
              <p:cNvSpPr/>
              <p:nvPr/>
            </p:nvSpPr>
            <p:spPr>
              <a:xfrm>
                <a:off x="2882254" y="6151263"/>
                <a:ext cx="106947" cy="121818"/>
              </a:xfrm>
              <a:prstGeom prst="diamond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328" name="Tekstvak 327">
                <a:extLst>
                  <a:ext uri="{FF2B5EF4-FFF2-40B4-BE49-F238E27FC236}">
                    <a16:creationId xmlns:a16="http://schemas.microsoft.com/office/drawing/2014/main" id="{595E9E11-20E5-4E64-BF41-BBC19B89B562}"/>
                  </a:ext>
                </a:extLst>
              </p:cNvPr>
              <p:cNvSpPr txBox="1"/>
              <p:nvPr/>
            </p:nvSpPr>
            <p:spPr>
              <a:xfrm>
                <a:off x="2011561" y="6196265"/>
                <a:ext cx="1173566" cy="1967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 err="1"/>
                  <a:t>Westzanerpolder</a:t>
                </a:r>
                <a:endParaRPr lang="nl-NL" sz="3508"/>
              </a:p>
            </p:txBody>
          </p:sp>
          <p:sp>
            <p:nvSpPr>
              <p:cNvPr id="329" name="Ruit 328">
                <a:extLst>
                  <a:ext uri="{FF2B5EF4-FFF2-40B4-BE49-F238E27FC236}">
                    <a16:creationId xmlns:a16="http://schemas.microsoft.com/office/drawing/2014/main" id="{1B1FF954-2524-4081-8A64-B0798500DEB4}"/>
                  </a:ext>
                </a:extLst>
              </p:cNvPr>
              <p:cNvSpPr/>
              <p:nvPr/>
            </p:nvSpPr>
            <p:spPr>
              <a:xfrm>
                <a:off x="4129532" y="5981539"/>
                <a:ext cx="106947" cy="121818"/>
              </a:xfrm>
              <a:prstGeom prst="diamond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330" name="Tekstvak 329">
                <a:extLst>
                  <a:ext uri="{FF2B5EF4-FFF2-40B4-BE49-F238E27FC236}">
                    <a16:creationId xmlns:a16="http://schemas.microsoft.com/office/drawing/2014/main" id="{81B32B4B-EE20-45C1-A8D9-1EC75A23550F}"/>
                  </a:ext>
                </a:extLst>
              </p:cNvPr>
              <p:cNvSpPr txBox="1"/>
              <p:nvPr/>
            </p:nvSpPr>
            <p:spPr>
              <a:xfrm>
                <a:off x="4218383" y="5921789"/>
                <a:ext cx="1300599" cy="268770"/>
              </a:xfrm>
              <a:prstGeom prst="rect">
                <a:avLst/>
              </a:prstGeom>
              <a:noFill/>
            </p:spPr>
            <p:txBody>
              <a:bodyPr wrap="square" lIns="160377" tIns="160377" rIns="160377" bIns="160377" rtlCol="0" anchor="t">
                <a:spAutoFit/>
              </a:bodyPr>
              <a:lstStyle/>
              <a:p>
                <a:r>
                  <a:rPr lang="nl-NL" sz="3508">
                    <a:solidFill>
                      <a:schemeClr val="bg2"/>
                    </a:solidFill>
                  </a:rPr>
                  <a:t>Monnickendam</a:t>
                </a:r>
              </a:p>
            </p:txBody>
          </p:sp>
          <p:sp>
            <p:nvSpPr>
              <p:cNvPr id="332" name="Tekstvak 331">
                <a:extLst>
                  <a:ext uri="{FF2B5EF4-FFF2-40B4-BE49-F238E27FC236}">
                    <a16:creationId xmlns:a16="http://schemas.microsoft.com/office/drawing/2014/main" id="{E10379F9-6C17-497F-8B06-8B47C83404AB}"/>
                  </a:ext>
                </a:extLst>
              </p:cNvPr>
              <p:cNvSpPr txBox="1"/>
              <p:nvPr/>
            </p:nvSpPr>
            <p:spPr>
              <a:xfrm>
                <a:off x="3429024" y="6131166"/>
                <a:ext cx="1300599" cy="1967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rgbClr val="7030A0"/>
                    </a:solidFill>
                  </a:rPr>
                  <a:t>Oostzaan</a:t>
                </a:r>
              </a:p>
            </p:txBody>
          </p:sp>
          <p:sp>
            <p:nvSpPr>
              <p:cNvPr id="333" name="Ovaal 332">
                <a:extLst>
                  <a:ext uri="{FF2B5EF4-FFF2-40B4-BE49-F238E27FC236}">
                    <a16:creationId xmlns:a16="http://schemas.microsoft.com/office/drawing/2014/main" id="{4F6016F9-B307-478C-89C4-9F333C1E9347}"/>
                  </a:ext>
                </a:extLst>
              </p:cNvPr>
              <p:cNvSpPr/>
              <p:nvPr/>
            </p:nvSpPr>
            <p:spPr>
              <a:xfrm>
                <a:off x="2752538" y="6115929"/>
                <a:ext cx="106947" cy="121818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334" name="Tekstvak 333">
                <a:extLst>
                  <a:ext uri="{FF2B5EF4-FFF2-40B4-BE49-F238E27FC236}">
                    <a16:creationId xmlns:a16="http://schemas.microsoft.com/office/drawing/2014/main" id="{BD831128-4D8E-4603-8748-25CCC5FC6DBD}"/>
                  </a:ext>
                </a:extLst>
              </p:cNvPr>
              <p:cNvSpPr txBox="1"/>
              <p:nvPr/>
            </p:nvSpPr>
            <p:spPr>
              <a:xfrm>
                <a:off x="2182879" y="6049371"/>
                <a:ext cx="641099" cy="1967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rgbClr val="7030A0"/>
                    </a:solidFill>
                  </a:rPr>
                  <a:t>Hoogtij</a:t>
                </a:r>
              </a:p>
            </p:txBody>
          </p:sp>
          <p:sp>
            <p:nvSpPr>
              <p:cNvPr id="335" name="Ovaal 334">
                <a:extLst>
                  <a:ext uri="{FF2B5EF4-FFF2-40B4-BE49-F238E27FC236}">
                    <a16:creationId xmlns:a16="http://schemas.microsoft.com/office/drawing/2014/main" id="{C81952EE-BC46-4DAD-973D-B7504BBE5E1D}"/>
                  </a:ext>
                </a:extLst>
              </p:cNvPr>
              <p:cNvSpPr/>
              <p:nvPr/>
            </p:nvSpPr>
            <p:spPr>
              <a:xfrm>
                <a:off x="3985400" y="5474299"/>
                <a:ext cx="106947" cy="121818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>
                  <a:noFill/>
                </a:endParaRPr>
              </a:p>
            </p:txBody>
          </p:sp>
          <p:sp>
            <p:nvSpPr>
              <p:cNvPr id="336" name="Tekstvak 335">
                <a:extLst>
                  <a:ext uri="{FF2B5EF4-FFF2-40B4-BE49-F238E27FC236}">
                    <a16:creationId xmlns:a16="http://schemas.microsoft.com/office/drawing/2014/main" id="{B470E1A5-D6E2-4633-BE23-117F17D74138}"/>
                  </a:ext>
                </a:extLst>
              </p:cNvPr>
              <p:cNvSpPr txBox="1"/>
              <p:nvPr/>
            </p:nvSpPr>
            <p:spPr>
              <a:xfrm>
                <a:off x="4043770" y="5382677"/>
                <a:ext cx="1300599" cy="1967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rgbClr val="7030A0"/>
                    </a:solidFill>
                  </a:rPr>
                  <a:t>Baanstee</a:t>
                </a:r>
              </a:p>
            </p:txBody>
          </p:sp>
        </p:grpSp>
      </p:grpSp>
      <p:grpSp>
        <p:nvGrpSpPr>
          <p:cNvPr id="41" name="Groep 40">
            <a:extLst>
              <a:ext uri="{FF2B5EF4-FFF2-40B4-BE49-F238E27FC236}">
                <a16:creationId xmlns:a16="http://schemas.microsoft.com/office/drawing/2014/main" id="{671DF76A-EA88-44A1-A88C-016FEB401B42}"/>
              </a:ext>
            </a:extLst>
          </p:cNvPr>
          <p:cNvGrpSpPr/>
          <p:nvPr/>
        </p:nvGrpSpPr>
        <p:grpSpPr>
          <a:xfrm>
            <a:off x="19924058" y="8893142"/>
            <a:ext cx="25190952" cy="14803645"/>
            <a:chOff x="5555218" y="1648841"/>
            <a:chExt cx="7181385" cy="4220193"/>
          </a:xfrm>
        </p:grpSpPr>
        <p:grpSp>
          <p:nvGrpSpPr>
            <p:cNvPr id="425" name="Groep 424">
              <a:extLst>
                <a:ext uri="{FF2B5EF4-FFF2-40B4-BE49-F238E27FC236}">
                  <a16:creationId xmlns:a16="http://schemas.microsoft.com/office/drawing/2014/main" id="{8B56D94C-2776-469C-B904-0148AE189C35}"/>
                </a:ext>
              </a:extLst>
            </p:cNvPr>
            <p:cNvGrpSpPr/>
            <p:nvPr/>
          </p:nvGrpSpPr>
          <p:grpSpPr>
            <a:xfrm>
              <a:off x="5555218" y="1648841"/>
              <a:ext cx="7181385" cy="4220193"/>
              <a:chOff x="6187548" y="4340782"/>
              <a:chExt cx="4342090" cy="2389971"/>
            </a:xfrm>
          </p:grpSpPr>
          <p:grpSp>
            <p:nvGrpSpPr>
              <p:cNvPr id="27" name="Groep 26">
                <a:extLst>
                  <a:ext uri="{FF2B5EF4-FFF2-40B4-BE49-F238E27FC236}">
                    <a16:creationId xmlns:a16="http://schemas.microsoft.com/office/drawing/2014/main" id="{801600BB-A611-4DD6-8EEF-5258A350B22B}"/>
                  </a:ext>
                </a:extLst>
              </p:cNvPr>
              <p:cNvGrpSpPr/>
              <p:nvPr/>
            </p:nvGrpSpPr>
            <p:grpSpPr>
              <a:xfrm>
                <a:off x="6266794" y="4340782"/>
                <a:ext cx="3668282" cy="2389971"/>
                <a:chOff x="723400" y="5721064"/>
                <a:chExt cx="3668282" cy="2389971"/>
              </a:xfrm>
            </p:grpSpPr>
            <p:sp>
              <p:nvSpPr>
                <p:cNvPr id="9" name="Vrije vorm: vorm 8">
                  <a:extLst>
                    <a:ext uri="{FF2B5EF4-FFF2-40B4-BE49-F238E27FC236}">
                      <a16:creationId xmlns:a16="http://schemas.microsoft.com/office/drawing/2014/main" id="{49877777-0FD3-4308-9A9D-C37A68F86687}"/>
                    </a:ext>
                  </a:extLst>
                </p:cNvPr>
                <p:cNvSpPr/>
                <p:nvPr/>
              </p:nvSpPr>
              <p:spPr>
                <a:xfrm>
                  <a:off x="723400" y="5721064"/>
                  <a:ext cx="1005250" cy="1498044"/>
                </a:xfrm>
                <a:custGeom>
                  <a:avLst/>
                  <a:gdLst>
                    <a:gd name="connsiteX0" fmla="*/ 304800 w 746760"/>
                    <a:gd name="connsiteY0" fmla="*/ 0 h 1158240"/>
                    <a:gd name="connsiteX1" fmla="*/ 660400 w 746760"/>
                    <a:gd name="connsiteY1" fmla="*/ 15240 h 1158240"/>
                    <a:gd name="connsiteX2" fmla="*/ 670560 w 746760"/>
                    <a:gd name="connsiteY2" fmla="*/ 106680 h 1158240"/>
                    <a:gd name="connsiteX3" fmla="*/ 726440 w 746760"/>
                    <a:gd name="connsiteY3" fmla="*/ 203200 h 1158240"/>
                    <a:gd name="connsiteX4" fmla="*/ 599440 w 746760"/>
                    <a:gd name="connsiteY4" fmla="*/ 375920 h 1158240"/>
                    <a:gd name="connsiteX5" fmla="*/ 746760 w 746760"/>
                    <a:gd name="connsiteY5" fmla="*/ 528320 h 1158240"/>
                    <a:gd name="connsiteX6" fmla="*/ 619760 w 746760"/>
                    <a:gd name="connsiteY6" fmla="*/ 609600 h 1158240"/>
                    <a:gd name="connsiteX7" fmla="*/ 589280 w 746760"/>
                    <a:gd name="connsiteY7" fmla="*/ 635000 h 1158240"/>
                    <a:gd name="connsiteX8" fmla="*/ 568960 w 746760"/>
                    <a:gd name="connsiteY8" fmla="*/ 670560 h 1158240"/>
                    <a:gd name="connsiteX9" fmla="*/ 568960 w 746760"/>
                    <a:gd name="connsiteY9" fmla="*/ 670560 h 1158240"/>
                    <a:gd name="connsiteX10" fmla="*/ 589280 w 746760"/>
                    <a:gd name="connsiteY10" fmla="*/ 736600 h 1158240"/>
                    <a:gd name="connsiteX11" fmla="*/ 629920 w 746760"/>
                    <a:gd name="connsiteY11" fmla="*/ 762000 h 1158240"/>
                    <a:gd name="connsiteX12" fmla="*/ 574040 w 746760"/>
                    <a:gd name="connsiteY12" fmla="*/ 828040 h 1158240"/>
                    <a:gd name="connsiteX13" fmla="*/ 599440 w 746760"/>
                    <a:gd name="connsiteY13" fmla="*/ 944880 h 1158240"/>
                    <a:gd name="connsiteX14" fmla="*/ 533400 w 746760"/>
                    <a:gd name="connsiteY14" fmla="*/ 1000760 h 1158240"/>
                    <a:gd name="connsiteX15" fmla="*/ 426720 w 746760"/>
                    <a:gd name="connsiteY15" fmla="*/ 1036320 h 1158240"/>
                    <a:gd name="connsiteX16" fmla="*/ 416560 w 746760"/>
                    <a:gd name="connsiteY16" fmla="*/ 1087120 h 1158240"/>
                    <a:gd name="connsiteX17" fmla="*/ 365760 w 746760"/>
                    <a:gd name="connsiteY17" fmla="*/ 1153160 h 1158240"/>
                    <a:gd name="connsiteX18" fmla="*/ 274320 w 746760"/>
                    <a:gd name="connsiteY18" fmla="*/ 1122680 h 1158240"/>
                    <a:gd name="connsiteX19" fmla="*/ 228600 w 746760"/>
                    <a:gd name="connsiteY19" fmla="*/ 1158240 h 1158240"/>
                    <a:gd name="connsiteX20" fmla="*/ 142240 w 746760"/>
                    <a:gd name="connsiteY20" fmla="*/ 1122680 h 1158240"/>
                    <a:gd name="connsiteX21" fmla="*/ 86360 w 746760"/>
                    <a:gd name="connsiteY21" fmla="*/ 1102360 h 1158240"/>
                    <a:gd name="connsiteX22" fmla="*/ 0 w 746760"/>
                    <a:gd name="connsiteY22" fmla="*/ 1046480 h 1158240"/>
                    <a:gd name="connsiteX23" fmla="*/ 96520 w 746760"/>
                    <a:gd name="connsiteY23" fmla="*/ 863600 h 1158240"/>
                    <a:gd name="connsiteX24" fmla="*/ 233680 w 746760"/>
                    <a:gd name="connsiteY24" fmla="*/ 502920 h 1158240"/>
                    <a:gd name="connsiteX25" fmla="*/ 213360 w 746760"/>
                    <a:gd name="connsiteY25" fmla="*/ 381000 h 1158240"/>
                    <a:gd name="connsiteX26" fmla="*/ 162560 w 746760"/>
                    <a:gd name="connsiteY26" fmla="*/ 391160 h 1158240"/>
                    <a:gd name="connsiteX27" fmla="*/ 127000 w 746760"/>
                    <a:gd name="connsiteY27" fmla="*/ 370840 h 1158240"/>
                    <a:gd name="connsiteX28" fmla="*/ 182880 w 746760"/>
                    <a:gd name="connsiteY28" fmla="*/ 320040 h 1158240"/>
                    <a:gd name="connsiteX29" fmla="*/ 248920 w 746760"/>
                    <a:gd name="connsiteY29" fmla="*/ 325120 h 1158240"/>
                    <a:gd name="connsiteX30" fmla="*/ 304800 w 746760"/>
                    <a:gd name="connsiteY30" fmla="*/ 0 h 11582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746760" h="1158240">
                      <a:moveTo>
                        <a:pt x="304800" y="0"/>
                      </a:moveTo>
                      <a:lnTo>
                        <a:pt x="660400" y="15240"/>
                      </a:lnTo>
                      <a:lnTo>
                        <a:pt x="670560" y="106680"/>
                      </a:lnTo>
                      <a:lnTo>
                        <a:pt x="726440" y="203200"/>
                      </a:lnTo>
                      <a:lnTo>
                        <a:pt x="599440" y="375920"/>
                      </a:lnTo>
                      <a:lnTo>
                        <a:pt x="746760" y="528320"/>
                      </a:lnTo>
                      <a:lnTo>
                        <a:pt x="619760" y="609600"/>
                      </a:lnTo>
                      <a:lnTo>
                        <a:pt x="589280" y="635000"/>
                      </a:lnTo>
                      <a:lnTo>
                        <a:pt x="568960" y="670560"/>
                      </a:lnTo>
                      <a:lnTo>
                        <a:pt x="568960" y="670560"/>
                      </a:lnTo>
                      <a:lnTo>
                        <a:pt x="589280" y="736600"/>
                      </a:lnTo>
                      <a:lnTo>
                        <a:pt x="629920" y="762000"/>
                      </a:lnTo>
                      <a:lnTo>
                        <a:pt x="574040" y="828040"/>
                      </a:lnTo>
                      <a:lnTo>
                        <a:pt x="599440" y="944880"/>
                      </a:lnTo>
                      <a:lnTo>
                        <a:pt x="533400" y="1000760"/>
                      </a:lnTo>
                      <a:lnTo>
                        <a:pt x="426720" y="1036320"/>
                      </a:lnTo>
                      <a:lnTo>
                        <a:pt x="416560" y="1087120"/>
                      </a:lnTo>
                      <a:lnTo>
                        <a:pt x="365760" y="1153160"/>
                      </a:lnTo>
                      <a:lnTo>
                        <a:pt x="274320" y="1122680"/>
                      </a:lnTo>
                      <a:lnTo>
                        <a:pt x="228600" y="1158240"/>
                      </a:lnTo>
                      <a:lnTo>
                        <a:pt x="142240" y="1122680"/>
                      </a:lnTo>
                      <a:cubicBezTo>
                        <a:pt x="93425" y="1100985"/>
                        <a:pt x="113197" y="1102360"/>
                        <a:pt x="86360" y="1102360"/>
                      </a:cubicBezTo>
                      <a:lnTo>
                        <a:pt x="0" y="1046480"/>
                      </a:lnTo>
                      <a:lnTo>
                        <a:pt x="96520" y="863600"/>
                      </a:lnTo>
                      <a:lnTo>
                        <a:pt x="233680" y="502920"/>
                      </a:lnTo>
                      <a:lnTo>
                        <a:pt x="213360" y="381000"/>
                      </a:lnTo>
                      <a:lnTo>
                        <a:pt x="162560" y="391160"/>
                      </a:lnTo>
                      <a:lnTo>
                        <a:pt x="127000" y="370840"/>
                      </a:lnTo>
                      <a:lnTo>
                        <a:pt x="182880" y="320040"/>
                      </a:lnTo>
                      <a:lnTo>
                        <a:pt x="248920" y="325120"/>
                      </a:lnTo>
                      <a:lnTo>
                        <a:pt x="304800" y="0"/>
                      </a:ln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 w="31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78844" tIns="378844" rIns="378844" bIns="378844" rtlCol="0" anchor="ctr"/>
                <a:lstStyle/>
                <a:p>
                  <a:pPr algn="ctr"/>
                  <a:endParaRPr lang="nl-NL" sz="3508"/>
                </a:p>
              </p:txBody>
            </p:sp>
            <p:sp>
              <p:nvSpPr>
                <p:cNvPr id="10" name="Vrije vorm: vorm 9">
                  <a:extLst>
                    <a:ext uri="{FF2B5EF4-FFF2-40B4-BE49-F238E27FC236}">
                      <a16:creationId xmlns:a16="http://schemas.microsoft.com/office/drawing/2014/main" id="{BC868958-2FA8-46FC-8D65-47690E883EAC}"/>
                    </a:ext>
                  </a:extLst>
                </p:cNvPr>
                <p:cNvSpPr/>
                <p:nvPr/>
              </p:nvSpPr>
              <p:spPr>
                <a:xfrm>
                  <a:off x="3119733" y="6961221"/>
                  <a:ext cx="1271949" cy="1149814"/>
                </a:xfrm>
                <a:custGeom>
                  <a:avLst/>
                  <a:gdLst>
                    <a:gd name="connsiteX0" fmla="*/ 55880 w 944880"/>
                    <a:gd name="connsiteY0" fmla="*/ 889000 h 889000"/>
                    <a:gd name="connsiteX1" fmla="*/ 55880 w 944880"/>
                    <a:gd name="connsiteY1" fmla="*/ 889000 h 889000"/>
                    <a:gd name="connsiteX2" fmla="*/ 193040 w 944880"/>
                    <a:gd name="connsiteY2" fmla="*/ 883920 h 889000"/>
                    <a:gd name="connsiteX3" fmla="*/ 340360 w 944880"/>
                    <a:gd name="connsiteY3" fmla="*/ 833120 h 889000"/>
                    <a:gd name="connsiteX4" fmla="*/ 563880 w 944880"/>
                    <a:gd name="connsiteY4" fmla="*/ 843280 h 889000"/>
                    <a:gd name="connsiteX5" fmla="*/ 660400 w 944880"/>
                    <a:gd name="connsiteY5" fmla="*/ 660400 h 889000"/>
                    <a:gd name="connsiteX6" fmla="*/ 660400 w 944880"/>
                    <a:gd name="connsiteY6" fmla="*/ 584200 h 889000"/>
                    <a:gd name="connsiteX7" fmla="*/ 807720 w 944880"/>
                    <a:gd name="connsiteY7" fmla="*/ 309880 h 889000"/>
                    <a:gd name="connsiteX8" fmla="*/ 924560 w 944880"/>
                    <a:gd name="connsiteY8" fmla="*/ 345440 h 889000"/>
                    <a:gd name="connsiteX9" fmla="*/ 894080 w 944880"/>
                    <a:gd name="connsiteY9" fmla="*/ 259080 h 889000"/>
                    <a:gd name="connsiteX10" fmla="*/ 919480 w 944880"/>
                    <a:gd name="connsiteY10" fmla="*/ 233680 h 889000"/>
                    <a:gd name="connsiteX11" fmla="*/ 944880 w 944880"/>
                    <a:gd name="connsiteY11" fmla="*/ 198120 h 889000"/>
                    <a:gd name="connsiteX12" fmla="*/ 889000 w 944880"/>
                    <a:gd name="connsiteY12" fmla="*/ 157480 h 889000"/>
                    <a:gd name="connsiteX13" fmla="*/ 889000 w 944880"/>
                    <a:gd name="connsiteY13" fmla="*/ 157480 h 889000"/>
                    <a:gd name="connsiteX14" fmla="*/ 873760 w 944880"/>
                    <a:gd name="connsiteY14" fmla="*/ 228600 h 889000"/>
                    <a:gd name="connsiteX15" fmla="*/ 812800 w 944880"/>
                    <a:gd name="connsiteY15" fmla="*/ 203200 h 889000"/>
                    <a:gd name="connsiteX16" fmla="*/ 767080 w 944880"/>
                    <a:gd name="connsiteY16" fmla="*/ 193040 h 889000"/>
                    <a:gd name="connsiteX17" fmla="*/ 741680 w 944880"/>
                    <a:gd name="connsiteY17" fmla="*/ 162560 h 889000"/>
                    <a:gd name="connsiteX18" fmla="*/ 670560 w 944880"/>
                    <a:gd name="connsiteY18" fmla="*/ 152400 h 889000"/>
                    <a:gd name="connsiteX19" fmla="*/ 614680 w 944880"/>
                    <a:gd name="connsiteY19" fmla="*/ 162560 h 889000"/>
                    <a:gd name="connsiteX20" fmla="*/ 568960 w 944880"/>
                    <a:gd name="connsiteY20" fmla="*/ 162560 h 889000"/>
                    <a:gd name="connsiteX21" fmla="*/ 477520 w 944880"/>
                    <a:gd name="connsiteY21" fmla="*/ 193040 h 889000"/>
                    <a:gd name="connsiteX22" fmla="*/ 447040 w 944880"/>
                    <a:gd name="connsiteY22" fmla="*/ 157480 h 889000"/>
                    <a:gd name="connsiteX23" fmla="*/ 396240 w 944880"/>
                    <a:gd name="connsiteY23" fmla="*/ 86360 h 889000"/>
                    <a:gd name="connsiteX24" fmla="*/ 314960 w 944880"/>
                    <a:gd name="connsiteY24" fmla="*/ 55880 h 889000"/>
                    <a:gd name="connsiteX25" fmla="*/ 243840 w 944880"/>
                    <a:gd name="connsiteY25" fmla="*/ 0 h 889000"/>
                    <a:gd name="connsiteX26" fmla="*/ 167640 w 944880"/>
                    <a:gd name="connsiteY26" fmla="*/ 20320 h 889000"/>
                    <a:gd name="connsiteX27" fmla="*/ 101600 w 944880"/>
                    <a:gd name="connsiteY27" fmla="*/ 15240 h 889000"/>
                    <a:gd name="connsiteX28" fmla="*/ 101600 w 944880"/>
                    <a:gd name="connsiteY28" fmla="*/ 15240 h 889000"/>
                    <a:gd name="connsiteX29" fmla="*/ 0 w 944880"/>
                    <a:gd name="connsiteY29" fmla="*/ 45720 h 889000"/>
                    <a:gd name="connsiteX30" fmla="*/ 0 w 944880"/>
                    <a:gd name="connsiteY30" fmla="*/ 137160 h 889000"/>
                    <a:gd name="connsiteX31" fmla="*/ 15240 w 944880"/>
                    <a:gd name="connsiteY31" fmla="*/ 213360 h 889000"/>
                    <a:gd name="connsiteX32" fmla="*/ 25400 w 944880"/>
                    <a:gd name="connsiteY32" fmla="*/ 299720 h 889000"/>
                    <a:gd name="connsiteX33" fmla="*/ 25400 w 944880"/>
                    <a:gd name="connsiteY33" fmla="*/ 299720 h 889000"/>
                    <a:gd name="connsiteX34" fmla="*/ 81280 w 944880"/>
                    <a:gd name="connsiteY34" fmla="*/ 299720 h 889000"/>
                    <a:gd name="connsiteX35" fmla="*/ 152400 w 944880"/>
                    <a:gd name="connsiteY35" fmla="*/ 279400 h 889000"/>
                    <a:gd name="connsiteX36" fmla="*/ 127000 w 944880"/>
                    <a:gd name="connsiteY36" fmla="*/ 299720 h 889000"/>
                    <a:gd name="connsiteX37" fmla="*/ 5080 w 944880"/>
                    <a:gd name="connsiteY37" fmla="*/ 350520 h 889000"/>
                    <a:gd name="connsiteX38" fmla="*/ 35560 w 944880"/>
                    <a:gd name="connsiteY38" fmla="*/ 416560 h 889000"/>
                    <a:gd name="connsiteX39" fmla="*/ 71120 w 944880"/>
                    <a:gd name="connsiteY39" fmla="*/ 457200 h 889000"/>
                    <a:gd name="connsiteX40" fmla="*/ 91440 w 944880"/>
                    <a:gd name="connsiteY40" fmla="*/ 513080 h 889000"/>
                    <a:gd name="connsiteX41" fmla="*/ 121920 w 944880"/>
                    <a:gd name="connsiteY41" fmla="*/ 548640 h 889000"/>
                    <a:gd name="connsiteX42" fmla="*/ 55880 w 944880"/>
                    <a:gd name="connsiteY42" fmla="*/ 589280 h 889000"/>
                    <a:gd name="connsiteX43" fmla="*/ 60960 w 944880"/>
                    <a:gd name="connsiteY43" fmla="*/ 680720 h 889000"/>
                    <a:gd name="connsiteX44" fmla="*/ 20320 w 944880"/>
                    <a:gd name="connsiteY44" fmla="*/ 731520 h 889000"/>
                    <a:gd name="connsiteX45" fmla="*/ 50800 w 944880"/>
                    <a:gd name="connsiteY45" fmla="*/ 756920 h 889000"/>
                    <a:gd name="connsiteX46" fmla="*/ 50800 w 944880"/>
                    <a:gd name="connsiteY46" fmla="*/ 817880 h 889000"/>
                    <a:gd name="connsiteX47" fmla="*/ 55880 w 944880"/>
                    <a:gd name="connsiteY47" fmla="*/ 889000 h 889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</a:cxnLst>
                  <a:rect l="l" t="t" r="r" b="b"/>
                  <a:pathLst>
                    <a:path w="944880" h="889000">
                      <a:moveTo>
                        <a:pt x="55880" y="889000"/>
                      </a:moveTo>
                      <a:lnTo>
                        <a:pt x="55880" y="889000"/>
                      </a:lnTo>
                      <a:lnTo>
                        <a:pt x="193040" y="883920"/>
                      </a:lnTo>
                      <a:lnTo>
                        <a:pt x="340360" y="833120"/>
                      </a:lnTo>
                      <a:lnTo>
                        <a:pt x="563880" y="843280"/>
                      </a:lnTo>
                      <a:lnTo>
                        <a:pt x="660400" y="660400"/>
                      </a:lnTo>
                      <a:lnTo>
                        <a:pt x="660400" y="584200"/>
                      </a:lnTo>
                      <a:lnTo>
                        <a:pt x="807720" y="309880"/>
                      </a:lnTo>
                      <a:lnTo>
                        <a:pt x="924560" y="345440"/>
                      </a:lnTo>
                      <a:lnTo>
                        <a:pt x="894080" y="259080"/>
                      </a:lnTo>
                      <a:lnTo>
                        <a:pt x="919480" y="233680"/>
                      </a:lnTo>
                      <a:lnTo>
                        <a:pt x="944880" y="198120"/>
                      </a:lnTo>
                      <a:lnTo>
                        <a:pt x="889000" y="157480"/>
                      </a:lnTo>
                      <a:lnTo>
                        <a:pt x="889000" y="157480"/>
                      </a:lnTo>
                      <a:lnTo>
                        <a:pt x="873760" y="228600"/>
                      </a:lnTo>
                      <a:lnTo>
                        <a:pt x="812800" y="203200"/>
                      </a:lnTo>
                      <a:lnTo>
                        <a:pt x="767080" y="193040"/>
                      </a:lnTo>
                      <a:lnTo>
                        <a:pt x="741680" y="162560"/>
                      </a:lnTo>
                      <a:lnTo>
                        <a:pt x="670560" y="152400"/>
                      </a:lnTo>
                      <a:lnTo>
                        <a:pt x="614680" y="162560"/>
                      </a:lnTo>
                      <a:lnTo>
                        <a:pt x="568960" y="162560"/>
                      </a:lnTo>
                      <a:lnTo>
                        <a:pt x="477520" y="193040"/>
                      </a:lnTo>
                      <a:lnTo>
                        <a:pt x="447040" y="157480"/>
                      </a:lnTo>
                      <a:lnTo>
                        <a:pt x="396240" y="86360"/>
                      </a:lnTo>
                      <a:lnTo>
                        <a:pt x="314960" y="55880"/>
                      </a:lnTo>
                      <a:lnTo>
                        <a:pt x="243840" y="0"/>
                      </a:lnTo>
                      <a:lnTo>
                        <a:pt x="167640" y="20320"/>
                      </a:lnTo>
                      <a:lnTo>
                        <a:pt x="101600" y="15240"/>
                      </a:lnTo>
                      <a:lnTo>
                        <a:pt x="101600" y="15240"/>
                      </a:lnTo>
                      <a:lnTo>
                        <a:pt x="0" y="45720"/>
                      </a:lnTo>
                      <a:lnTo>
                        <a:pt x="0" y="137160"/>
                      </a:lnTo>
                      <a:lnTo>
                        <a:pt x="15240" y="213360"/>
                      </a:lnTo>
                      <a:lnTo>
                        <a:pt x="25400" y="299720"/>
                      </a:lnTo>
                      <a:lnTo>
                        <a:pt x="25400" y="299720"/>
                      </a:lnTo>
                      <a:lnTo>
                        <a:pt x="81280" y="299720"/>
                      </a:lnTo>
                      <a:lnTo>
                        <a:pt x="152400" y="279400"/>
                      </a:lnTo>
                      <a:lnTo>
                        <a:pt x="127000" y="299720"/>
                      </a:lnTo>
                      <a:lnTo>
                        <a:pt x="5080" y="350520"/>
                      </a:lnTo>
                      <a:lnTo>
                        <a:pt x="35560" y="416560"/>
                      </a:lnTo>
                      <a:lnTo>
                        <a:pt x="71120" y="457200"/>
                      </a:lnTo>
                      <a:lnTo>
                        <a:pt x="91440" y="513080"/>
                      </a:lnTo>
                      <a:lnTo>
                        <a:pt x="121920" y="548640"/>
                      </a:lnTo>
                      <a:lnTo>
                        <a:pt x="55880" y="589280"/>
                      </a:lnTo>
                      <a:lnTo>
                        <a:pt x="60960" y="680720"/>
                      </a:lnTo>
                      <a:lnTo>
                        <a:pt x="20320" y="731520"/>
                      </a:lnTo>
                      <a:lnTo>
                        <a:pt x="50800" y="756920"/>
                      </a:lnTo>
                      <a:lnTo>
                        <a:pt x="50800" y="817880"/>
                      </a:lnTo>
                      <a:lnTo>
                        <a:pt x="55880" y="889000"/>
                      </a:ln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 w="31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78844" tIns="378844" rIns="378844" bIns="378844" rtlCol="0" anchor="ctr"/>
                <a:lstStyle/>
                <a:p>
                  <a:pPr algn="ctr"/>
                  <a:endParaRPr lang="nl-NL" sz="3508"/>
                </a:p>
              </p:txBody>
            </p:sp>
            <p:sp>
              <p:nvSpPr>
                <p:cNvPr id="11" name="Vrije vorm: vorm 10">
                  <a:extLst>
                    <a:ext uri="{FF2B5EF4-FFF2-40B4-BE49-F238E27FC236}">
                      <a16:creationId xmlns:a16="http://schemas.microsoft.com/office/drawing/2014/main" id="{DB401D53-87BF-4B1C-BCC8-AAB48AE52C7F}"/>
                    </a:ext>
                  </a:extLst>
                </p:cNvPr>
                <p:cNvSpPr/>
                <p:nvPr/>
              </p:nvSpPr>
              <p:spPr>
                <a:xfrm>
                  <a:off x="1512700" y="7004445"/>
                  <a:ext cx="1607033" cy="985555"/>
                </a:xfrm>
                <a:custGeom>
                  <a:avLst/>
                  <a:gdLst>
                    <a:gd name="connsiteX0" fmla="*/ 0 w 1193800"/>
                    <a:gd name="connsiteY0" fmla="*/ 655320 h 762000"/>
                    <a:gd name="connsiteX1" fmla="*/ 71120 w 1193800"/>
                    <a:gd name="connsiteY1" fmla="*/ 579120 h 762000"/>
                    <a:gd name="connsiteX2" fmla="*/ 111760 w 1193800"/>
                    <a:gd name="connsiteY2" fmla="*/ 574040 h 762000"/>
                    <a:gd name="connsiteX3" fmla="*/ 187960 w 1193800"/>
                    <a:gd name="connsiteY3" fmla="*/ 497840 h 762000"/>
                    <a:gd name="connsiteX4" fmla="*/ 299720 w 1193800"/>
                    <a:gd name="connsiteY4" fmla="*/ 406400 h 762000"/>
                    <a:gd name="connsiteX5" fmla="*/ 401320 w 1193800"/>
                    <a:gd name="connsiteY5" fmla="*/ 309880 h 762000"/>
                    <a:gd name="connsiteX6" fmla="*/ 472440 w 1193800"/>
                    <a:gd name="connsiteY6" fmla="*/ 248920 h 762000"/>
                    <a:gd name="connsiteX7" fmla="*/ 472440 w 1193800"/>
                    <a:gd name="connsiteY7" fmla="*/ 198120 h 762000"/>
                    <a:gd name="connsiteX8" fmla="*/ 502920 w 1193800"/>
                    <a:gd name="connsiteY8" fmla="*/ 137160 h 762000"/>
                    <a:gd name="connsiteX9" fmla="*/ 502920 w 1193800"/>
                    <a:gd name="connsiteY9" fmla="*/ 137160 h 762000"/>
                    <a:gd name="connsiteX10" fmla="*/ 584200 w 1193800"/>
                    <a:gd name="connsiteY10" fmla="*/ 127000 h 762000"/>
                    <a:gd name="connsiteX11" fmla="*/ 619760 w 1193800"/>
                    <a:gd name="connsiteY11" fmla="*/ 132080 h 762000"/>
                    <a:gd name="connsiteX12" fmla="*/ 619760 w 1193800"/>
                    <a:gd name="connsiteY12" fmla="*/ 132080 h 762000"/>
                    <a:gd name="connsiteX13" fmla="*/ 629920 w 1193800"/>
                    <a:gd name="connsiteY13" fmla="*/ 167640 h 762000"/>
                    <a:gd name="connsiteX14" fmla="*/ 751840 w 1193800"/>
                    <a:gd name="connsiteY14" fmla="*/ 157480 h 762000"/>
                    <a:gd name="connsiteX15" fmla="*/ 797560 w 1193800"/>
                    <a:gd name="connsiteY15" fmla="*/ 187960 h 762000"/>
                    <a:gd name="connsiteX16" fmla="*/ 797560 w 1193800"/>
                    <a:gd name="connsiteY16" fmla="*/ 137160 h 762000"/>
                    <a:gd name="connsiteX17" fmla="*/ 843280 w 1193800"/>
                    <a:gd name="connsiteY17" fmla="*/ 86360 h 762000"/>
                    <a:gd name="connsiteX18" fmla="*/ 914400 w 1193800"/>
                    <a:gd name="connsiteY18" fmla="*/ 91440 h 762000"/>
                    <a:gd name="connsiteX19" fmla="*/ 980440 w 1193800"/>
                    <a:gd name="connsiteY19" fmla="*/ 0 h 762000"/>
                    <a:gd name="connsiteX20" fmla="*/ 1061720 w 1193800"/>
                    <a:gd name="connsiteY20" fmla="*/ 55880 h 762000"/>
                    <a:gd name="connsiteX21" fmla="*/ 1132840 w 1193800"/>
                    <a:gd name="connsiteY21" fmla="*/ 55880 h 762000"/>
                    <a:gd name="connsiteX22" fmla="*/ 1193800 w 1193800"/>
                    <a:gd name="connsiteY22" fmla="*/ 30480 h 762000"/>
                    <a:gd name="connsiteX23" fmla="*/ 1148080 w 1193800"/>
                    <a:gd name="connsiteY23" fmla="*/ 111760 h 762000"/>
                    <a:gd name="connsiteX24" fmla="*/ 1122680 w 1193800"/>
                    <a:gd name="connsiteY24" fmla="*/ 152400 h 762000"/>
                    <a:gd name="connsiteX25" fmla="*/ 1071880 w 1193800"/>
                    <a:gd name="connsiteY25" fmla="*/ 198120 h 762000"/>
                    <a:gd name="connsiteX26" fmla="*/ 1046480 w 1193800"/>
                    <a:gd name="connsiteY26" fmla="*/ 167640 h 762000"/>
                    <a:gd name="connsiteX27" fmla="*/ 1046480 w 1193800"/>
                    <a:gd name="connsiteY27" fmla="*/ 167640 h 762000"/>
                    <a:gd name="connsiteX28" fmla="*/ 1005840 w 1193800"/>
                    <a:gd name="connsiteY28" fmla="*/ 137160 h 762000"/>
                    <a:gd name="connsiteX29" fmla="*/ 924560 w 1193800"/>
                    <a:gd name="connsiteY29" fmla="*/ 157480 h 762000"/>
                    <a:gd name="connsiteX30" fmla="*/ 878840 w 1193800"/>
                    <a:gd name="connsiteY30" fmla="*/ 142240 h 762000"/>
                    <a:gd name="connsiteX31" fmla="*/ 883920 w 1193800"/>
                    <a:gd name="connsiteY31" fmla="*/ 172720 h 762000"/>
                    <a:gd name="connsiteX32" fmla="*/ 848360 w 1193800"/>
                    <a:gd name="connsiteY32" fmla="*/ 228600 h 762000"/>
                    <a:gd name="connsiteX33" fmla="*/ 909320 w 1193800"/>
                    <a:gd name="connsiteY33" fmla="*/ 391160 h 762000"/>
                    <a:gd name="connsiteX34" fmla="*/ 853440 w 1193800"/>
                    <a:gd name="connsiteY34" fmla="*/ 386080 h 762000"/>
                    <a:gd name="connsiteX35" fmla="*/ 838200 w 1193800"/>
                    <a:gd name="connsiteY35" fmla="*/ 431800 h 762000"/>
                    <a:gd name="connsiteX36" fmla="*/ 833120 w 1193800"/>
                    <a:gd name="connsiteY36" fmla="*/ 502920 h 762000"/>
                    <a:gd name="connsiteX37" fmla="*/ 762000 w 1193800"/>
                    <a:gd name="connsiteY37" fmla="*/ 548640 h 762000"/>
                    <a:gd name="connsiteX38" fmla="*/ 655320 w 1193800"/>
                    <a:gd name="connsiteY38" fmla="*/ 543560 h 762000"/>
                    <a:gd name="connsiteX39" fmla="*/ 594360 w 1193800"/>
                    <a:gd name="connsiteY39" fmla="*/ 589280 h 762000"/>
                    <a:gd name="connsiteX40" fmla="*/ 502920 w 1193800"/>
                    <a:gd name="connsiteY40" fmla="*/ 660400 h 762000"/>
                    <a:gd name="connsiteX41" fmla="*/ 421640 w 1193800"/>
                    <a:gd name="connsiteY41" fmla="*/ 655320 h 762000"/>
                    <a:gd name="connsiteX42" fmla="*/ 355600 w 1193800"/>
                    <a:gd name="connsiteY42" fmla="*/ 655320 h 762000"/>
                    <a:gd name="connsiteX43" fmla="*/ 254000 w 1193800"/>
                    <a:gd name="connsiteY43" fmla="*/ 746760 h 762000"/>
                    <a:gd name="connsiteX44" fmla="*/ 218440 w 1193800"/>
                    <a:gd name="connsiteY44" fmla="*/ 762000 h 762000"/>
                    <a:gd name="connsiteX45" fmla="*/ 193040 w 1193800"/>
                    <a:gd name="connsiteY45" fmla="*/ 726440 h 762000"/>
                    <a:gd name="connsiteX46" fmla="*/ 198120 w 1193800"/>
                    <a:gd name="connsiteY46" fmla="*/ 655320 h 762000"/>
                    <a:gd name="connsiteX47" fmla="*/ 193040 w 1193800"/>
                    <a:gd name="connsiteY47" fmla="*/ 629920 h 762000"/>
                    <a:gd name="connsiteX48" fmla="*/ 132080 w 1193800"/>
                    <a:gd name="connsiteY48" fmla="*/ 614680 h 762000"/>
                    <a:gd name="connsiteX49" fmla="*/ 0 w 1193800"/>
                    <a:gd name="connsiteY49" fmla="*/ 655320 h 762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</a:cxnLst>
                  <a:rect l="l" t="t" r="r" b="b"/>
                  <a:pathLst>
                    <a:path w="1193800" h="762000">
                      <a:moveTo>
                        <a:pt x="0" y="655320"/>
                      </a:moveTo>
                      <a:lnTo>
                        <a:pt x="71120" y="579120"/>
                      </a:lnTo>
                      <a:lnTo>
                        <a:pt x="111760" y="574040"/>
                      </a:lnTo>
                      <a:lnTo>
                        <a:pt x="187960" y="497840"/>
                      </a:lnTo>
                      <a:lnTo>
                        <a:pt x="299720" y="406400"/>
                      </a:lnTo>
                      <a:lnTo>
                        <a:pt x="401320" y="309880"/>
                      </a:lnTo>
                      <a:lnTo>
                        <a:pt x="472440" y="248920"/>
                      </a:lnTo>
                      <a:lnTo>
                        <a:pt x="472440" y="198120"/>
                      </a:lnTo>
                      <a:lnTo>
                        <a:pt x="502920" y="137160"/>
                      </a:lnTo>
                      <a:lnTo>
                        <a:pt x="502920" y="137160"/>
                      </a:lnTo>
                      <a:lnTo>
                        <a:pt x="584200" y="127000"/>
                      </a:lnTo>
                      <a:lnTo>
                        <a:pt x="619760" y="132080"/>
                      </a:lnTo>
                      <a:lnTo>
                        <a:pt x="619760" y="132080"/>
                      </a:lnTo>
                      <a:lnTo>
                        <a:pt x="629920" y="167640"/>
                      </a:lnTo>
                      <a:lnTo>
                        <a:pt x="751840" y="157480"/>
                      </a:lnTo>
                      <a:lnTo>
                        <a:pt x="797560" y="187960"/>
                      </a:lnTo>
                      <a:lnTo>
                        <a:pt x="797560" y="137160"/>
                      </a:lnTo>
                      <a:lnTo>
                        <a:pt x="843280" y="86360"/>
                      </a:lnTo>
                      <a:lnTo>
                        <a:pt x="914400" y="91440"/>
                      </a:lnTo>
                      <a:lnTo>
                        <a:pt x="980440" y="0"/>
                      </a:lnTo>
                      <a:lnTo>
                        <a:pt x="1061720" y="55880"/>
                      </a:lnTo>
                      <a:lnTo>
                        <a:pt x="1132840" y="55880"/>
                      </a:lnTo>
                      <a:lnTo>
                        <a:pt x="1193800" y="30480"/>
                      </a:lnTo>
                      <a:lnTo>
                        <a:pt x="1148080" y="111760"/>
                      </a:lnTo>
                      <a:lnTo>
                        <a:pt x="1122680" y="152400"/>
                      </a:lnTo>
                      <a:lnTo>
                        <a:pt x="1071880" y="198120"/>
                      </a:lnTo>
                      <a:lnTo>
                        <a:pt x="1046480" y="167640"/>
                      </a:lnTo>
                      <a:lnTo>
                        <a:pt x="1046480" y="167640"/>
                      </a:lnTo>
                      <a:lnTo>
                        <a:pt x="1005840" y="137160"/>
                      </a:lnTo>
                      <a:lnTo>
                        <a:pt x="924560" y="157480"/>
                      </a:lnTo>
                      <a:lnTo>
                        <a:pt x="878840" y="142240"/>
                      </a:lnTo>
                      <a:lnTo>
                        <a:pt x="883920" y="172720"/>
                      </a:lnTo>
                      <a:lnTo>
                        <a:pt x="848360" y="228600"/>
                      </a:lnTo>
                      <a:lnTo>
                        <a:pt x="909320" y="391160"/>
                      </a:lnTo>
                      <a:lnTo>
                        <a:pt x="853440" y="386080"/>
                      </a:lnTo>
                      <a:lnTo>
                        <a:pt x="838200" y="431800"/>
                      </a:lnTo>
                      <a:lnTo>
                        <a:pt x="833120" y="502920"/>
                      </a:lnTo>
                      <a:lnTo>
                        <a:pt x="762000" y="548640"/>
                      </a:lnTo>
                      <a:lnTo>
                        <a:pt x="655320" y="543560"/>
                      </a:lnTo>
                      <a:lnTo>
                        <a:pt x="594360" y="589280"/>
                      </a:lnTo>
                      <a:lnTo>
                        <a:pt x="502920" y="660400"/>
                      </a:lnTo>
                      <a:lnTo>
                        <a:pt x="421640" y="655320"/>
                      </a:lnTo>
                      <a:lnTo>
                        <a:pt x="355600" y="655320"/>
                      </a:lnTo>
                      <a:lnTo>
                        <a:pt x="254000" y="746760"/>
                      </a:lnTo>
                      <a:lnTo>
                        <a:pt x="218440" y="762000"/>
                      </a:lnTo>
                      <a:lnTo>
                        <a:pt x="193040" y="726440"/>
                      </a:lnTo>
                      <a:lnTo>
                        <a:pt x="198120" y="655320"/>
                      </a:lnTo>
                      <a:lnTo>
                        <a:pt x="193040" y="629920"/>
                      </a:lnTo>
                      <a:lnTo>
                        <a:pt x="132080" y="614680"/>
                      </a:lnTo>
                      <a:lnTo>
                        <a:pt x="0" y="655320"/>
                      </a:ln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 w="31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78844" tIns="378844" rIns="378844" bIns="378844" rtlCol="0" anchor="ctr"/>
                <a:lstStyle/>
                <a:p>
                  <a:pPr algn="ctr"/>
                  <a:endParaRPr lang="nl-NL" sz="3508"/>
                </a:p>
              </p:txBody>
            </p:sp>
            <p:sp>
              <p:nvSpPr>
                <p:cNvPr id="12" name="Vrije vorm: vorm 11">
                  <a:extLst>
                    <a:ext uri="{FF2B5EF4-FFF2-40B4-BE49-F238E27FC236}">
                      <a16:creationId xmlns:a16="http://schemas.microsoft.com/office/drawing/2014/main" id="{CA0A53C7-7E31-4753-9755-9505CAB967D4}"/>
                    </a:ext>
                  </a:extLst>
                </p:cNvPr>
                <p:cNvSpPr/>
                <p:nvPr/>
              </p:nvSpPr>
              <p:spPr>
                <a:xfrm>
                  <a:off x="955368" y="6470086"/>
                  <a:ext cx="1203565" cy="1452051"/>
                </a:xfrm>
                <a:custGeom>
                  <a:avLst/>
                  <a:gdLst>
                    <a:gd name="connsiteX0" fmla="*/ 0 w 894080"/>
                    <a:gd name="connsiteY0" fmla="*/ 1051560 h 1122680"/>
                    <a:gd name="connsiteX1" fmla="*/ 60960 w 894080"/>
                    <a:gd name="connsiteY1" fmla="*/ 1010920 h 1122680"/>
                    <a:gd name="connsiteX2" fmla="*/ 91440 w 894080"/>
                    <a:gd name="connsiteY2" fmla="*/ 904240 h 1122680"/>
                    <a:gd name="connsiteX3" fmla="*/ 86360 w 894080"/>
                    <a:gd name="connsiteY3" fmla="*/ 828040 h 1122680"/>
                    <a:gd name="connsiteX4" fmla="*/ 167640 w 894080"/>
                    <a:gd name="connsiteY4" fmla="*/ 767080 h 1122680"/>
                    <a:gd name="connsiteX5" fmla="*/ 233680 w 894080"/>
                    <a:gd name="connsiteY5" fmla="*/ 594360 h 1122680"/>
                    <a:gd name="connsiteX6" fmla="*/ 269240 w 894080"/>
                    <a:gd name="connsiteY6" fmla="*/ 563880 h 1122680"/>
                    <a:gd name="connsiteX7" fmla="*/ 279400 w 894080"/>
                    <a:gd name="connsiteY7" fmla="*/ 502920 h 1122680"/>
                    <a:gd name="connsiteX8" fmla="*/ 365760 w 894080"/>
                    <a:gd name="connsiteY8" fmla="*/ 462280 h 1122680"/>
                    <a:gd name="connsiteX9" fmla="*/ 452120 w 894080"/>
                    <a:gd name="connsiteY9" fmla="*/ 406400 h 1122680"/>
                    <a:gd name="connsiteX10" fmla="*/ 436880 w 894080"/>
                    <a:gd name="connsiteY10" fmla="*/ 274320 h 1122680"/>
                    <a:gd name="connsiteX11" fmla="*/ 487680 w 894080"/>
                    <a:gd name="connsiteY11" fmla="*/ 223520 h 1122680"/>
                    <a:gd name="connsiteX12" fmla="*/ 447040 w 894080"/>
                    <a:gd name="connsiteY12" fmla="*/ 203200 h 1122680"/>
                    <a:gd name="connsiteX13" fmla="*/ 421640 w 894080"/>
                    <a:gd name="connsiteY13" fmla="*/ 142240 h 1122680"/>
                    <a:gd name="connsiteX14" fmla="*/ 426720 w 894080"/>
                    <a:gd name="connsiteY14" fmla="*/ 91440 h 1122680"/>
                    <a:gd name="connsiteX15" fmla="*/ 589280 w 894080"/>
                    <a:gd name="connsiteY15" fmla="*/ 0 h 1122680"/>
                    <a:gd name="connsiteX16" fmla="*/ 589280 w 894080"/>
                    <a:gd name="connsiteY16" fmla="*/ 0 h 1122680"/>
                    <a:gd name="connsiteX17" fmla="*/ 655320 w 894080"/>
                    <a:gd name="connsiteY17" fmla="*/ 20320 h 1122680"/>
                    <a:gd name="connsiteX18" fmla="*/ 614680 w 894080"/>
                    <a:gd name="connsiteY18" fmla="*/ 152400 h 1122680"/>
                    <a:gd name="connsiteX19" fmla="*/ 706120 w 894080"/>
                    <a:gd name="connsiteY19" fmla="*/ 177800 h 1122680"/>
                    <a:gd name="connsiteX20" fmla="*/ 695960 w 894080"/>
                    <a:gd name="connsiteY20" fmla="*/ 365760 h 1122680"/>
                    <a:gd name="connsiteX21" fmla="*/ 894080 w 894080"/>
                    <a:gd name="connsiteY21" fmla="*/ 553720 h 1122680"/>
                    <a:gd name="connsiteX22" fmla="*/ 868680 w 894080"/>
                    <a:gd name="connsiteY22" fmla="*/ 589280 h 1122680"/>
                    <a:gd name="connsiteX23" fmla="*/ 873760 w 894080"/>
                    <a:gd name="connsiteY23" fmla="*/ 640080 h 1122680"/>
                    <a:gd name="connsiteX24" fmla="*/ 828040 w 894080"/>
                    <a:gd name="connsiteY24" fmla="*/ 655320 h 1122680"/>
                    <a:gd name="connsiteX25" fmla="*/ 482600 w 894080"/>
                    <a:gd name="connsiteY25" fmla="*/ 975360 h 1122680"/>
                    <a:gd name="connsiteX26" fmla="*/ 401320 w 894080"/>
                    <a:gd name="connsiteY26" fmla="*/ 1051560 h 1122680"/>
                    <a:gd name="connsiteX27" fmla="*/ 269240 w 894080"/>
                    <a:gd name="connsiteY27" fmla="*/ 1122680 h 1122680"/>
                    <a:gd name="connsiteX28" fmla="*/ 157480 w 894080"/>
                    <a:gd name="connsiteY28" fmla="*/ 1107440 h 1122680"/>
                    <a:gd name="connsiteX29" fmla="*/ 91440 w 894080"/>
                    <a:gd name="connsiteY29" fmla="*/ 1102360 h 1122680"/>
                    <a:gd name="connsiteX30" fmla="*/ 0 w 894080"/>
                    <a:gd name="connsiteY30" fmla="*/ 1051560 h 1122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894080" h="1122680">
                      <a:moveTo>
                        <a:pt x="0" y="1051560"/>
                      </a:moveTo>
                      <a:lnTo>
                        <a:pt x="60960" y="1010920"/>
                      </a:lnTo>
                      <a:lnTo>
                        <a:pt x="91440" y="904240"/>
                      </a:lnTo>
                      <a:lnTo>
                        <a:pt x="86360" y="828040"/>
                      </a:lnTo>
                      <a:lnTo>
                        <a:pt x="167640" y="767080"/>
                      </a:lnTo>
                      <a:lnTo>
                        <a:pt x="233680" y="594360"/>
                      </a:lnTo>
                      <a:lnTo>
                        <a:pt x="269240" y="563880"/>
                      </a:lnTo>
                      <a:lnTo>
                        <a:pt x="279400" y="502920"/>
                      </a:lnTo>
                      <a:lnTo>
                        <a:pt x="365760" y="462280"/>
                      </a:lnTo>
                      <a:lnTo>
                        <a:pt x="452120" y="406400"/>
                      </a:lnTo>
                      <a:lnTo>
                        <a:pt x="436880" y="274320"/>
                      </a:lnTo>
                      <a:lnTo>
                        <a:pt x="487680" y="223520"/>
                      </a:lnTo>
                      <a:lnTo>
                        <a:pt x="447040" y="203200"/>
                      </a:lnTo>
                      <a:lnTo>
                        <a:pt x="421640" y="142240"/>
                      </a:lnTo>
                      <a:lnTo>
                        <a:pt x="426720" y="91440"/>
                      </a:lnTo>
                      <a:lnTo>
                        <a:pt x="589280" y="0"/>
                      </a:lnTo>
                      <a:lnTo>
                        <a:pt x="589280" y="0"/>
                      </a:lnTo>
                      <a:lnTo>
                        <a:pt x="655320" y="20320"/>
                      </a:lnTo>
                      <a:lnTo>
                        <a:pt x="614680" y="152400"/>
                      </a:lnTo>
                      <a:lnTo>
                        <a:pt x="706120" y="177800"/>
                      </a:lnTo>
                      <a:lnTo>
                        <a:pt x="695960" y="365760"/>
                      </a:lnTo>
                      <a:lnTo>
                        <a:pt x="894080" y="553720"/>
                      </a:lnTo>
                      <a:lnTo>
                        <a:pt x="868680" y="589280"/>
                      </a:lnTo>
                      <a:lnTo>
                        <a:pt x="873760" y="640080"/>
                      </a:lnTo>
                      <a:lnTo>
                        <a:pt x="828040" y="655320"/>
                      </a:lnTo>
                      <a:lnTo>
                        <a:pt x="482600" y="975360"/>
                      </a:lnTo>
                      <a:lnTo>
                        <a:pt x="401320" y="1051560"/>
                      </a:lnTo>
                      <a:lnTo>
                        <a:pt x="269240" y="1122680"/>
                      </a:lnTo>
                      <a:lnTo>
                        <a:pt x="157480" y="1107440"/>
                      </a:lnTo>
                      <a:lnTo>
                        <a:pt x="91440" y="1102360"/>
                      </a:lnTo>
                      <a:lnTo>
                        <a:pt x="0" y="1051560"/>
                      </a:ln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 w="31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78844" tIns="378844" rIns="378844" bIns="378844" rtlCol="0" anchor="ctr"/>
                <a:lstStyle/>
                <a:p>
                  <a:pPr algn="ctr"/>
                  <a:endParaRPr lang="nl-NL" sz="3508"/>
                </a:p>
              </p:txBody>
            </p:sp>
            <p:sp>
              <p:nvSpPr>
                <p:cNvPr id="13" name="Vrije vorm: vorm 12">
                  <a:extLst>
                    <a:ext uri="{FF2B5EF4-FFF2-40B4-BE49-F238E27FC236}">
                      <a16:creationId xmlns:a16="http://schemas.microsoft.com/office/drawing/2014/main" id="{868EEAB0-FD77-4051-B41E-70543FBB1D13}"/>
                    </a:ext>
                  </a:extLst>
                </p:cNvPr>
                <p:cNvSpPr/>
                <p:nvPr/>
              </p:nvSpPr>
              <p:spPr>
                <a:xfrm>
                  <a:off x="1854377" y="6394526"/>
                  <a:ext cx="1374526" cy="755592"/>
                </a:xfrm>
                <a:custGeom>
                  <a:avLst/>
                  <a:gdLst>
                    <a:gd name="connsiteX0" fmla="*/ 40640 w 1021080"/>
                    <a:gd name="connsiteY0" fmla="*/ 0 h 584200"/>
                    <a:gd name="connsiteX1" fmla="*/ 0 w 1021080"/>
                    <a:gd name="connsiteY1" fmla="*/ 132080 h 584200"/>
                    <a:gd name="connsiteX2" fmla="*/ 106680 w 1021080"/>
                    <a:gd name="connsiteY2" fmla="*/ 172720 h 584200"/>
                    <a:gd name="connsiteX3" fmla="*/ 96520 w 1021080"/>
                    <a:gd name="connsiteY3" fmla="*/ 360680 h 584200"/>
                    <a:gd name="connsiteX4" fmla="*/ 279400 w 1021080"/>
                    <a:gd name="connsiteY4" fmla="*/ 528320 h 584200"/>
                    <a:gd name="connsiteX5" fmla="*/ 386080 w 1021080"/>
                    <a:gd name="connsiteY5" fmla="*/ 523240 h 584200"/>
                    <a:gd name="connsiteX6" fmla="*/ 421640 w 1021080"/>
                    <a:gd name="connsiteY6" fmla="*/ 558800 h 584200"/>
                    <a:gd name="connsiteX7" fmla="*/ 553720 w 1021080"/>
                    <a:gd name="connsiteY7" fmla="*/ 553720 h 584200"/>
                    <a:gd name="connsiteX8" fmla="*/ 599440 w 1021080"/>
                    <a:gd name="connsiteY8" fmla="*/ 584200 h 584200"/>
                    <a:gd name="connsiteX9" fmla="*/ 594360 w 1021080"/>
                    <a:gd name="connsiteY9" fmla="*/ 508000 h 584200"/>
                    <a:gd name="connsiteX10" fmla="*/ 594360 w 1021080"/>
                    <a:gd name="connsiteY10" fmla="*/ 508000 h 584200"/>
                    <a:gd name="connsiteX11" fmla="*/ 690880 w 1021080"/>
                    <a:gd name="connsiteY11" fmla="*/ 482600 h 584200"/>
                    <a:gd name="connsiteX12" fmla="*/ 767080 w 1021080"/>
                    <a:gd name="connsiteY12" fmla="*/ 396240 h 584200"/>
                    <a:gd name="connsiteX13" fmla="*/ 858520 w 1021080"/>
                    <a:gd name="connsiteY13" fmla="*/ 452120 h 584200"/>
                    <a:gd name="connsiteX14" fmla="*/ 909320 w 1021080"/>
                    <a:gd name="connsiteY14" fmla="*/ 441960 h 584200"/>
                    <a:gd name="connsiteX15" fmla="*/ 924560 w 1021080"/>
                    <a:gd name="connsiteY15" fmla="*/ 421640 h 584200"/>
                    <a:gd name="connsiteX16" fmla="*/ 975360 w 1021080"/>
                    <a:gd name="connsiteY16" fmla="*/ 391160 h 584200"/>
                    <a:gd name="connsiteX17" fmla="*/ 980440 w 1021080"/>
                    <a:gd name="connsiteY17" fmla="*/ 314960 h 584200"/>
                    <a:gd name="connsiteX18" fmla="*/ 883920 w 1021080"/>
                    <a:gd name="connsiteY18" fmla="*/ 345440 h 584200"/>
                    <a:gd name="connsiteX19" fmla="*/ 812800 w 1021080"/>
                    <a:gd name="connsiteY19" fmla="*/ 335280 h 584200"/>
                    <a:gd name="connsiteX20" fmla="*/ 812800 w 1021080"/>
                    <a:gd name="connsiteY20" fmla="*/ 335280 h 584200"/>
                    <a:gd name="connsiteX21" fmla="*/ 802640 w 1021080"/>
                    <a:gd name="connsiteY21" fmla="*/ 284480 h 584200"/>
                    <a:gd name="connsiteX22" fmla="*/ 853440 w 1021080"/>
                    <a:gd name="connsiteY22" fmla="*/ 269240 h 584200"/>
                    <a:gd name="connsiteX23" fmla="*/ 868680 w 1021080"/>
                    <a:gd name="connsiteY23" fmla="*/ 304800 h 584200"/>
                    <a:gd name="connsiteX24" fmla="*/ 904240 w 1021080"/>
                    <a:gd name="connsiteY24" fmla="*/ 264160 h 584200"/>
                    <a:gd name="connsiteX25" fmla="*/ 944880 w 1021080"/>
                    <a:gd name="connsiteY25" fmla="*/ 187960 h 584200"/>
                    <a:gd name="connsiteX26" fmla="*/ 990600 w 1021080"/>
                    <a:gd name="connsiteY26" fmla="*/ 132080 h 584200"/>
                    <a:gd name="connsiteX27" fmla="*/ 1021080 w 1021080"/>
                    <a:gd name="connsiteY27" fmla="*/ 101600 h 584200"/>
                    <a:gd name="connsiteX28" fmla="*/ 883920 w 1021080"/>
                    <a:gd name="connsiteY28" fmla="*/ 50800 h 584200"/>
                    <a:gd name="connsiteX29" fmla="*/ 762000 w 1021080"/>
                    <a:gd name="connsiteY29" fmla="*/ 35560 h 584200"/>
                    <a:gd name="connsiteX30" fmla="*/ 701040 w 1021080"/>
                    <a:gd name="connsiteY30" fmla="*/ 40640 h 584200"/>
                    <a:gd name="connsiteX31" fmla="*/ 690880 w 1021080"/>
                    <a:gd name="connsiteY31" fmla="*/ 86360 h 584200"/>
                    <a:gd name="connsiteX32" fmla="*/ 650240 w 1021080"/>
                    <a:gd name="connsiteY32" fmla="*/ 71120 h 584200"/>
                    <a:gd name="connsiteX33" fmla="*/ 574040 w 1021080"/>
                    <a:gd name="connsiteY33" fmla="*/ 55880 h 584200"/>
                    <a:gd name="connsiteX34" fmla="*/ 513080 w 1021080"/>
                    <a:gd name="connsiteY34" fmla="*/ 40640 h 584200"/>
                    <a:gd name="connsiteX35" fmla="*/ 426720 w 1021080"/>
                    <a:gd name="connsiteY35" fmla="*/ 10160 h 584200"/>
                    <a:gd name="connsiteX36" fmla="*/ 401320 w 1021080"/>
                    <a:gd name="connsiteY36" fmla="*/ 71120 h 584200"/>
                    <a:gd name="connsiteX37" fmla="*/ 40640 w 1021080"/>
                    <a:gd name="connsiteY37" fmla="*/ 0 h 5842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1021080" h="584200">
                      <a:moveTo>
                        <a:pt x="40640" y="0"/>
                      </a:moveTo>
                      <a:lnTo>
                        <a:pt x="0" y="132080"/>
                      </a:lnTo>
                      <a:lnTo>
                        <a:pt x="106680" y="172720"/>
                      </a:lnTo>
                      <a:lnTo>
                        <a:pt x="96520" y="360680"/>
                      </a:lnTo>
                      <a:lnTo>
                        <a:pt x="279400" y="528320"/>
                      </a:lnTo>
                      <a:lnTo>
                        <a:pt x="386080" y="523240"/>
                      </a:lnTo>
                      <a:lnTo>
                        <a:pt x="421640" y="558800"/>
                      </a:lnTo>
                      <a:lnTo>
                        <a:pt x="553720" y="553720"/>
                      </a:lnTo>
                      <a:lnTo>
                        <a:pt x="599440" y="584200"/>
                      </a:lnTo>
                      <a:lnTo>
                        <a:pt x="594360" y="508000"/>
                      </a:lnTo>
                      <a:lnTo>
                        <a:pt x="594360" y="508000"/>
                      </a:lnTo>
                      <a:lnTo>
                        <a:pt x="690880" y="482600"/>
                      </a:lnTo>
                      <a:lnTo>
                        <a:pt x="767080" y="396240"/>
                      </a:lnTo>
                      <a:lnTo>
                        <a:pt x="858520" y="452120"/>
                      </a:lnTo>
                      <a:lnTo>
                        <a:pt x="909320" y="441960"/>
                      </a:lnTo>
                      <a:lnTo>
                        <a:pt x="924560" y="421640"/>
                      </a:lnTo>
                      <a:lnTo>
                        <a:pt x="975360" y="391160"/>
                      </a:lnTo>
                      <a:lnTo>
                        <a:pt x="980440" y="314960"/>
                      </a:lnTo>
                      <a:lnTo>
                        <a:pt x="883920" y="345440"/>
                      </a:lnTo>
                      <a:lnTo>
                        <a:pt x="812800" y="335280"/>
                      </a:lnTo>
                      <a:lnTo>
                        <a:pt x="812800" y="335280"/>
                      </a:lnTo>
                      <a:lnTo>
                        <a:pt x="802640" y="284480"/>
                      </a:lnTo>
                      <a:lnTo>
                        <a:pt x="853440" y="269240"/>
                      </a:lnTo>
                      <a:lnTo>
                        <a:pt x="868680" y="304800"/>
                      </a:lnTo>
                      <a:lnTo>
                        <a:pt x="904240" y="264160"/>
                      </a:lnTo>
                      <a:lnTo>
                        <a:pt x="944880" y="187960"/>
                      </a:lnTo>
                      <a:lnTo>
                        <a:pt x="990600" y="132080"/>
                      </a:lnTo>
                      <a:lnTo>
                        <a:pt x="1021080" y="101600"/>
                      </a:lnTo>
                      <a:lnTo>
                        <a:pt x="883920" y="50800"/>
                      </a:lnTo>
                      <a:lnTo>
                        <a:pt x="762000" y="35560"/>
                      </a:lnTo>
                      <a:lnTo>
                        <a:pt x="701040" y="40640"/>
                      </a:lnTo>
                      <a:lnTo>
                        <a:pt x="690880" y="86360"/>
                      </a:lnTo>
                      <a:lnTo>
                        <a:pt x="650240" y="71120"/>
                      </a:lnTo>
                      <a:lnTo>
                        <a:pt x="574040" y="55880"/>
                      </a:lnTo>
                      <a:lnTo>
                        <a:pt x="513080" y="40640"/>
                      </a:lnTo>
                      <a:lnTo>
                        <a:pt x="426720" y="10160"/>
                      </a:lnTo>
                      <a:lnTo>
                        <a:pt x="401320" y="71120"/>
                      </a:lnTo>
                      <a:lnTo>
                        <a:pt x="40640" y="0"/>
                      </a:lnTo>
                      <a:close/>
                    </a:path>
                  </a:pathLst>
                </a:custGeom>
                <a:solidFill>
                  <a:srgbClr val="F2F2F2">
                    <a:alpha val="65098"/>
                  </a:srgbClr>
                </a:solidFill>
                <a:ln w="31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78844" tIns="378844" rIns="378844" bIns="378844" rtlCol="0" anchor="ctr"/>
                <a:lstStyle/>
                <a:p>
                  <a:pPr algn="ctr"/>
                  <a:endParaRPr lang="nl-NL" sz="3508"/>
                </a:p>
              </p:txBody>
            </p:sp>
            <p:sp>
              <p:nvSpPr>
                <p:cNvPr id="14" name="Vrije vorm: vorm 13">
                  <a:extLst>
                    <a:ext uri="{FF2B5EF4-FFF2-40B4-BE49-F238E27FC236}">
                      <a16:creationId xmlns:a16="http://schemas.microsoft.com/office/drawing/2014/main" id="{B417027D-D124-418B-88AF-8FE2FC9A4567}"/>
                    </a:ext>
                  </a:extLst>
                </p:cNvPr>
                <p:cNvSpPr/>
                <p:nvPr/>
              </p:nvSpPr>
              <p:spPr>
                <a:xfrm>
                  <a:off x="2716265" y="7251556"/>
                  <a:ext cx="362437" cy="341659"/>
                </a:xfrm>
                <a:custGeom>
                  <a:avLst/>
                  <a:gdLst>
                    <a:gd name="connsiteX0" fmla="*/ 76200 w 269240"/>
                    <a:gd name="connsiteY0" fmla="*/ 264160 h 264160"/>
                    <a:gd name="connsiteX1" fmla="*/ 0 w 269240"/>
                    <a:gd name="connsiteY1" fmla="*/ 91440 h 264160"/>
                    <a:gd name="connsiteX2" fmla="*/ 25400 w 269240"/>
                    <a:gd name="connsiteY2" fmla="*/ 45720 h 264160"/>
                    <a:gd name="connsiteX3" fmla="*/ 25400 w 269240"/>
                    <a:gd name="connsiteY3" fmla="*/ 15240 h 264160"/>
                    <a:gd name="connsiteX4" fmla="*/ 71120 w 269240"/>
                    <a:gd name="connsiteY4" fmla="*/ 20320 h 264160"/>
                    <a:gd name="connsiteX5" fmla="*/ 152400 w 269240"/>
                    <a:gd name="connsiteY5" fmla="*/ 0 h 264160"/>
                    <a:gd name="connsiteX6" fmla="*/ 208280 w 269240"/>
                    <a:gd name="connsiteY6" fmla="*/ 50800 h 264160"/>
                    <a:gd name="connsiteX7" fmla="*/ 269240 w 269240"/>
                    <a:gd name="connsiteY7" fmla="*/ 20320 h 264160"/>
                    <a:gd name="connsiteX8" fmla="*/ 264160 w 269240"/>
                    <a:gd name="connsiteY8" fmla="*/ 116840 h 264160"/>
                    <a:gd name="connsiteX9" fmla="*/ 213360 w 269240"/>
                    <a:gd name="connsiteY9" fmla="*/ 152400 h 264160"/>
                    <a:gd name="connsiteX10" fmla="*/ 193040 w 269240"/>
                    <a:gd name="connsiteY10" fmla="*/ 198120 h 264160"/>
                    <a:gd name="connsiteX11" fmla="*/ 162560 w 269240"/>
                    <a:gd name="connsiteY11" fmla="*/ 198120 h 264160"/>
                    <a:gd name="connsiteX12" fmla="*/ 121920 w 269240"/>
                    <a:gd name="connsiteY12" fmla="*/ 233680 h 264160"/>
                    <a:gd name="connsiteX13" fmla="*/ 76200 w 269240"/>
                    <a:gd name="connsiteY13" fmla="*/ 264160 h 264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269240" h="264160">
                      <a:moveTo>
                        <a:pt x="76200" y="264160"/>
                      </a:moveTo>
                      <a:lnTo>
                        <a:pt x="0" y="91440"/>
                      </a:lnTo>
                      <a:lnTo>
                        <a:pt x="25400" y="45720"/>
                      </a:lnTo>
                      <a:lnTo>
                        <a:pt x="25400" y="15240"/>
                      </a:lnTo>
                      <a:lnTo>
                        <a:pt x="71120" y="20320"/>
                      </a:lnTo>
                      <a:lnTo>
                        <a:pt x="152400" y="0"/>
                      </a:lnTo>
                      <a:lnTo>
                        <a:pt x="208280" y="50800"/>
                      </a:lnTo>
                      <a:lnTo>
                        <a:pt x="269240" y="20320"/>
                      </a:lnTo>
                      <a:lnTo>
                        <a:pt x="264160" y="116840"/>
                      </a:lnTo>
                      <a:lnTo>
                        <a:pt x="213360" y="152400"/>
                      </a:lnTo>
                      <a:lnTo>
                        <a:pt x="193040" y="198120"/>
                      </a:lnTo>
                      <a:lnTo>
                        <a:pt x="162560" y="198120"/>
                      </a:lnTo>
                      <a:cubicBezTo>
                        <a:pt x="123919" y="225721"/>
                        <a:pt x="133514" y="210491"/>
                        <a:pt x="121920" y="233680"/>
                      </a:cubicBezTo>
                      <a:lnTo>
                        <a:pt x="76200" y="264160"/>
                      </a:ln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 w="31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78844" tIns="378844" rIns="378844" bIns="378844" rtlCol="0" anchor="ctr"/>
                <a:lstStyle/>
                <a:p>
                  <a:pPr algn="ctr"/>
                  <a:endParaRPr lang="nl-NL" sz="3508"/>
                </a:p>
              </p:txBody>
            </p:sp>
            <p:sp>
              <p:nvSpPr>
                <p:cNvPr id="287" name="Vrije vorm: vorm 286">
                  <a:extLst>
                    <a:ext uri="{FF2B5EF4-FFF2-40B4-BE49-F238E27FC236}">
                      <a16:creationId xmlns:a16="http://schemas.microsoft.com/office/drawing/2014/main" id="{9D0BD792-34D6-4E62-9A49-4365E384EA56}"/>
                    </a:ext>
                  </a:extLst>
                </p:cNvPr>
                <p:cNvSpPr/>
                <p:nvPr/>
              </p:nvSpPr>
              <p:spPr>
                <a:xfrm>
                  <a:off x="955718" y="6469493"/>
                  <a:ext cx="1203565" cy="1452051"/>
                </a:xfrm>
                <a:custGeom>
                  <a:avLst/>
                  <a:gdLst>
                    <a:gd name="connsiteX0" fmla="*/ 0 w 894080"/>
                    <a:gd name="connsiteY0" fmla="*/ 1051560 h 1122680"/>
                    <a:gd name="connsiteX1" fmla="*/ 60960 w 894080"/>
                    <a:gd name="connsiteY1" fmla="*/ 1010920 h 1122680"/>
                    <a:gd name="connsiteX2" fmla="*/ 91440 w 894080"/>
                    <a:gd name="connsiteY2" fmla="*/ 904240 h 1122680"/>
                    <a:gd name="connsiteX3" fmla="*/ 86360 w 894080"/>
                    <a:gd name="connsiteY3" fmla="*/ 828040 h 1122680"/>
                    <a:gd name="connsiteX4" fmla="*/ 167640 w 894080"/>
                    <a:gd name="connsiteY4" fmla="*/ 767080 h 1122680"/>
                    <a:gd name="connsiteX5" fmla="*/ 233680 w 894080"/>
                    <a:gd name="connsiteY5" fmla="*/ 594360 h 1122680"/>
                    <a:gd name="connsiteX6" fmla="*/ 269240 w 894080"/>
                    <a:gd name="connsiteY6" fmla="*/ 563880 h 1122680"/>
                    <a:gd name="connsiteX7" fmla="*/ 279400 w 894080"/>
                    <a:gd name="connsiteY7" fmla="*/ 502920 h 1122680"/>
                    <a:gd name="connsiteX8" fmla="*/ 365760 w 894080"/>
                    <a:gd name="connsiteY8" fmla="*/ 462280 h 1122680"/>
                    <a:gd name="connsiteX9" fmla="*/ 452120 w 894080"/>
                    <a:gd name="connsiteY9" fmla="*/ 406400 h 1122680"/>
                    <a:gd name="connsiteX10" fmla="*/ 436880 w 894080"/>
                    <a:gd name="connsiteY10" fmla="*/ 274320 h 1122680"/>
                    <a:gd name="connsiteX11" fmla="*/ 487680 w 894080"/>
                    <a:gd name="connsiteY11" fmla="*/ 223520 h 1122680"/>
                    <a:gd name="connsiteX12" fmla="*/ 447040 w 894080"/>
                    <a:gd name="connsiteY12" fmla="*/ 203200 h 1122680"/>
                    <a:gd name="connsiteX13" fmla="*/ 421640 w 894080"/>
                    <a:gd name="connsiteY13" fmla="*/ 142240 h 1122680"/>
                    <a:gd name="connsiteX14" fmla="*/ 426720 w 894080"/>
                    <a:gd name="connsiteY14" fmla="*/ 91440 h 1122680"/>
                    <a:gd name="connsiteX15" fmla="*/ 589280 w 894080"/>
                    <a:gd name="connsiteY15" fmla="*/ 0 h 1122680"/>
                    <a:gd name="connsiteX16" fmla="*/ 589280 w 894080"/>
                    <a:gd name="connsiteY16" fmla="*/ 0 h 1122680"/>
                    <a:gd name="connsiteX17" fmla="*/ 655320 w 894080"/>
                    <a:gd name="connsiteY17" fmla="*/ 20320 h 1122680"/>
                    <a:gd name="connsiteX18" fmla="*/ 614680 w 894080"/>
                    <a:gd name="connsiteY18" fmla="*/ 152400 h 1122680"/>
                    <a:gd name="connsiteX19" fmla="*/ 706120 w 894080"/>
                    <a:gd name="connsiteY19" fmla="*/ 177800 h 1122680"/>
                    <a:gd name="connsiteX20" fmla="*/ 695960 w 894080"/>
                    <a:gd name="connsiteY20" fmla="*/ 365760 h 1122680"/>
                    <a:gd name="connsiteX21" fmla="*/ 894080 w 894080"/>
                    <a:gd name="connsiteY21" fmla="*/ 553720 h 1122680"/>
                    <a:gd name="connsiteX22" fmla="*/ 868680 w 894080"/>
                    <a:gd name="connsiteY22" fmla="*/ 589280 h 1122680"/>
                    <a:gd name="connsiteX23" fmla="*/ 873760 w 894080"/>
                    <a:gd name="connsiteY23" fmla="*/ 640080 h 1122680"/>
                    <a:gd name="connsiteX24" fmla="*/ 828040 w 894080"/>
                    <a:gd name="connsiteY24" fmla="*/ 655320 h 1122680"/>
                    <a:gd name="connsiteX25" fmla="*/ 482600 w 894080"/>
                    <a:gd name="connsiteY25" fmla="*/ 975360 h 1122680"/>
                    <a:gd name="connsiteX26" fmla="*/ 401320 w 894080"/>
                    <a:gd name="connsiteY26" fmla="*/ 1051560 h 1122680"/>
                    <a:gd name="connsiteX27" fmla="*/ 269240 w 894080"/>
                    <a:gd name="connsiteY27" fmla="*/ 1122680 h 1122680"/>
                    <a:gd name="connsiteX28" fmla="*/ 157480 w 894080"/>
                    <a:gd name="connsiteY28" fmla="*/ 1107440 h 1122680"/>
                    <a:gd name="connsiteX29" fmla="*/ 91440 w 894080"/>
                    <a:gd name="connsiteY29" fmla="*/ 1102360 h 1122680"/>
                    <a:gd name="connsiteX30" fmla="*/ 0 w 894080"/>
                    <a:gd name="connsiteY30" fmla="*/ 1051560 h 1122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894080" h="1122680">
                      <a:moveTo>
                        <a:pt x="0" y="1051560"/>
                      </a:moveTo>
                      <a:lnTo>
                        <a:pt x="60960" y="1010920"/>
                      </a:lnTo>
                      <a:lnTo>
                        <a:pt x="91440" y="904240"/>
                      </a:lnTo>
                      <a:lnTo>
                        <a:pt x="86360" y="828040"/>
                      </a:lnTo>
                      <a:lnTo>
                        <a:pt x="167640" y="767080"/>
                      </a:lnTo>
                      <a:lnTo>
                        <a:pt x="233680" y="594360"/>
                      </a:lnTo>
                      <a:lnTo>
                        <a:pt x="269240" y="563880"/>
                      </a:lnTo>
                      <a:lnTo>
                        <a:pt x="279400" y="502920"/>
                      </a:lnTo>
                      <a:lnTo>
                        <a:pt x="365760" y="462280"/>
                      </a:lnTo>
                      <a:lnTo>
                        <a:pt x="452120" y="406400"/>
                      </a:lnTo>
                      <a:lnTo>
                        <a:pt x="436880" y="274320"/>
                      </a:lnTo>
                      <a:lnTo>
                        <a:pt x="487680" y="223520"/>
                      </a:lnTo>
                      <a:lnTo>
                        <a:pt x="447040" y="203200"/>
                      </a:lnTo>
                      <a:lnTo>
                        <a:pt x="421640" y="142240"/>
                      </a:lnTo>
                      <a:lnTo>
                        <a:pt x="426720" y="91440"/>
                      </a:lnTo>
                      <a:lnTo>
                        <a:pt x="589280" y="0"/>
                      </a:lnTo>
                      <a:lnTo>
                        <a:pt x="589280" y="0"/>
                      </a:lnTo>
                      <a:lnTo>
                        <a:pt x="655320" y="20320"/>
                      </a:lnTo>
                      <a:lnTo>
                        <a:pt x="614680" y="152400"/>
                      </a:lnTo>
                      <a:lnTo>
                        <a:pt x="706120" y="177800"/>
                      </a:lnTo>
                      <a:lnTo>
                        <a:pt x="695960" y="365760"/>
                      </a:lnTo>
                      <a:lnTo>
                        <a:pt x="894080" y="553720"/>
                      </a:lnTo>
                      <a:lnTo>
                        <a:pt x="868680" y="589280"/>
                      </a:lnTo>
                      <a:lnTo>
                        <a:pt x="873760" y="640080"/>
                      </a:lnTo>
                      <a:lnTo>
                        <a:pt x="828040" y="655320"/>
                      </a:lnTo>
                      <a:lnTo>
                        <a:pt x="482600" y="975360"/>
                      </a:lnTo>
                      <a:lnTo>
                        <a:pt x="401320" y="1051560"/>
                      </a:lnTo>
                      <a:lnTo>
                        <a:pt x="269240" y="1122680"/>
                      </a:lnTo>
                      <a:lnTo>
                        <a:pt x="157480" y="1107440"/>
                      </a:lnTo>
                      <a:lnTo>
                        <a:pt x="91440" y="1102360"/>
                      </a:lnTo>
                      <a:lnTo>
                        <a:pt x="0" y="1051560"/>
                      </a:ln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 w="31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78844" tIns="378844" rIns="378844" bIns="378844" rtlCol="0" anchor="ctr"/>
                <a:lstStyle/>
                <a:p>
                  <a:pPr algn="ctr"/>
                  <a:endParaRPr lang="nl-NL" sz="3508"/>
                </a:p>
              </p:txBody>
            </p:sp>
          </p:grpSp>
          <p:sp>
            <p:nvSpPr>
              <p:cNvPr id="342" name="Ovaal 341">
                <a:extLst>
                  <a:ext uri="{FF2B5EF4-FFF2-40B4-BE49-F238E27FC236}">
                    <a16:creationId xmlns:a16="http://schemas.microsoft.com/office/drawing/2014/main" id="{DAFCEED3-D33E-4F74-BDCE-2D10A12ADBC2}"/>
                  </a:ext>
                </a:extLst>
              </p:cNvPr>
              <p:cNvSpPr/>
              <p:nvPr/>
            </p:nvSpPr>
            <p:spPr>
              <a:xfrm>
                <a:off x="6771756" y="4673340"/>
                <a:ext cx="108834" cy="101937"/>
              </a:xfrm>
              <a:prstGeom prst="ellipse">
                <a:avLst/>
              </a:prstGeom>
              <a:solidFill>
                <a:schemeClr val="accent1"/>
              </a:solidFill>
              <a:ln w="285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343" name="Ovaal 342">
                <a:extLst>
                  <a:ext uri="{FF2B5EF4-FFF2-40B4-BE49-F238E27FC236}">
                    <a16:creationId xmlns:a16="http://schemas.microsoft.com/office/drawing/2014/main" id="{432F8A8F-D5A9-452D-AC70-6FCD2543BA42}"/>
                  </a:ext>
                </a:extLst>
              </p:cNvPr>
              <p:cNvSpPr/>
              <p:nvPr/>
            </p:nvSpPr>
            <p:spPr>
              <a:xfrm>
                <a:off x="6940060" y="4605477"/>
                <a:ext cx="67477" cy="6320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344" name="Tekstvak 343">
                <a:extLst>
                  <a:ext uri="{FF2B5EF4-FFF2-40B4-BE49-F238E27FC236}">
                    <a16:creationId xmlns:a16="http://schemas.microsoft.com/office/drawing/2014/main" id="{D755EC0C-73EC-412A-8318-BF5EC9C459C0}"/>
                  </a:ext>
                </a:extLst>
              </p:cNvPr>
              <p:cNvSpPr txBox="1"/>
              <p:nvPr/>
            </p:nvSpPr>
            <p:spPr>
              <a:xfrm>
                <a:off x="6810381" y="4734844"/>
                <a:ext cx="862158" cy="1020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chemeClr val="accent1"/>
                    </a:solidFill>
                  </a:rPr>
                  <a:t>Velsen</a:t>
                </a:r>
              </a:p>
            </p:txBody>
          </p:sp>
          <p:sp>
            <p:nvSpPr>
              <p:cNvPr id="345" name="Tekstvak 344">
                <a:extLst>
                  <a:ext uri="{FF2B5EF4-FFF2-40B4-BE49-F238E27FC236}">
                    <a16:creationId xmlns:a16="http://schemas.microsoft.com/office/drawing/2014/main" id="{B67FC309-727B-4A3E-B91F-1B11692874C8}"/>
                  </a:ext>
                </a:extLst>
              </p:cNvPr>
              <p:cNvSpPr txBox="1"/>
              <p:nvPr/>
            </p:nvSpPr>
            <p:spPr>
              <a:xfrm>
                <a:off x="6978060" y="4546555"/>
                <a:ext cx="862158" cy="1020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chemeClr val="accent1"/>
                    </a:solidFill>
                  </a:rPr>
                  <a:t>Beverwijk</a:t>
                </a:r>
              </a:p>
            </p:txBody>
          </p:sp>
          <p:sp>
            <p:nvSpPr>
              <p:cNvPr id="346" name="Ovaal 345">
                <a:extLst>
                  <a:ext uri="{FF2B5EF4-FFF2-40B4-BE49-F238E27FC236}">
                    <a16:creationId xmlns:a16="http://schemas.microsoft.com/office/drawing/2014/main" id="{0DA54EDE-E14C-4C32-B588-0D38FC80AFB4}"/>
                  </a:ext>
                </a:extLst>
              </p:cNvPr>
              <p:cNvSpPr/>
              <p:nvPr/>
            </p:nvSpPr>
            <p:spPr>
              <a:xfrm>
                <a:off x="6692505" y="4847497"/>
                <a:ext cx="67477" cy="6320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347" name="Tekstvak 346">
                <a:extLst>
                  <a:ext uri="{FF2B5EF4-FFF2-40B4-BE49-F238E27FC236}">
                    <a16:creationId xmlns:a16="http://schemas.microsoft.com/office/drawing/2014/main" id="{D9701918-F911-4A97-8575-734D20DB934F}"/>
                  </a:ext>
                </a:extLst>
              </p:cNvPr>
              <p:cNvSpPr txBox="1"/>
              <p:nvPr/>
            </p:nvSpPr>
            <p:spPr>
              <a:xfrm>
                <a:off x="6735442" y="4811250"/>
                <a:ext cx="862158" cy="1020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chemeClr val="accent1"/>
                    </a:solidFill>
                  </a:rPr>
                  <a:t>IJmuiden</a:t>
                </a:r>
              </a:p>
            </p:txBody>
          </p:sp>
          <p:sp>
            <p:nvSpPr>
              <p:cNvPr id="350" name="Ovaal 349">
                <a:extLst>
                  <a:ext uri="{FF2B5EF4-FFF2-40B4-BE49-F238E27FC236}">
                    <a16:creationId xmlns:a16="http://schemas.microsoft.com/office/drawing/2014/main" id="{8B41D18D-E193-4E9D-B464-F5682D7D67BF}"/>
                  </a:ext>
                </a:extLst>
              </p:cNvPr>
              <p:cNvSpPr/>
              <p:nvPr/>
            </p:nvSpPr>
            <p:spPr>
              <a:xfrm>
                <a:off x="6878086" y="5533134"/>
                <a:ext cx="67477" cy="6320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351" name="Tekstvak 350">
                <a:extLst>
                  <a:ext uri="{FF2B5EF4-FFF2-40B4-BE49-F238E27FC236}">
                    <a16:creationId xmlns:a16="http://schemas.microsoft.com/office/drawing/2014/main" id="{CA55B6E1-5C9A-4411-BE06-D56230533818}"/>
                  </a:ext>
                </a:extLst>
              </p:cNvPr>
              <p:cNvSpPr txBox="1"/>
              <p:nvPr/>
            </p:nvSpPr>
            <p:spPr>
              <a:xfrm>
                <a:off x="6573994" y="5570085"/>
                <a:ext cx="862158" cy="1020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chemeClr val="accent1"/>
                    </a:solidFill>
                  </a:rPr>
                  <a:t>Schalkwijk</a:t>
                </a:r>
              </a:p>
            </p:txBody>
          </p:sp>
          <p:sp>
            <p:nvSpPr>
              <p:cNvPr id="353" name="Tekstvak 352">
                <a:extLst>
                  <a:ext uri="{FF2B5EF4-FFF2-40B4-BE49-F238E27FC236}">
                    <a16:creationId xmlns:a16="http://schemas.microsoft.com/office/drawing/2014/main" id="{A53AE3E0-EBC4-41F6-BA78-DC25C26532B4}"/>
                  </a:ext>
                </a:extLst>
              </p:cNvPr>
              <p:cNvSpPr txBox="1"/>
              <p:nvPr/>
            </p:nvSpPr>
            <p:spPr>
              <a:xfrm>
                <a:off x="7192567" y="5390359"/>
                <a:ext cx="862158" cy="1020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chemeClr val="accent1"/>
                    </a:solidFill>
                  </a:rPr>
                  <a:t>Vijfhuizen</a:t>
                </a:r>
              </a:p>
            </p:txBody>
          </p:sp>
          <p:sp>
            <p:nvSpPr>
              <p:cNvPr id="354" name="Ovaal 353">
                <a:extLst>
                  <a:ext uri="{FF2B5EF4-FFF2-40B4-BE49-F238E27FC236}">
                    <a16:creationId xmlns:a16="http://schemas.microsoft.com/office/drawing/2014/main" id="{12453DED-E2D8-43B5-B792-47D5A4CE2468}"/>
                  </a:ext>
                </a:extLst>
              </p:cNvPr>
              <p:cNvSpPr/>
              <p:nvPr/>
            </p:nvSpPr>
            <p:spPr>
              <a:xfrm>
                <a:off x="6966736" y="5207409"/>
                <a:ext cx="67477" cy="63201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355" name="Tekstvak 354">
                <a:extLst>
                  <a:ext uri="{FF2B5EF4-FFF2-40B4-BE49-F238E27FC236}">
                    <a16:creationId xmlns:a16="http://schemas.microsoft.com/office/drawing/2014/main" id="{9DFF59C8-6F00-4D0A-A375-31022F455DBB}"/>
                  </a:ext>
                </a:extLst>
              </p:cNvPr>
              <p:cNvSpPr txBox="1"/>
              <p:nvPr/>
            </p:nvSpPr>
            <p:spPr>
              <a:xfrm>
                <a:off x="6641854" y="5103221"/>
                <a:ext cx="862158" cy="1020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/>
                  <a:t>Waarderpolder</a:t>
                </a:r>
              </a:p>
            </p:txBody>
          </p:sp>
          <p:sp>
            <p:nvSpPr>
              <p:cNvPr id="356" name="Ovaal 355">
                <a:extLst>
                  <a:ext uri="{FF2B5EF4-FFF2-40B4-BE49-F238E27FC236}">
                    <a16:creationId xmlns:a16="http://schemas.microsoft.com/office/drawing/2014/main" id="{EB75AAD3-EE55-46C3-8E4A-78FF6B8B724B}"/>
                  </a:ext>
                </a:extLst>
              </p:cNvPr>
              <p:cNvSpPr/>
              <p:nvPr/>
            </p:nvSpPr>
            <p:spPr>
              <a:xfrm>
                <a:off x="6942545" y="5297966"/>
                <a:ext cx="108834" cy="101937"/>
              </a:xfrm>
              <a:prstGeom prst="ellipse">
                <a:avLst/>
              </a:prstGeom>
              <a:solidFill>
                <a:schemeClr val="accent2"/>
              </a:solidFill>
              <a:ln w="285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357" name="Tekstvak 356">
                <a:extLst>
                  <a:ext uri="{FF2B5EF4-FFF2-40B4-BE49-F238E27FC236}">
                    <a16:creationId xmlns:a16="http://schemas.microsoft.com/office/drawing/2014/main" id="{5114F141-010A-4444-81D8-6568A1470E77}"/>
                  </a:ext>
                </a:extLst>
              </p:cNvPr>
              <p:cNvSpPr txBox="1"/>
              <p:nvPr/>
            </p:nvSpPr>
            <p:spPr>
              <a:xfrm>
                <a:off x="7008438" y="5226542"/>
                <a:ext cx="862158" cy="1020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chemeClr val="accent2"/>
                    </a:solidFill>
                  </a:rPr>
                  <a:t>Hofmanweg</a:t>
                </a:r>
              </a:p>
            </p:txBody>
          </p:sp>
          <p:sp>
            <p:nvSpPr>
              <p:cNvPr id="358" name="Ovaal 357">
                <a:extLst>
                  <a:ext uri="{FF2B5EF4-FFF2-40B4-BE49-F238E27FC236}">
                    <a16:creationId xmlns:a16="http://schemas.microsoft.com/office/drawing/2014/main" id="{0630ECFA-07A5-43E1-A0AD-BB03607239E2}"/>
                  </a:ext>
                </a:extLst>
              </p:cNvPr>
              <p:cNvSpPr/>
              <p:nvPr/>
            </p:nvSpPr>
            <p:spPr>
              <a:xfrm>
                <a:off x="6741442" y="5286938"/>
                <a:ext cx="67477" cy="6320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359" name="Tekstvak 358">
                <a:extLst>
                  <a:ext uri="{FF2B5EF4-FFF2-40B4-BE49-F238E27FC236}">
                    <a16:creationId xmlns:a16="http://schemas.microsoft.com/office/drawing/2014/main" id="{EB36238F-3A1A-4439-BE90-0DAA023317E4}"/>
                  </a:ext>
                </a:extLst>
              </p:cNvPr>
              <p:cNvSpPr txBox="1"/>
              <p:nvPr/>
            </p:nvSpPr>
            <p:spPr>
              <a:xfrm>
                <a:off x="6358194" y="5195286"/>
                <a:ext cx="450158" cy="1020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chemeClr val="accent1"/>
                    </a:solidFill>
                  </a:rPr>
                  <a:t>Overveen</a:t>
                </a:r>
              </a:p>
            </p:txBody>
          </p:sp>
          <p:sp>
            <p:nvSpPr>
              <p:cNvPr id="360" name="Ovaal 359">
                <a:extLst>
                  <a:ext uri="{FF2B5EF4-FFF2-40B4-BE49-F238E27FC236}">
                    <a16:creationId xmlns:a16="http://schemas.microsoft.com/office/drawing/2014/main" id="{56857F0C-A352-4319-8972-15D6895D85CD}"/>
                  </a:ext>
                </a:extLst>
              </p:cNvPr>
              <p:cNvSpPr/>
              <p:nvPr/>
            </p:nvSpPr>
            <p:spPr>
              <a:xfrm>
                <a:off x="6738926" y="5415372"/>
                <a:ext cx="65300" cy="61162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361" name="Tekstvak 360">
                <a:extLst>
                  <a:ext uri="{FF2B5EF4-FFF2-40B4-BE49-F238E27FC236}">
                    <a16:creationId xmlns:a16="http://schemas.microsoft.com/office/drawing/2014/main" id="{A1AAEC45-647D-42FC-A75E-696E01C59191}"/>
                  </a:ext>
                </a:extLst>
              </p:cNvPr>
              <p:cNvSpPr txBox="1"/>
              <p:nvPr/>
            </p:nvSpPr>
            <p:spPr>
              <a:xfrm>
                <a:off x="6187548" y="5365098"/>
                <a:ext cx="613023" cy="1020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/>
                  <a:t>Haarlem West</a:t>
                </a:r>
              </a:p>
            </p:txBody>
          </p:sp>
          <p:sp>
            <p:nvSpPr>
              <p:cNvPr id="362" name="Gelijkbenige driehoek 361">
                <a:extLst>
                  <a:ext uri="{FF2B5EF4-FFF2-40B4-BE49-F238E27FC236}">
                    <a16:creationId xmlns:a16="http://schemas.microsoft.com/office/drawing/2014/main" id="{BF65C5FF-7A5A-4D09-B448-EBF2ABB3ECA8}"/>
                  </a:ext>
                </a:extLst>
              </p:cNvPr>
              <p:cNvSpPr/>
              <p:nvPr/>
            </p:nvSpPr>
            <p:spPr>
              <a:xfrm>
                <a:off x="6859155" y="5428862"/>
                <a:ext cx="67477" cy="63201"/>
              </a:xfrm>
              <a:prstGeom prst="triangl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363" name="Tekstvak 362">
                <a:extLst>
                  <a:ext uri="{FF2B5EF4-FFF2-40B4-BE49-F238E27FC236}">
                    <a16:creationId xmlns:a16="http://schemas.microsoft.com/office/drawing/2014/main" id="{9DDF9F03-3AE2-4DE0-AB5E-3C83A5F89551}"/>
                  </a:ext>
                </a:extLst>
              </p:cNvPr>
              <p:cNvSpPr txBox="1"/>
              <p:nvPr/>
            </p:nvSpPr>
            <p:spPr>
              <a:xfrm>
                <a:off x="6303886" y="5446704"/>
                <a:ext cx="628468" cy="1020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chemeClr val="accent1"/>
                    </a:solidFill>
                  </a:rPr>
                  <a:t>Oorkondelaan</a:t>
                </a: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C35677F6-D802-4C89-B5BF-FE59726ED058}"/>
                  </a:ext>
                </a:extLst>
              </p:cNvPr>
              <p:cNvSpPr/>
              <p:nvPr/>
            </p:nvSpPr>
            <p:spPr>
              <a:xfrm>
                <a:off x="6897406" y="5799843"/>
                <a:ext cx="108834" cy="101937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285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366" name="Ovaal 365">
                <a:extLst>
                  <a:ext uri="{FF2B5EF4-FFF2-40B4-BE49-F238E27FC236}">
                    <a16:creationId xmlns:a16="http://schemas.microsoft.com/office/drawing/2014/main" id="{03C41BE1-BAE2-4DDC-8E5C-A56D795500F3}"/>
                  </a:ext>
                </a:extLst>
              </p:cNvPr>
              <p:cNvSpPr/>
              <p:nvPr/>
            </p:nvSpPr>
            <p:spPr>
              <a:xfrm>
                <a:off x="6881870" y="6080853"/>
                <a:ext cx="67477" cy="63201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368" name="Ovaal 367">
                <a:extLst>
                  <a:ext uri="{FF2B5EF4-FFF2-40B4-BE49-F238E27FC236}">
                    <a16:creationId xmlns:a16="http://schemas.microsoft.com/office/drawing/2014/main" id="{06290631-6B00-421A-8FAE-15555D480F0F}"/>
                  </a:ext>
                </a:extLst>
              </p:cNvPr>
              <p:cNvSpPr/>
              <p:nvPr/>
            </p:nvSpPr>
            <p:spPr>
              <a:xfrm>
                <a:off x="7397771" y="5828810"/>
                <a:ext cx="67477" cy="6320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369" name="Ovaal 368">
                <a:extLst>
                  <a:ext uri="{FF2B5EF4-FFF2-40B4-BE49-F238E27FC236}">
                    <a16:creationId xmlns:a16="http://schemas.microsoft.com/office/drawing/2014/main" id="{96FC0C53-0B8C-4556-A8E8-539311A32A0B}"/>
                  </a:ext>
                </a:extLst>
              </p:cNvPr>
              <p:cNvSpPr/>
              <p:nvPr/>
            </p:nvSpPr>
            <p:spPr>
              <a:xfrm>
                <a:off x="7205394" y="6033970"/>
                <a:ext cx="108834" cy="101937"/>
              </a:xfrm>
              <a:prstGeom prst="ellipse">
                <a:avLst/>
              </a:prstGeom>
              <a:solidFill>
                <a:schemeClr val="accent2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370" name="Ovaal 369">
                <a:extLst>
                  <a:ext uri="{FF2B5EF4-FFF2-40B4-BE49-F238E27FC236}">
                    <a16:creationId xmlns:a16="http://schemas.microsoft.com/office/drawing/2014/main" id="{AA4BC7CA-0911-4E8E-8865-DE5E08B04C8A}"/>
                  </a:ext>
                </a:extLst>
              </p:cNvPr>
              <p:cNvSpPr/>
              <p:nvPr/>
            </p:nvSpPr>
            <p:spPr>
              <a:xfrm>
                <a:off x="7066894" y="5976857"/>
                <a:ext cx="108834" cy="101937"/>
              </a:xfrm>
              <a:prstGeom prst="ellipse">
                <a:avLst/>
              </a:prstGeom>
              <a:solidFill>
                <a:schemeClr val="accent2"/>
              </a:solidFill>
              <a:ln w="285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373" name="Tekstvak 372">
                <a:extLst>
                  <a:ext uri="{FF2B5EF4-FFF2-40B4-BE49-F238E27FC236}">
                    <a16:creationId xmlns:a16="http://schemas.microsoft.com/office/drawing/2014/main" id="{B82B2B17-9512-4A0C-B31D-D20A0B573EC7}"/>
                  </a:ext>
                </a:extLst>
              </p:cNvPr>
              <p:cNvSpPr txBox="1"/>
              <p:nvPr/>
            </p:nvSpPr>
            <p:spPr>
              <a:xfrm>
                <a:off x="6546919" y="5694698"/>
                <a:ext cx="900796" cy="1020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/>
                  <a:t>Haarlemmermeer</a:t>
                </a:r>
              </a:p>
            </p:txBody>
          </p:sp>
          <p:sp>
            <p:nvSpPr>
              <p:cNvPr id="374" name="Tekstvak 373">
                <a:extLst>
                  <a:ext uri="{FF2B5EF4-FFF2-40B4-BE49-F238E27FC236}">
                    <a16:creationId xmlns:a16="http://schemas.microsoft.com/office/drawing/2014/main" id="{1E42CC98-0200-4087-8E9D-A253894C2760}"/>
                  </a:ext>
                </a:extLst>
              </p:cNvPr>
              <p:cNvSpPr txBox="1"/>
              <p:nvPr/>
            </p:nvSpPr>
            <p:spPr>
              <a:xfrm>
                <a:off x="6291558" y="6067020"/>
                <a:ext cx="701812" cy="1020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/>
                  <a:t>Nieuw-Vennep</a:t>
                </a: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80C55934-1A64-4F57-857F-69B0B98F78B6}"/>
                  </a:ext>
                </a:extLst>
              </p:cNvPr>
              <p:cNvSpPr txBox="1"/>
              <p:nvPr/>
            </p:nvSpPr>
            <p:spPr>
              <a:xfrm>
                <a:off x="6931994" y="5777766"/>
                <a:ext cx="514070" cy="1020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/>
                  <a:t>Hoofddorp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FFCA7FC9-FF7E-4BBC-B9B7-3BCE04530816}"/>
                  </a:ext>
                </a:extLst>
              </p:cNvPr>
              <p:cNvSpPr txBox="1"/>
              <p:nvPr/>
            </p:nvSpPr>
            <p:spPr>
              <a:xfrm>
                <a:off x="7335697" y="5615385"/>
                <a:ext cx="507781" cy="18921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chemeClr val="accent1"/>
                    </a:solidFill>
                  </a:rPr>
                  <a:t>Schiphol Centrum</a:t>
                </a:r>
              </a:p>
            </p:txBody>
          </p:sp>
          <p:sp>
            <p:nvSpPr>
              <p:cNvPr id="377" name="Tekstvak 376">
                <a:extLst>
                  <a:ext uri="{FF2B5EF4-FFF2-40B4-BE49-F238E27FC236}">
                    <a16:creationId xmlns:a16="http://schemas.microsoft.com/office/drawing/2014/main" id="{053E4BA7-768D-467B-AAC4-24BCFF843171}"/>
                  </a:ext>
                </a:extLst>
              </p:cNvPr>
              <p:cNvSpPr txBox="1"/>
              <p:nvPr/>
            </p:nvSpPr>
            <p:spPr>
              <a:xfrm>
                <a:off x="7184062" y="5877489"/>
                <a:ext cx="539690" cy="1020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/>
                  <a:t>Rozenburg</a:t>
                </a: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9C8FC9A2-7BDC-43D2-8F18-D6DE44830355}"/>
                  </a:ext>
                </a:extLst>
              </p:cNvPr>
              <p:cNvSpPr txBox="1"/>
              <p:nvPr/>
            </p:nvSpPr>
            <p:spPr>
              <a:xfrm>
                <a:off x="6625516" y="5957031"/>
                <a:ext cx="500923" cy="1020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chemeClr val="accent2"/>
                    </a:solidFill>
                  </a:rPr>
                  <a:t>A4 zone 2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4F65B31C-9782-4034-8268-184DADFAC328}"/>
                  </a:ext>
                </a:extLst>
              </p:cNvPr>
              <p:cNvSpPr txBox="1"/>
              <p:nvPr/>
            </p:nvSpPr>
            <p:spPr>
              <a:xfrm>
                <a:off x="6784759" y="6117558"/>
                <a:ext cx="835949" cy="1020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chemeClr val="accent2"/>
                    </a:solidFill>
                  </a:rPr>
                  <a:t>Rozenburg Zuid</a:t>
                </a:r>
              </a:p>
            </p:txBody>
          </p:sp>
          <p:sp>
            <p:nvSpPr>
              <p:cNvPr id="382" name="Gelijkbenige driehoek 381">
                <a:extLst>
                  <a:ext uri="{FF2B5EF4-FFF2-40B4-BE49-F238E27FC236}">
                    <a16:creationId xmlns:a16="http://schemas.microsoft.com/office/drawing/2014/main" id="{042D852A-F0CD-4601-B7CA-22A70E64F50E}"/>
                  </a:ext>
                </a:extLst>
              </p:cNvPr>
              <p:cNvSpPr/>
              <p:nvPr/>
            </p:nvSpPr>
            <p:spPr>
              <a:xfrm>
                <a:off x="8175666" y="5734060"/>
                <a:ext cx="67477" cy="63201"/>
              </a:xfrm>
              <a:prstGeom prst="triangl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388" name="Ovaal 387">
                <a:extLst>
                  <a:ext uri="{FF2B5EF4-FFF2-40B4-BE49-F238E27FC236}">
                    <a16:creationId xmlns:a16="http://schemas.microsoft.com/office/drawing/2014/main" id="{CA929CFA-7E72-461A-989C-8B8AE690F8A4}"/>
                  </a:ext>
                </a:extLst>
              </p:cNvPr>
              <p:cNvSpPr/>
              <p:nvPr/>
            </p:nvSpPr>
            <p:spPr>
              <a:xfrm>
                <a:off x="8285939" y="5677486"/>
                <a:ext cx="108834" cy="101937"/>
              </a:xfrm>
              <a:prstGeom prst="ellipse">
                <a:avLst/>
              </a:prstGeom>
              <a:solidFill>
                <a:schemeClr val="accent1"/>
              </a:solidFill>
              <a:ln w="285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389" name="Ovaal 388">
                <a:extLst>
                  <a:ext uri="{FF2B5EF4-FFF2-40B4-BE49-F238E27FC236}">
                    <a16:creationId xmlns:a16="http://schemas.microsoft.com/office/drawing/2014/main" id="{5D7EA27D-D0E6-4519-9DE9-DE80ED93184C}"/>
                  </a:ext>
                </a:extLst>
              </p:cNvPr>
              <p:cNvSpPr/>
              <p:nvPr/>
            </p:nvSpPr>
            <p:spPr>
              <a:xfrm>
                <a:off x="8070146" y="5825939"/>
                <a:ext cx="108834" cy="101937"/>
              </a:xfrm>
              <a:prstGeom prst="ellipse">
                <a:avLst/>
              </a:prstGeom>
              <a:solidFill>
                <a:schemeClr val="accent1"/>
              </a:solidFill>
              <a:ln w="285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390" name="Ovaal 389">
                <a:extLst>
                  <a:ext uri="{FF2B5EF4-FFF2-40B4-BE49-F238E27FC236}">
                    <a16:creationId xmlns:a16="http://schemas.microsoft.com/office/drawing/2014/main" id="{A11570A4-C63E-4148-8A2B-2329D450B252}"/>
                  </a:ext>
                </a:extLst>
              </p:cNvPr>
              <p:cNvSpPr/>
              <p:nvPr/>
            </p:nvSpPr>
            <p:spPr>
              <a:xfrm>
                <a:off x="7709236" y="5887087"/>
                <a:ext cx="108834" cy="101937"/>
              </a:xfrm>
              <a:prstGeom prst="ellipse">
                <a:avLst/>
              </a:prstGeom>
              <a:solidFill>
                <a:schemeClr val="accent1"/>
              </a:solidFill>
              <a:ln w="285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391" name="Ovaal 390">
                <a:extLst>
                  <a:ext uri="{FF2B5EF4-FFF2-40B4-BE49-F238E27FC236}">
                    <a16:creationId xmlns:a16="http://schemas.microsoft.com/office/drawing/2014/main" id="{A3C3C558-6E9F-4A3F-BAFA-FA49F0A32573}"/>
                  </a:ext>
                </a:extLst>
              </p:cNvPr>
              <p:cNvSpPr/>
              <p:nvPr/>
            </p:nvSpPr>
            <p:spPr>
              <a:xfrm>
                <a:off x="7823310" y="6009418"/>
                <a:ext cx="108834" cy="101937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285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392" name="Ovaal 391">
                <a:extLst>
                  <a:ext uri="{FF2B5EF4-FFF2-40B4-BE49-F238E27FC236}">
                    <a16:creationId xmlns:a16="http://schemas.microsoft.com/office/drawing/2014/main" id="{0DCF66A1-31FA-4B48-B258-5D830C8E563D}"/>
                  </a:ext>
                </a:extLst>
              </p:cNvPr>
              <p:cNvSpPr/>
              <p:nvPr/>
            </p:nvSpPr>
            <p:spPr>
              <a:xfrm>
                <a:off x="7625653" y="6155846"/>
                <a:ext cx="108834" cy="101937"/>
              </a:xfrm>
              <a:prstGeom prst="ellipse">
                <a:avLst/>
              </a:prstGeom>
              <a:solidFill>
                <a:schemeClr val="accent2"/>
              </a:solidFill>
              <a:ln w="285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393" name="Ovaal 392">
                <a:extLst>
                  <a:ext uri="{FF2B5EF4-FFF2-40B4-BE49-F238E27FC236}">
                    <a16:creationId xmlns:a16="http://schemas.microsoft.com/office/drawing/2014/main" id="{BCDDB9DA-3955-4F26-802B-B48FD0D8A38F}"/>
                  </a:ext>
                </a:extLst>
              </p:cNvPr>
              <p:cNvSpPr/>
              <p:nvPr/>
            </p:nvSpPr>
            <p:spPr>
              <a:xfrm>
                <a:off x="7654033" y="6366632"/>
                <a:ext cx="67477" cy="63201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394" name="Ovaal 393">
                <a:extLst>
                  <a:ext uri="{FF2B5EF4-FFF2-40B4-BE49-F238E27FC236}">
                    <a16:creationId xmlns:a16="http://schemas.microsoft.com/office/drawing/2014/main" id="{9852721E-B230-43E3-B01F-2203479AE10D}"/>
                  </a:ext>
                </a:extLst>
              </p:cNvPr>
              <p:cNvSpPr/>
              <p:nvPr/>
            </p:nvSpPr>
            <p:spPr>
              <a:xfrm>
                <a:off x="7462538" y="6262629"/>
                <a:ext cx="67477" cy="63201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395" name="Ovaal 394">
                <a:extLst>
                  <a:ext uri="{FF2B5EF4-FFF2-40B4-BE49-F238E27FC236}">
                    <a16:creationId xmlns:a16="http://schemas.microsoft.com/office/drawing/2014/main" id="{E42ADC98-F547-45C3-A414-7A96E5D59E19}"/>
                  </a:ext>
                </a:extLst>
              </p:cNvPr>
              <p:cNvSpPr/>
              <p:nvPr/>
            </p:nvSpPr>
            <p:spPr>
              <a:xfrm>
                <a:off x="7543370" y="6041563"/>
                <a:ext cx="67477" cy="63201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396" name="Tekstvak 395">
                <a:extLst>
                  <a:ext uri="{FF2B5EF4-FFF2-40B4-BE49-F238E27FC236}">
                    <a16:creationId xmlns:a16="http://schemas.microsoft.com/office/drawing/2014/main" id="{A50FF127-4C2B-4837-90C0-9C0025A48D96}"/>
                  </a:ext>
                </a:extLst>
              </p:cNvPr>
              <p:cNvSpPr txBox="1"/>
              <p:nvPr/>
            </p:nvSpPr>
            <p:spPr>
              <a:xfrm>
                <a:off x="7701287" y="6151062"/>
                <a:ext cx="698317" cy="1020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chemeClr val="accent2"/>
                    </a:solidFill>
                  </a:rPr>
                  <a:t>Amstelveen zuid</a:t>
                </a:r>
              </a:p>
            </p:txBody>
          </p:sp>
          <p:sp>
            <p:nvSpPr>
              <p:cNvPr id="397" name="Tekstvak 396">
                <a:extLst>
                  <a:ext uri="{FF2B5EF4-FFF2-40B4-BE49-F238E27FC236}">
                    <a16:creationId xmlns:a16="http://schemas.microsoft.com/office/drawing/2014/main" id="{5F1EDB67-4349-4373-A8B5-D31CF7F6DE2E}"/>
                  </a:ext>
                </a:extLst>
              </p:cNvPr>
              <p:cNvSpPr txBox="1"/>
              <p:nvPr/>
            </p:nvSpPr>
            <p:spPr>
              <a:xfrm>
                <a:off x="7687413" y="6360597"/>
                <a:ext cx="900796" cy="1020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/>
                  <a:t>Uithoorn</a:t>
                </a:r>
              </a:p>
            </p:txBody>
          </p:sp>
          <p:sp>
            <p:nvSpPr>
              <p:cNvPr id="398" name="Tekstvak 397">
                <a:extLst>
                  <a:ext uri="{FF2B5EF4-FFF2-40B4-BE49-F238E27FC236}">
                    <a16:creationId xmlns:a16="http://schemas.microsoft.com/office/drawing/2014/main" id="{4ECE563A-240C-4609-AE93-0DBCA083F562}"/>
                  </a:ext>
                </a:extLst>
              </p:cNvPr>
              <p:cNvSpPr txBox="1"/>
              <p:nvPr/>
            </p:nvSpPr>
            <p:spPr>
              <a:xfrm>
                <a:off x="7007973" y="6207503"/>
                <a:ext cx="685803" cy="18921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/>
                  <a:t>Aalsmeer Bloemenveiling</a:t>
                </a:r>
              </a:p>
            </p:txBody>
          </p:sp>
          <p:sp>
            <p:nvSpPr>
              <p:cNvPr id="399" name="Tekstvak 398">
                <a:extLst>
                  <a:ext uri="{FF2B5EF4-FFF2-40B4-BE49-F238E27FC236}">
                    <a16:creationId xmlns:a16="http://schemas.microsoft.com/office/drawing/2014/main" id="{C1C1B4E5-EF26-4453-83BC-294D3D3871E3}"/>
                  </a:ext>
                </a:extLst>
              </p:cNvPr>
              <p:cNvSpPr txBox="1"/>
              <p:nvPr/>
            </p:nvSpPr>
            <p:spPr>
              <a:xfrm>
                <a:off x="7903674" y="5997598"/>
                <a:ext cx="900796" cy="1020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/>
                  <a:t>Amstelveen</a:t>
                </a:r>
              </a:p>
            </p:txBody>
          </p:sp>
          <p:sp>
            <p:nvSpPr>
              <p:cNvPr id="400" name="Tekstvak 399">
                <a:extLst>
                  <a:ext uri="{FF2B5EF4-FFF2-40B4-BE49-F238E27FC236}">
                    <a16:creationId xmlns:a16="http://schemas.microsoft.com/office/drawing/2014/main" id="{F32B258A-1151-4E11-93F1-EC6C3D07E5FA}"/>
                  </a:ext>
                </a:extLst>
              </p:cNvPr>
              <p:cNvSpPr txBox="1"/>
              <p:nvPr/>
            </p:nvSpPr>
            <p:spPr>
              <a:xfrm>
                <a:off x="7339469" y="5987562"/>
                <a:ext cx="532188" cy="1020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/>
                  <a:t>Schiphol Oost</a:t>
                </a:r>
              </a:p>
            </p:txBody>
          </p:sp>
          <p:sp>
            <p:nvSpPr>
              <p:cNvPr id="401" name="Tekstvak 400">
                <a:extLst>
                  <a:ext uri="{FF2B5EF4-FFF2-40B4-BE49-F238E27FC236}">
                    <a16:creationId xmlns:a16="http://schemas.microsoft.com/office/drawing/2014/main" id="{19EBA848-5280-4903-B71F-47DDBAADEC0E}"/>
                  </a:ext>
                </a:extLst>
              </p:cNvPr>
              <p:cNvSpPr txBox="1"/>
              <p:nvPr/>
            </p:nvSpPr>
            <p:spPr>
              <a:xfrm>
                <a:off x="7675414" y="5693834"/>
                <a:ext cx="664633" cy="18921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chemeClr val="accent1"/>
                    </a:solidFill>
                  </a:rPr>
                  <a:t>Amstelveen Bolwerk</a:t>
                </a:r>
              </a:p>
            </p:txBody>
          </p:sp>
          <p:sp>
            <p:nvSpPr>
              <p:cNvPr id="402" name="Tekstvak 401">
                <a:extLst>
                  <a:ext uri="{FF2B5EF4-FFF2-40B4-BE49-F238E27FC236}">
                    <a16:creationId xmlns:a16="http://schemas.microsoft.com/office/drawing/2014/main" id="{DD80D9F7-AAF9-4945-BCD3-C82EABAB0673}"/>
                  </a:ext>
                </a:extLst>
              </p:cNvPr>
              <p:cNvSpPr txBox="1"/>
              <p:nvPr/>
            </p:nvSpPr>
            <p:spPr>
              <a:xfrm>
                <a:off x="8057289" y="5912736"/>
                <a:ext cx="900796" cy="1020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chemeClr val="accent1"/>
                    </a:solidFill>
                  </a:rPr>
                  <a:t>Bijlmer Noord</a:t>
                </a:r>
              </a:p>
            </p:txBody>
          </p:sp>
          <p:sp>
            <p:nvSpPr>
              <p:cNvPr id="403" name="Tekstvak 402">
                <a:extLst>
                  <a:ext uri="{FF2B5EF4-FFF2-40B4-BE49-F238E27FC236}">
                    <a16:creationId xmlns:a16="http://schemas.microsoft.com/office/drawing/2014/main" id="{580CA5C9-F7F8-49FB-98C7-DCDB51D6B98C}"/>
                  </a:ext>
                </a:extLst>
              </p:cNvPr>
              <p:cNvSpPr txBox="1"/>
              <p:nvPr/>
            </p:nvSpPr>
            <p:spPr>
              <a:xfrm>
                <a:off x="7909190" y="5551298"/>
                <a:ext cx="900796" cy="1020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 err="1">
                    <a:solidFill>
                      <a:schemeClr val="accent1"/>
                    </a:solidFill>
                  </a:rPr>
                  <a:t>Venserweg</a:t>
                </a:r>
                <a:endParaRPr lang="nl-NL" sz="3508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04" name="Tekstvak 403">
                <a:extLst>
                  <a:ext uri="{FF2B5EF4-FFF2-40B4-BE49-F238E27FC236}">
                    <a16:creationId xmlns:a16="http://schemas.microsoft.com/office/drawing/2014/main" id="{25EDDCD1-1982-419A-A862-47B1EB1E2D19}"/>
                  </a:ext>
                </a:extLst>
              </p:cNvPr>
              <p:cNvSpPr txBox="1"/>
              <p:nvPr/>
            </p:nvSpPr>
            <p:spPr>
              <a:xfrm>
                <a:off x="8199045" y="5806714"/>
                <a:ext cx="900796" cy="1020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/>
                  <a:t>Duivendrecht</a:t>
                </a:r>
              </a:p>
            </p:txBody>
          </p:sp>
          <p:sp>
            <p:nvSpPr>
              <p:cNvPr id="405" name="Tekstvak 404">
                <a:extLst>
                  <a:ext uri="{FF2B5EF4-FFF2-40B4-BE49-F238E27FC236}">
                    <a16:creationId xmlns:a16="http://schemas.microsoft.com/office/drawing/2014/main" id="{37A8953E-69AA-41B9-9D9A-14B85F7B5124}"/>
                  </a:ext>
                </a:extLst>
              </p:cNvPr>
              <p:cNvSpPr txBox="1"/>
              <p:nvPr/>
            </p:nvSpPr>
            <p:spPr>
              <a:xfrm>
                <a:off x="8339721" y="5548257"/>
                <a:ext cx="900796" cy="1020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/>
                  <a:t>Diemen</a:t>
                </a:r>
              </a:p>
            </p:txBody>
          </p:sp>
          <p:sp>
            <p:nvSpPr>
              <p:cNvPr id="406" name="Ovaal 405">
                <a:extLst>
                  <a:ext uri="{FF2B5EF4-FFF2-40B4-BE49-F238E27FC236}">
                    <a16:creationId xmlns:a16="http://schemas.microsoft.com/office/drawing/2014/main" id="{820A9251-24BE-4ABC-AC80-8204B9C51425}"/>
                  </a:ext>
                </a:extLst>
              </p:cNvPr>
              <p:cNvSpPr/>
              <p:nvPr/>
            </p:nvSpPr>
            <p:spPr>
              <a:xfrm>
                <a:off x="9099841" y="6059326"/>
                <a:ext cx="108834" cy="101937"/>
              </a:xfrm>
              <a:prstGeom prst="ellipse">
                <a:avLst/>
              </a:prstGeom>
              <a:solidFill>
                <a:schemeClr val="accent1"/>
              </a:solidFill>
              <a:ln w="285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407" name="Ovaal 406">
                <a:extLst>
                  <a:ext uri="{FF2B5EF4-FFF2-40B4-BE49-F238E27FC236}">
                    <a16:creationId xmlns:a16="http://schemas.microsoft.com/office/drawing/2014/main" id="{8275038A-166F-4591-828D-FBC6C251593C}"/>
                  </a:ext>
                </a:extLst>
              </p:cNvPr>
              <p:cNvSpPr/>
              <p:nvPr/>
            </p:nvSpPr>
            <p:spPr>
              <a:xfrm>
                <a:off x="9406211" y="6388008"/>
                <a:ext cx="67477" cy="6320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408" name="Ovaal 407">
                <a:extLst>
                  <a:ext uri="{FF2B5EF4-FFF2-40B4-BE49-F238E27FC236}">
                    <a16:creationId xmlns:a16="http://schemas.microsoft.com/office/drawing/2014/main" id="{845CF53B-0EC9-4C89-B43B-C90A08CFF99F}"/>
                  </a:ext>
                </a:extLst>
              </p:cNvPr>
              <p:cNvSpPr/>
              <p:nvPr/>
            </p:nvSpPr>
            <p:spPr>
              <a:xfrm>
                <a:off x="9368409" y="6230883"/>
                <a:ext cx="67477" cy="6320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409" name="Ovaal 408">
                <a:extLst>
                  <a:ext uri="{FF2B5EF4-FFF2-40B4-BE49-F238E27FC236}">
                    <a16:creationId xmlns:a16="http://schemas.microsoft.com/office/drawing/2014/main" id="{2DB7D805-E84E-41CD-9F81-5715DBE47F89}"/>
                  </a:ext>
                </a:extLst>
              </p:cNvPr>
              <p:cNvSpPr/>
              <p:nvPr/>
            </p:nvSpPr>
            <p:spPr>
              <a:xfrm>
                <a:off x="9248816" y="6328338"/>
                <a:ext cx="67477" cy="6320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410" name="Ovaal 409">
                <a:extLst>
                  <a:ext uri="{FF2B5EF4-FFF2-40B4-BE49-F238E27FC236}">
                    <a16:creationId xmlns:a16="http://schemas.microsoft.com/office/drawing/2014/main" id="{624775E0-D93C-4E47-92C1-C64BB7420D09}"/>
                  </a:ext>
                </a:extLst>
              </p:cNvPr>
              <p:cNvSpPr/>
              <p:nvPr/>
            </p:nvSpPr>
            <p:spPr>
              <a:xfrm>
                <a:off x="9437397" y="6041563"/>
                <a:ext cx="67477" cy="63201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411" name="Ovaal 410">
                <a:extLst>
                  <a:ext uri="{FF2B5EF4-FFF2-40B4-BE49-F238E27FC236}">
                    <a16:creationId xmlns:a16="http://schemas.microsoft.com/office/drawing/2014/main" id="{180EF4EE-9474-4C21-944F-48151560BD34}"/>
                  </a:ext>
                </a:extLst>
              </p:cNvPr>
              <p:cNvSpPr/>
              <p:nvPr/>
            </p:nvSpPr>
            <p:spPr>
              <a:xfrm>
                <a:off x="9495377" y="5851125"/>
                <a:ext cx="67477" cy="6320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412" name="Ovaal 411">
                <a:extLst>
                  <a:ext uri="{FF2B5EF4-FFF2-40B4-BE49-F238E27FC236}">
                    <a16:creationId xmlns:a16="http://schemas.microsoft.com/office/drawing/2014/main" id="{56CCAA46-68C1-4A9E-8A07-B8FDDA67282E}"/>
                  </a:ext>
                </a:extLst>
              </p:cNvPr>
              <p:cNvSpPr/>
              <p:nvPr/>
            </p:nvSpPr>
            <p:spPr>
              <a:xfrm>
                <a:off x="9238603" y="5898389"/>
                <a:ext cx="67477" cy="6320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413" name="Ovaal 412">
                <a:extLst>
                  <a:ext uri="{FF2B5EF4-FFF2-40B4-BE49-F238E27FC236}">
                    <a16:creationId xmlns:a16="http://schemas.microsoft.com/office/drawing/2014/main" id="{CC360C23-8578-4B4B-ABF5-27772F87197A}"/>
                  </a:ext>
                </a:extLst>
              </p:cNvPr>
              <p:cNvSpPr/>
              <p:nvPr/>
            </p:nvSpPr>
            <p:spPr>
              <a:xfrm>
                <a:off x="8708381" y="5774471"/>
                <a:ext cx="67477" cy="6320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414" name="Ovaal 413">
                <a:extLst>
                  <a:ext uri="{FF2B5EF4-FFF2-40B4-BE49-F238E27FC236}">
                    <a16:creationId xmlns:a16="http://schemas.microsoft.com/office/drawing/2014/main" id="{22E958BC-E12E-4E06-9D37-64638E253CF5}"/>
                  </a:ext>
                </a:extLst>
              </p:cNvPr>
              <p:cNvSpPr/>
              <p:nvPr/>
            </p:nvSpPr>
            <p:spPr>
              <a:xfrm>
                <a:off x="8691957" y="5606734"/>
                <a:ext cx="108834" cy="101937"/>
              </a:xfrm>
              <a:prstGeom prst="ellipse">
                <a:avLst/>
              </a:prstGeom>
              <a:solidFill>
                <a:schemeClr val="accent2"/>
              </a:solidFill>
              <a:ln w="285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415" name="Tekstvak 414">
                <a:extLst>
                  <a:ext uri="{FF2B5EF4-FFF2-40B4-BE49-F238E27FC236}">
                    <a16:creationId xmlns:a16="http://schemas.microsoft.com/office/drawing/2014/main" id="{2ABBC64E-1A64-4D1F-841B-454C50D149A2}"/>
                  </a:ext>
                </a:extLst>
              </p:cNvPr>
              <p:cNvSpPr txBox="1"/>
              <p:nvPr/>
            </p:nvSpPr>
            <p:spPr>
              <a:xfrm>
                <a:off x="8798656" y="6270377"/>
                <a:ext cx="605475" cy="18921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chemeClr val="accent1"/>
                    </a:solidFill>
                  </a:rPr>
                  <a:t>Hilversum Jonkerweg</a:t>
                </a:r>
              </a:p>
            </p:txBody>
          </p:sp>
          <p:sp>
            <p:nvSpPr>
              <p:cNvPr id="416" name="Tekstvak 415">
                <a:extLst>
                  <a:ext uri="{FF2B5EF4-FFF2-40B4-BE49-F238E27FC236}">
                    <a16:creationId xmlns:a16="http://schemas.microsoft.com/office/drawing/2014/main" id="{A1C86968-4BE0-45D0-990D-A327DA613F37}"/>
                  </a:ext>
                </a:extLst>
              </p:cNvPr>
              <p:cNvSpPr txBox="1"/>
              <p:nvPr/>
            </p:nvSpPr>
            <p:spPr>
              <a:xfrm>
                <a:off x="9250495" y="6485208"/>
                <a:ext cx="900796" cy="1020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chemeClr val="accent1"/>
                    </a:solidFill>
                  </a:rPr>
                  <a:t>Hilversum Raafstraat</a:t>
                </a:r>
              </a:p>
            </p:txBody>
          </p:sp>
          <p:sp>
            <p:nvSpPr>
              <p:cNvPr id="417" name="Tekstvak 416">
                <a:extLst>
                  <a:ext uri="{FF2B5EF4-FFF2-40B4-BE49-F238E27FC236}">
                    <a16:creationId xmlns:a16="http://schemas.microsoft.com/office/drawing/2014/main" id="{9F2AD84C-68B7-421A-8150-48CF5AF3FE48}"/>
                  </a:ext>
                </a:extLst>
              </p:cNvPr>
              <p:cNvSpPr txBox="1"/>
              <p:nvPr/>
            </p:nvSpPr>
            <p:spPr>
              <a:xfrm>
                <a:off x="9411642" y="6152141"/>
                <a:ext cx="1117996" cy="17177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157">
                    <a:solidFill>
                      <a:schemeClr val="accent1"/>
                    </a:solidFill>
                  </a:rPr>
                  <a:t>Hilversum Noorder-</a:t>
                </a:r>
              </a:p>
              <a:p>
                <a:r>
                  <a:rPr lang="nl-NL" sz="3157">
                    <a:solidFill>
                      <a:schemeClr val="accent1"/>
                    </a:solidFill>
                  </a:rPr>
                  <a:t>begraafplaats</a:t>
                </a:r>
              </a:p>
            </p:txBody>
          </p:sp>
          <p:sp>
            <p:nvSpPr>
              <p:cNvPr id="418" name="Tekstvak 417">
                <a:extLst>
                  <a:ext uri="{FF2B5EF4-FFF2-40B4-BE49-F238E27FC236}">
                    <a16:creationId xmlns:a16="http://schemas.microsoft.com/office/drawing/2014/main" id="{5F646C7A-0001-4A17-B9FA-1DFB4D72BEBD}"/>
                  </a:ext>
                </a:extLst>
              </p:cNvPr>
              <p:cNvSpPr txBox="1"/>
              <p:nvPr/>
            </p:nvSpPr>
            <p:spPr>
              <a:xfrm>
                <a:off x="8418460" y="6033306"/>
                <a:ext cx="900796" cy="1020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chemeClr val="accent1"/>
                    </a:solidFill>
                  </a:rPr>
                  <a:t>‘s </a:t>
                </a:r>
                <a:r>
                  <a:rPr lang="nl-NL" sz="3508" err="1">
                    <a:solidFill>
                      <a:schemeClr val="accent1"/>
                    </a:solidFill>
                  </a:rPr>
                  <a:t>Graveland</a:t>
                </a:r>
                <a:endParaRPr lang="nl-NL" sz="3508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19" name="Tekstvak 418">
                <a:extLst>
                  <a:ext uri="{FF2B5EF4-FFF2-40B4-BE49-F238E27FC236}">
                    <a16:creationId xmlns:a16="http://schemas.microsoft.com/office/drawing/2014/main" id="{30A20241-27BC-458B-8532-5E3DC81E28A1}"/>
                  </a:ext>
                </a:extLst>
              </p:cNvPr>
              <p:cNvSpPr txBox="1"/>
              <p:nvPr/>
            </p:nvSpPr>
            <p:spPr>
              <a:xfrm>
                <a:off x="9495225" y="5997734"/>
                <a:ext cx="900796" cy="1020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 err="1">
                    <a:solidFill>
                      <a:schemeClr val="accent2"/>
                    </a:solidFill>
                  </a:rPr>
                  <a:t>Crailo</a:t>
                </a:r>
                <a:endParaRPr lang="nl-NL" sz="3508">
                  <a:solidFill>
                    <a:schemeClr val="accent2"/>
                  </a:solidFill>
                </a:endParaRPr>
              </a:p>
            </p:txBody>
          </p:sp>
          <p:sp>
            <p:nvSpPr>
              <p:cNvPr id="420" name="Tekstvak 419">
                <a:extLst>
                  <a:ext uri="{FF2B5EF4-FFF2-40B4-BE49-F238E27FC236}">
                    <a16:creationId xmlns:a16="http://schemas.microsoft.com/office/drawing/2014/main" id="{605FAACB-2B9B-48B0-8A81-7006157979AD}"/>
                  </a:ext>
                </a:extLst>
              </p:cNvPr>
              <p:cNvSpPr txBox="1"/>
              <p:nvPr/>
            </p:nvSpPr>
            <p:spPr>
              <a:xfrm>
                <a:off x="8800097" y="5586166"/>
                <a:ext cx="900796" cy="1020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chemeClr val="accent2"/>
                    </a:solidFill>
                  </a:rPr>
                  <a:t>Weesp Noord</a:t>
                </a:r>
              </a:p>
            </p:txBody>
          </p:sp>
          <p:sp>
            <p:nvSpPr>
              <p:cNvPr id="421" name="Tekstvak 420">
                <a:extLst>
                  <a:ext uri="{FF2B5EF4-FFF2-40B4-BE49-F238E27FC236}">
                    <a16:creationId xmlns:a16="http://schemas.microsoft.com/office/drawing/2014/main" id="{E53DE648-B9BA-4E00-AB4A-1CACA9FCFE85}"/>
                  </a:ext>
                </a:extLst>
              </p:cNvPr>
              <p:cNvSpPr txBox="1"/>
              <p:nvPr/>
            </p:nvSpPr>
            <p:spPr>
              <a:xfrm>
                <a:off x="8749676" y="5823148"/>
                <a:ext cx="468411" cy="1020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chemeClr val="accent1"/>
                    </a:solidFill>
                  </a:rPr>
                  <a:t>Weesp</a:t>
                </a:r>
                <a:endParaRPr lang="nl-NL" sz="3508">
                  <a:solidFill>
                    <a:schemeClr val="accent2"/>
                  </a:solidFill>
                </a:endParaRPr>
              </a:p>
            </p:txBody>
          </p:sp>
          <p:sp>
            <p:nvSpPr>
              <p:cNvPr id="422" name="Tekstvak 421">
                <a:extLst>
                  <a:ext uri="{FF2B5EF4-FFF2-40B4-BE49-F238E27FC236}">
                    <a16:creationId xmlns:a16="http://schemas.microsoft.com/office/drawing/2014/main" id="{B6F46C0E-A2D9-4953-AEAF-258DC5F7D473}"/>
                  </a:ext>
                </a:extLst>
              </p:cNvPr>
              <p:cNvSpPr txBox="1"/>
              <p:nvPr/>
            </p:nvSpPr>
            <p:spPr>
              <a:xfrm>
                <a:off x="9550277" y="5834038"/>
                <a:ext cx="468411" cy="1020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chemeClr val="accent1"/>
                    </a:solidFill>
                  </a:rPr>
                  <a:t>Huizen</a:t>
                </a:r>
                <a:endParaRPr lang="nl-NL" sz="3508">
                  <a:solidFill>
                    <a:schemeClr val="accent2"/>
                  </a:solidFill>
                </a:endParaRPr>
              </a:p>
            </p:txBody>
          </p:sp>
          <p:sp>
            <p:nvSpPr>
              <p:cNvPr id="423" name="Tekstvak 422">
                <a:extLst>
                  <a:ext uri="{FF2B5EF4-FFF2-40B4-BE49-F238E27FC236}">
                    <a16:creationId xmlns:a16="http://schemas.microsoft.com/office/drawing/2014/main" id="{F31D7D7F-C298-4F46-9069-D0A1BBAF4244}"/>
                  </a:ext>
                </a:extLst>
              </p:cNvPr>
              <p:cNvSpPr txBox="1"/>
              <p:nvPr/>
            </p:nvSpPr>
            <p:spPr>
              <a:xfrm>
                <a:off x="9036938" y="5784961"/>
                <a:ext cx="570467" cy="1020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3508">
                    <a:solidFill>
                      <a:schemeClr val="accent1"/>
                    </a:solidFill>
                  </a:rPr>
                  <a:t>Naarden</a:t>
                </a:r>
                <a:endParaRPr lang="nl-NL" sz="3508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98" name="Ovaal 297">
                <a:extLst>
                  <a:ext uri="{FF2B5EF4-FFF2-40B4-BE49-F238E27FC236}">
                    <a16:creationId xmlns:a16="http://schemas.microsoft.com/office/drawing/2014/main" id="{7938E30A-9286-4D73-9971-D3F839DF796F}"/>
                  </a:ext>
                </a:extLst>
              </p:cNvPr>
              <p:cNvSpPr/>
              <p:nvPr/>
            </p:nvSpPr>
            <p:spPr>
              <a:xfrm>
                <a:off x="7116585" y="5859138"/>
                <a:ext cx="67477" cy="63201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  <p:sp>
            <p:nvSpPr>
              <p:cNvPr id="299" name="Ovaal 298">
                <a:extLst>
                  <a:ext uri="{FF2B5EF4-FFF2-40B4-BE49-F238E27FC236}">
                    <a16:creationId xmlns:a16="http://schemas.microsoft.com/office/drawing/2014/main" id="{FD3CC4CB-9FBD-4CCC-B9D6-176D230D7903}"/>
                  </a:ext>
                </a:extLst>
              </p:cNvPr>
              <p:cNvSpPr/>
              <p:nvPr/>
            </p:nvSpPr>
            <p:spPr>
              <a:xfrm>
                <a:off x="7367179" y="5963794"/>
                <a:ext cx="67477" cy="63201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78844" tIns="378844" rIns="378844" bIns="378844" rtlCol="0" anchor="ctr"/>
              <a:lstStyle/>
              <a:p>
                <a:pPr algn="ctr"/>
                <a:endParaRPr lang="nl-NL" sz="3508"/>
              </a:p>
            </p:txBody>
          </p:sp>
        </p:grpSp>
        <p:sp>
          <p:nvSpPr>
            <p:cNvPr id="2" name="Ovaal 410">
              <a:extLst>
                <a:ext uri="{FF2B5EF4-FFF2-40B4-BE49-F238E27FC236}">
                  <a16:creationId xmlns:a16="http://schemas.microsoft.com/office/drawing/2014/main" id="{7C9130D7-820A-B6CF-3EE6-2B00FAD34E47}"/>
                </a:ext>
              </a:extLst>
            </p:cNvPr>
            <p:cNvSpPr/>
            <p:nvPr/>
          </p:nvSpPr>
          <p:spPr>
            <a:xfrm>
              <a:off x="6832741" y="2780221"/>
              <a:ext cx="111600" cy="1116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78844" tIns="378844" rIns="378844" bIns="378844" rtlCol="0" anchor="ctr"/>
            <a:lstStyle/>
            <a:p>
              <a:pPr algn="ctr"/>
              <a:endParaRPr lang="nl-NL" sz="2455"/>
            </a:p>
          </p:txBody>
        </p:sp>
        <p:sp>
          <p:nvSpPr>
            <p:cNvPr id="16" name="Tekstvak 421">
              <a:extLst>
                <a:ext uri="{FF2B5EF4-FFF2-40B4-BE49-F238E27FC236}">
                  <a16:creationId xmlns:a16="http://schemas.microsoft.com/office/drawing/2014/main" id="{9B2C1450-0ADD-FF26-76C6-8A12A7564F68}"/>
                </a:ext>
              </a:extLst>
            </p:cNvPr>
            <p:cNvSpPr txBox="1"/>
            <p:nvPr/>
          </p:nvSpPr>
          <p:spPr>
            <a:xfrm>
              <a:off x="5586065" y="2763356"/>
              <a:ext cx="1348414" cy="246226"/>
            </a:xfrm>
            <a:prstGeom prst="rect">
              <a:avLst/>
            </a:prstGeom>
            <a:noFill/>
          </p:spPr>
          <p:txBody>
            <a:bodyPr wrap="square" lIns="320754" tIns="160377" rIns="320754" bIns="160377" rtlCol="0" anchor="t">
              <a:spAutoFit/>
            </a:bodyPr>
            <a:lstStyle/>
            <a:p>
              <a:r>
                <a:rPr lang="nl-NL" sz="3508">
                  <a:solidFill>
                    <a:schemeClr val="accent2"/>
                  </a:solidFill>
                </a:rPr>
                <a:t>Haarlem Noordelijk</a:t>
              </a:r>
              <a:endParaRPr lang="nl-NL" sz="3508">
                <a:solidFill>
                  <a:schemeClr val="accent2"/>
                </a:solidFill>
                <a:ea typeface="Microsoft JhengHei Light"/>
              </a:endParaRPr>
            </a:p>
          </p:txBody>
        </p:sp>
      </p:grpSp>
      <p:grpSp>
        <p:nvGrpSpPr>
          <p:cNvPr id="39" name="Groep 38">
            <a:extLst>
              <a:ext uri="{FF2B5EF4-FFF2-40B4-BE49-F238E27FC236}">
                <a16:creationId xmlns:a16="http://schemas.microsoft.com/office/drawing/2014/main" id="{4124E807-3359-4CBB-AFBB-7057B4690792}"/>
              </a:ext>
            </a:extLst>
          </p:cNvPr>
          <p:cNvGrpSpPr/>
          <p:nvPr/>
        </p:nvGrpSpPr>
        <p:grpSpPr>
          <a:xfrm>
            <a:off x="29946487" y="8486239"/>
            <a:ext cx="4794611" cy="4706337"/>
            <a:chOff x="8531326" y="1052175"/>
            <a:chExt cx="1366838" cy="1341673"/>
          </a:xfrm>
        </p:grpSpPr>
        <p:sp>
          <p:nvSpPr>
            <p:cNvPr id="244" name="Ovaal 243">
              <a:extLst>
                <a:ext uri="{FF2B5EF4-FFF2-40B4-BE49-F238E27FC236}">
                  <a16:creationId xmlns:a16="http://schemas.microsoft.com/office/drawing/2014/main" id="{D5B3327D-B1CE-4A65-BABE-8DBD1F0C6CFF}"/>
                </a:ext>
              </a:extLst>
            </p:cNvPr>
            <p:cNvSpPr/>
            <p:nvPr/>
          </p:nvSpPr>
          <p:spPr>
            <a:xfrm>
              <a:off x="8707000" y="1052175"/>
              <a:ext cx="1017958" cy="1017958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78844" tIns="378844" rIns="378844" bIns="378844" rtlCol="0" anchor="ctr"/>
            <a:lstStyle/>
            <a:p>
              <a:pPr algn="ctr"/>
              <a:endParaRPr lang="nl-NL" sz="2455">
                <a:solidFill>
                  <a:schemeClr val="tx1"/>
                </a:solidFill>
              </a:endParaRPr>
            </a:p>
            <a:p>
              <a:pPr algn="ctr"/>
              <a:endParaRPr lang="nl-NL" sz="2455">
                <a:solidFill>
                  <a:schemeClr val="tx1"/>
                </a:solidFill>
              </a:endParaRPr>
            </a:p>
            <a:p>
              <a:pPr algn="ctr"/>
              <a:endParaRPr lang="nl-NL" sz="2455">
                <a:solidFill>
                  <a:schemeClr val="tx1"/>
                </a:solidFill>
              </a:endParaRPr>
            </a:p>
            <a:p>
              <a:pPr algn="ctr"/>
              <a:r>
                <a:rPr lang="nl-NL" sz="5612">
                  <a:solidFill>
                    <a:schemeClr val="tx1"/>
                  </a:solidFill>
                </a:rPr>
                <a:t>36</a:t>
              </a:r>
              <a:r>
                <a:rPr lang="nl-NL" sz="2455">
                  <a:solidFill>
                    <a:schemeClr val="tx1"/>
                  </a:solidFill>
                </a:rPr>
                <a:t> stations</a:t>
              </a:r>
            </a:p>
          </p:txBody>
        </p:sp>
        <p:sp>
          <p:nvSpPr>
            <p:cNvPr id="245" name="Rechthoek: afgeronde hoeken 244">
              <a:extLst>
                <a:ext uri="{FF2B5EF4-FFF2-40B4-BE49-F238E27FC236}">
                  <a16:creationId xmlns:a16="http://schemas.microsoft.com/office/drawing/2014/main" id="{77E02B7E-E148-4FE3-9BDD-6EFE5CCF0632}"/>
                </a:ext>
              </a:extLst>
            </p:cNvPr>
            <p:cNvSpPr/>
            <p:nvPr/>
          </p:nvSpPr>
          <p:spPr>
            <a:xfrm>
              <a:off x="8531326" y="1164159"/>
              <a:ext cx="1366838" cy="306415"/>
            </a:xfrm>
            <a:prstGeom prst="round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78844" tIns="378844" rIns="378844" bIns="378844" rtlCol="0" anchor="ctr"/>
            <a:lstStyle/>
            <a:p>
              <a:pPr algn="ctr"/>
              <a:r>
                <a:rPr lang="nl-NL" sz="4911"/>
                <a:t>NHZ</a:t>
              </a:r>
            </a:p>
          </p:txBody>
        </p:sp>
        <p:sp>
          <p:nvSpPr>
            <p:cNvPr id="246" name="Ovaal 245">
              <a:extLst>
                <a:ext uri="{FF2B5EF4-FFF2-40B4-BE49-F238E27FC236}">
                  <a16:creationId xmlns:a16="http://schemas.microsoft.com/office/drawing/2014/main" id="{37A09693-AA70-4CE9-98B1-D4F53C0E9FCA}"/>
                </a:ext>
              </a:extLst>
            </p:cNvPr>
            <p:cNvSpPr/>
            <p:nvPr/>
          </p:nvSpPr>
          <p:spPr>
            <a:xfrm>
              <a:off x="9215351" y="1928616"/>
              <a:ext cx="465232" cy="46523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78844" tIns="378844" rIns="378844" bIns="378844" rtlCol="0" anchor="ctr"/>
            <a:lstStyle/>
            <a:p>
              <a:pPr algn="ctr"/>
              <a:r>
                <a:rPr lang="nl-NL" sz="3157"/>
                <a:t>6</a:t>
              </a:r>
            </a:p>
          </p:txBody>
        </p:sp>
        <p:sp>
          <p:nvSpPr>
            <p:cNvPr id="247" name="Ovaal 246">
              <a:extLst>
                <a:ext uri="{FF2B5EF4-FFF2-40B4-BE49-F238E27FC236}">
                  <a16:creationId xmlns:a16="http://schemas.microsoft.com/office/drawing/2014/main" id="{2068A9ED-CC2D-4CCD-9495-54A607BB1C43}"/>
                </a:ext>
              </a:extLst>
            </p:cNvPr>
            <p:cNvSpPr/>
            <p:nvPr/>
          </p:nvSpPr>
          <p:spPr>
            <a:xfrm>
              <a:off x="8744961" y="1925534"/>
              <a:ext cx="465232" cy="46523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78844" tIns="378844" rIns="378844" bIns="378844" rtlCol="0" anchor="ctr"/>
            <a:lstStyle/>
            <a:p>
              <a:pPr algn="ctr"/>
              <a:r>
                <a:rPr lang="nl-NL" sz="3157"/>
                <a:t>18</a:t>
              </a:r>
            </a:p>
          </p:txBody>
        </p:sp>
      </p:grpSp>
      <p:grpSp>
        <p:nvGrpSpPr>
          <p:cNvPr id="249" name="Groep 248">
            <a:extLst>
              <a:ext uri="{FF2B5EF4-FFF2-40B4-BE49-F238E27FC236}">
                <a16:creationId xmlns:a16="http://schemas.microsoft.com/office/drawing/2014/main" id="{0F9A9E19-7209-4B90-9E9F-C334E19FB1C7}"/>
              </a:ext>
            </a:extLst>
          </p:cNvPr>
          <p:cNvGrpSpPr/>
          <p:nvPr/>
        </p:nvGrpSpPr>
        <p:grpSpPr>
          <a:xfrm>
            <a:off x="15349911" y="8459222"/>
            <a:ext cx="4794611" cy="4733354"/>
            <a:chOff x="4375921" y="1051808"/>
            <a:chExt cx="1366838" cy="1349375"/>
          </a:xfrm>
        </p:grpSpPr>
        <p:sp>
          <p:nvSpPr>
            <p:cNvPr id="269" name="Ovaal 268">
              <a:extLst>
                <a:ext uri="{FF2B5EF4-FFF2-40B4-BE49-F238E27FC236}">
                  <a16:creationId xmlns:a16="http://schemas.microsoft.com/office/drawing/2014/main" id="{B0A75407-ECF1-48D7-9CC8-573B9C099066}"/>
                </a:ext>
              </a:extLst>
            </p:cNvPr>
            <p:cNvSpPr/>
            <p:nvPr/>
          </p:nvSpPr>
          <p:spPr>
            <a:xfrm>
              <a:off x="4551595" y="1051808"/>
              <a:ext cx="1017958" cy="1017958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78844" tIns="378844" rIns="378844" bIns="378844" rtlCol="0" anchor="ctr"/>
            <a:lstStyle/>
            <a:p>
              <a:pPr algn="ctr"/>
              <a:endParaRPr lang="nl-NL" sz="2455">
                <a:solidFill>
                  <a:schemeClr val="tx1"/>
                </a:solidFill>
              </a:endParaRPr>
            </a:p>
            <a:p>
              <a:pPr algn="ctr"/>
              <a:endParaRPr lang="nl-NL" sz="2455">
                <a:solidFill>
                  <a:schemeClr val="tx1"/>
                </a:solidFill>
              </a:endParaRPr>
            </a:p>
            <a:p>
              <a:pPr algn="ctr"/>
              <a:endParaRPr lang="nl-NL" sz="2455">
                <a:solidFill>
                  <a:schemeClr val="tx1"/>
                </a:solidFill>
              </a:endParaRPr>
            </a:p>
            <a:p>
              <a:pPr algn="ctr"/>
              <a:r>
                <a:rPr lang="nl-NL" sz="5612">
                  <a:solidFill>
                    <a:schemeClr val="tx1"/>
                  </a:solidFill>
                </a:rPr>
                <a:t>50</a:t>
              </a:r>
              <a:r>
                <a:rPr lang="nl-NL" sz="2455">
                  <a:solidFill>
                    <a:schemeClr val="tx1"/>
                  </a:solidFill>
                </a:rPr>
                <a:t> </a:t>
              </a:r>
            </a:p>
            <a:p>
              <a:pPr algn="ctr"/>
              <a:r>
                <a:rPr lang="nl-NL" sz="2455">
                  <a:solidFill>
                    <a:schemeClr val="tx1"/>
                  </a:solidFill>
                </a:rPr>
                <a:t>stations</a:t>
              </a:r>
            </a:p>
          </p:txBody>
        </p:sp>
        <p:sp>
          <p:nvSpPr>
            <p:cNvPr id="270" name="Rechthoek: afgeronde hoeken 269">
              <a:extLst>
                <a:ext uri="{FF2B5EF4-FFF2-40B4-BE49-F238E27FC236}">
                  <a16:creationId xmlns:a16="http://schemas.microsoft.com/office/drawing/2014/main" id="{981AE336-9CCA-4997-8994-1706D6114C4C}"/>
                </a:ext>
              </a:extLst>
            </p:cNvPr>
            <p:cNvSpPr/>
            <p:nvPr/>
          </p:nvSpPr>
          <p:spPr>
            <a:xfrm>
              <a:off x="4375921" y="1163792"/>
              <a:ext cx="1366838" cy="306415"/>
            </a:xfrm>
            <a:prstGeom prst="round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78844" tIns="378844" rIns="378844" bIns="378844" rtlCol="0" anchor="ctr"/>
            <a:lstStyle/>
            <a:p>
              <a:pPr algn="ctr"/>
              <a:r>
                <a:rPr lang="nl-NL" sz="4911"/>
                <a:t>NHN</a:t>
              </a:r>
            </a:p>
          </p:txBody>
        </p:sp>
        <p:sp>
          <p:nvSpPr>
            <p:cNvPr id="271" name="Ovaal 270">
              <a:extLst>
                <a:ext uri="{FF2B5EF4-FFF2-40B4-BE49-F238E27FC236}">
                  <a16:creationId xmlns:a16="http://schemas.microsoft.com/office/drawing/2014/main" id="{A73C811B-5D06-45CB-ADCA-7127DF0BF9F1}"/>
                </a:ext>
              </a:extLst>
            </p:cNvPr>
            <p:cNvSpPr/>
            <p:nvPr/>
          </p:nvSpPr>
          <p:spPr>
            <a:xfrm>
              <a:off x="5059946" y="1928249"/>
              <a:ext cx="465232" cy="46523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78844" tIns="378844" rIns="378844" bIns="378844" rtlCol="0" anchor="ctr"/>
            <a:lstStyle/>
            <a:p>
              <a:pPr algn="ctr"/>
              <a:r>
                <a:rPr lang="nl-NL" sz="3157"/>
                <a:t>14</a:t>
              </a:r>
            </a:p>
          </p:txBody>
        </p:sp>
        <p:sp>
          <p:nvSpPr>
            <p:cNvPr id="285" name="Ovaal 284">
              <a:extLst>
                <a:ext uri="{FF2B5EF4-FFF2-40B4-BE49-F238E27FC236}">
                  <a16:creationId xmlns:a16="http://schemas.microsoft.com/office/drawing/2014/main" id="{E501136D-BA8E-41A6-9FFC-404A5DA06D94}"/>
                </a:ext>
              </a:extLst>
            </p:cNvPr>
            <p:cNvSpPr/>
            <p:nvPr/>
          </p:nvSpPr>
          <p:spPr>
            <a:xfrm>
              <a:off x="4589216" y="1935951"/>
              <a:ext cx="465232" cy="46523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78844" tIns="378844" rIns="378844" bIns="378844" rtlCol="0" anchor="ctr"/>
            <a:lstStyle/>
            <a:p>
              <a:pPr algn="ctr"/>
              <a:endParaRPr lang="nl-NL" sz="3157"/>
            </a:p>
          </p:txBody>
        </p:sp>
      </p:grpSp>
      <p:sp>
        <p:nvSpPr>
          <p:cNvPr id="3" name="Tekstvak 2">
            <a:extLst>
              <a:ext uri="{FF2B5EF4-FFF2-40B4-BE49-F238E27FC236}">
                <a16:creationId xmlns:a16="http://schemas.microsoft.com/office/drawing/2014/main" id="{EA93E41D-438A-4D59-A3C9-0E52C2228577}"/>
              </a:ext>
            </a:extLst>
          </p:cNvPr>
          <p:cNvSpPr txBox="1"/>
          <p:nvPr/>
        </p:nvSpPr>
        <p:spPr>
          <a:xfrm>
            <a:off x="16654427" y="12131351"/>
            <a:ext cx="934257" cy="53982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nl-NL" sz="3508">
                <a:solidFill>
                  <a:schemeClr val="bg1"/>
                </a:solidFill>
              </a:rPr>
              <a:t>24</a:t>
            </a:r>
          </a:p>
        </p:txBody>
      </p:sp>
      <p:sp>
        <p:nvSpPr>
          <p:cNvPr id="239" name="Tekstvak 238">
            <a:extLst>
              <a:ext uri="{FF2B5EF4-FFF2-40B4-BE49-F238E27FC236}">
                <a16:creationId xmlns:a16="http://schemas.microsoft.com/office/drawing/2014/main" id="{78D2B992-3951-4266-839A-418523455F5A}"/>
              </a:ext>
            </a:extLst>
          </p:cNvPr>
          <p:cNvSpPr txBox="1"/>
          <p:nvPr/>
        </p:nvSpPr>
        <p:spPr>
          <a:xfrm>
            <a:off x="20632120" y="25841387"/>
            <a:ext cx="7904122" cy="5781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3157"/>
              <a:t>Uitbreiding </a:t>
            </a:r>
            <a:r>
              <a:rPr lang="nl-NL" sz="3157" err="1"/>
              <a:t>Tennet</a:t>
            </a:r>
            <a:endParaRPr lang="nl-NL" sz="3157"/>
          </a:p>
        </p:txBody>
      </p:sp>
      <p:sp>
        <p:nvSpPr>
          <p:cNvPr id="15" name="Tekstvak 14">
            <a:extLst>
              <a:ext uri="{FF2B5EF4-FFF2-40B4-BE49-F238E27FC236}">
                <a16:creationId xmlns:a16="http://schemas.microsoft.com/office/drawing/2014/main" id="{6C1EC486-5C8C-463F-9D17-ADEF728B9123}"/>
              </a:ext>
            </a:extLst>
          </p:cNvPr>
          <p:cNvSpPr txBox="1"/>
          <p:nvPr/>
        </p:nvSpPr>
        <p:spPr>
          <a:xfrm>
            <a:off x="35687750" y="12049424"/>
            <a:ext cx="5985613" cy="323935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l"/>
            <a:r>
              <a:rPr lang="nl-NL" sz="2105" b="1">
                <a:solidFill>
                  <a:schemeClr val="tx2"/>
                </a:solidFill>
              </a:rPr>
              <a:t>Disclaimer</a:t>
            </a:r>
            <a:r>
              <a:rPr lang="nl-NL" sz="2105">
                <a:solidFill>
                  <a:schemeClr val="tx2"/>
                </a:solidFill>
              </a:rPr>
              <a:t>: alle locaties van stations zijn indicatief</a:t>
            </a:r>
          </a:p>
        </p:txBody>
      </p:sp>
      <p:sp>
        <p:nvSpPr>
          <p:cNvPr id="241" name="Ovaal 240">
            <a:extLst>
              <a:ext uri="{FF2B5EF4-FFF2-40B4-BE49-F238E27FC236}">
                <a16:creationId xmlns:a16="http://schemas.microsoft.com/office/drawing/2014/main" id="{CBBDA030-BE61-4608-98F4-5DC63FA1A7F4}"/>
              </a:ext>
            </a:extLst>
          </p:cNvPr>
          <p:cNvSpPr/>
          <p:nvPr/>
        </p:nvSpPr>
        <p:spPr>
          <a:xfrm>
            <a:off x="19947121" y="25935968"/>
            <a:ext cx="668354" cy="619946"/>
          </a:xfrm>
          <a:prstGeom prst="ellipse">
            <a:avLst/>
          </a:pr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78844" tIns="378844" rIns="378844" bIns="378844" rtlCol="0" anchor="ctr"/>
          <a:lstStyle/>
          <a:p>
            <a:pPr algn="ctr"/>
            <a:endParaRPr lang="nl-NL" sz="4911"/>
          </a:p>
        </p:txBody>
      </p:sp>
      <p:sp>
        <p:nvSpPr>
          <p:cNvPr id="307" name="Tekstvak 306">
            <a:extLst>
              <a:ext uri="{FF2B5EF4-FFF2-40B4-BE49-F238E27FC236}">
                <a16:creationId xmlns:a16="http://schemas.microsoft.com/office/drawing/2014/main" id="{4B9B0261-29FA-4B50-A65F-53371AAEADFC}"/>
              </a:ext>
            </a:extLst>
          </p:cNvPr>
          <p:cNvSpPr txBox="1"/>
          <p:nvPr/>
        </p:nvSpPr>
        <p:spPr>
          <a:xfrm>
            <a:off x="16262005" y="24161548"/>
            <a:ext cx="8270489" cy="5781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3157"/>
              <a:t>380 kV station</a:t>
            </a:r>
          </a:p>
        </p:txBody>
      </p:sp>
      <p:grpSp>
        <p:nvGrpSpPr>
          <p:cNvPr id="20" name="Groep 19">
            <a:extLst>
              <a:ext uri="{FF2B5EF4-FFF2-40B4-BE49-F238E27FC236}">
                <a16:creationId xmlns:a16="http://schemas.microsoft.com/office/drawing/2014/main" id="{6FC47550-26A5-4B41-AF5D-9827E125F138}"/>
              </a:ext>
            </a:extLst>
          </p:cNvPr>
          <p:cNvGrpSpPr/>
          <p:nvPr/>
        </p:nvGrpSpPr>
        <p:grpSpPr>
          <a:xfrm>
            <a:off x="15482080" y="24212661"/>
            <a:ext cx="668354" cy="619946"/>
            <a:chOff x="5014091" y="5569054"/>
            <a:chExt cx="190533" cy="176733"/>
          </a:xfrm>
        </p:grpSpPr>
        <p:sp>
          <p:nvSpPr>
            <p:cNvPr id="310" name="Ovaal 309">
              <a:extLst>
                <a:ext uri="{FF2B5EF4-FFF2-40B4-BE49-F238E27FC236}">
                  <a16:creationId xmlns:a16="http://schemas.microsoft.com/office/drawing/2014/main" id="{8E6A4AA8-C472-46FF-8E18-4DAC05B4BA76}"/>
                </a:ext>
              </a:extLst>
            </p:cNvPr>
            <p:cNvSpPr/>
            <p:nvPr/>
          </p:nvSpPr>
          <p:spPr>
            <a:xfrm>
              <a:off x="5014091" y="5569054"/>
              <a:ext cx="190533" cy="176733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78844" tIns="378844" rIns="378844" bIns="378844" rtlCol="0" anchor="ctr"/>
            <a:lstStyle/>
            <a:p>
              <a:pPr algn="ctr"/>
              <a:endParaRPr lang="nl-NL" sz="4911"/>
            </a:p>
          </p:txBody>
        </p:sp>
        <p:sp>
          <p:nvSpPr>
            <p:cNvPr id="17" name="Ster: 5 punten 16">
              <a:extLst>
                <a:ext uri="{FF2B5EF4-FFF2-40B4-BE49-F238E27FC236}">
                  <a16:creationId xmlns:a16="http://schemas.microsoft.com/office/drawing/2014/main" id="{1D6C3BD6-2D7C-44D0-8AD0-10E2392031F0}"/>
                </a:ext>
              </a:extLst>
            </p:cNvPr>
            <p:cNvSpPr/>
            <p:nvPr/>
          </p:nvSpPr>
          <p:spPr>
            <a:xfrm>
              <a:off x="5044174" y="5606994"/>
              <a:ext cx="132887" cy="103816"/>
            </a:xfrm>
            <a:prstGeom prst="star5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78844" tIns="378844" rIns="378844" bIns="378844" rtlCol="0" anchor="ctr"/>
            <a:lstStyle/>
            <a:p>
              <a:pPr algn="ctr"/>
              <a:endParaRPr lang="nl-NL" sz="4911"/>
            </a:p>
          </p:txBody>
        </p:sp>
      </p:grpSp>
      <p:sp>
        <p:nvSpPr>
          <p:cNvPr id="320" name="Tekstvak 319">
            <a:extLst>
              <a:ext uri="{FF2B5EF4-FFF2-40B4-BE49-F238E27FC236}">
                <a16:creationId xmlns:a16="http://schemas.microsoft.com/office/drawing/2014/main" id="{082549D9-45B3-4A4C-AA75-D300933DAD9C}"/>
              </a:ext>
            </a:extLst>
          </p:cNvPr>
          <p:cNvSpPr txBox="1"/>
          <p:nvPr/>
        </p:nvSpPr>
        <p:spPr>
          <a:xfrm>
            <a:off x="20625273" y="26781726"/>
            <a:ext cx="7904122" cy="5781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3157"/>
              <a:t>Nieuwbouw </a:t>
            </a:r>
            <a:r>
              <a:rPr lang="nl-NL" sz="3157" err="1"/>
              <a:t>Tennet</a:t>
            </a:r>
            <a:endParaRPr lang="nl-NL" sz="3157"/>
          </a:p>
        </p:txBody>
      </p:sp>
      <p:sp>
        <p:nvSpPr>
          <p:cNvPr id="321" name="Ovaal 320">
            <a:extLst>
              <a:ext uri="{FF2B5EF4-FFF2-40B4-BE49-F238E27FC236}">
                <a16:creationId xmlns:a16="http://schemas.microsoft.com/office/drawing/2014/main" id="{A830FBE9-5A62-4250-95D6-A4D4471017DD}"/>
              </a:ext>
            </a:extLst>
          </p:cNvPr>
          <p:cNvSpPr/>
          <p:nvPr/>
        </p:nvSpPr>
        <p:spPr>
          <a:xfrm>
            <a:off x="19957122" y="26852924"/>
            <a:ext cx="668354" cy="619946"/>
          </a:xfrm>
          <a:prstGeom prst="ellipse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78844" tIns="378844" rIns="378844" bIns="378844" rtlCol="0" anchor="ctr"/>
          <a:lstStyle/>
          <a:p>
            <a:pPr algn="ctr"/>
            <a:endParaRPr lang="nl-NL" sz="4911"/>
          </a:p>
        </p:txBody>
      </p:sp>
      <p:sp>
        <p:nvSpPr>
          <p:cNvPr id="323" name="Tekstvak 322">
            <a:extLst>
              <a:ext uri="{FF2B5EF4-FFF2-40B4-BE49-F238E27FC236}">
                <a16:creationId xmlns:a16="http://schemas.microsoft.com/office/drawing/2014/main" id="{2CF97931-D72E-45C3-8DF7-569F775DA67E}"/>
              </a:ext>
            </a:extLst>
          </p:cNvPr>
          <p:cNvSpPr txBox="1"/>
          <p:nvPr/>
        </p:nvSpPr>
        <p:spPr>
          <a:xfrm>
            <a:off x="35678264" y="12566354"/>
            <a:ext cx="6484147" cy="647870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l"/>
            <a:r>
              <a:rPr lang="nl-NL" sz="2105" b="1">
                <a:solidFill>
                  <a:schemeClr val="tx2"/>
                </a:solidFill>
              </a:rPr>
              <a:t>Disclaimer</a:t>
            </a:r>
            <a:r>
              <a:rPr lang="nl-NL" sz="2105">
                <a:solidFill>
                  <a:schemeClr val="tx2"/>
                </a:solidFill>
              </a:rPr>
              <a:t>: niet alle nieuwbouw/uitbreiding projecten</a:t>
            </a:r>
          </a:p>
          <a:p>
            <a:pPr algn="l"/>
            <a:r>
              <a:rPr lang="nl-NL" sz="2105">
                <a:solidFill>
                  <a:schemeClr val="tx2"/>
                </a:solidFill>
              </a:rPr>
              <a:t>bevinden zich in dezelfde fase</a:t>
            </a:r>
          </a:p>
        </p:txBody>
      </p:sp>
      <p:sp>
        <p:nvSpPr>
          <p:cNvPr id="367" name="Ovaal 366">
            <a:extLst>
              <a:ext uri="{FF2B5EF4-FFF2-40B4-BE49-F238E27FC236}">
                <a16:creationId xmlns:a16="http://schemas.microsoft.com/office/drawing/2014/main" id="{4FB930F6-4668-4497-8D1E-3358F691EC5C}"/>
              </a:ext>
            </a:extLst>
          </p:cNvPr>
          <p:cNvSpPr/>
          <p:nvPr/>
        </p:nvSpPr>
        <p:spPr>
          <a:xfrm rot="4301457">
            <a:off x="22705169" y="15818611"/>
            <a:ext cx="2868317" cy="1136405"/>
          </a:xfrm>
          <a:prstGeom prst="ellipse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78844" tIns="378844" rIns="378844" bIns="378844" rtlCol="0" anchor="ctr"/>
          <a:lstStyle/>
          <a:p>
            <a:pPr algn="ctr"/>
            <a:endParaRPr lang="nl-NL" sz="4911"/>
          </a:p>
        </p:txBody>
      </p:sp>
      <p:grpSp>
        <p:nvGrpSpPr>
          <p:cNvPr id="338" name="Groep 337">
            <a:extLst>
              <a:ext uri="{FF2B5EF4-FFF2-40B4-BE49-F238E27FC236}">
                <a16:creationId xmlns:a16="http://schemas.microsoft.com/office/drawing/2014/main" id="{B6ECAAAA-C7D8-4F08-A0F5-2BB1D58FC0EF}"/>
              </a:ext>
            </a:extLst>
          </p:cNvPr>
          <p:cNvGrpSpPr/>
          <p:nvPr/>
        </p:nvGrpSpPr>
        <p:grpSpPr>
          <a:xfrm>
            <a:off x="32694284" y="18801786"/>
            <a:ext cx="668354" cy="619946"/>
            <a:chOff x="5014091" y="5569054"/>
            <a:chExt cx="190533" cy="176733"/>
          </a:xfrm>
        </p:grpSpPr>
        <p:sp>
          <p:nvSpPr>
            <p:cNvPr id="339" name="Ovaal 338">
              <a:extLst>
                <a:ext uri="{FF2B5EF4-FFF2-40B4-BE49-F238E27FC236}">
                  <a16:creationId xmlns:a16="http://schemas.microsoft.com/office/drawing/2014/main" id="{58635C34-D1B8-459E-9CC3-E81E5AC3F795}"/>
                </a:ext>
              </a:extLst>
            </p:cNvPr>
            <p:cNvSpPr/>
            <p:nvPr/>
          </p:nvSpPr>
          <p:spPr>
            <a:xfrm>
              <a:off x="5014091" y="5569054"/>
              <a:ext cx="190533" cy="176733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78844" tIns="378844" rIns="378844" bIns="378844" rtlCol="0" anchor="ctr"/>
            <a:lstStyle/>
            <a:p>
              <a:pPr algn="ctr"/>
              <a:endParaRPr lang="nl-NL" sz="4911"/>
            </a:p>
          </p:txBody>
        </p:sp>
        <p:sp>
          <p:nvSpPr>
            <p:cNvPr id="348" name="Ster: 5 punten 347">
              <a:extLst>
                <a:ext uri="{FF2B5EF4-FFF2-40B4-BE49-F238E27FC236}">
                  <a16:creationId xmlns:a16="http://schemas.microsoft.com/office/drawing/2014/main" id="{EA229BEC-B2D1-4071-821B-F6651291DC87}"/>
                </a:ext>
              </a:extLst>
            </p:cNvPr>
            <p:cNvSpPr/>
            <p:nvPr/>
          </p:nvSpPr>
          <p:spPr>
            <a:xfrm>
              <a:off x="5044174" y="5606994"/>
              <a:ext cx="132887" cy="103816"/>
            </a:xfrm>
            <a:prstGeom prst="star5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78844" tIns="378844" rIns="378844" bIns="378844" rtlCol="0" anchor="ctr"/>
            <a:lstStyle/>
            <a:p>
              <a:pPr algn="ctr"/>
              <a:endParaRPr lang="nl-NL" sz="4911"/>
            </a:p>
          </p:txBody>
        </p:sp>
      </p:grpSp>
      <p:sp>
        <p:nvSpPr>
          <p:cNvPr id="349" name="Tekstvak 348">
            <a:extLst>
              <a:ext uri="{FF2B5EF4-FFF2-40B4-BE49-F238E27FC236}">
                <a16:creationId xmlns:a16="http://schemas.microsoft.com/office/drawing/2014/main" id="{6D8A652D-243F-4D92-928B-8A5F7C5EC945}"/>
              </a:ext>
            </a:extLst>
          </p:cNvPr>
          <p:cNvSpPr txBox="1"/>
          <p:nvPr/>
        </p:nvSpPr>
        <p:spPr>
          <a:xfrm>
            <a:off x="35659359" y="13433650"/>
            <a:ext cx="5865388" cy="2267544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l"/>
            <a:r>
              <a:rPr lang="nl-NL" sz="2105" b="1">
                <a:solidFill>
                  <a:schemeClr val="tx2"/>
                </a:solidFill>
              </a:rPr>
              <a:t>Disclaimer</a:t>
            </a:r>
            <a:r>
              <a:rPr lang="nl-NL" sz="2105">
                <a:solidFill>
                  <a:schemeClr val="tx2"/>
                </a:solidFill>
              </a:rPr>
              <a:t>: deze kaart bevat vanuit </a:t>
            </a:r>
            <a:r>
              <a:rPr lang="nl-NL" sz="2105" err="1">
                <a:solidFill>
                  <a:schemeClr val="tx2"/>
                </a:solidFill>
              </a:rPr>
              <a:t>Tennet</a:t>
            </a:r>
            <a:r>
              <a:rPr lang="nl-NL" sz="2105">
                <a:solidFill>
                  <a:schemeClr val="tx2"/>
                </a:solidFill>
              </a:rPr>
              <a:t> geen</a:t>
            </a:r>
          </a:p>
          <a:p>
            <a:pPr marL="601412" indent="-601412">
              <a:buFont typeface="Arial" panose="020B0604020202020204" pitchFamily="34" charset="0"/>
              <a:buChar char="•"/>
            </a:pPr>
            <a:r>
              <a:rPr lang="nl-NL" sz="2105">
                <a:solidFill>
                  <a:schemeClr val="tx2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MIEK-projecten</a:t>
            </a:r>
            <a:endParaRPr lang="nl-NL" sz="2105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601412" indent="-601412">
              <a:buFont typeface="Arial" panose="020B0604020202020204" pitchFamily="34" charset="0"/>
              <a:buChar char="•"/>
            </a:pPr>
            <a:r>
              <a:rPr lang="nl-NL" sz="2105">
                <a:solidFill>
                  <a:schemeClr val="tx2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offshore-projecten</a:t>
            </a:r>
          </a:p>
          <a:p>
            <a:pPr marL="601412" indent="-601412">
              <a:buFont typeface="Arial" panose="020B0604020202020204" pitchFamily="34" charset="0"/>
              <a:buChar char="•"/>
            </a:pPr>
            <a:r>
              <a:rPr lang="nl-NL" sz="2105">
                <a:solidFill>
                  <a:schemeClr val="tx2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projecten die in DO- fase of verder zitten</a:t>
            </a:r>
          </a:p>
          <a:p>
            <a:pPr marL="601412" indent="-601412">
              <a:buFont typeface="Arial" panose="020B0604020202020204" pitchFamily="34" charset="0"/>
              <a:buChar char="•"/>
            </a:pPr>
            <a:r>
              <a:rPr lang="nl-NL" sz="2105">
                <a:solidFill>
                  <a:schemeClr val="tx2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vervangingsprojecten</a:t>
            </a:r>
            <a:endParaRPr lang="nl-NL" sz="2105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601412" indent="-601412">
              <a:buFont typeface="Arial" panose="020B0604020202020204" pitchFamily="34" charset="0"/>
              <a:buChar char="•"/>
            </a:pPr>
            <a:endParaRPr lang="nl-NL" sz="2105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l"/>
            <a:endParaRPr lang="nl-NL" sz="2105">
              <a:solidFill>
                <a:schemeClr val="tx2"/>
              </a:solidFill>
            </a:endParaRPr>
          </a:p>
        </p:txBody>
      </p:sp>
      <p:sp>
        <p:nvSpPr>
          <p:cNvPr id="22" name="Tekstvak 21">
            <a:extLst>
              <a:ext uri="{FF2B5EF4-FFF2-40B4-BE49-F238E27FC236}">
                <a16:creationId xmlns:a16="http://schemas.microsoft.com/office/drawing/2014/main" id="{9E37F4B5-6390-4F47-9FAF-0B3B2E7095AB}"/>
              </a:ext>
            </a:extLst>
          </p:cNvPr>
          <p:cNvSpPr txBox="1"/>
          <p:nvPr/>
        </p:nvSpPr>
        <p:spPr>
          <a:xfrm>
            <a:off x="24431051" y="14779099"/>
            <a:ext cx="482504" cy="863634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l"/>
            <a:r>
              <a:rPr lang="nl-NL" sz="5612" b="1"/>
              <a:t>C</a:t>
            </a:r>
          </a:p>
        </p:txBody>
      </p:sp>
      <p:sp>
        <p:nvSpPr>
          <p:cNvPr id="371" name="Ovaal 370">
            <a:extLst>
              <a:ext uri="{FF2B5EF4-FFF2-40B4-BE49-F238E27FC236}">
                <a16:creationId xmlns:a16="http://schemas.microsoft.com/office/drawing/2014/main" id="{D9E6B233-BBF1-45DF-A889-8FD090921F92}"/>
              </a:ext>
            </a:extLst>
          </p:cNvPr>
          <p:cNvSpPr/>
          <p:nvPr/>
        </p:nvSpPr>
        <p:spPr>
          <a:xfrm rot="4301457">
            <a:off x="4427301" y="22038938"/>
            <a:ext cx="2868317" cy="1136405"/>
          </a:xfrm>
          <a:prstGeom prst="ellipse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78844" tIns="378844" rIns="378844" bIns="378844" rtlCol="0" anchor="ctr"/>
          <a:lstStyle/>
          <a:p>
            <a:pPr algn="ctr"/>
            <a:endParaRPr lang="nl-NL" sz="4911"/>
          </a:p>
        </p:txBody>
      </p:sp>
      <p:sp>
        <p:nvSpPr>
          <p:cNvPr id="380" name="Tekstvak 379">
            <a:extLst>
              <a:ext uri="{FF2B5EF4-FFF2-40B4-BE49-F238E27FC236}">
                <a16:creationId xmlns:a16="http://schemas.microsoft.com/office/drawing/2014/main" id="{30F591BF-D035-4276-B8ED-BB80BADF313F}"/>
              </a:ext>
            </a:extLst>
          </p:cNvPr>
          <p:cNvSpPr txBox="1"/>
          <p:nvPr/>
        </p:nvSpPr>
        <p:spPr>
          <a:xfrm>
            <a:off x="6153184" y="20999425"/>
            <a:ext cx="424796" cy="863634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l"/>
            <a:r>
              <a:rPr lang="nl-NL" sz="5612" b="1"/>
              <a:t>B</a:t>
            </a:r>
          </a:p>
        </p:txBody>
      </p:sp>
      <p:sp>
        <p:nvSpPr>
          <p:cNvPr id="381" name="Ovaal 380">
            <a:extLst>
              <a:ext uri="{FF2B5EF4-FFF2-40B4-BE49-F238E27FC236}">
                <a16:creationId xmlns:a16="http://schemas.microsoft.com/office/drawing/2014/main" id="{27469C90-AA82-44D2-85FA-ADD500E42808}"/>
              </a:ext>
            </a:extLst>
          </p:cNvPr>
          <p:cNvSpPr/>
          <p:nvPr/>
        </p:nvSpPr>
        <p:spPr>
          <a:xfrm rot="816137">
            <a:off x="8252220" y="14448636"/>
            <a:ext cx="2700728" cy="1109146"/>
          </a:xfrm>
          <a:prstGeom prst="ellipse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78844" tIns="378844" rIns="378844" bIns="378844" rtlCol="0" anchor="ctr"/>
          <a:lstStyle/>
          <a:p>
            <a:pPr algn="ctr"/>
            <a:endParaRPr lang="nl-NL" sz="4911"/>
          </a:p>
        </p:txBody>
      </p:sp>
      <p:sp>
        <p:nvSpPr>
          <p:cNvPr id="383" name="Tekstvak 382">
            <a:extLst>
              <a:ext uri="{FF2B5EF4-FFF2-40B4-BE49-F238E27FC236}">
                <a16:creationId xmlns:a16="http://schemas.microsoft.com/office/drawing/2014/main" id="{7F616335-2A1B-42C1-8FC8-F2EAF70F6746}"/>
              </a:ext>
            </a:extLst>
          </p:cNvPr>
          <p:cNvSpPr txBox="1"/>
          <p:nvPr/>
        </p:nvSpPr>
        <p:spPr>
          <a:xfrm>
            <a:off x="9646025" y="13618858"/>
            <a:ext cx="160377" cy="86363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nl-NL" sz="5612" b="1"/>
              <a:t>A</a:t>
            </a:r>
          </a:p>
        </p:txBody>
      </p:sp>
      <p:sp>
        <p:nvSpPr>
          <p:cNvPr id="384" name="Ovaal 383">
            <a:extLst>
              <a:ext uri="{FF2B5EF4-FFF2-40B4-BE49-F238E27FC236}">
                <a16:creationId xmlns:a16="http://schemas.microsoft.com/office/drawing/2014/main" id="{D8559462-42EF-4390-9DBE-11660C0CBD37}"/>
              </a:ext>
            </a:extLst>
          </p:cNvPr>
          <p:cNvSpPr/>
          <p:nvPr/>
        </p:nvSpPr>
        <p:spPr>
          <a:xfrm rot="4301457">
            <a:off x="33362816" y="18694417"/>
            <a:ext cx="2868317" cy="1136405"/>
          </a:xfrm>
          <a:prstGeom prst="ellipse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78844" tIns="378844" rIns="378844" bIns="378844" rtlCol="0" anchor="ctr"/>
          <a:lstStyle/>
          <a:p>
            <a:pPr algn="ctr"/>
            <a:endParaRPr lang="nl-NL" sz="4911"/>
          </a:p>
        </p:txBody>
      </p:sp>
      <p:sp>
        <p:nvSpPr>
          <p:cNvPr id="385" name="Tekstvak 384">
            <a:extLst>
              <a:ext uri="{FF2B5EF4-FFF2-40B4-BE49-F238E27FC236}">
                <a16:creationId xmlns:a16="http://schemas.microsoft.com/office/drawing/2014/main" id="{873028B1-8185-4559-A6B7-6FFBF1A999F7}"/>
              </a:ext>
            </a:extLst>
          </p:cNvPr>
          <p:cNvSpPr txBox="1"/>
          <p:nvPr/>
        </p:nvSpPr>
        <p:spPr>
          <a:xfrm>
            <a:off x="34774961" y="17654905"/>
            <a:ext cx="525785" cy="863634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l"/>
            <a:r>
              <a:rPr lang="nl-NL" sz="5612" b="1"/>
              <a:t>D</a:t>
            </a:r>
          </a:p>
        </p:txBody>
      </p:sp>
      <p:sp>
        <p:nvSpPr>
          <p:cNvPr id="23" name="Tekstvak 22">
            <a:extLst>
              <a:ext uri="{FF2B5EF4-FFF2-40B4-BE49-F238E27FC236}">
                <a16:creationId xmlns:a16="http://schemas.microsoft.com/office/drawing/2014/main" id="{29FF46DA-641E-4AA5-BAEC-7DDCEA9AD8E6}"/>
              </a:ext>
            </a:extLst>
          </p:cNvPr>
          <p:cNvSpPr txBox="1"/>
          <p:nvPr/>
        </p:nvSpPr>
        <p:spPr>
          <a:xfrm>
            <a:off x="20995677" y="27591440"/>
            <a:ext cx="10560583" cy="971676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l"/>
            <a:r>
              <a:rPr lang="nl-NL" sz="3157"/>
              <a:t>A-C Potentieel zoekgebied nieuw 150 kV station </a:t>
            </a:r>
            <a:r>
              <a:rPr lang="nl-NL" sz="3157" err="1"/>
              <a:t>Tennet</a:t>
            </a:r>
            <a:endParaRPr lang="nl-NL" sz="3157"/>
          </a:p>
          <a:p>
            <a:pPr algn="l"/>
            <a:r>
              <a:rPr lang="nl-NL" sz="3157"/>
              <a:t>D Potentieel zoekgebied nieuw 380/150 kV station </a:t>
            </a:r>
            <a:r>
              <a:rPr lang="nl-NL" sz="3157" err="1"/>
              <a:t>Tennet</a:t>
            </a:r>
            <a:endParaRPr lang="nl-NL" sz="3157"/>
          </a:p>
        </p:txBody>
      </p:sp>
      <p:sp>
        <p:nvSpPr>
          <p:cNvPr id="386" name="Ovaal 385">
            <a:extLst>
              <a:ext uri="{FF2B5EF4-FFF2-40B4-BE49-F238E27FC236}">
                <a16:creationId xmlns:a16="http://schemas.microsoft.com/office/drawing/2014/main" id="{FC0998B8-B306-43C7-9E99-BBE5C919A491}"/>
              </a:ext>
            </a:extLst>
          </p:cNvPr>
          <p:cNvSpPr/>
          <p:nvPr/>
        </p:nvSpPr>
        <p:spPr>
          <a:xfrm>
            <a:off x="29118016" y="21228826"/>
            <a:ext cx="631410" cy="631406"/>
          </a:xfrm>
          <a:prstGeom prst="ellipse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78844" tIns="378844" rIns="378844" bIns="378844" rtlCol="0" anchor="ctr"/>
          <a:lstStyle/>
          <a:p>
            <a:pPr algn="ctr"/>
            <a:endParaRPr lang="nl-NL" sz="3508"/>
          </a:p>
        </p:txBody>
      </p:sp>
      <p:grpSp>
        <p:nvGrpSpPr>
          <p:cNvPr id="426" name="Groep 425">
            <a:extLst>
              <a:ext uri="{FF2B5EF4-FFF2-40B4-BE49-F238E27FC236}">
                <a16:creationId xmlns:a16="http://schemas.microsoft.com/office/drawing/2014/main" id="{6C1005E5-DFD2-456A-8495-C0A0B0FA373A}"/>
              </a:ext>
            </a:extLst>
          </p:cNvPr>
          <p:cNvGrpSpPr/>
          <p:nvPr/>
        </p:nvGrpSpPr>
        <p:grpSpPr>
          <a:xfrm>
            <a:off x="8389037" y="27027757"/>
            <a:ext cx="668354" cy="619946"/>
            <a:chOff x="5014091" y="5569054"/>
            <a:chExt cx="190533" cy="176733"/>
          </a:xfrm>
        </p:grpSpPr>
        <p:sp>
          <p:nvSpPr>
            <p:cNvPr id="427" name="Ovaal 426">
              <a:extLst>
                <a:ext uri="{FF2B5EF4-FFF2-40B4-BE49-F238E27FC236}">
                  <a16:creationId xmlns:a16="http://schemas.microsoft.com/office/drawing/2014/main" id="{C722E843-DF53-4079-B758-1FEFFA4695CA}"/>
                </a:ext>
              </a:extLst>
            </p:cNvPr>
            <p:cNvSpPr/>
            <p:nvPr/>
          </p:nvSpPr>
          <p:spPr>
            <a:xfrm>
              <a:off x="5014091" y="5569054"/>
              <a:ext cx="190533" cy="176733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78844" tIns="378844" rIns="378844" bIns="378844" rtlCol="0" anchor="ctr"/>
            <a:lstStyle/>
            <a:p>
              <a:pPr algn="ctr"/>
              <a:endParaRPr lang="nl-NL" sz="4911"/>
            </a:p>
          </p:txBody>
        </p:sp>
        <p:sp>
          <p:nvSpPr>
            <p:cNvPr id="428" name="Ster: 5 punten 427">
              <a:extLst>
                <a:ext uri="{FF2B5EF4-FFF2-40B4-BE49-F238E27FC236}">
                  <a16:creationId xmlns:a16="http://schemas.microsoft.com/office/drawing/2014/main" id="{B709C2AB-D037-42AA-B428-886487258B31}"/>
                </a:ext>
              </a:extLst>
            </p:cNvPr>
            <p:cNvSpPr/>
            <p:nvPr/>
          </p:nvSpPr>
          <p:spPr>
            <a:xfrm>
              <a:off x="5044174" y="5606994"/>
              <a:ext cx="132887" cy="103816"/>
            </a:xfrm>
            <a:prstGeom prst="star5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78844" tIns="378844" rIns="378844" bIns="378844" rtlCol="0" anchor="ctr"/>
            <a:lstStyle/>
            <a:p>
              <a:pPr algn="ctr"/>
              <a:endParaRPr lang="nl-NL" sz="4911"/>
            </a:p>
          </p:txBody>
        </p:sp>
      </p:grpSp>
      <p:sp>
        <p:nvSpPr>
          <p:cNvPr id="429" name="Ovaal 428">
            <a:extLst>
              <a:ext uri="{FF2B5EF4-FFF2-40B4-BE49-F238E27FC236}">
                <a16:creationId xmlns:a16="http://schemas.microsoft.com/office/drawing/2014/main" id="{05E270F3-0351-4D63-8A5A-1550DE522878}"/>
              </a:ext>
            </a:extLst>
          </p:cNvPr>
          <p:cNvSpPr/>
          <p:nvPr/>
        </p:nvSpPr>
        <p:spPr>
          <a:xfrm>
            <a:off x="8787754" y="27186347"/>
            <a:ext cx="391472" cy="39147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78844" tIns="378844" rIns="378844" bIns="378844" rtlCol="0" anchor="ctr"/>
          <a:lstStyle/>
          <a:p>
            <a:pPr algn="ctr"/>
            <a:endParaRPr lang="nl-NL" sz="3508">
              <a:noFill/>
            </a:endParaRPr>
          </a:p>
        </p:txBody>
      </p:sp>
      <p:grpSp>
        <p:nvGrpSpPr>
          <p:cNvPr id="430" name="Groep 429">
            <a:extLst>
              <a:ext uri="{FF2B5EF4-FFF2-40B4-BE49-F238E27FC236}">
                <a16:creationId xmlns:a16="http://schemas.microsoft.com/office/drawing/2014/main" id="{7AC09D26-0753-47D0-BD22-B21F0E8FB2D6}"/>
              </a:ext>
            </a:extLst>
          </p:cNvPr>
          <p:cNvGrpSpPr/>
          <p:nvPr/>
        </p:nvGrpSpPr>
        <p:grpSpPr>
          <a:xfrm>
            <a:off x="24877741" y="17051325"/>
            <a:ext cx="668354" cy="619946"/>
            <a:chOff x="5014091" y="5569054"/>
            <a:chExt cx="190533" cy="176733"/>
          </a:xfrm>
        </p:grpSpPr>
        <p:sp>
          <p:nvSpPr>
            <p:cNvPr id="431" name="Ovaal 430">
              <a:extLst>
                <a:ext uri="{FF2B5EF4-FFF2-40B4-BE49-F238E27FC236}">
                  <a16:creationId xmlns:a16="http://schemas.microsoft.com/office/drawing/2014/main" id="{FFEB072A-DF98-4408-AC43-8FD88A24F6E9}"/>
                </a:ext>
              </a:extLst>
            </p:cNvPr>
            <p:cNvSpPr/>
            <p:nvPr/>
          </p:nvSpPr>
          <p:spPr>
            <a:xfrm>
              <a:off x="5014091" y="5569054"/>
              <a:ext cx="190533" cy="176733"/>
            </a:xfrm>
            <a:prstGeom prst="ellipse">
              <a:avLst/>
            </a:prstGeom>
            <a:solidFill>
              <a:schemeClr val="accent1"/>
            </a:solidFill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78844" tIns="378844" rIns="378844" bIns="378844" rtlCol="0" anchor="ctr"/>
            <a:lstStyle/>
            <a:p>
              <a:pPr algn="ctr"/>
              <a:endParaRPr lang="nl-NL" sz="4911"/>
            </a:p>
          </p:txBody>
        </p:sp>
        <p:sp>
          <p:nvSpPr>
            <p:cNvPr id="432" name="Ster: 5 punten 431">
              <a:extLst>
                <a:ext uri="{FF2B5EF4-FFF2-40B4-BE49-F238E27FC236}">
                  <a16:creationId xmlns:a16="http://schemas.microsoft.com/office/drawing/2014/main" id="{E2C4B3AC-E108-4DAC-A947-3A8CB1C8EEE1}"/>
                </a:ext>
              </a:extLst>
            </p:cNvPr>
            <p:cNvSpPr/>
            <p:nvPr/>
          </p:nvSpPr>
          <p:spPr>
            <a:xfrm>
              <a:off x="5044174" y="5606994"/>
              <a:ext cx="132887" cy="103816"/>
            </a:xfrm>
            <a:prstGeom prst="star5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78844" tIns="378844" rIns="378844" bIns="378844" rtlCol="0" anchor="ctr"/>
            <a:lstStyle/>
            <a:p>
              <a:pPr algn="ctr"/>
              <a:endParaRPr lang="nl-NL" sz="4911"/>
            </a:p>
          </p:txBody>
        </p:sp>
      </p:grpSp>
      <p:grpSp>
        <p:nvGrpSpPr>
          <p:cNvPr id="433" name="Groep 432">
            <a:extLst>
              <a:ext uri="{FF2B5EF4-FFF2-40B4-BE49-F238E27FC236}">
                <a16:creationId xmlns:a16="http://schemas.microsoft.com/office/drawing/2014/main" id="{F527D950-999F-432D-BE87-901FE4E63404}"/>
              </a:ext>
            </a:extLst>
          </p:cNvPr>
          <p:cNvGrpSpPr/>
          <p:nvPr/>
        </p:nvGrpSpPr>
        <p:grpSpPr>
          <a:xfrm>
            <a:off x="24164066" y="12486535"/>
            <a:ext cx="668354" cy="619946"/>
            <a:chOff x="5014091" y="5569054"/>
            <a:chExt cx="190533" cy="176733"/>
          </a:xfrm>
        </p:grpSpPr>
        <p:sp>
          <p:nvSpPr>
            <p:cNvPr id="434" name="Ovaal 433">
              <a:extLst>
                <a:ext uri="{FF2B5EF4-FFF2-40B4-BE49-F238E27FC236}">
                  <a16:creationId xmlns:a16="http://schemas.microsoft.com/office/drawing/2014/main" id="{FAEFC1FA-8767-4EE5-8F32-73B999B95F7B}"/>
                </a:ext>
              </a:extLst>
            </p:cNvPr>
            <p:cNvSpPr/>
            <p:nvPr/>
          </p:nvSpPr>
          <p:spPr>
            <a:xfrm>
              <a:off x="5014091" y="5569054"/>
              <a:ext cx="190533" cy="176733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285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78844" tIns="378844" rIns="378844" bIns="378844" rtlCol="0" anchor="ctr"/>
            <a:lstStyle/>
            <a:p>
              <a:pPr algn="ctr"/>
              <a:endParaRPr lang="nl-NL" sz="4911"/>
            </a:p>
          </p:txBody>
        </p:sp>
        <p:sp>
          <p:nvSpPr>
            <p:cNvPr id="435" name="Ster: 5 punten 434">
              <a:extLst>
                <a:ext uri="{FF2B5EF4-FFF2-40B4-BE49-F238E27FC236}">
                  <a16:creationId xmlns:a16="http://schemas.microsoft.com/office/drawing/2014/main" id="{0E0B2368-D314-4BD6-B81A-D6D85F2BDF96}"/>
                </a:ext>
              </a:extLst>
            </p:cNvPr>
            <p:cNvSpPr/>
            <p:nvPr/>
          </p:nvSpPr>
          <p:spPr>
            <a:xfrm>
              <a:off x="5044174" y="5606994"/>
              <a:ext cx="132887" cy="103816"/>
            </a:xfrm>
            <a:prstGeom prst="star5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78844" tIns="378844" rIns="378844" bIns="378844" rtlCol="0" anchor="ctr"/>
            <a:lstStyle/>
            <a:p>
              <a:pPr algn="ctr"/>
              <a:endParaRPr lang="nl-NL" sz="4911"/>
            </a:p>
          </p:txBody>
        </p:sp>
      </p:grpSp>
      <p:sp>
        <p:nvSpPr>
          <p:cNvPr id="436" name="Tekstvak 435">
            <a:extLst>
              <a:ext uri="{FF2B5EF4-FFF2-40B4-BE49-F238E27FC236}">
                <a16:creationId xmlns:a16="http://schemas.microsoft.com/office/drawing/2014/main" id="{F98B8168-58A7-4DF8-869D-8B8571DB41C8}"/>
              </a:ext>
            </a:extLst>
          </p:cNvPr>
          <p:cNvSpPr txBox="1"/>
          <p:nvPr/>
        </p:nvSpPr>
        <p:spPr>
          <a:xfrm>
            <a:off x="24607466" y="12362651"/>
            <a:ext cx="5001874" cy="6321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3508"/>
              <a:t>Beverwijk</a:t>
            </a:r>
          </a:p>
        </p:txBody>
      </p:sp>
      <p:sp>
        <p:nvSpPr>
          <p:cNvPr id="331" name="Titel 167">
            <a:extLst>
              <a:ext uri="{FF2B5EF4-FFF2-40B4-BE49-F238E27FC236}">
                <a16:creationId xmlns:a16="http://schemas.microsoft.com/office/drawing/2014/main" id="{143B7143-469F-47A7-86A5-D51BA699D3AC}"/>
              </a:ext>
            </a:extLst>
          </p:cNvPr>
          <p:cNvSpPr txBox="1">
            <a:spLocks/>
          </p:cNvSpPr>
          <p:nvPr/>
        </p:nvSpPr>
        <p:spPr>
          <a:xfrm>
            <a:off x="227773" y="5606295"/>
            <a:ext cx="39833498" cy="8248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2"/>
                </a:solidFill>
                <a:latin typeface="+mj-lt"/>
                <a:ea typeface="+mj-ea"/>
                <a:cs typeface="Calibri Light" panose="020F0302020204030204" pitchFamily="34" charset="0"/>
              </a:defRPr>
            </a:lvl1pPr>
          </a:lstStyle>
          <a:p>
            <a:endParaRPr lang="nl-NL" sz="8419" b="1"/>
          </a:p>
        </p:txBody>
      </p:sp>
      <p:sp>
        <p:nvSpPr>
          <p:cNvPr id="58" name="Titel 9">
            <a:extLst>
              <a:ext uri="{FF2B5EF4-FFF2-40B4-BE49-F238E27FC236}">
                <a16:creationId xmlns:a16="http://schemas.microsoft.com/office/drawing/2014/main" id="{62DCDC1F-C4DD-C7FC-0C8F-F8580403660A}"/>
              </a:ext>
            </a:extLst>
          </p:cNvPr>
          <p:cNvSpPr txBox="1">
            <a:spLocks/>
          </p:cNvSpPr>
          <p:nvPr/>
        </p:nvSpPr>
        <p:spPr>
          <a:xfrm>
            <a:off x="1894781" y="1918459"/>
            <a:ext cx="35379051" cy="145068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32074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9823" b="0" kern="1200">
                <a:solidFill>
                  <a:schemeClr val="tx2"/>
                </a:solidFill>
                <a:latin typeface="+mj-lt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nl-NL" sz="9600"/>
              <a:t>Nieuwbouw en uitbreiding hoogspanningsstations Noord-Holland exclusief Amsterdam</a:t>
            </a:r>
          </a:p>
        </p:txBody>
      </p:sp>
      <p:sp>
        <p:nvSpPr>
          <p:cNvPr id="18" name="Tekstvak 17">
            <a:extLst>
              <a:ext uri="{FF2B5EF4-FFF2-40B4-BE49-F238E27FC236}">
                <a16:creationId xmlns:a16="http://schemas.microsoft.com/office/drawing/2014/main" id="{57020D3A-21BA-CDE3-2344-6A3BB1EF81BB}"/>
              </a:ext>
            </a:extLst>
          </p:cNvPr>
          <p:cNvSpPr txBox="1"/>
          <p:nvPr/>
        </p:nvSpPr>
        <p:spPr>
          <a:xfrm>
            <a:off x="24526028" y="15612608"/>
            <a:ext cx="482504" cy="863634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l"/>
            <a:r>
              <a:rPr lang="nl-NL" sz="5612" b="1"/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2756707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Afbeelding 9" descr="Afbeelding met buitenshuis, bloem, plant, gras&#10;&#10;Automatisch gegenereerde beschrijving">
            <a:extLst>
              <a:ext uri="{FF2B5EF4-FFF2-40B4-BE49-F238E27FC236}">
                <a16:creationId xmlns:a16="http://schemas.microsoft.com/office/drawing/2014/main" id="{EA6A7A0F-BE71-B9CD-D602-40548A0679D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413"/>
          <a:stretch/>
        </p:blipFill>
        <p:spPr>
          <a:xfrm>
            <a:off x="0" y="0"/>
            <a:ext cx="21383625" cy="30275213"/>
          </a:xfrm>
          <a:prstGeom prst="rect">
            <a:avLst/>
          </a:prstGeom>
        </p:spPr>
      </p:pic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7AC7F3F-C861-27BF-242C-2F30D4728A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B2A88A-B7BD-41B1-9FCB-9BE633251ACA}" type="slidenum">
              <a:rPr lang="nl-NL" noProof="0" smtClean="0"/>
              <a:t>3</a:t>
            </a:fld>
            <a:endParaRPr lang="nl-NL" noProof="0"/>
          </a:p>
        </p:txBody>
      </p:sp>
    </p:spTree>
    <p:extLst>
      <p:ext uri="{BB962C8B-B14F-4D97-AF65-F5344CB8AC3E}">
        <p14:creationId xmlns:p14="http://schemas.microsoft.com/office/powerpoint/2010/main" val="3918565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12af230a8732acff559dced3fb69d24b6db7f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l0h3W0Y7Po..CoCJBLbA"/>
</p:tagLst>
</file>

<file path=ppt/theme/theme1.xml><?xml version="1.0" encoding="utf-8"?>
<a:theme xmlns:a="http://schemas.openxmlformats.org/drawingml/2006/main" name="Liander">
  <a:themeElements>
    <a:clrScheme name="Liander2">
      <a:dk1>
        <a:sysClr val="windowText" lastClr="000000"/>
      </a:dk1>
      <a:lt1>
        <a:sysClr val="window" lastClr="FFFFFF"/>
      </a:lt1>
      <a:dk2>
        <a:srgbClr val="30297F"/>
      </a:dk2>
      <a:lt2>
        <a:srgbClr val="008EBE"/>
      </a:lt2>
      <a:accent1>
        <a:srgbClr val="008EBE"/>
      </a:accent1>
      <a:accent2>
        <a:srgbClr val="7F1F7D"/>
      </a:accent2>
      <a:accent3>
        <a:srgbClr val="CD5A19"/>
      </a:accent3>
      <a:accent4>
        <a:srgbClr val="8BB63B"/>
      </a:accent4>
      <a:accent5>
        <a:srgbClr val="000000"/>
      </a:accent5>
      <a:accent6>
        <a:srgbClr val="CECFCF"/>
      </a:accent6>
      <a:hlink>
        <a:srgbClr val="CECFCF"/>
      </a:hlink>
      <a:folHlink>
        <a:srgbClr val="4C4C4C"/>
      </a:folHlink>
    </a:clrScheme>
    <a:fontScheme name="Aangepast 29">
      <a:majorFont>
        <a:latin typeface="Microsoft JhengHei Light"/>
        <a:ea typeface=""/>
        <a:cs typeface=""/>
      </a:majorFont>
      <a:minorFont>
        <a:latin typeface="Microsoft JhengHei Light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108000" tIns="108000" rIns="108000" bIns="108000" rtlCol="0" anchor="ctr"/>
      <a:lstStyle>
        <a:defPPr algn="ctr">
          <a:defRPr sz="14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>
        <a:spAutoFit/>
      </a:bodyPr>
      <a:lstStyle>
        <a:defPPr algn="l">
          <a:defRPr sz="16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Liander">
  <a:themeElements>
    <a:clrScheme name="Aangepast 6">
      <a:dk1>
        <a:sysClr val="windowText" lastClr="000000"/>
      </a:dk1>
      <a:lt1>
        <a:sysClr val="window" lastClr="FFFFFF"/>
      </a:lt1>
      <a:dk2>
        <a:srgbClr val="30297F"/>
      </a:dk2>
      <a:lt2>
        <a:srgbClr val="008EBE"/>
      </a:lt2>
      <a:accent1>
        <a:srgbClr val="008EBE"/>
      </a:accent1>
      <a:accent2>
        <a:srgbClr val="7F1F7D"/>
      </a:accent2>
      <a:accent3>
        <a:srgbClr val="CD5A19"/>
      </a:accent3>
      <a:accent4>
        <a:srgbClr val="8BB63B"/>
      </a:accent4>
      <a:accent5>
        <a:srgbClr val="000000"/>
      </a:accent5>
      <a:accent6>
        <a:srgbClr val="CECFCF"/>
      </a:accent6>
      <a:hlink>
        <a:srgbClr val="8BB63B"/>
      </a:hlink>
      <a:folHlink>
        <a:srgbClr val="4C4C4C"/>
      </a:folHlink>
    </a:clrScheme>
    <a:fontScheme name="Aangepast 29">
      <a:majorFont>
        <a:latin typeface="Microsoft JhengHei Light"/>
        <a:ea typeface=""/>
        <a:cs typeface=""/>
      </a:majorFont>
      <a:minorFont>
        <a:latin typeface="Microsoft JhengHei Light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108000" tIns="108000" rIns="108000" bIns="108000" rtlCol="0" anchor="ctr"/>
      <a:lstStyle>
        <a:defPPr algn="ctr">
          <a:defRPr sz="14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>
        <a:spAutoFit/>
      </a:bodyPr>
      <a:lstStyle>
        <a:defPPr algn="l">
          <a:defRPr sz="16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5_Liander">
  <a:themeElements>
    <a:clrScheme name="Liander2">
      <a:dk1>
        <a:sysClr val="windowText" lastClr="000000"/>
      </a:dk1>
      <a:lt1>
        <a:sysClr val="window" lastClr="FFFFFF"/>
      </a:lt1>
      <a:dk2>
        <a:srgbClr val="30297F"/>
      </a:dk2>
      <a:lt2>
        <a:srgbClr val="008EBE"/>
      </a:lt2>
      <a:accent1>
        <a:srgbClr val="008EBE"/>
      </a:accent1>
      <a:accent2>
        <a:srgbClr val="7F1F7D"/>
      </a:accent2>
      <a:accent3>
        <a:srgbClr val="CD5A19"/>
      </a:accent3>
      <a:accent4>
        <a:srgbClr val="8BB63B"/>
      </a:accent4>
      <a:accent5>
        <a:srgbClr val="000000"/>
      </a:accent5>
      <a:accent6>
        <a:srgbClr val="CECFCF"/>
      </a:accent6>
      <a:hlink>
        <a:srgbClr val="CECFCF"/>
      </a:hlink>
      <a:folHlink>
        <a:srgbClr val="4C4C4C"/>
      </a:folHlink>
    </a:clrScheme>
    <a:fontScheme name="Aangepast 29">
      <a:majorFont>
        <a:latin typeface="Microsoft JhengHei Light"/>
        <a:ea typeface=""/>
        <a:cs typeface=""/>
      </a:majorFont>
      <a:minorFont>
        <a:latin typeface="Microsoft JhengHei Light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108000" tIns="108000" rIns="108000" bIns="108000" rtlCol="0" anchor="ctr"/>
      <a:lstStyle>
        <a:defPPr algn="ctr">
          <a:defRPr sz="14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>
        <a:spAutoFit/>
      </a:bodyPr>
      <a:lstStyle>
        <a:defPPr algn="l">
          <a:defRPr sz="16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Liander">
  <a:themeElements>
    <a:clrScheme name="Liander2">
      <a:dk1>
        <a:sysClr val="windowText" lastClr="000000"/>
      </a:dk1>
      <a:lt1>
        <a:sysClr val="window" lastClr="FFFFFF"/>
      </a:lt1>
      <a:dk2>
        <a:srgbClr val="30297F"/>
      </a:dk2>
      <a:lt2>
        <a:srgbClr val="008EBE"/>
      </a:lt2>
      <a:accent1>
        <a:srgbClr val="008EBE"/>
      </a:accent1>
      <a:accent2>
        <a:srgbClr val="7F1F7D"/>
      </a:accent2>
      <a:accent3>
        <a:srgbClr val="CD5A19"/>
      </a:accent3>
      <a:accent4>
        <a:srgbClr val="8BB63B"/>
      </a:accent4>
      <a:accent5>
        <a:srgbClr val="000000"/>
      </a:accent5>
      <a:accent6>
        <a:srgbClr val="CECFCF"/>
      </a:accent6>
      <a:hlink>
        <a:srgbClr val="CECFCF"/>
      </a:hlink>
      <a:folHlink>
        <a:srgbClr val="4C4C4C"/>
      </a:folHlink>
    </a:clrScheme>
    <a:fontScheme name="Aangepast 29">
      <a:majorFont>
        <a:latin typeface="Microsoft JhengHei Light"/>
        <a:ea typeface=""/>
        <a:cs typeface=""/>
      </a:majorFont>
      <a:minorFont>
        <a:latin typeface="Microsoft JhengHei Light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108000" tIns="108000" rIns="108000" bIns="108000" rtlCol="0" anchor="ctr"/>
      <a:lstStyle>
        <a:defPPr algn="ctr">
          <a:defRPr sz="14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>
        <a:spAutoFit/>
      </a:bodyPr>
      <a:lstStyle>
        <a:defPPr algn="l">
          <a:defRPr sz="16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9_Liander">
  <a:themeElements>
    <a:clrScheme name="Liander2">
      <a:dk1>
        <a:sysClr val="windowText" lastClr="000000"/>
      </a:dk1>
      <a:lt1>
        <a:sysClr val="window" lastClr="FFFFFF"/>
      </a:lt1>
      <a:dk2>
        <a:srgbClr val="30297F"/>
      </a:dk2>
      <a:lt2>
        <a:srgbClr val="008EBE"/>
      </a:lt2>
      <a:accent1>
        <a:srgbClr val="008EBE"/>
      </a:accent1>
      <a:accent2>
        <a:srgbClr val="7F1F7D"/>
      </a:accent2>
      <a:accent3>
        <a:srgbClr val="CD5A19"/>
      </a:accent3>
      <a:accent4>
        <a:srgbClr val="8BB63B"/>
      </a:accent4>
      <a:accent5>
        <a:srgbClr val="000000"/>
      </a:accent5>
      <a:accent6>
        <a:srgbClr val="CECFCF"/>
      </a:accent6>
      <a:hlink>
        <a:srgbClr val="CECFCF"/>
      </a:hlink>
      <a:folHlink>
        <a:srgbClr val="4C4C4C"/>
      </a:folHlink>
    </a:clrScheme>
    <a:fontScheme name="Aangepast 29">
      <a:majorFont>
        <a:latin typeface="Microsoft JhengHei Light"/>
        <a:ea typeface=""/>
        <a:cs typeface=""/>
      </a:majorFont>
      <a:minorFont>
        <a:latin typeface="Microsoft JhengHei Light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108000" tIns="108000" rIns="108000" bIns="108000" rtlCol="0" anchor="ctr"/>
      <a:lstStyle>
        <a:defPPr algn="ctr">
          <a:defRPr sz="14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>
        <a:spAutoFit/>
      </a:bodyPr>
      <a:lstStyle>
        <a:defPPr algn="l">
          <a:defRPr sz="16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4_Liander">
  <a:themeElements>
    <a:clrScheme name="Liander2">
      <a:dk1>
        <a:sysClr val="windowText" lastClr="000000"/>
      </a:dk1>
      <a:lt1>
        <a:sysClr val="window" lastClr="FFFFFF"/>
      </a:lt1>
      <a:dk2>
        <a:srgbClr val="30297F"/>
      </a:dk2>
      <a:lt2>
        <a:srgbClr val="008EBE"/>
      </a:lt2>
      <a:accent1>
        <a:srgbClr val="008EBE"/>
      </a:accent1>
      <a:accent2>
        <a:srgbClr val="7F1F7D"/>
      </a:accent2>
      <a:accent3>
        <a:srgbClr val="CD5A19"/>
      </a:accent3>
      <a:accent4>
        <a:srgbClr val="8BB63B"/>
      </a:accent4>
      <a:accent5>
        <a:srgbClr val="000000"/>
      </a:accent5>
      <a:accent6>
        <a:srgbClr val="CECFCF"/>
      </a:accent6>
      <a:hlink>
        <a:srgbClr val="CECFCF"/>
      </a:hlink>
      <a:folHlink>
        <a:srgbClr val="4C4C4C"/>
      </a:folHlink>
    </a:clrScheme>
    <a:fontScheme name="Aangepast 29">
      <a:majorFont>
        <a:latin typeface="Microsoft JhengHei Light"/>
        <a:ea typeface=""/>
        <a:cs typeface=""/>
      </a:majorFont>
      <a:minorFont>
        <a:latin typeface="Microsoft JhengHei Light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108000" tIns="108000" rIns="108000" bIns="108000" rtlCol="0" anchor="ctr"/>
      <a:lstStyle>
        <a:defPPr algn="ctr">
          <a:defRPr sz="14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>
        <a:spAutoFit/>
      </a:bodyPr>
      <a:lstStyle>
        <a:defPPr algn="l">
          <a:defRPr sz="16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164bb1e-ffdd-4ee3-bf4f-c6df8e39ba65">
      <Terms xmlns="http://schemas.microsoft.com/office/infopath/2007/PartnerControls"/>
    </lcf76f155ced4ddcb4097134ff3c332f>
    <TaxCatchAll xmlns="e346c49e-f5d3-41ba-8b87-490928da7716" xsi:nil="true"/>
    <SharedWithUsers xmlns="e346c49e-f5d3-41ba-8b87-490928da7716">
      <UserInfo>
        <DisplayName>Marjan Scholtens</DisplayName>
        <AccountId>385</AccountId>
        <AccountType/>
      </UserInfo>
      <UserInfo>
        <DisplayName>Tessa van der Voet</DisplayName>
        <AccountId>38</AccountId>
        <AccountType/>
      </UserInfo>
      <UserInfo>
        <DisplayName>Roland Vink</DisplayName>
        <AccountId>178</AccountId>
        <AccountType/>
      </UserInfo>
      <UserInfo>
        <DisplayName>Frans van Kuijk</DisplayName>
        <AccountId>30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17B678FD5B077499616EB8239CE478B" ma:contentTypeVersion="15" ma:contentTypeDescription="Een nieuw document maken." ma:contentTypeScope="" ma:versionID="5cb19ada70391d77457356978844610d">
  <xsd:schema xmlns:xsd="http://www.w3.org/2001/XMLSchema" xmlns:xs="http://www.w3.org/2001/XMLSchema" xmlns:p="http://schemas.microsoft.com/office/2006/metadata/properties" xmlns:ns2="5164bb1e-ffdd-4ee3-bf4f-c6df8e39ba65" xmlns:ns3="e346c49e-f5d3-41ba-8b87-490928da7716" targetNamespace="http://schemas.microsoft.com/office/2006/metadata/properties" ma:root="true" ma:fieldsID="c2178304c5e9cfe6931ee651fb4561f4" ns2:_="" ns3:_="">
    <xsd:import namespace="5164bb1e-ffdd-4ee3-bf4f-c6df8e39ba65"/>
    <xsd:import namespace="e346c49e-f5d3-41ba-8b87-490928da771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164bb1e-ffdd-4ee3-bf4f-c6df8e39ba6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Afbeeldingtags" ma:readOnly="false" ma:fieldId="{5cf76f15-5ced-4ddc-b409-7134ff3c332f}" ma:taxonomyMulti="true" ma:sspId="2caeaa46-0e38-4c05-8827-fda289f478a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346c49e-f5d3-41ba-8b87-490928da7716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50b3c1b5-c813-4635-90d0-c466390c2955}" ma:internalName="TaxCatchAll" ma:showField="CatchAllData" ma:web="e346c49e-f5d3-41ba-8b87-490928da771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0B35C9E-747B-4160-8D06-A9B30F0D0FFD}">
  <ds:schemaRefs>
    <ds:schemaRef ds:uri="1f2a279a-c6ea-438f-be7d-7603bb518444"/>
    <ds:schemaRef ds:uri="32e34a34-719b-496d-a607-1106b41a705a"/>
    <ds:schemaRef ds:uri="9271b1d1-b612-447e-93de-d287d951c77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5164bb1e-ffdd-4ee3-bf4f-c6df8e39ba65"/>
    <ds:schemaRef ds:uri="e346c49e-f5d3-41ba-8b87-490928da7716"/>
  </ds:schemaRefs>
</ds:datastoreItem>
</file>

<file path=customXml/itemProps2.xml><?xml version="1.0" encoding="utf-8"?>
<ds:datastoreItem xmlns:ds="http://schemas.openxmlformats.org/officeDocument/2006/customXml" ds:itemID="{744F99B1-8511-4DA1-BE21-E97FC68BD16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164bb1e-ffdd-4ee3-bf4f-c6df8e39ba65"/>
    <ds:schemaRef ds:uri="e346c49e-f5d3-41ba-8b87-490928da771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0085C9E-E047-4C70-B464-BB746930E91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</TotalTime>
  <Words>257</Words>
  <Application>Microsoft Office PowerPoint</Application>
  <PresentationFormat>Aangepast</PresentationFormat>
  <Paragraphs>140</Paragraphs>
  <Slides>3</Slides>
  <Notes>2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4</vt:i4>
      </vt:variant>
      <vt:variant>
        <vt:lpstr>Thema</vt:lpstr>
      </vt:variant>
      <vt:variant>
        <vt:i4>6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3</vt:i4>
      </vt:variant>
    </vt:vector>
  </HeadingPairs>
  <TitlesOfParts>
    <vt:vector size="14" baseType="lpstr">
      <vt:lpstr>Microsoft JhengHei Light</vt:lpstr>
      <vt:lpstr>Arial</vt:lpstr>
      <vt:lpstr>Calibri</vt:lpstr>
      <vt:lpstr>Wingdings</vt:lpstr>
      <vt:lpstr>Liander</vt:lpstr>
      <vt:lpstr>2_Liander</vt:lpstr>
      <vt:lpstr>5_Liander</vt:lpstr>
      <vt:lpstr>3_Liander</vt:lpstr>
      <vt:lpstr>9_Liander</vt:lpstr>
      <vt:lpstr>4_Liander</vt:lpstr>
      <vt:lpstr>think-cell Slide</vt:lpstr>
      <vt:lpstr>Werking van het elektriciteitsnet: het benodigde vermogen bepaalt waar in het net je wordt aangesloten</vt:lpstr>
      <vt:lpstr>PowerPoint-presentatie</vt:lpstr>
      <vt:lpstr>PowerPoint-presentati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iander</dc:title>
  <dc:creator>Marjolijn de Kruijff</dc:creator>
  <cp:lastModifiedBy>Carolien Brussel</cp:lastModifiedBy>
  <cp:revision>2</cp:revision>
  <cp:lastPrinted>2021-11-11T13:33:24Z</cp:lastPrinted>
  <dcterms:created xsi:type="dcterms:W3CDTF">2017-01-23T09:15:04Z</dcterms:created>
  <dcterms:modified xsi:type="dcterms:W3CDTF">2023-06-26T11:17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17B678FD5B077499616EB8239CE478B</vt:lpwstr>
  </property>
  <property fmtid="{D5CDD505-2E9C-101B-9397-08002B2CF9AE}" pid="3" name="_dlc_DocIdItemGuid">
    <vt:lpwstr>902ed87f-592c-4ed5-a796-5299264eb433</vt:lpwstr>
  </property>
  <property fmtid="{D5CDD505-2E9C-101B-9397-08002B2CF9AE}" pid="4" name="MediaServiceImageTags">
    <vt:lpwstr/>
  </property>
</Properties>
</file>